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8.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9.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0.xml" ContentType="application/vnd.openxmlformats-officedocument.theme+xml"/>
  <Override PartName="/ppt/tags/tag5.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1.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2.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3.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5.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6.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8.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9.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20.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22.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2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theme/themeOverride3.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13" r:id="rId1"/>
    <p:sldMasterId id="2147483728" r:id="rId2"/>
    <p:sldMasterId id="2147483946" r:id="rId3"/>
    <p:sldMasterId id="2147484027" r:id="rId4"/>
    <p:sldMasterId id="2147484058" r:id="rId5"/>
    <p:sldMasterId id="2147484099" r:id="rId6"/>
    <p:sldMasterId id="2147484120" r:id="rId7"/>
    <p:sldMasterId id="2147484148" r:id="rId8"/>
    <p:sldMasterId id="2147484188" r:id="rId9"/>
    <p:sldMasterId id="2147484219" r:id="rId10"/>
    <p:sldMasterId id="2147484239" r:id="rId11"/>
    <p:sldMasterId id="2147484258" r:id="rId12"/>
    <p:sldMasterId id="2147484269" r:id="rId13"/>
    <p:sldMasterId id="2147484289" r:id="rId14"/>
    <p:sldMasterId id="2147484313" r:id="rId15"/>
    <p:sldMasterId id="2147484336" r:id="rId16"/>
    <p:sldMasterId id="2147484350" r:id="rId17"/>
    <p:sldMasterId id="2147484359" r:id="rId18"/>
    <p:sldMasterId id="2147484382" r:id="rId19"/>
    <p:sldMasterId id="2147484425" r:id="rId20"/>
    <p:sldMasterId id="2147484449" r:id="rId21"/>
    <p:sldMasterId id="2147484459" r:id="rId22"/>
    <p:sldMasterId id="2147484464" r:id="rId23"/>
    <p:sldMasterId id="2147484491" r:id="rId24"/>
  </p:sldMasterIdLst>
  <p:notesMasterIdLst>
    <p:notesMasterId r:id="rId47"/>
  </p:notesMasterIdLst>
  <p:sldIdLst>
    <p:sldId id="1411" r:id="rId25"/>
    <p:sldId id="1454" r:id="rId26"/>
    <p:sldId id="3712" r:id="rId27"/>
    <p:sldId id="1457" r:id="rId28"/>
    <p:sldId id="1458" r:id="rId29"/>
    <p:sldId id="1455" r:id="rId30"/>
    <p:sldId id="4361" r:id="rId31"/>
    <p:sldId id="4362" r:id="rId32"/>
    <p:sldId id="1442" r:id="rId33"/>
    <p:sldId id="4347" r:id="rId34"/>
    <p:sldId id="1459" r:id="rId35"/>
    <p:sldId id="342" r:id="rId36"/>
    <p:sldId id="2304" r:id="rId37"/>
    <p:sldId id="387" r:id="rId38"/>
    <p:sldId id="386" r:id="rId39"/>
    <p:sldId id="391" r:id="rId40"/>
    <p:sldId id="4360" r:id="rId41"/>
    <p:sldId id="323" r:id="rId42"/>
    <p:sldId id="322" r:id="rId43"/>
    <p:sldId id="1875" r:id="rId44"/>
    <p:sldId id="320" r:id="rId45"/>
    <p:sldId id="354"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E653AC9-B621-48BB-A218-052CFAC9AF88}">
          <p14:sldIdLst>
            <p14:sldId id="1411"/>
          </p14:sldIdLst>
        </p14:section>
        <p14:section name="Azure Overview" id="{8A347932-D634-484F-97D1-C843A7AB25C8}">
          <p14:sldIdLst>
            <p14:sldId id="1454"/>
            <p14:sldId id="3712"/>
            <p14:sldId id="1457"/>
            <p14:sldId id="1458"/>
            <p14:sldId id="1455"/>
            <p14:sldId id="4361"/>
            <p14:sldId id="4362"/>
            <p14:sldId id="1442"/>
            <p14:sldId id="4347"/>
          </p14:sldIdLst>
        </p14:section>
        <p14:section name="Hybrid Strategy" id="{353E4341-07B4-446F-80B0-FFF08D1A10B3}">
          <p14:sldIdLst>
            <p14:sldId id="1459"/>
            <p14:sldId id="342"/>
            <p14:sldId id="2304"/>
            <p14:sldId id="387"/>
          </p14:sldIdLst>
        </p14:section>
        <p14:section name="Hybrid Strategy" id="{77F3B1D8-4A14-4E39-B4A0-213F2B9D84E6}">
          <p14:sldIdLst>
            <p14:sldId id="386"/>
            <p14:sldId id="391"/>
          </p14:sldIdLst>
        </p14:section>
        <p14:section name="Wrap Up" id="{13759B1A-4428-4E25-BFDA-29742AECFB15}">
          <p14:sldIdLst>
            <p14:sldId id="4360"/>
            <p14:sldId id="323"/>
            <p14:sldId id="322"/>
            <p14:sldId id="1875"/>
            <p14:sldId id="320"/>
            <p14:sldId id="3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8951"/>
    <a:srgbClr val="C077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487" autoAdjust="0"/>
    <p:restoredTop sz="95153" autoAdjust="0"/>
  </p:normalViewPr>
  <p:slideViewPr>
    <p:cSldViewPr snapToGrid="0">
      <p:cViewPr>
        <p:scale>
          <a:sx n="65" d="100"/>
          <a:sy n="65" d="100"/>
        </p:scale>
        <p:origin x="702" y="441"/>
      </p:cViewPr>
      <p:guideLst/>
    </p:cSldViewPr>
  </p:slideViewPr>
  <p:notesTextViewPr>
    <p:cViewPr>
      <p:scale>
        <a:sx n="3" d="2"/>
        <a:sy n="3" d="2"/>
      </p:scale>
      <p:origin x="0" y="0"/>
    </p:cViewPr>
  </p:notesTextViewPr>
  <p:sorterViewPr>
    <p:cViewPr varScale="1">
      <p:scale>
        <a:sx n="100" d="100"/>
        <a:sy n="100" d="100"/>
      </p:scale>
      <p:origin x="0" y="-41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5.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20" Type="http://schemas.openxmlformats.org/officeDocument/2006/relationships/slideMaster" Target="slideMasters/slideMaster20.xml"/><Relationship Id="rId41"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D82C12-235A-47E2-BED8-7907ABEAEFE2}" type="doc">
      <dgm:prSet loTypeId="urn:microsoft.com/office/officeart/2005/8/layout/cycle1" loCatId="cycle" qsTypeId="urn:microsoft.com/office/officeart/2005/8/quickstyle/simple1" qsCatId="simple" csTypeId="urn:microsoft.com/office/officeart/2005/8/colors/accent4_2" csCatId="accent4" phldr="1"/>
      <dgm:spPr/>
      <dgm:t>
        <a:bodyPr/>
        <a:lstStyle/>
        <a:p>
          <a:endParaRPr lang="en-US"/>
        </a:p>
      </dgm:t>
    </dgm:pt>
    <dgm:pt modelId="{3C1BF72C-7D1B-4E2F-9307-E7894E16D0DA}">
      <dgm:prSet phldrT="[Text]"/>
      <dgm:spPr/>
      <dgm:t>
        <a:bodyPr/>
        <a:lstStyle/>
        <a:p>
          <a:r>
            <a:rPr lang="en-US" dirty="0"/>
            <a:t> </a:t>
          </a:r>
        </a:p>
      </dgm:t>
    </dgm:pt>
    <dgm:pt modelId="{064B1D79-7846-4113-ADC5-A2ECCD41E3E2}" type="parTrans" cxnId="{2B5C135A-2F21-4132-A590-B26A90E0BAE1}">
      <dgm:prSet/>
      <dgm:spPr/>
      <dgm:t>
        <a:bodyPr/>
        <a:lstStyle/>
        <a:p>
          <a:endParaRPr lang="en-US"/>
        </a:p>
      </dgm:t>
    </dgm:pt>
    <dgm:pt modelId="{66836612-7F5D-4D58-A07B-3F13D4D54894}" type="sibTrans" cxnId="{2B5C135A-2F21-4132-A590-B26A90E0BAE1}">
      <dgm:prSet/>
      <dgm:spPr>
        <a:solidFill>
          <a:schemeClr val="tx2"/>
        </a:solidFill>
        <a:ln>
          <a:noFill/>
        </a:ln>
      </dgm:spPr>
      <dgm:t>
        <a:bodyPr/>
        <a:lstStyle/>
        <a:p>
          <a:endParaRPr lang="en-US"/>
        </a:p>
      </dgm:t>
    </dgm:pt>
    <dgm:pt modelId="{67B3D6DB-9016-42AB-98E1-EFA24AAA9F8D}">
      <dgm:prSet phldrT="[Text]"/>
      <dgm:spPr/>
      <dgm:t>
        <a:bodyPr/>
        <a:lstStyle/>
        <a:p>
          <a:r>
            <a:rPr lang="en-US" dirty="0"/>
            <a:t> </a:t>
          </a:r>
        </a:p>
      </dgm:t>
    </dgm:pt>
    <dgm:pt modelId="{3198EAC4-604D-40EB-8E03-C6E9253B9185}" type="parTrans" cxnId="{462945E8-33A1-48A9-9F9D-C06A3B584A29}">
      <dgm:prSet/>
      <dgm:spPr/>
      <dgm:t>
        <a:bodyPr/>
        <a:lstStyle/>
        <a:p>
          <a:endParaRPr lang="en-US"/>
        </a:p>
      </dgm:t>
    </dgm:pt>
    <dgm:pt modelId="{F6599F1D-B27F-4DC4-916C-265E07E0EEAC}" type="sibTrans" cxnId="{462945E8-33A1-48A9-9F9D-C06A3B584A29}">
      <dgm:prSet/>
      <dgm:spPr>
        <a:solidFill>
          <a:schemeClr val="tx2"/>
        </a:solidFill>
        <a:ln>
          <a:noFill/>
        </a:ln>
      </dgm:spPr>
      <dgm:t>
        <a:bodyPr/>
        <a:lstStyle/>
        <a:p>
          <a:endParaRPr lang="en-US"/>
        </a:p>
      </dgm:t>
    </dgm:pt>
    <dgm:pt modelId="{534360C7-93D3-4590-9DAB-B9AA04102D67}" type="pres">
      <dgm:prSet presAssocID="{96D82C12-235A-47E2-BED8-7907ABEAEFE2}" presName="cycle" presStyleCnt="0">
        <dgm:presLayoutVars>
          <dgm:dir/>
          <dgm:resizeHandles val="exact"/>
        </dgm:presLayoutVars>
      </dgm:prSet>
      <dgm:spPr/>
    </dgm:pt>
    <dgm:pt modelId="{B78BEB84-AEED-4A19-92AF-8DCC11B001FD}" type="pres">
      <dgm:prSet presAssocID="{3C1BF72C-7D1B-4E2F-9307-E7894E16D0DA}" presName="dummy" presStyleCnt="0"/>
      <dgm:spPr/>
    </dgm:pt>
    <dgm:pt modelId="{51FC6D3C-E20A-486D-BA65-0D39FD041964}" type="pres">
      <dgm:prSet presAssocID="{3C1BF72C-7D1B-4E2F-9307-E7894E16D0DA}" presName="node" presStyleLbl="revTx" presStyleIdx="0" presStyleCnt="2">
        <dgm:presLayoutVars>
          <dgm:bulletEnabled val="1"/>
        </dgm:presLayoutVars>
      </dgm:prSet>
      <dgm:spPr/>
    </dgm:pt>
    <dgm:pt modelId="{3810764E-DC64-4567-99CA-A02ABBF95A87}" type="pres">
      <dgm:prSet presAssocID="{66836612-7F5D-4D58-A07B-3F13D4D54894}" presName="sibTrans" presStyleLbl="node1" presStyleIdx="0" presStyleCnt="2"/>
      <dgm:spPr/>
    </dgm:pt>
    <dgm:pt modelId="{D1080B05-CEFC-4C53-84BB-0B80F23A7453}" type="pres">
      <dgm:prSet presAssocID="{67B3D6DB-9016-42AB-98E1-EFA24AAA9F8D}" presName="dummy" presStyleCnt="0"/>
      <dgm:spPr/>
    </dgm:pt>
    <dgm:pt modelId="{1713C2D4-345D-452F-9AFC-626C60A9AA48}" type="pres">
      <dgm:prSet presAssocID="{67B3D6DB-9016-42AB-98E1-EFA24AAA9F8D}" presName="node" presStyleLbl="revTx" presStyleIdx="1" presStyleCnt="2">
        <dgm:presLayoutVars>
          <dgm:bulletEnabled val="1"/>
        </dgm:presLayoutVars>
      </dgm:prSet>
      <dgm:spPr/>
    </dgm:pt>
    <dgm:pt modelId="{F60D9592-48E3-49E1-BF81-CFFD38BBB265}" type="pres">
      <dgm:prSet presAssocID="{F6599F1D-B27F-4DC4-916C-265E07E0EEAC}" presName="sibTrans" presStyleLbl="node1" presStyleIdx="1" presStyleCnt="2"/>
      <dgm:spPr/>
    </dgm:pt>
  </dgm:ptLst>
  <dgm:cxnLst>
    <dgm:cxn modelId="{1D99250C-422C-47CC-BCA6-8C9BCED0857B}" type="presOf" srcId="{3C1BF72C-7D1B-4E2F-9307-E7894E16D0DA}" destId="{51FC6D3C-E20A-486D-BA65-0D39FD041964}" srcOrd="0" destOrd="0" presId="urn:microsoft.com/office/officeart/2005/8/layout/cycle1"/>
    <dgm:cxn modelId="{F956A560-7ACE-4EDB-B7F6-2A4E9BCA6458}" type="presOf" srcId="{F6599F1D-B27F-4DC4-916C-265E07E0EEAC}" destId="{F60D9592-48E3-49E1-BF81-CFFD38BBB265}" srcOrd="0" destOrd="0" presId="urn:microsoft.com/office/officeart/2005/8/layout/cycle1"/>
    <dgm:cxn modelId="{424C0846-B887-4809-96DA-8984BCD1E46C}" type="presOf" srcId="{96D82C12-235A-47E2-BED8-7907ABEAEFE2}" destId="{534360C7-93D3-4590-9DAB-B9AA04102D67}" srcOrd="0" destOrd="0" presId="urn:microsoft.com/office/officeart/2005/8/layout/cycle1"/>
    <dgm:cxn modelId="{2B5C135A-2F21-4132-A590-B26A90E0BAE1}" srcId="{96D82C12-235A-47E2-BED8-7907ABEAEFE2}" destId="{3C1BF72C-7D1B-4E2F-9307-E7894E16D0DA}" srcOrd="0" destOrd="0" parTransId="{064B1D79-7846-4113-ADC5-A2ECCD41E3E2}" sibTransId="{66836612-7F5D-4D58-A07B-3F13D4D54894}"/>
    <dgm:cxn modelId="{09FFB47A-D0C0-4573-A4E6-C9E2196104E7}" type="presOf" srcId="{66836612-7F5D-4D58-A07B-3F13D4D54894}" destId="{3810764E-DC64-4567-99CA-A02ABBF95A87}" srcOrd="0" destOrd="0" presId="urn:microsoft.com/office/officeart/2005/8/layout/cycle1"/>
    <dgm:cxn modelId="{4848547D-AD60-444C-A14E-384EB53CEB10}" type="presOf" srcId="{67B3D6DB-9016-42AB-98E1-EFA24AAA9F8D}" destId="{1713C2D4-345D-452F-9AFC-626C60A9AA48}" srcOrd="0" destOrd="0" presId="urn:microsoft.com/office/officeart/2005/8/layout/cycle1"/>
    <dgm:cxn modelId="{462945E8-33A1-48A9-9F9D-C06A3B584A29}" srcId="{96D82C12-235A-47E2-BED8-7907ABEAEFE2}" destId="{67B3D6DB-9016-42AB-98E1-EFA24AAA9F8D}" srcOrd="1" destOrd="0" parTransId="{3198EAC4-604D-40EB-8E03-C6E9253B9185}" sibTransId="{F6599F1D-B27F-4DC4-916C-265E07E0EEAC}"/>
    <dgm:cxn modelId="{5288DF61-BFEF-4E6B-81A1-CE8C84A662F3}" type="presParOf" srcId="{534360C7-93D3-4590-9DAB-B9AA04102D67}" destId="{B78BEB84-AEED-4A19-92AF-8DCC11B001FD}" srcOrd="0" destOrd="0" presId="urn:microsoft.com/office/officeart/2005/8/layout/cycle1"/>
    <dgm:cxn modelId="{7DF14A69-8A34-495A-BD97-00654DDF6600}" type="presParOf" srcId="{534360C7-93D3-4590-9DAB-B9AA04102D67}" destId="{51FC6D3C-E20A-486D-BA65-0D39FD041964}" srcOrd="1" destOrd="0" presId="urn:microsoft.com/office/officeart/2005/8/layout/cycle1"/>
    <dgm:cxn modelId="{D668CDFA-E375-4513-BEAC-61049347F7EC}" type="presParOf" srcId="{534360C7-93D3-4590-9DAB-B9AA04102D67}" destId="{3810764E-DC64-4567-99CA-A02ABBF95A87}" srcOrd="2" destOrd="0" presId="urn:microsoft.com/office/officeart/2005/8/layout/cycle1"/>
    <dgm:cxn modelId="{84ECDCB8-0AA2-4283-B94E-5F23772325F5}" type="presParOf" srcId="{534360C7-93D3-4590-9DAB-B9AA04102D67}" destId="{D1080B05-CEFC-4C53-84BB-0B80F23A7453}" srcOrd="3" destOrd="0" presId="urn:microsoft.com/office/officeart/2005/8/layout/cycle1"/>
    <dgm:cxn modelId="{0DE41F64-7826-48BA-B85D-67D556614C87}" type="presParOf" srcId="{534360C7-93D3-4590-9DAB-B9AA04102D67}" destId="{1713C2D4-345D-452F-9AFC-626C60A9AA48}" srcOrd="4" destOrd="0" presId="urn:microsoft.com/office/officeart/2005/8/layout/cycle1"/>
    <dgm:cxn modelId="{0A422F42-CA1E-40D2-A069-BDA466058040}" type="presParOf" srcId="{534360C7-93D3-4590-9DAB-B9AA04102D67}" destId="{F60D9592-48E3-49E1-BF81-CFFD38BBB265}" srcOrd="5" destOrd="0" presId="urn:microsoft.com/office/officeart/2005/8/layout/cycle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AC8BF3-21CD-48E4-950E-5C04788A3DB2}" type="doc">
      <dgm:prSet loTypeId="urn:microsoft.com/office/officeart/2008/layout/LinedList" loCatId="list" qsTypeId="urn:microsoft.com/office/officeart/2005/8/quickstyle/3d4" qsCatId="3D" csTypeId="urn:microsoft.com/office/officeart/2005/8/colors/accent1_5" csCatId="accent1" phldr="1"/>
      <dgm:spPr/>
      <dgm:t>
        <a:bodyPr/>
        <a:lstStyle/>
        <a:p>
          <a:endParaRPr lang="en-US"/>
        </a:p>
      </dgm:t>
    </dgm:pt>
    <dgm:pt modelId="{C52A9D87-40DA-44DE-BD62-EF45CBC17EDA}">
      <dgm:prSet/>
      <dgm:spPr/>
      <dgm:t>
        <a:bodyPr/>
        <a:lstStyle/>
        <a:p>
          <a:pPr rtl="0"/>
          <a:r>
            <a:rPr lang="en-US" dirty="0"/>
            <a:t>Who has access to my data?</a:t>
          </a:r>
        </a:p>
      </dgm:t>
    </dgm:pt>
    <dgm:pt modelId="{C5F50185-1AEB-4C7D-8F72-0D9E34861DD7}" type="parTrans" cxnId="{A935B1F3-D80A-46B7-A4CC-6B45102F5BB6}">
      <dgm:prSet/>
      <dgm:spPr/>
      <dgm:t>
        <a:bodyPr/>
        <a:lstStyle/>
        <a:p>
          <a:endParaRPr lang="en-US"/>
        </a:p>
      </dgm:t>
    </dgm:pt>
    <dgm:pt modelId="{19AE1FD9-F87E-4C37-A9B3-B0337CF6E7B2}" type="sibTrans" cxnId="{A935B1F3-D80A-46B7-A4CC-6B45102F5BB6}">
      <dgm:prSet/>
      <dgm:spPr/>
      <dgm:t>
        <a:bodyPr/>
        <a:lstStyle/>
        <a:p>
          <a:endParaRPr lang="en-US"/>
        </a:p>
      </dgm:t>
    </dgm:pt>
    <dgm:pt modelId="{38308888-A683-4419-9352-8DEB7F3E1B29}">
      <dgm:prSet/>
      <dgm:spPr/>
      <dgm:t>
        <a:bodyPr/>
        <a:lstStyle/>
        <a:p>
          <a:pPr rtl="0"/>
          <a:r>
            <a:rPr lang="en-US" dirty="0"/>
            <a:t>Are they certified to operate in a compliant environment?</a:t>
          </a:r>
        </a:p>
      </dgm:t>
    </dgm:pt>
    <dgm:pt modelId="{5E3756F2-244A-405A-8BAF-DAA88F463E2F}" type="parTrans" cxnId="{5F6A4A3C-44C3-4357-B538-C94CDC6D1057}">
      <dgm:prSet/>
      <dgm:spPr/>
      <dgm:t>
        <a:bodyPr/>
        <a:lstStyle/>
        <a:p>
          <a:endParaRPr lang="en-US"/>
        </a:p>
      </dgm:t>
    </dgm:pt>
    <dgm:pt modelId="{9272DFD9-BF82-44F9-9257-216E9C8A1324}" type="sibTrans" cxnId="{5F6A4A3C-44C3-4357-B538-C94CDC6D1057}">
      <dgm:prSet/>
      <dgm:spPr/>
      <dgm:t>
        <a:bodyPr/>
        <a:lstStyle/>
        <a:p>
          <a:endParaRPr lang="en-US"/>
        </a:p>
      </dgm:t>
    </dgm:pt>
    <dgm:pt modelId="{F5C92439-12F1-4D10-A1D1-4C508F5AC2CA}">
      <dgm:prSet/>
      <dgm:spPr/>
      <dgm:t>
        <a:bodyPr/>
        <a:lstStyle/>
        <a:p>
          <a:pPr rtl="0"/>
          <a:r>
            <a:rPr lang="en-US" dirty="0"/>
            <a:t>Where is my data stored?</a:t>
          </a:r>
        </a:p>
      </dgm:t>
    </dgm:pt>
    <dgm:pt modelId="{6BD4E643-AF37-44EC-A924-B0BFA7C01400}" type="parTrans" cxnId="{682015AD-0309-4572-B5B7-7982713CBE60}">
      <dgm:prSet/>
      <dgm:spPr/>
      <dgm:t>
        <a:bodyPr/>
        <a:lstStyle/>
        <a:p>
          <a:endParaRPr lang="en-US"/>
        </a:p>
      </dgm:t>
    </dgm:pt>
    <dgm:pt modelId="{772BA029-B283-4CDD-8B8C-1D1FF3FDD62F}" type="sibTrans" cxnId="{682015AD-0309-4572-B5B7-7982713CBE60}">
      <dgm:prSet/>
      <dgm:spPr/>
      <dgm:t>
        <a:bodyPr/>
        <a:lstStyle/>
        <a:p>
          <a:endParaRPr lang="en-US"/>
        </a:p>
      </dgm:t>
    </dgm:pt>
    <dgm:pt modelId="{AF339215-1EF3-4600-B4B3-B9E6DECE990A}">
      <dgm:prSet/>
      <dgm:spPr/>
      <dgm:t>
        <a:bodyPr/>
        <a:lstStyle/>
        <a:p>
          <a:pPr rtl="0"/>
          <a:r>
            <a:rPr lang="en-US" dirty="0"/>
            <a:t>How is my data isolated?</a:t>
          </a:r>
        </a:p>
      </dgm:t>
    </dgm:pt>
    <dgm:pt modelId="{37806FF2-A041-41C6-BFE9-2E0B2D936AE4}" type="parTrans" cxnId="{2120854C-ED69-4ED1-AEAB-8F4F31D5B75F}">
      <dgm:prSet/>
      <dgm:spPr/>
      <dgm:t>
        <a:bodyPr/>
        <a:lstStyle/>
        <a:p>
          <a:endParaRPr lang="en-US"/>
        </a:p>
      </dgm:t>
    </dgm:pt>
    <dgm:pt modelId="{E92A5659-5F69-4FDB-B2C3-BAC34B637BA5}" type="sibTrans" cxnId="{2120854C-ED69-4ED1-AEAB-8F4F31D5B75F}">
      <dgm:prSet/>
      <dgm:spPr/>
      <dgm:t>
        <a:bodyPr/>
        <a:lstStyle/>
        <a:p>
          <a:endParaRPr lang="en-US"/>
        </a:p>
      </dgm:t>
    </dgm:pt>
    <dgm:pt modelId="{9111A115-F1FD-4C8A-AF93-105BD083C506}">
      <dgm:prSet/>
      <dgm:spPr/>
      <dgm:t>
        <a:bodyPr/>
        <a:lstStyle/>
        <a:p>
          <a:pPr rtl="0"/>
          <a:r>
            <a:rPr lang="en-US" dirty="0"/>
            <a:t>What happens if there is a problem?</a:t>
          </a:r>
        </a:p>
      </dgm:t>
    </dgm:pt>
    <dgm:pt modelId="{864B4D46-E2DA-4C1A-9006-5442BFD7BA96}" type="parTrans" cxnId="{0A30A377-26BE-40AD-AD17-47FC6C3BAEEF}">
      <dgm:prSet/>
      <dgm:spPr/>
      <dgm:t>
        <a:bodyPr/>
        <a:lstStyle/>
        <a:p>
          <a:endParaRPr lang="en-US"/>
        </a:p>
      </dgm:t>
    </dgm:pt>
    <dgm:pt modelId="{F3FA87FC-39EB-4C77-B1DB-794B5066F3DA}" type="sibTrans" cxnId="{0A30A377-26BE-40AD-AD17-47FC6C3BAEEF}">
      <dgm:prSet/>
      <dgm:spPr/>
      <dgm:t>
        <a:bodyPr/>
        <a:lstStyle/>
        <a:p>
          <a:endParaRPr lang="en-US"/>
        </a:p>
      </dgm:t>
    </dgm:pt>
    <dgm:pt modelId="{9F7BB77E-EEAE-4670-8EB8-1592C6A7674E}">
      <dgm:prSet/>
      <dgm:spPr/>
      <dgm:t>
        <a:bodyPr/>
        <a:lstStyle/>
        <a:p>
          <a:pPr rtl="0"/>
          <a:r>
            <a:rPr lang="en-US" dirty="0"/>
            <a:t>What is the response to a legal request?</a:t>
          </a:r>
        </a:p>
      </dgm:t>
    </dgm:pt>
    <dgm:pt modelId="{D4778FF6-0E1A-4FF0-BE98-E07EA39DCC59}" type="parTrans" cxnId="{56669381-7B18-424E-A3BC-9959738385EA}">
      <dgm:prSet/>
      <dgm:spPr/>
      <dgm:t>
        <a:bodyPr/>
        <a:lstStyle/>
        <a:p>
          <a:endParaRPr lang="en-US"/>
        </a:p>
      </dgm:t>
    </dgm:pt>
    <dgm:pt modelId="{F011C450-3FE3-45E7-A237-1FD1B76F05BD}" type="sibTrans" cxnId="{56669381-7B18-424E-A3BC-9959738385EA}">
      <dgm:prSet/>
      <dgm:spPr/>
      <dgm:t>
        <a:bodyPr/>
        <a:lstStyle/>
        <a:p>
          <a:endParaRPr lang="en-US"/>
        </a:p>
      </dgm:t>
    </dgm:pt>
    <dgm:pt modelId="{E8EC9C1F-CA6A-4A63-809B-0C2E8F0C4C3C}">
      <dgm:prSet/>
      <dgm:spPr/>
      <dgm:t>
        <a:bodyPr/>
        <a:lstStyle/>
        <a:p>
          <a:pPr rtl="0"/>
          <a:r>
            <a:rPr lang="en-US" dirty="0"/>
            <a:t>What is the vendor’s history?</a:t>
          </a:r>
        </a:p>
      </dgm:t>
    </dgm:pt>
    <dgm:pt modelId="{EDA0EB89-4D59-49D7-A21B-BB18053937D8}" type="parTrans" cxnId="{BF945DB0-0F72-49C8-BA60-72CC1157ADC1}">
      <dgm:prSet/>
      <dgm:spPr/>
      <dgm:t>
        <a:bodyPr/>
        <a:lstStyle/>
        <a:p>
          <a:endParaRPr lang="en-US"/>
        </a:p>
      </dgm:t>
    </dgm:pt>
    <dgm:pt modelId="{D771AEDE-B486-4E15-8EB3-99410E350369}" type="sibTrans" cxnId="{BF945DB0-0F72-49C8-BA60-72CC1157ADC1}">
      <dgm:prSet/>
      <dgm:spPr/>
      <dgm:t>
        <a:bodyPr/>
        <a:lstStyle/>
        <a:p>
          <a:endParaRPr lang="en-US"/>
        </a:p>
      </dgm:t>
    </dgm:pt>
    <dgm:pt modelId="{B0C31B15-9658-453D-B012-800F889BA68B}">
      <dgm:prSet/>
      <dgm:spPr/>
      <dgm:t>
        <a:bodyPr/>
        <a:lstStyle/>
        <a:p>
          <a:pPr rtl="0"/>
          <a:r>
            <a:rPr lang="en-US" dirty="0"/>
            <a:t>What is the product roadmap?</a:t>
          </a:r>
        </a:p>
      </dgm:t>
    </dgm:pt>
    <dgm:pt modelId="{FE66A507-3D3C-40AE-9195-D0C5375485D7}" type="parTrans" cxnId="{5743BACB-93BE-45EC-B13D-8D1DD6F9ED6B}">
      <dgm:prSet/>
      <dgm:spPr/>
      <dgm:t>
        <a:bodyPr/>
        <a:lstStyle/>
        <a:p>
          <a:endParaRPr lang="en-US"/>
        </a:p>
      </dgm:t>
    </dgm:pt>
    <dgm:pt modelId="{4B527951-6F0F-49BC-B58B-B2A9B73CEA53}" type="sibTrans" cxnId="{5743BACB-93BE-45EC-B13D-8D1DD6F9ED6B}">
      <dgm:prSet/>
      <dgm:spPr/>
      <dgm:t>
        <a:bodyPr/>
        <a:lstStyle/>
        <a:p>
          <a:endParaRPr lang="en-US"/>
        </a:p>
      </dgm:t>
    </dgm:pt>
    <dgm:pt modelId="{13F66CF7-58BF-43E9-BC47-3ADA83FEF894}" type="pres">
      <dgm:prSet presAssocID="{57AC8BF3-21CD-48E4-950E-5C04788A3DB2}" presName="vert0" presStyleCnt="0">
        <dgm:presLayoutVars>
          <dgm:dir/>
          <dgm:animOne val="branch"/>
          <dgm:animLvl val="lvl"/>
        </dgm:presLayoutVars>
      </dgm:prSet>
      <dgm:spPr/>
    </dgm:pt>
    <dgm:pt modelId="{DF9D8A98-EF7E-4B29-A9CB-82E43FBD5689}" type="pres">
      <dgm:prSet presAssocID="{C52A9D87-40DA-44DE-BD62-EF45CBC17EDA}" presName="thickLine" presStyleLbl="alignNode1" presStyleIdx="0" presStyleCnt="8"/>
      <dgm:spPr/>
    </dgm:pt>
    <dgm:pt modelId="{398D8D4A-BFF2-4CD0-A0D3-D56444AF8C5B}" type="pres">
      <dgm:prSet presAssocID="{C52A9D87-40DA-44DE-BD62-EF45CBC17EDA}" presName="horz1" presStyleCnt="0"/>
      <dgm:spPr/>
    </dgm:pt>
    <dgm:pt modelId="{1DC707EC-1DB1-46B9-8DEF-4F7F965DAF61}" type="pres">
      <dgm:prSet presAssocID="{C52A9D87-40DA-44DE-BD62-EF45CBC17EDA}" presName="tx1" presStyleLbl="revTx" presStyleIdx="0" presStyleCnt="8"/>
      <dgm:spPr/>
    </dgm:pt>
    <dgm:pt modelId="{8F04D683-8672-44A0-B55D-BF6D5F33A99F}" type="pres">
      <dgm:prSet presAssocID="{C52A9D87-40DA-44DE-BD62-EF45CBC17EDA}" presName="vert1" presStyleCnt="0"/>
      <dgm:spPr/>
    </dgm:pt>
    <dgm:pt modelId="{9E4183E4-099A-4194-B781-6777FED67356}" type="pres">
      <dgm:prSet presAssocID="{38308888-A683-4419-9352-8DEB7F3E1B29}" presName="thickLine" presStyleLbl="alignNode1" presStyleIdx="1" presStyleCnt="8"/>
      <dgm:spPr/>
    </dgm:pt>
    <dgm:pt modelId="{C8172F18-3175-4DCC-9DF5-01BABA9325A0}" type="pres">
      <dgm:prSet presAssocID="{38308888-A683-4419-9352-8DEB7F3E1B29}" presName="horz1" presStyleCnt="0"/>
      <dgm:spPr/>
    </dgm:pt>
    <dgm:pt modelId="{53E3FE6B-8B51-4B70-8C1D-BC402F9199B0}" type="pres">
      <dgm:prSet presAssocID="{38308888-A683-4419-9352-8DEB7F3E1B29}" presName="tx1" presStyleLbl="revTx" presStyleIdx="1" presStyleCnt="8"/>
      <dgm:spPr/>
    </dgm:pt>
    <dgm:pt modelId="{5E353281-DB91-4F62-807B-F71A3A1E62AB}" type="pres">
      <dgm:prSet presAssocID="{38308888-A683-4419-9352-8DEB7F3E1B29}" presName="vert1" presStyleCnt="0"/>
      <dgm:spPr/>
    </dgm:pt>
    <dgm:pt modelId="{767B5FB3-FFAD-4DFD-BB86-02DA227549A3}" type="pres">
      <dgm:prSet presAssocID="{F5C92439-12F1-4D10-A1D1-4C508F5AC2CA}" presName="thickLine" presStyleLbl="alignNode1" presStyleIdx="2" presStyleCnt="8"/>
      <dgm:spPr/>
    </dgm:pt>
    <dgm:pt modelId="{0F038DE0-1EFE-4FBF-AA53-48BEAEDFAC97}" type="pres">
      <dgm:prSet presAssocID="{F5C92439-12F1-4D10-A1D1-4C508F5AC2CA}" presName="horz1" presStyleCnt="0"/>
      <dgm:spPr/>
    </dgm:pt>
    <dgm:pt modelId="{1FC07F24-96FA-4976-81D0-7B4C3343B93B}" type="pres">
      <dgm:prSet presAssocID="{F5C92439-12F1-4D10-A1D1-4C508F5AC2CA}" presName="tx1" presStyleLbl="revTx" presStyleIdx="2" presStyleCnt="8"/>
      <dgm:spPr/>
    </dgm:pt>
    <dgm:pt modelId="{B7CEC995-CAC3-408D-8A52-4B9967409E74}" type="pres">
      <dgm:prSet presAssocID="{F5C92439-12F1-4D10-A1D1-4C508F5AC2CA}" presName="vert1" presStyleCnt="0"/>
      <dgm:spPr/>
    </dgm:pt>
    <dgm:pt modelId="{4F0DA7F7-1176-4185-BAAE-527B2C69AD66}" type="pres">
      <dgm:prSet presAssocID="{AF339215-1EF3-4600-B4B3-B9E6DECE990A}" presName="thickLine" presStyleLbl="alignNode1" presStyleIdx="3" presStyleCnt="8"/>
      <dgm:spPr/>
    </dgm:pt>
    <dgm:pt modelId="{4C3F28A5-EC0F-4232-950F-2118D9964233}" type="pres">
      <dgm:prSet presAssocID="{AF339215-1EF3-4600-B4B3-B9E6DECE990A}" presName="horz1" presStyleCnt="0"/>
      <dgm:spPr/>
    </dgm:pt>
    <dgm:pt modelId="{5B5E1D02-BE48-48D8-A992-271EB811C5AB}" type="pres">
      <dgm:prSet presAssocID="{AF339215-1EF3-4600-B4B3-B9E6DECE990A}" presName="tx1" presStyleLbl="revTx" presStyleIdx="3" presStyleCnt="8"/>
      <dgm:spPr/>
    </dgm:pt>
    <dgm:pt modelId="{399C0E77-A669-443E-8E5D-2209D36F5C1E}" type="pres">
      <dgm:prSet presAssocID="{AF339215-1EF3-4600-B4B3-B9E6DECE990A}" presName="vert1" presStyleCnt="0"/>
      <dgm:spPr/>
    </dgm:pt>
    <dgm:pt modelId="{D272A17F-BCEE-4DAA-A3A1-AC0FD7025AFC}" type="pres">
      <dgm:prSet presAssocID="{9111A115-F1FD-4C8A-AF93-105BD083C506}" presName="thickLine" presStyleLbl="alignNode1" presStyleIdx="4" presStyleCnt="8"/>
      <dgm:spPr/>
    </dgm:pt>
    <dgm:pt modelId="{E55B3924-0CF7-4ECF-A2F1-613A5582B17B}" type="pres">
      <dgm:prSet presAssocID="{9111A115-F1FD-4C8A-AF93-105BD083C506}" presName="horz1" presStyleCnt="0"/>
      <dgm:spPr/>
    </dgm:pt>
    <dgm:pt modelId="{31F2C5D0-FB58-4D46-999D-D8F330C4EF26}" type="pres">
      <dgm:prSet presAssocID="{9111A115-F1FD-4C8A-AF93-105BD083C506}" presName="tx1" presStyleLbl="revTx" presStyleIdx="4" presStyleCnt="8"/>
      <dgm:spPr/>
    </dgm:pt>
    <dgm:pt modelId="{743405F8-133E-4757-8F68-E450450A4C9B}" type="pres">
      <dgm:prSet presAssocID="{9111A115-F1FD-4C8A-AF93-105BD083C506}" presName="vert1" presStyleCnt="0"/>
      <dgm:spPr/>
    </dgm:pt>
    <dgm:pt modelId="{E09E30F6-70EC-469B-A4AE-68D542F62EBD}" type="pres">
      <dgm:prSet presAssocID="{9F7BB77E-EEAE-4670-8EB8-1592C6A7674E}" presName="thickLine" presStyleLbl="alignNode1" presStyleIdx="5" presStyleCnt="8"/>
      <dgm:spPr/>
    </dgm:pt>
    <dgm:pt modelId="{0E158BCE-EB02-4139-B51E-B5D40C50A367}" type="pres">
      <dgm:prSet presAssocID="{9F7BB77E-EEAE-4670-8EB8-1592C6A7674E}" presName="horz1" presStyleCnt="0"/>
      <dgm:spPr/>
    </dgm:pt>
    <dgm:pt modelId="{3E2229F2-8999-4753-9798-1303E99B9C3D}" type="pres">
      <dgm:prSet presAssocID="{9F7BB77E-EEAE-4670-8EB8-1592C6A7674E}" presName="tx1" presStyleLbl="revTx" presStyleIdx="5" presStyleCnt="8"/>
      <dgm:spPr/>
    </dgm:pt>
    <dgm:pt modelId="{92617C68-C302-44DA-8143-A6D610D84296}" type="pres">
      <dgm:prSet presAssocID="{9F7BB77E-EEAE-4670-8EB8-1592C6A7674E}" presName="vert1" presStyleCnt="0"/>
      <dgm:spPr/>
    </dgm:pt>
    <dgm:pt modelId="{D3E38BC5-FCE9-4F76-92E8-F0D67F9455D4}" type="pres">
      <dgm:prSet presAssocID="{E8EC9C1F-CA6A-4A63-809B-0C2E8F0C4C3C}" presName="thickLine" presStyleLbl="alignNode1" presStyleIdx="6" presStyleCnt="8"/>
      <dgm:spPr/>
    </dgm:pt>
    <dgm:pt modelId="{D81092DA-3B55-46C1-8273-3ED08710D3D4}" type="pres">
      <dgm:prSet presAssocID="{E8EC9C1F-CA6A-4A63-809B-0C2E8F0C4C3C}" presName="horz1" presStyleCnt="0"/>
      <dgm:spPr/>
    </dgm:pt>
    <dgm:pt modelId="{77DABA8C-66BA-4825-B682-9F082DFB2AA2}" type="pres">
      <dgm:prSet presAssocID="{E8EC9C1F-CA6A-4A63-809B-0C2E8F0C4C3C}" presName="tx1" presStyleLbl="revTx" presStyleIdx="6" presStyleCnt="8"/>
      <dgm:spPr/>
    </dgm:pt>
    <dgm:pt modelId="{5D611142-15A3-4A25-9FBA-4D4D2D997DF3}" type="pres">
      <dgm:prSet presAssocID="{E8EC9C1F-CA6A-4A63-809B-0C2E8F0C4C3C}" presName="vert1" presStyleCnt="0"/>
      <dgm:spPr/>
    </dgm:pt>
    <dgm:pt modelId="{619B49FD-2367-4F42-A43B-8279186DF00E}" type="pres">
      <dgm:prSet presAssocID="{B0C31B15-9658-453D-B012-800F889BA68B}" presName="thickLine" presStyleLbl="alignNode1" presStyleIdx="7" presStyleCnt="8"/>
      <dgm:spPr/>
    </dgm:pt>
    <dgm:pt modelId="{08E0EAB9-B66F-400B-A442-98DF015826F7}" type="pres">
      <dgm:prSet presAssocID="{B0C31B15-9658-453D-B012-800F889BA68B}" presName="horz1" presStyleCnt="0"/>
      <dgm:spPr/>
    </dgm:pt>
    <dgm:pt modelId="{B283759F-5B9F-45F1-816C-EAC89575C332}" type="pres">
      <dgm:prSet presAssocID="{B0C31B15-9658-453D-B012-800F889BA68B}" presName="tx1" presStyleLbl="revTx" presStyleIdx="7" presStyleCnt="8"/>
      <dgm:spPr/>
    </dgm:pt>
    <dgm:pt modelId="{7B9A5381-B2CC-4C63-8AFD-867272E8BB57}" type="pres">
      <dgm:prSet presAssocID="{B0C31B15-9658-453D-B012-800F889BA68B}" presName="vert1" presStyleCnt="0"/>
      <dgm:spPr/>
    </dgm:pt>
  </dgm:ptLst>
  <dgm:cxnLst>
    <dgm:cxn modelId="{08183306-BB33-4218-87DF-879F33A84A16}" type="presOf" srcId="{AF339215-1EF3-4600-B4B3-B9E6DECE990A}" destId="{5B5E1D02-BE48-48D8-A992-271EB811C5AB}" srcOrd="0" destOrd="0" presId="urn:microsoft.com/office/officeart/2008/layout/LinedList"/>
    <dgm:cxn modelId="{81620F1B-CF3C-4CA5-A06F-2EA9DBAD9A3A}" type="presOf" srcId="{9111A115-F1FD-4C8A-AF93-105BD083C506}" destId="{31F2C5D0-FB58-4D46-999D-D8F330C4EF26}" srcOrd="0" destOrd="0" presId="urn:microsoft.com/office/officeart/2008/layout/LinedList"/>
    <dgm:cxn modelId="{5F6A4A3C-44C3-4357-B538-C94CDC6D1057}" srcId="{57AC8BF3-21CD-48E4-950E-5C04788A3DB2}" destId="{38308888-A683-4419-9352-8DEB7F3E1B29}" srcOrd="1" destOrd="0" parTransId="{5E3756F2-244A-405A-8BAF-DAA88F463E2F}" sibTransId="{9272DFD9-BF82-44F9-9257-216E9C8A1324}"/>
    <dgm:cxn modelId="{F671F469-09CC-403E-8001-B243389D9892}" type="presOf" srcId="{B0C31B15-9658-453D-B012-800F889BA68B}" destId="{B283759F-5B9F-45F1-816C-EAC89575C332}" srcOrd="0" destOrd="0" presId="urn:microsoft.com/office/officeart/2008/layout/LinedList"/>
    <dgm:cxn modelId="{2120854C-ED69-4ED1-AEAB-8F4F31D5B75F}" srcId="{57AC8BF3-21CD-48E4-950E-5C04788A3DB2}" destId="{AF339215-1EF3-4600-B4B3-B9E6DECE990A}" srcOrd="3" destOrd="0" parTransId="{37806FF2-A041-41C6-BFE9-2E0B2D936AE4}" sibTransId="{E92A5659-5F69-4FDB-B2C3-BAC34B637BA5}"/>
    <dgm:cxn modelId="{0F8FB873-4D3D-4EFB-8F31-4234A31D262A}" type="presOf" srcId="{F5C92439-12F1-4D10-A1D1-4C508F5AC2CA}" destId="{1FC07F24-96FA-4976-81D0-7B4C3343B93B}" srcOrd="0" destOrd="0" presId="urn:microsoft.com/office/officeart/2008/layout/LinedList"/>
    <dgm:cxn modelId="{0A30A377-26BE-40AD-AD17-47FC6C3BAEEF}" srcId="{57AC8BF3-21CD-48E4-950E-5C04788A3DB2}" destId="{9111A115-F1FD-4C8A-AF93-105BD083C506}" srcOrd="4" destOrd="0" parTransId="{864B4D46-E2DA-4C1A-9006-5442BFD7BA96}" sibTransId="{F3FA87FC-39EB-4C77-B1DB-794B5066F3DA}"/>
    <dgm:cxn modelId="{56669381-7B18-424E-A3BC-9959738385EA}" srcId="{57AC8BF3-21CD-48E4-950E-5C04788A3DB2}" destId="{9F7BB77E-EEAE-4670-8EB8-1592C6A7674E}" srcOrd="5" destOrd="0" parTransId="{D4778FF6-0E1A-4FF0-BE98-E07EA39DCC59}" sibTransId="{F011C450-3FE3-45E7-A237-1FD1B76F05BD}"/>
    <dgm:cxn modelId="{2E4C61A2-8AA4-4AC2-B245-B668A6F071D6}" type="presOf" srcId="{38308888-A683-4419-9352-8DEB7F3E1B29}" destId="{53E3FE6B-8B51-4B70-8C1D-BC402F9199B0}" srcOrd="0" destOrd="0" presId="urn:microsoft.com/office/officeart/2008/layout/LinedList"/>
    <dgm:cxn modelId="{C217CCAC-D246-4E0C-BC7E-74B93B5DDC45}" type="presOf" srcId="{57AC8BF3-21CD-48E4-950E-5C04788A3DB2}" destId="{13F66CF7-58BF-43E9-BC47-3ADA83FEF894}" srcOrd="0" destOrd="0" presId="urn:microsoft.com/office/officeart/2008/layout/LinedList"/>
    <dgm:cxn modelId="{682015AD-0309-4572-B5B7-7982713CBE60}" srcId="{57AC8BF3-21CD-48E4-950E-5C04788A3DB2}" destId="{F5C92439-12F1-4D10-A1D1-4C508F5AC2CA}" srcOrd="2" destOrd="0" parTransId="{6BD4E643-AF37-44EC-A924-B0BFA7C01400}" sibTransId="{772BA029-B283-4CDD-8B8C-1D1FF3FDD62F}"/>
    <dgm:cxn modelId="{BF945DB0-0F72-49C8-BA60-72CC1157ADC1}" srcId="{57AC8BF3-21CD-48E4-950E-5C04788A3DB2}" destId="{E8EC9C1F-CA6A-4A63-809B-0C2E8F0C4C3C}" srcOrd="6" destOrd="0" parTransId="{EDA0EB89-4D59-49D7-A21B-BB18053937D8}" sibTransId="{D771AEDE-B486-4E15-8EB3-99410E350369}"/>
    <dgm:cxn modelId="{5A0AE0BC-350A-460B-95FF-09BE39639E33}" type="presOf" srcId="{E8EC9C1F-CA6A-4A63-809B-0C2E8F0C4C3C}" destId="{77DABA8C-66BA-4825-B682-9F082DFB2AA2}" srcOrd="0" destOrd="0" presId="urn:microsoft.com/office/officeart/2008/layout/LinedList"/>
    <dgm:cxn modelId="{000C4CBF-0C4C-4504-946E-3526A3579060}" type="presOf" srcId="{9F7BB77E-EEAE-4670-8EB8-1592C6A7674E}" destId="{3E2229F2-8999-4753-9798-1303E99B9C3D}" srcOrd="0" destOrd="0" presId="urn:microsoft.com/office/officeart/2008/layout/LinedList"/>
    <dgm:cxn modelId="{5743BACB-93BE-45EC-B13D-8D1DD6F9ED6B}" srcId="{57AC8BF3-21CD-48E4-950E-5C04788A3DB2}" destId="{B0C31B15-9658-453D-B012-800F889BA68B}" srcOrd="7" destOrd="0" parTransId="{FE66A507-3D3C-40AE-9195-D0C5375485D7}" sibTransId="{4B527951-6F0F-49BC-B58B-B2A9B73CEA53}"/>
    <dgm:cxn modelId="{7175FDD1-B1EA-4599-A9B9-59C1C00BE82F}" type="presOf" srcId="{C52A9D87-40DA-44DE-BD62-EF45CBC17EDA}" destId="{1DC707EC-1DB1-46B9-8DEF-4F7F965DAF61}" srcOrd="0" destOrd="0" presId="urn:microsoft.com/office/officeart/2008/layout/LinedList"/>
    <dgm:cxn modelId="{A935B1F3-D80A-46B7-A4CC-6B45102F5BB6}" srcId="{57AC8BF3-21CD-48E4-950E-5C04788A3DB2}" destId="{C52A9D87-40DA-44DE-BD62-EF45CBC17EDA}" srcOrd="0" destOrd="0" parTransId="{C5F50185-1AEB-4C7D-8F72-0D9E34861DD7}" sibTransId="{19AE1FD9-F87E-4C37-A9B3-B0337CF6E7B2}"/>
    <dgm:cxn modelId="{24B777D5-9B0C-4F43-B00E-0C83187801AB}" type="presParOf" srcId="{13F66CF7-58BF-43E9-BC47-3ADA83FEF894}" destId="{DF9D8A98-EF7E-4B29-A9CB-82E43FBD5689}" srcOrd="0" destOrd="0" presId="urn:microsoft.com/office/officeart/2008/layout/LinedList"/>
    <dgm:cxn modelId="{7F161400-E250-4A48-B86A-54A68490EE12}" type="presParOf" srcId="{13F66CF7-58BF-43E9-BC47-3ADA83FEF894}" destId="{398D8D4A-BFF2-4CD0-A0D3-D56444AF8C5B}" srcOrd="1" destOrd="0" presId="urn:microsoft.com/office/officeart/2008/layout/LinedList"/>
    <dgm:cxn modelId="{2199D516-E26E-41E9-A6E7-FD385D8A4574}" type="presParOf" srcId="{398D8D4A-BFF2-4CD0-A0D3-D56444AF8C5B}" destId="{1DC707EC-1DB1-46B9-8DEF-4F7F965DAF61}" srcOrd="0" destOrd="0" presId="urn:microsoft.com/office/officeart/2008/layout/LinedList"/>
    <dgm:cxn modelId="{A0685F8A-1FF4-470D-A33C-FBD30C990003}" type="presParOf" srcId="{398D8D4A-BFF2-4CD0-A0D3-D56444AF8C5B}" destId="{8F04D683-8672-44A0-B55D-BF6D5F33A99F}" srcOrd="1" destOrd="0" presId="urn:microsoft.com/office/officeart/2008/layout/LinedList"/>
    <dgm:cxn modelId="{1403376D-5719-4A47-B264-C84E4852BE32}" type="presParOf" srcId="{13F66CF7-58BF-43E9-BC47-3ADA83FEF894}" destId="{9E4183E4-099A-4194-B781-6777FED67356}" srcOrd="2" destOrd="0" presId="urn:microsoft.com/office/officeart/2008/layout/LinedList"/>
    <dgm:cxn modelId="{698FC062-4E60-4D3B-BC4E-2290C348AFD6}" type="presParOf" srcId="{13F66CF7-58BF-43E9-BC47-3ADA83FEF894}" destId="{C8172F18-3175-4DCC-9DF5-01BABA9325A0}" srcOrd="3" destOrd="0" presId="urn:microsoft.com/office/officeart/2008/layout/LinedList"/>
    <dgm:cxn modelId="{7AE66887-DA75-4C30-BC1D-619F45ED336B}" type="presParOf" srcId="{C8172F18-3175-4DCC-9DF5-01BABA9325A0}" destId="{53E3FE6B-8B51-4B70-8C1D-BC402F9199B0}" srcOrd="0" destOrd="0" presId="urn:microsoft.com/office/officeart/2008/layout/LinedList"/>
    <dgm:cxn modelId="{2D34B438-AC81-4A32-B3C9-E1C854B30CE7}" type="presParOf" srcId="{C8172F18-3175-4DCC-9DF5-01BABA9325A0}" destId="{5E353281-DB91-4F62-807B-F71A3A1E62AB}" srcOrd="1" destOrd="0" presId="urn:microsoft.com/office/officeart/2008/layout/LinedList"/>
    <dgm:cxn modelId="{9276F90A-3346-4598-8255-70B5DD5FDBE2}" type="presParOf" srcId="{13F66CF7-58BF-43E9-BC47-3ADA83FEF894}" destId="{767B5FB3-FFAD-4DFD-BB86-02DA227549A3}" srcOrd="4" destOrd="0" presId="urn:microsoft.com/office/officeart/2008/layout/LinedList"/>
    <dgm:cxn modelId="{7EB4E7BA-905B-412D-AF76-5FD505A687AF}" type="presParOf" srcId="{13F66CF7-58BF-43E9-BC47-3ADA83FEF894}" destId="{0F038DE0-1EFE-4FBF-AA53-48BEAEDFAC97}" srcOrd="5" destOrd="0" presId="urn:microsoft.com/office/officeart/2008/layout/LinedList"/>
    <dgm:cxn modelId="{B643F5E6-0F22-408C-95CA-B8EB92913233}" type="presParOf" srcId="{0F038DE0-1EFE-4FBF-AA53-48BEAEDFAC97}" destId="{1FC07F24-96FA-4976-81D0-7B4C3343B93B}" srcOrd="0" destOrd="0" presId="urn:microsoft.com/office/officeart/2008/layout/LinedList"/>
    <dgm:cxn modelId="{000F9DDB-862F-4D3B-BA83-79001C224339}" type="presParOf" srcId="{0F038DE0-1EFE-4FBF-AA53-48BEAEDFAC97}" destId="{B7CEC995-CAC3-408D-8A52-4B9967409E74}" srcOrd="1" destOrd="0" presId="urn:microsoft.com/office/officeart/2008/layout/LinedList"/>
    <dgm:cxn modelId="{435D3916-B72F-417E-A5BF-F42997257528}" type="presParOf" srcId="{13F66CF7-58BF-43E9-BC47-3ADA83FEF894}" destId="{4F0DA7F7-1176-4185-BAAE-527B2C69AD66}" srcOrd="6" destOrd="0" presId="urn:microsoft.com/office/officeart/2008/layout/LinedList"/>
    <dgm:cxn modelId="{4DC34C93-E6DA-440C-8919-BE56EF821C4B}" type="presParOf" srcId="{13F66CF7-58BF-43E9-BC47-3ADA83FEF894}" destId="{4C3F28A5-EC0F-4232-950F-2118D9964233}" srcOrd="7" destOrd="0" presId="urn:microsoft.com/office/officeart/2008/layout/LinedList"/>
    <dgm:cxn modelId="{5E0358D8-0381-4349-B4DB-DADAA52AD085}" type="presParOf" srcId="{4C3F28A5-EC0F-4232-950F-2118D9964233}" destId="{5B5E1D02-BE48-48D8-A992-271EB811C5AB}" srcOrd="0" destOrd="0" presId="urn:microsoft.com/office/officeart/2008/layout/LinedList"/>
    <dgm:cxn modelId="{A765A1FF-7F36-4EFE-AB6E-B272DC332EE4}" type="presParOf" srcId="{4C3F28A5-EC0F-4232-950F-2118D9964233}" destId="{399C0E77-A669-443E-8E5D-2209D36F5C1E}" srcOrd="1" destOrd="0" presId="urn:microsoft.com/office/officeart/2008/layout/LinedList"/>
    <dgm:cxn modelId="{087C7F81-5E62-4A27-92C6-330F33F7D1B9}" type="presParOf" srcId="{13F66CF7-58BF-43E9-BC47-3ADA83FEF894}" destId="{D272A17F-BCEE-4DAA-A3A1-AC0FD7025AFC}" srcOrd="8" destOrd="0" presId="urn:microsoft.com/office/officeart/2008/layout/LinedList"/>
    <dgm:cxn modelId="{77304279-C71D-4BBB-8055-84BFFC52416A}" type="presParOf" srcId="{13F66CF7-58BF-43E9-BC47-3ADA83FEF894}" destId="{E55B3924-0CF7-4ECF-A2F1-613A5582B17B}" srcOrd="9" destOrd="0" presId="urn:microsoft.com/office/officeart/2008/layout/LinedList"/>
    <dgm:cxn modelId="{E1BB0DFB-C352-48B1-9EF2-362CAC251811}" type="presParOf" srcId="{E55B3924-0CF7-4ECF-A2F1-613A5582B17B}" destId="{31F2C5D0-FB58-4D46-999D-D8F330C4EF26}" srcOrd="0" destOrd="0" presId="urn:microsoft.com/office/officeart/2008/layout/LinedList"/>
    <dgm:cxn modelId="{5755F2A8-DFD9-4544-8252-137D6C18F4DB}" type="presParOf" srcId="{E55B3924-0CF7-4ECF-A2F1-613A5582B17B}" destId="{743405F8-133E-4757-8F68-E450450A4C9B}" srcOrd="1" destOrd="0" presId="urn:microsoft.com/office/officeart/2008/layout/LinedList"/>
    <dgm:cxn modelId="{B54CE7DC-763C-4D34-85C3-CFE3CDC55AD3}" type="presParOf" srcId="{13F66CF7-58BF-43E9-BC47-3ADA83FEF894}" destId="{E09E30F6-70EC-469B-A4AE-68D542F62EBD}" srcOrd="10" destOrd="0" presId="urn:microsoft.com/office/officeart/2008/layout/LinedList"/>
    <dgm:cxn modelId="{3B644AC4-EA26-4DF3-8F64-D719BD9EE2D4}" type="presParOf" srcId="{13F66CF7-58BF-43E9-BC47-3ADA83FEF894}" destId="{0E158BCE-EB02-4139-B51E-B5D40C50A367}" srcOrd="11" destOrd="0" presId="urn:microsoft.com/office/officeart/2008/layout/LinedList"/>
    <dgm:cxn modelId="{8E5C7261-1546-475B-A133-3789353E7893}" type="presParOf" srcId="{0E158BCE-EB02-4139-B51E-B5D40C50A367}" destId="{3E2229F2-8999-4753-9798-1303E99B9C3D}" srcOrd="0" destOrd="0" presId="urn:microsoft.com/office/officeart/2008/layout/LinedList"/>
    <dgm:cxn modelId="{0A425010-3FD0-45F9-8A02-25233A63B44C}" type="presParOf" srcId="{0E158BCE-EB02-4139-B51E-B5D40C50A367}" destId="{92617C68-C302-44DA-8143-A6D610D84296}" srcOrd="1" destOrd="0" presId="urn:microsoft.com/office/officeart/2008/layout/LinedList"/>
    <dgm:cxn modelId="{8BFAD34D-DAA9-48DA-B45C-612019FA7B65}" type="presParOf" srcId="{13F66CF7-58BF-43E9-BC47-3ADA83FEF894}" destId="{D3E38BC5-FCE9-4F76-92E8-F0D67F9455D4}" srcOrd="12" destOrd="0" presId="urn:microsoft.com/office/officeart/2008/layout/LinedList"/>
    <dgm:cxn modelId="{0F20AF40-5529-4F5A-838E-BEE0557F3087}" type="presParOf" srcId="{13F66CF7-58BF-43E9-BC47-3ADA83FEF894}" destId="{D81092DA-3B55-46C1-8273-3ED08710D3D4}" srcOrd="13" destOrd="0" presId="urn:microsoft.com/office/officeart/2008/layout/LinedList"/>
    <dgm:cxn modelId="{E4628A31-9C40-465A-B289-A240D4F81516}" type="presParOf" srcId="{D81092DA-3B55-46C1-8273-3ED08710D3D4}" destId="{77DABA8C-66BA-4825-B682-9F082DFB2AA2}" srcOrd="0" destOrd="0" presId="urn:microsoft.com/office/officeart/2008/layout/LinedList"/>
    <dgm:cxn modelId="{F24EFD0A-23EE-4C6B-8170-A758E5BA317B}" type="presParOf" srcId="{D81092DA-3B55-46C1-8273-3ED08710D3D4}" destId="{5D611142-15A3-4A25-9FBA-4D4D2D997DF3}" srcOrd="1" destOrd="0" presId="urn:microsoft.com/office/officeart/2008/layout/LinedList"/>
    <dgm:cxn modelId="{3E8BCC2D-790C-4621-8F73-95DF49A152CF}" type="presParOf" srcId="{13F66CF7-58BF-43E9-BC47-3ADA83FEF894}" destId="{619B49FD-2367-4F42-A43B-8279186DF00E}" srcOrd="14" destOrd="0" presId="urn:microsoft.com/office/officeart/2008/layout/LinedList"/>
    <dgm:cxn modelId="{A3B33412-F513-43F3-8F86-0E0F97A58C1E}" type="presParOf" srcId="{13F66CF7-58BF-43E9-BC47-3ADA83FEF894}" destId="{08E0EAB9-B66F-400B-A442-98DF015826F7}" srcOrd="15" destOrd="0" presId="urn:microsoft.com/office/officeart/2008/layout/LinedList"/>
    <dgm:cxn modelId="{4DD9EA0C-D013-40B2-8BB3-48CE777A86E1}" type="presParOf" srcId="{08E0EAB9-B66F-400B-A442-98DF015826F7}" destId="{B283759F-5B9F-45F1-816C-EAC89575C332}" srcOrd="0" destOrd="0" presId="urn:microsoft.com/office/officeart/2008/layout/LinedList"/>
    <dgm:cxn modelId="{00DCBEE7-0FDD-4EE6-8237-06F814FC16AB}" type="presParOf" srcId="{08E0EAB9-B66F-400B-A442-98DF015826F7}" destId="{7B9A5381-B2CC-4C63-8AFD-867272E8BB57}"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FC6D3C-E20A-486D-BA65-0D39FD041964}">
      <dsp:nvSpPr>
        <dsp:cNvPr id="0" name=""/>
        <dsp:cNvSpPr/>
      </dsp:nvSpPr>
      <dsp:spPr>
        <a:xfrm>
          <a:off x="2399120" y="723938"/>
          <a:ext cx="1371886" cy="13718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 </a:t>
          </a:r>
        </a:p>
      </dsp:txBody>
      <dsp:txXfrm>
        <a:off x="2399120" y="723938"/>
        <a:ext cx="1371886" cy="1371886"/>
      </dsp:txXfrm>
    </dsp:sp>
    <dsp:sp modelId="{3810764E-DC64-4567-99CA-A02ABBF95A87}">
      <dsp:nvSpPr>
        <dsp:cNvPr id="0" name=""/>
        <dsp:cNvSpPr/>
      </dsp:nvSpPr>
      <dsp:spPr>
        <a:xfrm>
          <a:off x="554667" y="-221"/>
          <a:ext cx="2820207" cy="2820207"/>
        </a:xfrm>
        <a:prstGeom prst="circularArrow">
          <a:avLst>
            <a:gd name="adj1" fmla="val 9486"/>
            <a:gd name="adj2" fmla="val 685224"/>
            <a:gd name="adj3" fmla="val 7849464"/>
            <a:gd name="adj4" fmla="val 2265312"/>
            <a:gd name="adj5" fmla="val 11067"/>
          </a:avLst>
        </a:prstGeom>
        <a:solidFill>
          <a:schemeClr val="tx2"/>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713C2D4-345D-452F-9AFC-626C60A9AA48}">
      <dsp:nvSpPr>
        <dsp:cNvPr id="0" name=""/>
        <dsp:cNvSpPr/>
      </dsp:nvSpPr>
      <dsp:spPr>
        <a:xfrm>
          <a:off x="158535" y="723938"/>
          <a:ext cx="1371886" cy="13718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 </a:t>
          </a:r>
        </a:p>
      </dsp:txBody>
      <dsp:txXfrm>
        <a:off x="158535" y="723938"/>
        <a:ext cx="1371886" cy="1371886"/>
      </dsp:txXfrm>
    </dsp:sp>
    <dsp:sp modelId="{F60D9592-48E3-49E1-BF81-CFFD38BBB265}">
      <dsp:nvSpPr>
        <dsp:cNvPr id="0" name=""/>
        <dsp:cNvSpPr/>
      </dsp:nvSpPr>
      <dsp:spPr>
        <a:xfrm>
          <a:off x="554667" y="-221"/>
          <a:ext cx="2820207" cy="2820207"/>
        </a:xfrm>
        <a:prstGeom prst="circularArrow">
          <a:avLst>
            <a:gd name="adj1" fmla="val 9486"/>
            <a:gd name="adj2" fmla="val 685224"/>
            <a:gd name="adj3" fmla="val 18649464"/>
            <a:gd name="adj4" fmla="val 13065312"/>
            <a:gd name="adj5" fmla="val 11067"/>
          </a:avLst>
        </a:prstGeom>
        <a:solidFill>
          <a:schemeClr val="tx2"/>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9D8A98-EF7E-4B29-A9CB-82E43FBD5689}">
      <dsp:nvSpPr>
        <dsp:cNvPr id="0" name=""/>
        <dsp:cNvSpPr/>
      </dsp:nvSpPr>
      <dsp:spPr>
        <a:xfrm>
          <a:off x="0" y="0"/>
          <a:ext cx="6816564" cy="0"/>
        </a:xfrm>
        <a:prstGeom prst="line">
          <a:avLst/>
        </a:prstGeom>
        <a:solidFill>
          <a:schemeClr val="accent1">
            <a:alpha val="90000"/>
            <a:hueOff val="0"/>
            <a:satOff val="0"/>
            <a:lumOff val="0"/>
            <a:alphaOff val="0"/>
          </a:schemeClr>
        </a:solidFill>
        <a:ln w="9525" cap="flat" cmpd="sng" algn="ctr">
          <a:solidFill>
            <a:schemeClr val="accent1">
              <a:alpha val="90000"/>
              <a:hueOff val="0"/>
              <a:satOff val="0"/>
              <a:lumOff val="0"/>
              <a:alphaOff val="0"/>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1DC707EC-1DB1-46B9-8DEF-4F7F965DAF61}">
      <dsp:nvSpPr>
        <dsp:cNvPr id="0" name=""/>
        <dsp:cNvSpPr/>
      </dsp:nvSpPr>
      <dsp:spPr>
        <a:xfrm>
          <a:off x="0" y="0"/>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o has access to my data?</a:t>
          </a:r>
        </a:p>
      </dsp:txBody>
      <dsp:txXfrm>
        <a:off x="0" y="0"/>
        <a:ext cx="6816564" cy="646250"/>
      </dsp:txXfrm>
    </dsp:sp>
    <dsp:sp modelId="{9E4183E4-099A-4194-B781-6777FED67356}">
      <dsp:nvSpPr>
        <dsp:cNvPr id="0" name=""/>
        <dsp:cNvSpPr/>
      </dsp:nvSpPr>
      <dsp:spPr>
        <a:xfrm>
          <a:off x="0" y="646250"/>
          <a:ext cx="6816564" cy="0"/>
        </a:xfrm>
        <a:prstGeom prst="line">
          <a:avLst/>
        </a:prstGeom>
        <a:solidFill>
          <a:schemeClr val="accent1">
            <a:alpha val="90000"/>
            <a:hueOff val="0"/>
            <a:satOff val="0"/>
            <a:lumOff val="0"/>
            <a:alphaOff val="-5714"/>
          </a:schemeClr>
        </a:solidFill>
        <a:ln w="9525" cap="flat" cmpd="sng" algn="ctr">
          <a:solidFill>
            <a:schemeClr val="accent1">
              <a:alpha val="90000"/>
              <a:hueOff val="0"/>
              <a:satOff val="0"/>
              <a:lumOff val="0"/>
              <a:alphaOff val="-5714"/>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53E3FE6B-8B51-4B70-8C1D-BC402F9199B0}">
      <dsp:nvSpPr>
        <dsp:cNvPr id="0" name=""/>
        <dsp:cNvSpPr/>
      </dsp:nvSpPr>
      <dsp:spPr>
        <a:xfrm>
          <a:off x="0" y="646250"/>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Are they certified to operate in a compliant environment?</a:t>
          </a:r>
        </a:p>
      </dsp:txBody>
      <dsp:txXfrm>
        <a:off x="0" y="646250"/>
        <a:ext cx="6816564" cy="646250"/>
      </dsp:txXfrm>
    </dsp:sp>
    <dsp:sp modelId="{767B5FB3-FFAD-4DFD-BB86-02DA227549A3}">
      <dsp:nvSpPr>
        <dsp:cNvPr id="0" name=""/>
        <dsp:cNvSpPr/>
      </dsp:nvSpPr>
      <dsp:spPr>
        <a:xfrm>
          <a:off x="0" y="1292501"/>
          <a:ext cx="6816564" cy="0"/>
        </a:xfrm>
        <a:prstGeom prst="line">
          <a:avLst/>
        </a:prstGeom>
        <a:solidFill>
          <a:schemeClr val="accent1">
            <a:alpha val="90000"/>
            <a:hueOff val="0"/>
            <a:satOff val="0"/>
            <a:lumOff val="0"/>
            <a:alphaOff val="-11429"/>
          </a:schemeClr>
        </a:solidFill>
        <a:ln w="9525" cap="flat" cmpd="sng" algn="ctr">
          <a:solidFill>
            <a:schemeClr val="accent1">
              <a:alpha val="90000"/>
              <a:hueOff val="0"/>
              <a:satOff val="0"/>
              <a:lumOff val="0"/>
              <a:alphaOff val="-11429"/>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1FC07F24-96FA-4976-81D0-7B4C3343B93B}">
      <dsp:nvSpPr>
        <dsp:cNvPr id="0" name=""/>
        <dsp:cNvSpPr/>
      </dsp:nvSpPr>
      <dsp:spPr>
        <a:xfrm>
          <a:off x="0" y="1292501"/>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ere is my data stored?</a:t>
          </a:r>
        </a:p>
      </dsp:txBody>
      <dsp:txXfrm>
        <a:off x="0" y="1292501"/>
        <a:ext cx="6816564" cy="646250"/>
      </dsp:txXfrm>
    </dsp:sp>
    <dsp:sp modelId="{4F0DA7F7-1176-4185-BAAE-527B2C69AD66}">
      <dsp:nvSpPr>
        <dsp:cNvPr id="0" name=""/>
        <dsp:cNvSpPr/>
      </dsp:nvSpPr>
      <dsp:spPr>
        <a:xfrm>
          <a:off x="0" y="1938752"/>
          <a:ext cx="6816564" cy="0"/>
        </a:xfrm>
        <a:prstGeom prst="line">
          <a:avLst/>
        </a:prstGeom>
        <a:solidFill>
          <a:schemeClr val="accent1">
            <a:alpha val="90000"/>
            <a:hueOff val="0"/>
            <a:satOff val="0"/>
            <a:lumOff val="0"/>
            <a:alphaOff val="-17143"/>
          </a:schemeClr>
        </a:solidFill>
        <a:ln w="9525" cap="flat" cmpd="sng" algn="ctr">
          <a:solidFill>
            <a:schemeClr val="accent1">
              <a:alpha val="90000"/>
              <a:hueOff val="0"/>
              <a:satOff val="0"/>
              <a:lumOff val="0"/>
              <a:alphaOff val="-17143"/>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5B5E1D02-BE48-48D8-A992-271EB811C5AB}">
      <dsp:nvSpPr>
        <dsp:cNvPr id="0" name=""/>
        <dsp:cNvSpPr/>
      </dsp:nvSpPr>
      <dsp:spPr>
        <a:xfrm>
          <a:off x="0" y="1938752"/>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How is my data isolated?</a:t>
          </a:r>
        </a:p>
      </dsp:txBody>
      <dsp:txXfrm>
        <a:off x="0" y="1938752"/>
        <a:ext cx="6816564" cy="646250"/>
      </dsp:txXfrm>
    </dsp:sp>
    <dsp:sp modelId="{D272A17F-BCEE-4DAA-A3A1-AC0FD7025AFC}">
      <dsp:nvSpPr>
        <dsp:cNvPr id="0" name=""/>
        <dsp:cNvSpPr/>
      </dsp:nvSpPr>
      <dsp:spPr>
        <a:xfrm>
          <a:off x="0" y="2585003"/>
          <a:ext cx="6816564" cy="0"/>
        </a:xfrm>
        <a:prstGeom prst="line">
          <a:avLst/>
        </a:prstGeom>
        <a:solidFill>
          <a:schemeClr val="accent1">
            <a:alpha val="90000"/>
            <a:hueOff val="0"/>
            <a:satOff val="0"/>
            <a:lumOff val="0"/>
            <a:alphaOff val="-22857"/>
          </a:schemeClr>
        </a:solidFill>
        <a:ln w="9525" cap="flat" cmpd="sng" algn="ctr">
          <a:solidFill>
            <a:schemeClr val="accent1">
              <a:alpha val="90000"/>
              <a:hueOff val="0"/>
              <a:satOff val="0"/>
              <a:lumOff val="0"/>
              <a:alphaOff val="-22857"/>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31F2C5D0-FB58-4D46-999D-D8F330C4EF26}">
      <dsp:nvSpPr>
        <dsp:cNvPr id="0" name=""/>
        <dsp:cNvSpPr/>
      </dsp:nvSpPr>
      <dsp:spPr>
        <a:xfrm>
          <a:off x="0" y="2585002"/>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at happens if there is a problem?</a:t>
          </a:r>
        </a:p>
      </dsp:txBody>
      <dsp:txXfrm>
        <a:off x="0" y="2585002"/>
        <a:ext cx="6816564" cy="646250"/>
      </dsp:txXfrm>
    </dsp:sp>
    <dsp:sp modelId="{E09E30F6-70EC-469B-A4AE-68D542F62EBD}">
      <dsp:nvSpPr>
        <dsp:cNvPr id="0" name=""/>
        <dsp:cNvSpPr/>
      </dsp:nvSpPr>
      <dsp:spPr>
        <a:xfrm>
          <a:off x="0" y="3231253"/>
          <a:ext cx="6816564" cy="0"/>
        </a:xfrm>
        <a:prstGeom prst="line">
          <a:avLst/>
        </a:prstGeom>
        <a:solidFill>
          <a:schemeClr val="accent1">
            <a:alpha val="90000"/>
            <a:hueOff val="0"/>
            <a:satOff val="0"/>
            <a:lumOff val="0"/>
            <a:alphaOff val="-28571"/>
          </a:schemeClr>
        </a:solidFill>
        <a:ln w="9525" cap="flat" cmpd="sng" algn="ctr">
          <a:solidFill>
            <a:schemeClr val="accent1">
              <a:alpha val="90000"/>
              <a:hueOff val="0"/>
              <a:satOff val="0"/>
              <a:lumOff val="0"/>
              <a:alphaOff val="-28571"/>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3E2229F2-8999-4753-9798-1303E99B9C3D}">
      <dsp:nvSpPr>
        <dsp:cNvPr id="0" name=""/>
        <dsp:cNvSpPr/>
      </dsp:nvSpPr>
      <dsp:spPr>
        <a:xfrm>
          <a:off x="0" y="3231253"/>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at is the response to a legal request?</a:t>
          </a:r>
        </a:p>
      </dsp:txBody>
      <dsp:txXfrm>
        <a:off x="0" y="3231253"/>
        <a:ext cx="6816564" cy="646250"/>
      </dsp:txXfrm>
    </dsp:sp>
    <dsp:sp modelId="{D3E38BC5-FCE9-4F76-92E8-F0D67F9455D4}">
      <dsp:nvSpPr>
        <dsp:cNvPr id="0" name=""/>
        <dsp:cNvSpPr/>
      </dsp:nvSpPr>
      <dsp:spPr>
        <a:xfrm>
          <a:off x="0" y="3877504"/>
          <a:ext cx="6816564" cy="0"/>
        </a:xfrm>
        <a:prstGeom prst="line">
          <a:avLst/>
        </a:prstGeom>
        <a:solidFill>
          <a:schemeClr val="accent1">
            <a:alpha val="90000"/>
            <a:hueOff val="0"/>
            <a:satOff val="0"/>
            <a:lumOff val="0"/>
            <a:alphaOff val="-34286"/>
          </a:schemeClr>
        </a:solidFill>
        <a:ln w="9525" cap="flat" cmpd="sng" algn="ctr">
          <a:solidFill>
            <a:schemeClr val="accent1">
              <a:alpha val="90000"/>
              <a:hueOff val="0"/>
              <a:satOff val="0"/>
              <a:lumOff val="0"/>
              <a:alphaOff val="-34286"/>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77DABA8C-66BA-4825-B682-9F082DFB2AA2}">
      <dsp:nvSpPr>
        <dsp:cNvPr id="0" name=""/>
        <dsp:cNvSpPr/>
      </dsp:nvSpPr>
      <dsp:spPr>
        <a:xfrm>
          <a:off x="0" y="3877504"/>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at is the vendor’s history?</a:t>
          </a:r>
        </a:p>
      </dsp:txBody>
      <dsp:txXfrm>
        <a:off x="0" y="3877504"/>
        <a:ext cx="6816564" cy="646250"/>
      </dsp:txXfrm>
    </dsp:sp>
    <dsp:sp modelId="{619B49FD-2367-4F42-A43B-8279186DF00E}">
      <dsp:nvSpPr>
        <dsp:cNvPr id="0" name=""/>
        <dsp:cNvSpPr/>
      </dsp:nvSpPr>
      <dsp:spPr>
        <a:xfrm>
          <a:off x="0" y="4523755"/>
          <a:ext cx="6816564" cy="0"/>
        </a:xfrm>
        <a:prstGeom prst="line">
          <a:avLst/>
        </a:prstGeom>
        <a:solidFill>
          <a:schemeClr val="accent1">
            <a:alpha val="90000"/>
            <a:hueOff val="0"/>
            <a:satOff val="0"/>
            <a:lumOff val="0"/>
            <a:alphaOff val="-40000"/>
          </a:schemeClr>
        </a:solidFill>
        <a:ln w="9525" cap="flat" cmpd="sng" algn="ctr">
          <a:solidFill>
            <a:schemeClr val="accent1">
              <a:alpha val="90000"/>
              <a:hueOff val="0"/>
              <a:satOff val="0"/>
              <a:lumOff val="0"/>
              <a:alphaOff val="-40000"/>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B283759F-5B9F-45F1-816C-EAC89575C332}">
      <dsp:nvSpPr>
        <dsp:cNvPr id="0" name=""/>
        <dsp:cNvSpPr/>
      </dsp:nvSpPr>
      <dsp:spPr>
        <a:xfrm>
          <a:off x="0" y="4523755"/>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at is the product roadmap?</a:t>
          </a:r>
        </a:p>
      </dsp:txBody>
      <dsp:txXfrm>
        <a:off x="0" y="4523755"/>
        <a:ext cx="6816564" cy="646250"/>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91C3FD-AA1B-47EA-9DF1-6B966B4BE7D5}" type="datetimeFigureOut">
              <a:rPr lang="en-US" smtClean="0"/>
              <a:t>4/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218143-0597-44D0-B6DD-926DDC615240}" type="slidenum">
              <a:rPr lang="en-US" smtClean="0"/>
              <a:t>‹#›</a:t>
            </a:fld>
            <a:endParaRPr lang="en-US"/>
          </a:p>
        </p:txBody>
      </p:sp>
    </p:spTree>
    <p:extLst>
      <p:ext uri="{BB962C8B-B14F-4D97-AF65-F5344CB8AC3E}">
        <p14:creationId xmlns:p14="http://schemas.microsoft.com/office/powerpoint/2010/main" val="32164882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Cloud (inclusive of Azure and Office 365) is about 3 things:  Global scale, Trusted (by</a:t>
            </a:r>
            <a:r>
              <a:rPr lang="en-US" baseline="0" dirty="0"/>
              <a:t> enterprises and partners alike), and Hybrid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9:2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222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Slide 17: The case for hybrid platform  </a:t>
            </a:r>
            <a:endParaRPr lang="en-US" sz="11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So why even build this hybrid platform? In one word – customer-centricity.</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ustomers told us loud and clear – “We want Azure in our datacenters”.  </a:t>
            </a:r>
          </a:p>
          <a:p>
            <a:pPr lvl="0"/>
            <a:endParaRPr lang="en-US" sz="11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We heard the following drivers/motivations : </a:t>
            </a:r>
            <a:endParaRPr lang="en-US" sz="1100" kern="1200" dirty="0">
              <a:solidFill>
                <a:schemeClr val="tx1"/>
              </a:solidFill>
              <a:effectLst/>
              <a:latin typeface="Segoe UI Light" pitchFamily="34" charset="0"/>
              <a:ea typeface="+mn-ea"/>
              <a:cs typeface="+mn-cs"/>
            </a:endParaRPr>
          </a:p>
          <a:p>
            <a:pPr lvl="1"/>
            <a:r>
              <a:rPr lang="en-US" sz="900" b="1" kern="1200" dirty="0">
                <a:solidFill>
                  <a:schemeClr val="tx1"/>
                </a:solidFill>
                <a:effectLst/>
                <a:latin typeface="Segoe UI Light" pitchFamily="34" charset="0"/>
                <a:ea typeface="+mn-ea"/>
                <a:cs typeface="+mn-cs"/>
              </a:rPr>
              <a:t>Business requirements</a:t>
            </a:r>
            <a:r>
              <a:rPr lang="en-US" sz="900" kern="120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 </a:t>
            </a:r>
          </a:p>
          <a:p>
            <a:pPr lvl="2"/>
            <a:r>
              <a:rPr lang="en-US" sz="1100" b="0" kern="1200" dirty="0">
                <a:solidFill>
                  <a:schemeClr val="tx1"/>
                </a:solidFill>
                <a:effectLst/>
                <a:latin typeface="Segoe UI Light" pitchFamily="34" charset="0"/>
                <a:ea typeface="+mn-ea"/>
                <a:cs typeface="+mn-cs"/>
              </a:rPr>
              <a:t>Summarize key requirements: latency, customization, sovereignty,</a:t>
            </a:r>
            <a:r>
              <a:rPr lang="en-US" sz="1100" b="0" kern="1200" baseline="0" dirty="0">
                <a:solidFill>
                  <a:schemeClr val="tx1"/>
                </a:solidFill>
                <a:effectLst/>
                <a:latin typeface="Segoe UI Light" pitchFamily="34" charset="0"/>
                <a:ea typeface="+mn-ea"/>
                <a:cs typeface="+mn-cs"/>
              </a:rPr>
              <a:t> </a:t>
            </a:r>
            <a:endParaRPr lang="en-US" sz="1100" b="0" kern="1200" dirty="0">
              <a:solidFill>
                <a:schemeClr val="tx1"/>
              </a:solidFill>
              <a:effectLst/>
              <a:latin typeface="Segoe UI Light" pitchFamily="34" charset="0"/>
              <a:ea typeface="+mn-ea"/>
              <a:cs typeface="+mn-cs"/>
            </a:endParaRPr>
          </a:p>
          <a:p>
            <a:pPr lvl="1"/>
            <a:r>
              <a:rPr lang="en-US" sz="900" b="1" kern="1200" dirty="0">
                <a:solidFill>
                  <a:schemeClr val="tx1"/>
                </a:solidFill>
                <a:effectLst/>
                <a:latin typeface="Segoe UI Light" pitchFamily="34" charset="0"/>
                <a:ea typeface="+mn-ea"/>
                <a:cs typeface="+mn-cs"/>
              </a:rPr>
              <a:t>Make cloud-first innovation possible everywhere</a:t>
            </a:r>
            <a:r>
              <a:rPr lang="en-US" sz="900" kern="1200" dirty="0">
                <a:solidFill>
                  <a:schemeClr val="tx1"/>
                </a:solidFill>
                <a:effectLst/>
                <a:latin typeface="Segoe UI Light" pitchFamily="34" charset="0"/>
                <a:ea typeface="+mn-ea"/>
                <a:cs typeface="+mn-cs"/>
              </a:rPr>
              <a:t>  </a:t>
            </a:r>
            <a:endParaRPr lang="en-US" sz="1100" kern="1200" dirty="0">
              <a:solidFill>
                <a:schemeClr val="tx1"/>
              </a:solidFill>
              <a:effectLst/>
              <a:latin typeface="Segoe UI Light" pitchFamily="34" charset="0"/>
              <a:ea typeface="+mn-ea"/>
              <a:cs typeface="+mn-cs"/>
            </a:endParaRPr>
          </a:p>
          <a:p>
            <a:pPr lvl="2"/>
            <a:r>
              <a:rPr lang="en-US" sz="900" kern="1200" dirty="0">
                <a:solidFill>
                  <a:schemeClr val="tx1"/>
                </a:solidFill>
                <a:effectLst/>
                <a:latin typeface="Segoe UI Light" pitchFamily="34" charset="0"/>
                <a:ea typeface="+mn-ea"/>
                <a:cs typeface="+mn-cs"/>
              </a:rPr>
              <a:t>So you can make app deployment decisions based on business need (vs. technology constraints).  We will talk a little more about the innovation possibilities that this opens up in another slide. </a:t>
            </a:r>
            <a:endParaRPr lang="en-US" sz="1100" kern="1200" dirty="0">
              <a:solidFill>
                <a:schemeClr val="tx1"/>
              </a:solidFill>
              <a:effectLst/>
              <a:latin typeface="Segoe UI Light" pitchFamily="34" charset="0"/>
              <a:ea typeface="+mn-ea"/>
              <a:cs typeface="+mn-cs"/>
            </a:endParaRPr>
          </a:p>
          <a:p>
            <a:pPr lvl="1"/>
            <a:r>
              <a:rPr lang="en-US" sz="900" b="1" kern="1200" dirty="0">
                <a:solidFill>
                  <a:schemeClr val="tx1"/>
                </a:solidFill>
                <a:effectLst/>
                <a:latin typeface="Segoe UI Light" pitchFamily="34" charset="0"/>
                <a:ea typeface="+mn-ea"/>
                <a:cs typeface="+mn-cs"/>
              </a:rPr>
              <a:t>Finally, customers are finding that the alternatives they have don’t meet their needs (de-positioning competition)  </a:t>
            </a:r>
            <a:endParaRPr lang="en-US" sz="1100" b="1" kern="1200" dirty="0">
              <a:solidFill>
                <a:schemeClr val="tx1"/>
              </a:solidFill>
              <a:effectLst/>
              <a:latin typeface="Segoe UI Light" pitchFamily="34" charset="0"/>
              <a:ea typeface="+mn-ea"/>
              <a:cs typeface="+mn-cs"/>
            </a:endParaRP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SITIONING STATEMENT</a:t>
            </a:r>
            <a:r>
              <a:rPr lang="en-US" sz="900" kern="1200" baseline="0" dirty="0">
                <a:solidFill>
                  <a:schemeClr val="tx1"/>
                </a:solidFill>
                <a:effectLst/>
                <a:latin typeface="Segoe UI Light" pitchFamily="34" charset="0"/>
                <a:ea typeface="+mn-ea"/>
                <a:cs typeface="+mn-cs"/>
              </a:rPr>
              <a:t> (all-up) </a:t>
            </a:r>
            <a:r>
              <a:rPr lang="en-US" sz="900" kern="1200" dirty="0">
                <a:solidFill>
                  <a:schemeClr val="tx1"/>
                </a:solidFill>
                <a:effectLst/>
                <a:latin typeface="Segoe UI Light" pitchFamily="34" charset="0"/>
                <a:ea typeface="+mn-ea"/>
                <a:cs typeface="+mn-cs"/>
              </a:rPr>
              <a:t>For organizations that are looking for speed and innovation of cloud computing in their datacenter, Microsoft Azure Stack offers the only hybrid cloud platform that is truly consistent with a leading public cloud.  Only Microsoft can bring proven innovation – including higher level PaaS services –  from hyper-scale datacenters to on-premises environments to flexibly meet customers’ business requirements.  </a:t>
            </a:r>
            <a:endParaRPr lang="en-US" sz="8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n-US" sz="11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Based on the above,  we have internalized that “cloud-first” needs to be fully enabled across on-premises and public environments.  Ultimately, we want you to be to embrace cloud-first on your terms – every transformation journey is different and we want to be respectful of that.  We want you (and your business) to focus your energies and resources on the things that really matter – i.e. the things that differentiate your product or service in the market. That’s really why we’re doing this work on enabling platform consistency so you don’t need to spend cycles attempting to do that on your own.  </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F68B06-333C-43BF-AD41-2C289B2331D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18192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10C4DB-D43F-4BBA-A6EE-E63E7B05B8DE}"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04794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9:2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210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94242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816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62722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2682499" rtl="0" eaLnBrk="1" fontAlgn="auto" latinLnBrk="0" hangingPunct="1">
              <a:lnSpc>
                <a:spcPct val="90000"/>
              </a:lnSpc>
              <a:spcBef>
                <a:spcPts val="0"/>
              </a:spcBef>
              <a:spcAft>
                <a:spcPts val="333"/>
              </a:spcAft>
              <a:buClrTx/>
              <a:buSzTx/>
              <a:buFontTx/>
              <a:buNone/>
              <a:tabLst/>
              <a:defRPr/>
            </a:pPr>
            <a:r>
              <a:rPr lang="en-US" b="1" dirty="0"/>
              <a:t>Talking points:</a:t>
            </a:r>
          </a:p>
          <a:p>
            <a:pPr defTabSz="2682499">
              <a:defRPr/>
            </a:pPr>
            <a:endParaRPr lang="en-US" u="none" dirty="0">
              <a:latin typeface="Calibri" panose="020F0502020204030204" pitchFamily="34" charset="0"/>
              <a:ea typeface="DengXian" panose="02010600030101010101" pitchFamily="2" charset="-122"/>
            </a:endParaRP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I shared earlier in this session how we are uniquely positioned to provide an end-to-end customer cloud journey.</a:t>
            </a: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In the context of application development, we provide different approaches to modernize your apps.</a:t>
            </a: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A</a:t>
            </a:r>
            <a:r>
              <a:rPr lang="en-US" sz="1200" b="0" i="0" u="none" strike="noStrike" kern="1200" dirty="0">
                <a:solidFill>
                  <a:schemeClr val="tx1"/>
                </a:solidFill>
                <a:effectLst/>
                <a:latin typeface="Segoe UI Light" pitchFamily="34" charset="0"/>
                <a:ea typeface="+mn-ea"/>
                <a:cs typeface="+mn-cs"/>
              </a:rPr>
              <a:t>pplication modernization is a journey to digitally transform your business applications to make them future-ready.</a:t>
            </a:r>
          </a:p>
          <a:p>
            <a:pPr marL="171450" indent="-171450">
              <a:buFont typeface="Arial" panose="020B0604020202020204" pitchFamily="34" charset="0"/>
              <a:buChar char="•"/>
            </a:pPr>
            <a:r>
              <a:rPr lang="en-US" sz="1200" b="0" i="0" u="none" strike="noStrike" kern="1200" dirty="0">
                <a:solidFill>
                  <a:schemeClr val="tx1"/>
                </a:solidFill>
                <a:effectLst/>
                <a:latin typeface="Segoe UI Light" pitchFamily="34" charset="0"/>
                <a:ea typeface="+mn-ea"/>
                <a:cs typeface="+mn-cs"/>
              </a:rPr>
              <a:t>We meet your customers where they are: Some applications are ready to modernize; some may require minor changes in code; and still others may need a complete redesign to make them cloud-ready. Choosing the right migration approach for different applications in your portfolio can help you extract maximum value from cloud-enabled and innovative technologies.</a:t>
            </a: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On this section our focus is the impact, importance, and the business opportunity that application modernization provides to our partner ecosystem.</a:t>
            </a:r>
          </a:p>
          <a:p>
            <a:pPr defTabSz="2682499">
              <a:defRPr/>
            </a:pPr>
            <a:endParaRPr lang="en-US" u="none" dirty="0">
              <a:latin typeface="Calibri" panose="020F0502020204030204" pitchFamily="34" charset="0"/>
              <a:ea typeface="DengXian" panose="02010600030101010101" pitchFamily="2" charset="-122"/>
            </a:endParaRPr>
          </a:p>
          <a:p>
            <a:endParaRPr lang="en-US" dirty="0"/>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4/15/2019 9:44 P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7</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8613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xfrm>
            <a:off x="433388" y="709613"/>
            <a:ext cx="6311900" cy="3549650"/>
          </a:xfrm>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a:defRPr/>
            </a:pPr>
            <a:endParaRPr lang="en-US" dirty="0"/>
          </a:p>
        </p:txBody>
      </p:sp>
      <p:sp>
        <p:nvSpPr>
          <p:cNvPr id="9421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841227-A849-46B0-96DD-0158225B5037}"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359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normAutofit/>
          </a:bodyPr>
          <a:lstStyle/>
          <a:p>
            <a:endParaRPr lang="en-US" dirty="0"/>
          </a:p>
        </p:txBody>
      </p:sp>
      <p:sp>
        <p:nvSpPr>
          <p:cNvPr id="8" name="Date Placeholder 7"/>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92B45B1-77DA-44B7-B72E-9922F7F42D1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583273"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 2010 Microsoft Corporation. All rights reserved. Microsoft, Windows, Windows Vista and other product names are or may be registered trademarks and/or trademarks in the U.S. and/or other countries.</a:t>
            </a:r>
          </a:p>
          <a:p>
            <a:pPr marL="583273"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Calibri"/>
                <a:ea typeface="+mn-ea"/>
                <a:cs typeface="+mn-cs"/>
              </a:rPr>
            </a:br>
            <a:r>
              <a:rPr kumimoji="0" lang="en-US" sz="1200" b="0" i="0" u="none" strike="noStrike" kern="1200" cap="none" spc="0" normalizeH="0" baseline="0" noProof="0" dirty="0">
                <a:ln>
                  <a:noFill/>
                </a:ln>
                <a:solidFill>
                  <a:srgbClr val="000000"/>
                </a:solidFill>
                <a:effectLst/>
                <a:uLnTx/>
                <a:uFillTx/>
                <a:latin typeface="Calibri"/>
                <a:ea typeface="+mn-ea"/>
                <a:cs typeface="+mn-cs"/>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WPC2010_Value</a:t>
            </a:r>
          </a:p>
        </p:txBody>
      </p:sp>
    </p:spTree>
    <p:extLst>
      <p:ext uri="{BB962C8B-B14F-4D97-AF65-F5344CB8AC3E}">
        <p14:creationId xmlns:p14="http://schemas.microsoft.com/office/powerpoint/2010/main" val="5324250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9536EA1-9F17-4651-8A75-B6C133850D3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6600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In order to help organizations meet data residency, sovereignty and compliance requirements, Microsoft has a worldwide network of 32 Microsoft-managed Azure regions operations and plans for 6 additional regions and continues to make significant investments in geo-expansion through our local and sovereign offerings in more than 10 unique geographic regions worldwid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73216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F6956F3-7789-E044-B7D3-F234CE1177F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42833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447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9:2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6033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0">
                      <a:srgbClr val="FFFFFF"/>
                    </a:gs>
                    <a:gs pos="100000">
                      <a:srgbClr val="FFFFFF"/>
                    </a:gs>
                  </a:gsLst>
                  <a:lin ang="5400000" scaled="0"/>
                </a:gradFill>
                <a:ea typeface="Segoe UI" pitchFamily="34" charset="0"/>
                <a:cs typeface="Segoe UI" pitchFamily="34" charset="0"/>
              </a:rPr>
              <a:t>Model Not Location”</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0690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4077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7189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4385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dirty="0">
                <a:solidFill>
                  <a:schemeClr val="bg1"/>
                </a:solidFill>
                <a:latin typeface="Segoe UI" pitchFamily="34" charset="0"/>
              </a:rPr>
              <a:t>P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952799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9:2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09105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9.jpeg"/><Relationship Id="rId1" Type="http://schemas.openxmlformats.org/officeDocument/2006/relationships/slideMaster" Target="../slideMasters/slideMaster9.xml"/><Relationship Id="rId4" Type="http://schemas.openxmlformats.org/officeDocument/2006/relationships/image" Target="../media/image27.emf"/></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4.emf"/><Relationship Id="rId4" Type="http://schemas.openxmlformats.org/officeDocument/2006/relationships/oleObject" Target="../embeddings/oleObject5.bin"/></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emf"/><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9.jpg"/><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4.png"/><Relationship Id="rId5" Type="http://schemas.openxmlformats.org/officeDocument/2006/relationships/image" Target="../media/image24.emf"/><Relationship Id="rId4" Type="http://schemas.openxmlformats.org/officeDocument/2006/relationships/oleObject" Target="../embeddings/oleObject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jpeg"/><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61.png"/><Relationship Id="rId1" Type="http://schemas.openxmlformats.org/officeDocument/2006/relationships/slideMaster" Target="../slideMasters/slideMaster19.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emf"/><Relationship Id="rId1" Type="http://schemas.openxmlformats.org/officeDocument/2006/relationships/slideMaster" Target="../slideMasters/slideMaster19.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3.emf"/><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4.emf"/><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emf"/><Relationship Id="rId1"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6.emf"/><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7.emf"/><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8.emf"/><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1.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emf"/><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3.emf"/><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4.emf"/><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emf"/><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6.emf"/><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7.emf"/><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8.emf"/><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9.emf"/><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36.png"/><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image" Target="../media/image78.emf"/><Relationship Id="rId1" Type="http://schemas.openxmlformats.org/officeDocument/2006/relationships/slideMaster" Target="../slideMasters/slideMaster2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23.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9.jpeg"/><Relationship Id="rId1" Type="http://schemas.openxmlformats.org/officeDocument/2006/relationships/slideMaster" Target="../slideMasters/slideMaster2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80.jpg"/><Relationship Id="rId1" Type="http://schemas.openxmlformats.org/officeDocument/2006/relationships/slideMaster" Target="../slideMasters/slideMaster2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81.png"/><Relationship Id="rId1" Type="http://schemas.openxmlformats.org/officeDocument/2006/relationships/slideMaster" Target="../slideMasters/slideMaster2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3.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image" Target="../media/image78.emf"/><Relationship Id="rId1" Type="http://schemas.openxmlformats.org/officeDocument/2006/relationships/slideMaster" Target="../slideMasters/slideMaster2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2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9.jpeg"/><Relationship Id="rId1" Type="http://schemas.openxmlformats.org/officeDocument/2006/relationships/slideMaster" Target="../slideMasters/slideMaster24.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80.jpg"/><Relationship Id="rId1" Type="http://schemas.openxmlformats.org/officeDocument/2006/relationships/slideMaster" Target="../slideMasters/slideMaster2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4.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4.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8.jpe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jp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3" y="6061423"/>
            <a:ext cx="1522404" cy="326167"/>
          </a:xfrm>
          <a:prstGeom prst="rect">
            <a:avLst/>
          </a:prstGeom>
        </p:spPr>
      </p:pic>
      <p:sp>
        <p:nvSpPr>
          <p:cNvPr id="5" name="Rectangle 4"/>
          <p:cNvSpPr/>
          <p:nvPr userDrawn="1"/>
        </p:nvSpPr>
        <p:spPr bwMode="gray">
          <a:xfrm>
            <a:off x="269303" y="1187621"/>
            <a:ext cx="8964185"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834" fontAlgn="base">
              <a:lnSpc>
                <a:spcPct val="90000"/>
              </a:lnSpc>
              <a:spcBef>
                <a:spcPct val="0"/>
              </a:spcBef>
              <a:spcAft>
                <a:spcPct val="0"/>
              </a:spcAft>
              <a:defRPr/>
            </a:pPr>
            <a:r>
              <a:rPr lang="en-US" sz="7098" spc="-100" dirty="0">
                <a:ln w="3175">
                  <a:noFill/>
                </a:ln>
                <a:solidFill>
                  <a:srgbClr val="FFFFFF"/>
                </a:solidFill>
                <a:latin typeface="Segoe UI Light"/>
                <a:cs typeface="Segoe UI" pitchFamily="34" charset="0"/>
              </a:rPr>
              <a:t>Executive Retreat 2013</a:t>
            </a:r>
            <a:endParaRPr lang="en-US" sz="35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88410081"/>
      </p:ext>
    </p:extLst>
  </p:cSld>
  <p:clrMapOvr>
    <a:masterClrMapping/>
  </p:clrMapOvr>
  <p:transition>
    <p:fade/>
  </p:transition>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81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 name="Footer Placeholder 1"/>
          <p:cNvSpPr>
            <a:spLocks noGrp="1"/>
          </p:cNvSpPr>
          <p:nvPr>
            <p:ph type="ftr" sz="quarter" idx="10"/>
          </p:nvPr>
        </p:nvSpPr>
        <p:spPr>
          <a:xfrm>
            <a:off x="573712" y="6561766"/>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a:xfrm>
            <a:off x="11068359" y="6561766"/>
            <a:ext cx="555596" cy="134483"/>
          </a:xfrm>
          <a:prstGeom prst="rect">
            <a:avLst/>
          </a:prstGeom>
        </p:spPr>
        <p:txBody>
          <a:bodyPr/>
          <a:lstStyle/>
          <a:p>
            <a:pPr defTabSz="914274"/>
            <a:fld id="{27258FFF-F925-446B-8502-81C933981705}" type="slidenum">
              <a:rPr lang="en-US">
                <a:solidFill>
                  <a:srgbClr val="505050"/>
                </a:solidFill>
              </a:rPr>
              <a:pPr defTabSz="914274"/>
              <a:t>‹#›</a:t>
            </a:fld>
            <a:endParaRPr lang="en-US">
              <a:solidFill>
                <a:srgbClr val="505050"/>
              </a:solidFill>
            </a:endParaRPr>
          </a:p>
        </p:txBody>
      </p:sp>
    </p:spTree>
    <p:extLst>
      <p:ext uri="{BB962C8B-B14F-4D97-AF65-F5344CB8AC3E}">
        <p14:creationId xmlns:p14="http://schemas.microsoft.com/office/powerpoint/2010/main" val="2020324032"/>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2"/>
            <a:ext cx="10240453"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6957" indent="0" algn="ctr">
              <a:buNone/>
              <a:defRPr>
                <a:solidFill>
                  <a:schemeClr val="tx1">
                    <a:tint val="75000"/>
                  </a:schemeClr>
                </a:solidFill>
              </a:defRPr>
            </a:lvl2pPr>
            <a:lvl3pPr marL="913913" indent="0" algn="ctr">
              <a:buNone/>
              <a:defRPr>
                <a:solidFill>
                  <a:schemeClr val="tx1">
                    <a:tint val="75000"/>
                  </a:schemeClr>
                </a:solidFill>
              </a:defRPr>
            </a:lvl3pPr>
            <a:lvl4pPr marL="1370871" indent="0" algn="ctr">
              <a:buNone/>
              <a:defRPr>
                <a:solidFill>
                  <a:schemeClr val="tx1">
                    <a:tint val="75000"/>
                  </a:schemeClr>
                </a:solidFill>
              </a:defRPr>
            </a:lvl4pPr>
            <a:lvl5pPr marL="1827827" indent="0" algn="ctr">
              <a:buNone/>
              <a:defRPr>
                <a:solidFill>
                  <a:schemeClr val="tx1">
                    <a:tint val="75000"/>
                  </a:schemeClr>
                </a:solidFill>
              </a:defRPr>
            </a:lvl5pPr>
            <a:lvl6pPr marL="2284784" indent="0" algn="ctr">
              <a:buNone/>
              <a:defRPr>
                <a:solidFill>
                  <a:schemeClr val="tx1">
                    <a:tint val="75000"/>
                  </a:schemeClr>
                </a:solidFill>
              </a:defRPr>
            </a:lvl6pPr>
            <a:lvl7pPr marL="2741740" indent="0" algn="ctr">
              <a:buNone/>
              <a:defRPr>
                <a:solidFill>
                  <a:schemeClr val="tx1">
                    <a:tint val="75000"/>
                  </a:schemeClr>
                </a:solidFill>
              </a:defRPr>
            </a:lvl7pPr>
            <a:lvl8pPr marL="3198697" indent="0" algn="ctr">
              <a:buNone/>
              <a:defRPr>
                <a:solidFill>
                  <a:schemeClr val="tx1">
                    <a:tint val="75000"/>
                  </a:schemeClr>
                </a:solidFill>
              </a:defRPr>
            </a:lvl8pPr>
            <a:lvl9pPr marL="3655655" indent="0" algn="ctr">
              <a:buNone/>
              <a:defRPr>
                <a:solidFill>
                  <a:schemeClr val="tx1">
                    <a:tint val="75000"/>
                  </a:schemeClr>
                </a:solidFill>
              </a:defRPr>
            </a:lvl9pPr>
          </a:lstStyle>
          <a:p>
            <a:pPr marL="0" marR="0" lvl="0" indent="0" algn="l" defTabSz="9139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3"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5"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596" spc="-150"/>
            </a:lvl1pPr>
          </a:lstStyle>
          <a:p>
            <a:pPr lvl="0"/>
            <a:r>
              <a:rPr lang="en-US"/>
              <a:t>Click to edit Master text styles</a:t>
            </a:r>
          </a:p>
        </p:txBody>
      </p:sp>
    </p:spTree>
    <p:extLst>
      <p:ext uri="{BB962C8B-B14F-4D97-AF65-F5344CB8AC3E}">
        <p14:creationId xmlns:p14="http://schemas.microsoft.com/office/powerpoint/2010/main" val="159131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61" indent="0">
              <a:buNone/>
              <a:defRPr sz="1999">
                <a:gradFill>
                  <a:gsLst>
                    <a:gs pos="100000">
                      <a:schemeClr val="bg2"/>
                    </a:gs>
                    <a:gs pos="0">
                      <a:schemeClr val="bg2"/>
                    </a:gs>
                  </a:gsLst>
                  <a:lin ang="5400000" scaled="0"/>
                </a:gradFill>
              </a:defRPr>
            </a:lvl3pPr>
            <a:lvl4pPr marL="456976" indent="0">
              <a:buNone/>
              <a:defRPr sz="1999">
                <a:gradFill>
                  <a:gsLst>
                    <a:gs pos="100000">
                      <a:schemeClr val="bg2"/>
                    </a:gs>
                    <a:gs pos="0">
                      <a:schemeClr val="bg2"/>
                    </a:gs>
                  </a:gsLst>
                  <a:lin ang="5400000" scaled="0"/>
                </a:gradFill>
              </a:defRPr>
            </a:lvl4pPr>
            <a:lvl5pPr marL="693397" indent="0">
              <a:buNone/>
              <a:defRPr sz="199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5445943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7132814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43878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Only" preserve="1">
  <p:cSld name="Full_bleed_photo_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53" y="1381"/>
            <a:ext cx="12187096" cy="6855241"/>
          </a:xfrm>
          <a:prstGeom prst="rect">
            <a:avLst/>
          </a:prstGeom>
        </p:spPr>
      </p:pic>
      <p:sp>
        <p:nvSpPr>
          <p:cNvPr id="4" name="Rectangle 1"/>
          <p:cNvSpPr/>
          <p:nvPr userDrawn="1"/>
        </p:nvSpPr>
        <p:spPr bwMode="auto">
          <a:xfrm flipH="1">
            <a:off x="2451" y="1381"/>
            <a:ext cx="12187096" cy="6855240"/>
          </a:xfrm>
          <a:prstGeom prst="rect">
            <a:avLst/>
          </a:prstGeom>
          <a:gradFill flip="none" rotWithShape="1">
            <a:gsLst>
              <a:gs pos="28000">
                <a:srgbClr val="000000">
                  <a:alpha val="0"/>
                </a:srgbClr>
              </a:gs>
              <a:gs pos="100000">
                <a:srgbClr val="000000">
                  <a:alpha val="60000"/>
                </a:srgbClr>
              </a:gs>
            </a:gsLst>
            <a:lin ang="1620000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347" tIns="45673" rIns="91347" bIns="182806" numCol="1" rtlCol="0" anchor="b" anchorCtr="0" compatLnSpc="1">
            <a:prstTxWarp prst="textNoShape">
              <a:avLst/>
            </a:prstTxWarp>
          </a:bodyPr>
          <a:lstStyle/>
          <a:p>
            <a:pPr algn="ctr" defTabSz="913063" fontAlgn="base">
              <a:spcBef>
                <a:spcPct val="0"/>
              </a:spcBef>
              <a:spcAft>
                <a:spcPct val="0"/>
              </a:spcAft>
            </a:pPr>
            <a:endParaRPr lang="en-US" sz="2297"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694622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3"/>
            <a:ext cx="5233764"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193" indent="0">
              <a:buNone/>
              <a:defRPr sz="2699" b="1"/>
            </a:lvl2pPr>
            <a:lvl3pPr marL="1218387" indent="0">
              <a:buNone/>
              <a:defRPr sz="2399" b="1"/>
            </a:lvl3pPr>
            <a:lvl4pPr marL="1827580" indent="0">
              <a:buNone/>
              <a:defRPr sz="2099" b="1"/>
            </a:lvl4pPr>
            <a:lvl5pPr marL="2436774" indent="0">
              <a:buNone/>
              <a:defRPr sz="2099" b="1"/>
            </a:lvl5pPr>
            <a:lvl6pPr marL="3045968" indent="0">
              <a:buNone/>
              <a:defRPr sz="2099" b="1"/>
            </a:lvl6pPr>
            <a:lvl7pPr marL="3655161" indent="0">
              <a:buNone/>
              <a:defRPr sz="2099" b="1"/>
            </a:lvl7pPr>
            <a:lvl8pPr marL="4264354" indent="0">
              <a:buNone/>
              <a:defRPr sz="2099" b="1"/>
            </a:lvl8pPr>
            <a:lvl9pPr marL="4873548"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9761" y="1681907"/>
            <a:ext cx="5486169"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791" indent="-380746">
              <a:defRPr lang="en-US" sz="2099" kern="1200" dirty="0" smtClean="0">
                <a:solidFill>
                  <a:schemeClr val="bg2">
                    <a:lumMod val="50000"/>
                  </a:schemeClr>
                </a:solidFill>
                <a:latin typeface="+mn-lt"/>
                <a:ea typeface="+mn-ea"/>
                <a:cs typeface="Arial" pitchFamily="34" charset="0"/>
              </a:defRPr>
            </a:lvl2pPr>
            <a:lvl3pPr marL="913791" indent="-228447">
              <a:defRPr lang="en-US" sz="1899" kern="1200" dirty="0" smtClean="0">
                <a:solidFill>
                  <a:schemeClr val="bg2">
                    <a:lumMod val="50000"/>
                  </a:schemeClr>
                </a:solidFill>
                <a:latin typeface="+mn-lt"/>
                <a:ea typeface="+mn-ea"/>
                <a:cs typeface="Arial" pitchFamily="34" charset="0"/>
              </a:defRPr>
            </a:lvl3pPr>
            <a:lvl4pPr marL="1218387" indent="-228447">
              <a:defRPr lang="en-US" sz="1600" kern="1200" dirty="0" smtClean="0">
                <a:solidFill>
                  <a:schemeClr val="bg2">
                    <a:lumMod val="50000"/>
                  </a:schemeClr>
                </a:solidFill>
                <a:latin typeface="+mn-lt"/>
                <a:ea typeface="+mn-ea"/>
                <a:cs typeface="Arial" pitchFamily="34" charset="0"/>
              </a:defRPr>
            </a:lvl4pPr>
            <a:lvl5pPr marL="1446836" indent="-22844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Tree>
    <p:extLst>
      <p:ext uri="{BB962C8B-B14F-4D97-AF65-F5344CB8AC3E}">
        <p14:creationId xmlns:p14="http://schemas.microsoft.com/office/powerpoint/2010/main" val="28299140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9" y="0"/>
            <a:ext cx="622303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1"/>
            <a:ext cx="5434948"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193" indent="0">
              <a:buNone/>
              <a:defRPr sz="2699" b="1"/>
            </a:lvl2pPr>
            <a:lvl3pPr marL="1218387" indent="0">
              <a:buNone/>
              <a:defRPr sz="2399" b="1"/>
            </a:lvl3pPr>
            <a:lvl4pPr marL="1827580" indent="0">
              <a:buNone/>
              <a:defRPr sz="2099" b="1"/>
            </a:lvl4pPr>
            <a:lvl5pPr marL="2436774" indent="0">
              <a:buNone/>
              <a:defRPr sz="2099" b="1"/>
            </a:lvl5pPr>
            <a:lvl6pPr marL="3045968" indent="0">
              <a:buNone/>
              <a:defRPr sz="2099" b="1"/>
            </a:lvl6pPr>
            <a:lvl7pPr marL="3655161" indent="0">
              <a:buNone/>
              <a:defRPr sz="2099" b="1"/>
            </a:lvl7pPr>
            <a:lvl8pPr marL="4264354" indent="0">
              <a:buNone/>
              <a:defRPr sz="2099" b="1"/>
            </a:lvl8pPr>
            <a:lvl9pPr marL="4873548"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9712" y="2734985"/>
            <a:ext cx="5445583"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791" indent="-380746">
              <a:defRPr lang="en-US" sz="2099" kern="1200" dirty="0" smtClean="0">
                <a:solidFill>
                  <a:schemeClr val="bg2">
                    <a:lumMod val="50000"/>
                  </a:schemeClr>
                </a:solidFill>
                <a:latin typeface="+mn-lt"/>
                <a:ea typeface="+mn-ea"/>
                <a:cs typeface="Arial" pitchFamily="34" charset="0"/>
              </a:defRPr>
            </a:lvl2pPr>
            <a:lvl3pPr marL="913791" indent="-228447">
              <a:defRPr lang="en-US" sz="1899" kern="1200" dirty="0" smtClean="0">
                <a:solidFill>
                  <a:schemeClr val="bg2">
                    <a:lumMod val="50000"/>
                  </a:schemeClr>
                </a:solidFill>
                <a:latin typeface="+mn-lt"/>
                <a:ea typeface="+mn-ea"/>
                <a:cs typeface="Arial" pitchFamily="34" charset="0"/>
              </a:defRPr>
            </a:lvl3pPr>
            <a:lvl4pPr marL="1218387" indent="-228447">
              <a:defRPr lang="en-US" sz="1600" kern="1200" dirty="0" smtClean="0">
                <a:solidFill>
                  <a:schemeClr val="bg2">
                    <a:lumMod val="50000"/>
                  </a:schemeClr>
                </a:solidFill>
                <a:latin typeface="+mn-lt"/>
                <a:ea typeface="+mn-ea"/>
                <a:cs typeface="Arial" pitchFamily="34" charset="0"/>
              </a:defRPr>
            </a:lvl4pPr>
            <a:lvl5pPr marL="1446836" indent="-22844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7632359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2"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6"/>
            <a:ext cx="11155093"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5"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188"/>
            <a:fld id="{727B4C2D-45E2-4621-8491-2995EB46A674}" type="slidenum">
              <a:rPr lang="en-US" smtClean="0">
                <a:gradFill>
                  <a:gsLst>
                    <a:gs pos="100000">
                      <a:srgbClr val="797A7D"/>
                    </a:gs>
                    <a:gs pos="0">
                      <a:srgbClr val="797A7D"/>
                    </a:gs>
                  </a:gsLst>
                  <a:lin ang="5400000" scaled="0"/>
                </a:gradFill>
              </a:rPr>
              <a:pPr defTabSz="914188"/>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6" y="4343403"/>
            <a:ext cx="11155093"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60606099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18894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2192000" cy="6858000"/>
          </a:xfrm>
        </p:spPr>
        <p:txBody>
          <a:bodyPr/>
          <a:lstStyle/>
          <a:p>
            <a:endParaRPr lang="en-US" dirty="0"/>
          </a:p>
        </p:txBody>
      </p:sp>
    </p:spTree>
    <p:extLst>
      <p:ext uri="{BB962C8B-B14F-4D97-AF65-F5344CB8AC3E}">
        <p14:creationId xmlns:p14="http://schemas.microsoft.com/office/powerpoint/2010/main" val="2770547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4"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0517121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2"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2"/>
            <a:ext cx="11155093"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55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80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12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78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47384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3"/>
            <a:ext cx="11155093"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32" indent="-3427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340" indent="-2856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3950" indent="-2856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438" indent="-2284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0926" indent="-2284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548494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33218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297138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041710869"/>
      </p:ext>
    </p:extLst>
  </p:cSld>
  <p:clrMapOvr>
    <a:masterClrMapping/>
  </p:clrMapOvr>
  <p:transition spd="slow">
    <p:cove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777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lvl1pPr>
              <a:defRPr sz="1371">
                <a:solidFill>
                  <a:schemeClr val="tx1"/>
                </a:solidFill>
              </a:defRPr>
            </a:lvl1pPr>
          </a:lstStyle>
          <a:p>
            <a:fld id="{1255DB77-E0AE-A349-8FAE-C666923B773F}" type="slidenum">
              <a:rPr lang="en-US" smtClean="0">
                <a:solidFill>
                  <a:srgbClr val="3F3F3F"/>
                </a:solidFill>
              </a:rPr>
              <a:pPr/>
              <a:t>‹#›</a:t>
            </a:fld>
            <a:endParaRPr lang="en-US" dirty="0">
              <a:solidFill>
                <a:srgbClr val="3F3F3F"/>
              </a:solidFill>
            </a:endParaRPr>
          </a:p>
        </p:txBody>
      </p:sp>
      <p:sp>
        <p:nvSpPr>
          <p:cNvPr id="7" name="Title 6"/>
          <p:cNvSpPr>
            <a:spLocks noGrp="1"/>
          </p:cNvSpPr>
          <p:nvPr>
            <p:ph type="title"/>
          </p:nvPr>
        </p:nvSpPr>
        <p:spPr>
          <a:xfrm>
            <a:off x="530229" y="469025"/>
            <a:ext cx="11131076" cy="732448"/>
          </a:xfrm>
        </p:spPr>
        <p:txBody>
          <a:bodyPr anchor="t"/>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31611340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bg bwMode="blackWhite">
      <p:bgRef idx="1001">
        <a:schemeClr val="bg2"/>
      </p:bgRef>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0" name="Picture 79"/>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black">
          <a:xfrm>
            <a:off x="448213" y="470067"/>
            <a:ext cx="1421436" cy="300619"/>
          </a:xfrm>
          <a:prstGeom prst="rect">
            <a:avLst/>
          </a:prstGeom>
        </p:spPr>
      </p:pic>
      <p:grpSp>
        <p:nvGrpSpPr>
          <p:cNvPr id="2" name="Group 1"/>
          <p:cNvGrpSpPr/>
          <p:nvPr userDrawn="1"/>
        </p:nvGrpSpPr>
        <p:grpSpPr bwMode="black">
          <a:xfrm>
            <a:off x="386690" y="1187645"/>
            <a:ext cx="3838667" cy="3115817"/>
            <a:chOff x="394443" y="1325247"/>
            <a:chExt cx="3629258" cy="2945424"/>
          </a:xfrm>
        </p:grpSpPr>
        <p:sp>
          <p:nvSpPr>
            <p:cNvPr id="82" name="Freeform 5"/>
            <p:cNvSpPr>
              <a:spLocks/>
            </p:cNvSpPr>
            <p:nvPr userDrawn="1"/>
          </p:nvSpPr>
          <p:spPr bwMode="black">
            <a:xfrm>
              <a:off x="452957" y="1363316"/>
              <a:ext cx="525213" cy="52380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3" name="Freeform 6"/>
            <p:cNvSpPr>
              <a:spLocks noEditPoints="1"/>
            </p:cNvSpPr>
            <p:nvPr userDrawn="1"/>
          </p:nvSpPr>
          <p:spPr bwMode="black">
            <a:xfrm>
              <a:off x="1096607" y="1340052"/>
              <a:ext cx="78253" cy="547068"/>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4" name="Freeform 7"/>
            <p:cNvSpPr>
              <a:spLocks/>
            </p:cNvSpPr>
            <p:nvPr userDrawn="1"/>
          </p:nvSpPr>
          <p:spPr bwMode="black">
            <a:xfrm>
              <a:off x="1255229" y="1503608"/>
              <a:ext cx="277059" cy="391266"/>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5" name="Freeform 8"/>
            <p:cNvSpPr>
              <a:spLocks/>
            </p:cNvSpPr>
            <p:nvPr userDrawn="1"/>
          </p:nvSpPr>
          <p:spPr bwMode="black">
            <a:xfrm>
              <a:off x="1620410" y="1505018"/>
              <a:ext cx="191756" cy="382101"/>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6" name="Freeform 9"/>
            <p:cNvSpPr>
              <a:spLocks noEditPoints="1"/>
            </p:cNvSpPr>
            <p:nvPr userDrawn="1"/>
          </p:nvSpPr>
          <p:spPr bwMode="black">
            <a:xfrm>
              <a:off x="1838955" y="1503608"/>
              <a:ext cx="361657" cy="391266"/>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7" name="Freeform 10"/>
            <p:cNvSpPr>
              <a:spLocks/>
            </p:cNvSpPr>
            <p:nvPr userDrawn="1"/>
          </p:nvSpPr>
          <p:spPr bwMode="black">
            <a:xfrm>
              <a:off x="2267586" y="1503608"/>
              <a:ext cx="227005" cy="391266"/>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8" name="Freeform 11"/>
            <p:cNvSpPr>
              <a:spLocks noEditPoints="1"/>
            </p:cNvSpPr>
            <p:nvPr userDrawn="1"/>
          </p:nvSpPr>
          <p:spPr bwMode="black">
            <a:xfrm>
              <a:off x="2550989" y="1503608"/>
              <a:ext cx="363772" cy="39126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9" name="Freeform 12"/>
            <p:cNvSpPr>
              <a:spLocks/>
            </p:cNvSpPr>
            <p:nvPr userDrawn="1"/>
          </p:nvSpPr>
          <p:spPr bwMode="black">
            <a:xfrm>
              <a:off x="2951420" y="1325247"/>
              <a:ext cx="221365" cy="561872"/>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0" name="Freeform 13"/>
            <p:cNvSpPr>
              <a:spLocks/>
            </p:cNvSpPr>
            <p:nvPr userDrawn="1"/>
          </p:nvSpPr>
          <p:spPr bwMode="black">
            <a:xfrm>
              <a:off x="3191115" y="1401385"/>
              <a:ext cx="215020" cy="493489"/>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1" name="Freeform 14"/>
            <p:cNvSpPr>
              <a:spLocks/>
            </p:cNvSpPr>
            <p:nvPr userDrawn="1"/>
          </p:nvSpPr>
          <p:spPr bwMode="black">
            <a:xfrm>
              <a:off x="394443" y="2155013"/>
              <a:ext cx="669030" cy="52380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2" name="Freeform 15"/>
            <p:cNvSpPr>
              <a:spLocks noEditPoints="1"/>
            </p:cNvSpPr>
            <p:nvPr userDrawn="1"/>
          </p:nvSpPr>
          <p:spPr bwMode="black">
            <a:xfrm>
              <a:off x="1086737" y="2295305"/>
              <a:ext cx="361657" cy="391971"/>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3" name="Freeform 16"/>
            <p:cNvSpPr>
              <a:spLocks/>
            </p:cNvSpPr>
            <p:nvPr userDrawn="1"/>
          </p:nvSpPr>
          <p:spPr bwMode="black">
            <a:xfrm>
              <a:off x="1540042" y="2296715"/>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4" name="Rectangle 17"/>
            <p:cNvSpPr>
              <a:spLocks noChangeArrowheads="1"/>
            </p:cNvSpPr>
            <p:nvPr userDrawn="1"/>
          </p:nvSpPr>
          <p:spPr bwMode="black">
            <a:xfrm>
              <a:off x="1795246" y="2125404"/>
              <a:ext cx="60629" cy="5534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5" name="Freeform 18"/>
            <p:cNvSpPr>
              <a:spLocks noEditPoints="1"/>
            </p:cNvSpPr>
            <p:nvPr userDrawn="1"/>
          </p:nvSpPr>
          <p:spPr bwMode="black">
            <a:xfrm>
              <a:off x="1945408" y="2125404"/>
              <a:ext cx="340507" cy="561872"/>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6" name="Freeform 19"/>
            <p:cNvSpPr>
              <a:spLocks/>
            </p:cNvSpPr>
            <p:nvPr userDrawn="1"/>
          </p:nvSpPr>
          <p:spPr bwMode="black">
            <a:xfrm>
              <a:off x="2354299" y="2303765"/>
              <a:ext cx="513228" cy="37505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7" name="Freeform 20"/>
            <p:cNvSpPr>
              <a:spLocks noEditPoints="1"/>
            </p:cNvSpPr>
            <p:nvPr userDrawn="1"/>
          </p:nvSpPr>
          <p:spPr bwMode="black">
            <a:xfrm>
              <a:off x="2929566" y="2131749"/>
              <a:ext cx="76843" cy="547068"/>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8" name="Freeform 21"/>
            <p:cNvSpPr>
              <a:spLocks noEditPoints="1"/>
            </p:cNvSpPr>
            <p:nvPr userDrawn="1"/>
          </p:nvSpPr>
          <p:spPr bwMode="black">
            <a:xfrm>
              <a:off x="3088187" y="2125404"/>
              <a:ext cx="338392" cy="561872"/>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9" name="Freeform 22"/>
            <p:cNvSpPr>
              <a:spLocks noEditPoints="1"/>
            </p:cNvSpPr>
            <p:nvPr userDrawn="1"/>
          </p:nvSpPr>
          <p:spPr bwMode="black">
            <a:xfrm>
              <a:off x="3518227" y="2295305"/>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0" name="Freeform 23"/>
            <p:cNvSpPr>
              <a:spLocks noEditPoints="1"/>
            </p:cNvSpPr>
            <p:nvPr userDrawn="1"/>
          </p:nvSpPr>
          <p:spPr bwMode="black">
            <a:xfrm>
              <a:off x="452957" y="2946711"/>
              <a:ext cx="315128" cy="52380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1" name="Freeform 24"/>
            <p:cNvSpPr>
              <a:spLocks noEditPoints="1"/>
            </p:cNvSpPr>
            <p:nvPr userDrawn="1"/>
          </p:nvSpPr>
          <p:spPr bwMode="black">
            <a:xfrm>
              <a:off x="803334" y="3087003"/>
              <a:ext cx="289748" cy="391971"/>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2" name="Freeform 25"/>
            <p:cNvSpPr>
              <a:spLocks/>
            </p:cNvSpPr>
            <p:nvPr userDrawn="1"/>
          </p:nvSpPr>
          <p:spPr bwMode="black">
            <a:xfrm>
              <a:off x="120517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3" name="Freeform 26"/>
            <p:cNvSpPr>
              <a:spLocks/>
            </p:cNvSpPr>
            <p:nvPr userDrawn="1"/>
          </p:nvSpPr>
          <p:spPr bwMode="black">
            <a:xfrm>
              <a:off x="1438524" y="2985485"/>
              <a:ext cx="213610" cy="493489"/>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4" name="Freeform 27"/>
            <p:cNvSpPr>
              <a:spLocks/>
            </p:cNvSpPr>
            <p:nvPr userDrawn="1"/>
          </p:nvSpPr>
          <p:spPr bwMode="black">
            <a:xfrm>
              <a:off x="1731798" y="3087003"/>
              <a:ext cx="305258"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5" name="Freeform 28"/>
            <p:cNvSpPr>
              <a:spLocks noEditPoints="1"/>
            </p:cNvSpPr>
            <p:nvPr userDrawn="1"/>
          </p:nvSpPr>
          <p:spPr bwMode="black">
            <a:xfrm>
              <a:off x="2118834" y="3087003"/>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6" name="Freeform 29"/>
            <p:cNvSpPr>
              <a:spLocks/>
            </p:cNvSpPr>
            <p:nvPr userDrawn="1"/>
          </p:nvSpPr>
          <p:spPr bwMode="black">
            <a:xfrm>
              <a:off x="252772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7" name="Freeform 30"/>
            <p:cNvSpPr>
              <a:spLocks/>
            </p:cNvSpPr>
            <p:nvPr userDrawn="1"/>
          </p:nvSpPr>
          <p:spPr bwMode="black">
            <a:xfrm>
              <a:off x="419822" y="3728538"/>
              <a:ext cx="383511" cy="542133"/>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8" name="Freeform 31"/>
            <p:cNvSpPr>
              <a:spLocks noEditPoints="1"/>
            </p:cNvSpPr>
            <p:nvPr userDrawn="1"/>
          </p:nvSpPr>
          <p:spPr bwMode="black">
            <a:xfrm>
              <a:off x="871717" y="3878700"/>
              <a:ext cx="363772" cy="391971"/>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9" name="Freeform 32"/>
            <p:cNvSpPr>
              <a:spLocks/>
            </p:cNvSpPr>
            <p:nvPr userDrawn="1"/>
          </p:nvSpPr>
          <p:spPr bwMode="black">
            <a:xfrm>
              <a:off x="1325022" y="3878700"/>
              <a:ext cx="305258" cy="383511"/>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0" name="Freeform 33"/>
            <p:cNvSpPr>
              <a:spLocks/>
            </p:cNvSpPr>
            <p:nvPr userDrawn="1"/>
          </p:nvSpPr>
          <p:spPr bwMode="black">
            <a:xfrm>
              <a:off x="1702188" y="3700339"/>
              <a:ext cx="222070" cy="561872"/>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1" name="Freeform 34"/>
            <p:cNvSpPr>
              <a:spLocks noEditPoints="1"/>
            </p:cNvSpPr>
            <p:nvPr userDrawn="1"/>
          </p:nvSpPr>
          <p:spPr bwMode="black">
            <a:xfrm>
              <a:off x="1943998" y="3878700"/>
              <a:ext cx="321473"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2" name="Freeform 35"/>
            <p:cNvSpPr>
              <a:spLocks/>
            </p:cNvSpPr>
            <p:nvPr userDrawn="1"/>
          </p:nvSpPr>
          <p:spPr bwMode="black">
            <a:xfrm>
              <a:off x="2350774" y="3880815"/>
              <a:ext cx="193166" cy="381396"/>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3" name="Freeform 36"/>
            <p:cNvSpPr>
              <a:spLocks noEditPoints="1"/>
            </p:cNvSpPr>
            <p:nvPr userDrawn="1"/>
          </p:nvSpPr>
          <p:spPr bwMode="black">
            <a:xfrm>
              <a:off x="2569319" y="3878700"/>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4" name="Freeform 37"/>
            <p:cNvSpPr>
              <a:spLocks/>
            </p:cNvSpPr>
            <p:nvPr userDrawn="1"/>
          </p:nvSpPr>
          <p:spPr bwMode="black">
            <a:xfrm>
              <a:off x="2978210" y="3878700"/>
              <a:ext cx="304553"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5" name="Freeform 38"/>
            <p:cNvSpPr>
              <a:spLocks/>
            </p:cNvSpPr>
            <p:nvPr userDrawn="1"/>
          </p:nvSpPr>
          <p:spPr bwMode="black">
            <a:xfrm>
              <a:off x="3366656" y="3878700"/>
              <a:ext cx="274944" cy="391971"/>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6" name="Freeform 39"/>
            <p:cNvSpPr>
              <a:spLocks noEditPoints="1"/>
            </p:cNvSpPr>
            <p:nvPr userDrawn="1"/>
          </p:nvSpPr>
          <p:spPr bwMode="black">
            <a:xfrm>
              <a:off x="3703638" y="3878700"/>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
        <p:nvSpPr>
          <p:cNvPr id="157" name="TextBox 156"/>
          <p:cNvSpPr txBox="1"/>
          <p:nvPr userDrawn="1"/>
        </p:nvSpPr>
        <p:spPr>
          <a:xfrm>
            <a:off x="10478598" y="5950578"/>
            <a:ext cx="1444099" cy="615516"/>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838960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78D7"/>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417357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2257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1630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979541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Only with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bwMode="auto">
          <a:xfrm>
            <a:off x="0" y="1837309"/>
            <a:ext cx="12192000" cy="502069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9079815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92799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36263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0098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6926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169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14090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with animation">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61496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650" fill="hold"/>
                                        <p:tgtEl>
                                          <p:spTgt spid="2"/>
                                        </p:tgtEl>
                                        <p:attrNameLst>
                                          <p:attrName>ppt_x</p:attrName>
                                        </p:attrNameLst>
                                      </p:cBhvr>
                                      <p:tavLst>
                                        <p:tav tm="0">
                                          <p:val>
                                            <p:strVal val="#ppt_x"/>
                                          </p:val>
                                        </p:tav>
                                        <p:tav tm="100000">
                                          <p:val>
                                            <p:strVal val="#ppt_x"/>
                                          </p:val>
                                        </p:tav>
                                      </p:tavLst>
                                    </p:anim>
                                    <p:anim calcmode="lin" valueType="num">
                                      <p:cBhvr additive="base">
                                        <p:cTn id="8" dur="65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2661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174"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41303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21653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5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77117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6635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86431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5358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53659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792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6417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041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070328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57847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6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31"/>
            <a:ext cx="12192000" cy="6853138"/>
          </a:xfrm>
          <a:prstGeom prst="rect">
            <a:avLst/>
          </a:prstGeom>
        </p:spPr>
      </p:pic>
      <p:sp>
        <p:nvSpPr>
          <p:cNvPr id="5" name="Rectangle 4"/>
          <p:cNvSpPr/>
          <p:nvPr userDrawn="1"/>
        </p:nvSpPr>
        <p:spPr bwMode="auto">
          <a:xfrm>
            <a:off x="268461" y="289511"/>
            <a:ext cx="6276530" cy="6277421"/>
          </a:xfrm>
          <a:prstGeom prst="rect">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512" y="524485"/>
            <a:ext cx="1230696" cy="269713"/>
          </a:xfrm>
          <a:prstGeom prst="rect">
            <a:avLst/>
          </a:prstGeom>
        </p:spPr>
      </p:pic>
      <p:sp>
        <p:nvSpPr>
          <p:cNvPr id="4" name="TextBox 3"/>
          <p:cNvSpPr txBox="1"/>
          <p:nvPr userDrawn="1"/>
        </p:nvSpPr>
        <p:spPr>
          <a:xfrm>
            <a:off x="-1460717" y="-1626830"/>
            <a:ext cx="896425" cy="896552"/>
          </a:xfrm>
          <a:prstGeom prst="rect">
            <a:avLst/>
          </a:prstGeom>
          <a:noFill/>
        </p:spPr>
        <p:txBody>
          <a:bodyPr wrap="none" lIns="179285" tIns="143428" rIns="179285" bIns="143428" rtlCol="0">
            <a:noAutofit/>
          </a:bodyPr>
          <a:lstStyle/>
          <a:p>
            <a:pPr defTabSz="914367">
              <a:lnSpc>
                <a:spcPct val="90000"/>
              </a:lnSpc>
              <a:spcAft>
                <a:spcPts val="588"/>
              </a:spcAft>
              <a:defRPr/>
            </a:pPr>
            <a:endParaRPr lang="en-US" sz="2353" dirty="0">
              <a:gradFill>
                <a:gsLst>
                  <a:gs pos="2917">
                    <a:srgbClr val="FFFFFF"/>
                  </a:gs>
                  <a:gs pos="30000">
                    <a:srgbClr val="FFFFFF"/>
                  </a:gs>
                </a:gsLst>
                <a:lin ang="5400000" scaled="0"/>
              </a:gradFill>
            </a:endParaRPr>
          </a:p>
        </p:txBody>
      </p:sp>
      <p:sp>
        <p:nvSpPr>
          <p:cNvPr id="17" name="Title 1"/>
          <p:cNvSpPr>
            <a:spLocks noGrp="1"/>
          </p:cNvSpPr>
          <p:nvPr>
            <p:ph type="ctrTitle" hasCustomPrompt="1"/>
          </p:nvPr>
        </p:nvSpPr>
        <p:spPr>
          <a:xfrm>
            <a:off x="375953" y="1413021"/>
            <a:ext cx="5042713" cy="2488894"/>
          </a:xfrm>
        </p:spPr>
        <p:txBody>
          <a:bodyPr/>
          <a:lstStyle>
            <a:lvl1pPr>
              <a:defRPr sz="5098" baseline="0">
                <a:solidFill>
                  <a:schemeClr val="tx1"/>
                </a:solidFill>
              </a:defRPr>
            </a:lvl1pPr>
          </a:lstStyle>
          <a:p>
            <a:r>
              <a:rPr lang="en-US" dirty="0" err="1"/>
              <a:t>Lorem</a:t>
            </a:r>
            <a:r>
              <a:rPr lang="en-US" dirty="0"/>
              <a:t> </a:t>
            </a:r>
            <a:r>
              <a:rPr lang="en-US" dirty="0" err="1"/>
              <a:t>ipsum</a:t>
            </a:r>
            <a:r>
              <a:rPr lang="en-US" dirty="0"/>
              <a:t> dolor</a:t>
            </a:r>
          </a:p>
        </p:txBody>
      </p:sp>
      <p:sp>
        <p:nvSpPr>
          <p:cNvPr id="19" name="Subtitle 2"/>
          <p:cNvSpPr>
            <a:spLocks noGrp="1"/>
          </p:cNvSpPr>
          <p:nvPr>
            <p:ph type="subTitle" idx="1" hasCustomPrompt="1"/>
          </p:nvPr>
        </p:nvSpPr>
        <p:spPr>
          <a:xfrm>
            <a:off x="376015" y="4115720"/>
            <a:ext cx="7680958" cy="834894"/>
          </a:xfrm>
        </p:spPr>
        <p:txBody>
          <a:bodyPr anchor="ctr"/>
          <a:lstStyle>
            <a:lvl1pPr marL="0" indent="0" algn="l">
              <a:lnSpc>
                <a:spcPts val="2549"/>
              </a:lnSpc>
              <a:buNone/>
              <a:defRPr sz="1568">
                <a:solidFill>
                  <a:schemeClr val="tx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10362133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783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726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5560813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415699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10382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178356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0905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424071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13924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53010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784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292480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54832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1273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64616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1887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63033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119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5" y="3266817"/>
            <a:ext cx="2376178" cy="509010"/>
          </a:xfrm>
          <a:prstGeom prst="rect">
            <a:avLst/>
          </a:prstGeom>
        </p:spPr>
      </p:pic>
    </p:spTree>
    <p:extLst>
      <p:ext uri="{BB962C8B-B14F-4D97-AF65-F5344CB8AC3E}">
        <p14:creationId xmlns:p14="http://schemas.microsoft.com/office/powerpoint/2010/main" val="415151801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05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816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3898451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0" y="0"/>
            <a:ext cx="12192000" cy="6858000"/>
          </a:xfrm>
          <a:prstGeom prst="rect">
            <a:avLst/>
          </a:prstGeom>
          <a:gradFill flip="none" rotWithShape="1">
            <a:gsLst>
              <a:gs pos="13000">
                <a:srgbClr val="000000">
                  <a:alpha val="35000"/>
                  <a:lumMod val="0"/>
                </a:srgbClr>
              </a:gs>
              <a:gs pos="43000">
                <a:srgbClr val="000000">
                  <a:alpha val="59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101572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22870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10052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112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990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74512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06101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323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1016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25854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003839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7772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3145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010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1528966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0074734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21110385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4523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6892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3251290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30841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292341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1305058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98049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3875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274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509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19866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51691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6583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r>
              <a:rPr lang="en-US">
                <a:solidFill>
                  <a:srgbClr val="505050"/>
                </a:solidFill>
              </a:rPr>
              <a:t>Data as of December 16, 2016</a:t>
            </a:r>
          </a:p>
        </p:txBody>
      </p:sp>
    </p:spTree>
    <p:extLst>
      <p:ext uri="{BB962C8B-B14F-4D97-AF65-F5344CB8AC3E}">
        <p14:creationId xmlns:p14="http://schemas.microsoft.com/office/powerpoint/2010/main" val="247174468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403888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145365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3955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0710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46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5578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52535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74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69240" y="289511"/>
            <a:ext cx="11655840" cy="899665"/>
          </a:xfrm>
        </p:spPr>
        <p:txBody>
          <a:bodyPr/>
          <a:lstStyle>
            <a:lvl1pPr>
              <a:defRPr/>
            </a:lvl1pPr>
          </a:lstStyle>
          <a:p>
            <a:r>
              <a:rPr lang="en-US" dirty="0"/>
              <a:t>Compute options for all types of apps</a:t>
            </a:r>
          </a:p>
        </p:txBody>
      </p:sp>
    </p:spTree>
    <p:extLst>
      <p:ext uri="{BB962C8B-B14F-4D97-AF65-F5344CB8AC3E}">
        <p14:creationId xmlns:p14="http://schemas.microsoft.com/office/powerpoint/2010/main" val="401588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0229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24514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6191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
        <p:nvSpPr>
          <p:cNvPr id="19" name="Rectangle 18"/>
          <p:cNvSpPr/>
          <p:nvPr userDrawn="1"/>
        </p:nvSpPr>
        <p:spPr bwMode="gray">
          <a:xfrm>
            <a:off x="269303" y="1187621"/>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07"/>
            <a:ext cx="7171399" cy="2689656"/>
          </a:xfrm>
          <a:noFill/>
        </p:spPr>
        <p:txBody>
          <a:bodyPr lIns="143407" tIns="89629" rIns="143407" bIns="89629" anchor="t" anchorCtr="0"/>
          <a:lstStyle>
            <a:lvl1pPr>
              <a:defRPr sz="6498"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5707"/>
            <a:ext cx="7171399"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6061423"/>
            <a:ext cx="1522404" cy="326167"/>
          </a:xfrm>
          <a:prstGeom prst="rect">
            <a:avLst/>
          </a:prstGeom>
        </p:spPr>
      </p:pic>
    </p:spTree>
    <p:extLst>
      <p:ext uri="{BB962C8B-B14F-4D97-AF65-F5344CB8AC3E}">
        <p14:creationId xmlns:p14="http://schemas.microsoft.com/office/powerpoint/2010/main" val="3807941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608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45428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1321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213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882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151682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48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76491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75686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470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50034287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4" y="5912755"/>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2" y="649720"/>
            <a:ext cx="10255939" cy="5104275"/>
          </a:xfrm>
          <a:prstGeom prst="rect">
            <a:avLst/>
          </a:prstGeom>
        </p:spPr>
      </p:pic>
    </p:spTree>
    <p:extLst>
      <p:ext uri="{BB962C8B-B14F-4D97-AF65-F5344CB8AC3E}">
        <p14:creationId xmlns:p14="http://schemas.microsoft.com/office/powerpoint/2010/main" val="4150709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816821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8" y="1366954"/>
            <a:ext cx="7231699" cy="3599141"/>
          </a:xfrm>
          <a:prstGeom prst="rect">
            <a:avLst/>
          </a:prstGeom>
        </p:spPr>
      </p:pic>
    </p:spTree>
    <p:extLst>
      <p:ext uri="{BB962C8B-B14F-4D97-AF65-F5344CB8AC3E}">
        <p14:creationId xmlns:p14="http://schemas.microsoft.com/office/powerpoint/2010/main" val="2831227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spTree>
    <p:extLst>
      <p:ext uri="{BB962C8B-B14F-4D97-AF65-F5344CB8AC3E}">
        <p14:creationId xmlns:p14="http://schemas.microsoft.com/office/powerpoint/2010/main" val="660529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06467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087072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49156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298820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203987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423482993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36218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865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720047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69240" y="4163528"/>
            <a:ext cx="11655840" cy="2403404"/>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4028712"/>
          </a:xfrm>
          <a:prstGeom prst="rect">
            <a:avLst/>
          </a:prstGeom>
        </p:spPr>
      </p:pic>
      <p:sp>
        <p:nvSpPr>
          <p:cNvPr id="8" name="Rectangle 7"/>
          <p:cNvSpPr/>
          <p:nvPr userDrawn="1"/>
        </p:nvSpPr>
        <p:spPr bwMode="auto">
          <a:xfrm>
            <a:off x="0" y="0"/>
            <a:ext cx="12192000" cy="6857999"/>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68928" y="289512"/>
            <a:ext cx="11655078" cy="899665"/>
          </a:xfrm>
        </p:spPr>
        <p:txBody>
          <a:bodyPr/>
          <a:lstStyle/>
          <a:p>
            <a:pPr algn="l"/>
            <a:endParaRPr lang="en-US"/>
          </a:p>
        </p:txBody>
      </p:sp>
    </p:spTree>
    <p:extLst>
      <p:ext uri="{BB962C8B-B14F-4D97-AF65-F5344CB8AC3E}">
        <p14:creationId xmlns:p14="http://schemas.microsoft.com/office/powerpoint/2010/main" val="309960674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69240" y="4163528"/>
            <a:ext cx="11655840" cy="2403404"/>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4028712"/>
          </a:xfrm>
          <a:prstGeom prst="rect">
            <a:avLst/>
          </a:prstGeom>
        </p:spPr>
      </p:pic>
      <p:sp>
        <p:nvSpPr>
          <p:cNvPr id="8" name="Rectangle 7"/>
          <p:cNvSpPr/>
          <p:nvPr userDrawn="1"/>
        </p:nvSpPr>
        <p:spPr bwMode="auto">
          <a:xfrm>
            <a:off x="0" y="0"/>
            <a:ext cx="12192000" cy="6857999"/>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68928" y="289512"/>
            <a:ext cx="11655078" cy="899665"/>
          </a:xfrm>
        </p:spPr>
        <p:txBody>
          <a:bodyPr/>
          <a:lstStyle/>
          <a:p>
            <a:pPr algn="l"/>
            <a:endParaRPr lang="en-US"/>
          </a:p>
        </p:txBody>
      </p:sp>
    </p:spTree>
    <p:extLst>
      <p:ext uri="{BB962C8B-B14F-4D97-AF65-F5344CB8AC3E}">
        <p14:creationId xmlns:p14="http://schemas.microsoft.com/office/powerpoint/2010/main" val="3463074712"/>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564960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call to action">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377841" y="2582816"/>
            <a:ext cx="5544920" cy="2196380"/>
          </a:xfrm>
          <a:prstGeom prst="rect">
            <a:avLst/>
          </a:prstGeom>
        </p:spPr>
      </p:pic>
      <p:sp>
        <p:nvSpPr>
          <p:cNvPr id="5" name="Title 1"/>
          <p:cNvSpPr>
            <a:spLocks noGrp="1"/>
          </p:cNvSpPr>
          <p:nvPr>
            <p:ph type="title" hasCustomPrompt="1"/>
          </p:nvPr>
        </p:nvSpPr>
        <p:spPr>
          <a:xfrm>
            <a:off x="1127584" y="2360204"/>
            <a:ext cx="5109427" cy="1014459"/>
          </a:xfrm>
          <a:noFill/>
        </p:spPr>
        <p:txBody>
          <a:bodyPr lIns="0" tIns="91440" rIns="146304" bIns="91440" anchor="t" anchorCtr="0"/>
          <a:lstStyle>
            <a:lvl1pPr>
              <a:defRPr sz="6078" spc="-98" baseline="0">
                <a:solidFill>
                  <a:schemeClr val="tx1"/>
                </a:solidFill>
              </a:defRPr>
            </a:lvl1pPr>
          </a:lstStyle>
          <a:p>
            <a:r>
              <a:rPr lang="en-US"/>
              <a:t>Lorem ipsum</a:t>
            </a:r>
          </a:p>
        </p:txBody>
      </p:sp>
      <p:sp>
        <p:nvSpPr>
          <p:cNvPr id="9" name="Text Placeholder 2"/>
          <p:cNvSpPr>
            <a:spLocks noGrp="1"/>
          </p:cNvSpPr>
          <p:nvPr>
            <p:ph type="body" sz="quarter" idx="10"/>
          </p:nvPr>
        </p:nvSpPr>
        <p:spPr>
          <a:xfrm>
            <a:off x="1127521" y="3394811"/>
            <a:ext cx="5109487" cy="619144"/>
          </a:xfrm>
        </p:spPr>
        <p:txBody>
          <a:bodyPr/>
          <a:lstStyle>
            <a:lvl1pPr marL="0" indent="0">
              <a:spcBef>
                <a:spcPts val="980"/>
              </a:spcBef>
              <a:spcAft>
                <a:spcPts val="980"/>
              </a:spcAft>
              <a:buNone/>
              <a:defRPr sz="3137"/>
            </a:lvl1pPr>
          </a:lstStyle>
          <a:p>
            <a:pPr lvl="0"/>
            <a:r>
              <a:rPr lang="en-US"/>
              <a:t>Click to edit Master text</a:t>
            </a:r>
          </a:p>
        </p:txBody>
      </p:sp>
      <p:pic>
        <p:nvPicPr>
          <p:cNvPr id="3" name="Picture 2"/>
          <p:cNvPicPr>
            <a:picLocks noChangeAspect="1"/>
          </p:cNvPicPr>
          <p:nvPr userDrawn="1"/>
        </p:nvPicPr>
        <p:blipFill>
          <a:blip r:embed="rId3"/>
          <a:stretch>
            <a:fillRect/>
          </a:stretch>
        </p:blipFill>
        <p:spPr>
          <a:xfrm>
            <a:off x="269145" y="2545263"/>
            <a:ext cx="658053" cy="658146"/>
          </a:xfrm>
          <a:prstGeom prst="rect">
            <a:avLst/>
          </a:prstGeom>
        </p:spPr>
      </p:pic>
    </p:spTree>
    <p:extLst>
      <p:ext uri="{BB962C8B-B14F-4D97-AF65-F5344CB8AC3E}">
        <p14:creationId xmlns:p14="http://schemas.microsoft.com/office/powerpoint/2010/main" val="3373704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2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349377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3017867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0526078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537080212"/>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7226803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2457785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081019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738683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466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3844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98547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542123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90387024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19742294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4874930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413852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4912110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99313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61807913"/>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54627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394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7534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07991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716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7159459"/>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675998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032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720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59846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4520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19239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5812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285512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926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61720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1443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57432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2972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537027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747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74474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767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58488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94722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5892599" y="829029"/>
            <a:ext cx="5667588" cy="5364341"/>
          </a:xfrm>
          <a:prstGeom prst="rect">
            <a:avLst/>
          </a:prstGeom>
        </p:spPr>
      </p:pic>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337236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
        <p:nvSpPr>
          <p:cNvPr id="3" name="Text Placeholder 2">
            <a:extLst>
              <a:ext uri="{FF2B5EF4-FFF2-40B4-BE49-F238E27FC236}">
                <a16:creationId xmlns:a16="http://schemas.microsoft.com/office/drawing/2014/main" id="{47D21F7F-CA5F-4609-9E53-094261A2A868}"/>
              </a:ext>
            </a:extLst>
          </p:cNvPr>
          <p:cNvSpPr>
            <a:spLocks noGrp="1"/>
          </p:cNvSpPr>
          <p:nvPr>
            <p:ph type="body" sz="quarter" idx="13" hasCustomPrompt="1"/>
          </p:nvPr>
        </p:nvSpPr>
        <p:spPr>
          <a:xfrm>
            <a:off x="7888830" y="285842"/>
            <a:ext cx="3944254" cy="543185"/>
          </a:xfrm>
          <a:noFill/>
        </p:spPr>
        <p:txBody>
          <a:bodyPr vert="horz" wrap="square" lIns="164592" tIns="109728" rIns="164592" bIns="109728" rtlCol="0">
            <a:spAutoFit/>
          </a:bodyPr>
          <a:lstStyle>
            <a:lvl1pPr marL="0" indent="0" algn="r">
              <a:buNone/>
              <a:defRPr lang="en-US" sz="2353" dirty="0">
                <a:gradFill>
                  <a:gsLst>
                    <a:gs pos="91000">
                      <a:schemeClr val="tx1"/>
                    </a:gs>
                    <a:gs pos="0">
                      <a:schemeClr val="tx1"/>
                    </a:gs>
                  </a:gsLst>
                  <a:lin ang="5400000" scaled="0"/>
                </a:gradFill>
                <a:latin typeface="+mn-lt"/>
              </a:defRPr>
            </a:lvl1pPr>
          </a:lstStyle>
          <a:p>
            <a:pPr marL="224097" lvl="0" indent="-224097">
              <a:spcBef>
                <a:spcPts val="0"/>
              </a:spcBef>
            </a:pPr>
            <a:r>
              <a:rPr lang="en-US" dirty="0"/>
              <a:t>Session Code</a:t>
            </a:r>
          </a:p>
        </p:txBody>
      </p:sp>
    </p:spTree>
    <p:extLst>
      <p:ext uri="{BB962C8B-B14F-4D97-AF65-F5344CB8AC3E}">
        <p14:creationId xmlns:p14="http://schemas.microsoft.com/office/powerpoint/2010/main" val="685865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7"/>
            <a:ext cx="5378548" cy="2513573"/>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13573"/>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653727"/>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980510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190271" cy="6858000"/>
          </a:xfrm>
          <a:prstGeom prst="rect">
            <a:avLst/>
          </a:prstGeom>
        </p:spPr>
      </p:pic>
      <p:sp>
        <p:nvSpPr>
          <p:cNvPr id="8" name="Rectangle 7"/>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6961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19121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08414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956661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94884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565049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46678970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53849554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1752652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33376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20220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31395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3648173"/>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9615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4978814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6695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614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292924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15794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0740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41743029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553635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14159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688401"/>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232921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4374995"/>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569387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95951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984994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03099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518757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82534" cy="6857999"/>
          </a:xfrm>
          <a:prstGeom prst="rect">
            <a:avLst/>
          </a:prstGeom>
        </p:spPr>
      </p:pic>
      <p:sp>
        <p:nvSpPr>
          <p:cNvPr id="18" name="Rectangle 17"/>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1"/>
            <a:ext cx="7172955" cy="1789991"/>
          </a:xfrm>
        </p:spPr>
        <p:txBody>
          <a:bodyPr tIns="109728" bIns="109728">
            <a:noAutofit/>
          </a:bodyPr>
          <a:lstStyle>
            <a:lvl1pPr marL="0" indent="0">
              <a:spcBef>
                <a:spcPts val="0"/>
              </a:spcBef>
              <a:buNone/>
              <a:defRPr sz="3136"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29328812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00850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6364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09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76532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17766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 preserve="1">
  <p:cSld name="Title Slide_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982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ctrTitle"/>
          </p:nvPr>
        </p:nvSpPr>
        <p:spPr>
          <a:xfrm>
            <a:off x="530697" y="961926"/>
            <a:ext cx="11130608" cy="2601611"/>
          </a:xfrm>
        </p:spPr>
        <p:txBody>
          <a:bodyPr anchor="b">
            <a:noAutofit/>
          </a:bodyPr>
          <a:lstStyle>
            <a:lvl1pPr algn="l">
              <a:defRPr sz="5293">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30698" y="3809931"/>
            <a:ext cx="11130607" cy="1752600"/>
          </a:xfrm>
        </p:spPr>
        <p:txBody>
          <a:bodyPr>
            <a:noAutofit/>
          </a:bodyPr>
          <a:lstStyle>
            <a:lvl1pPr marL="0" indent="0" algn="l">
              <a:spcBef>
                <a:spcPts val="1175"/>
              </a:spcBef>
              <a:buNone/>
              <a:defRPr sz="2745">
                <a:solidFill>
                  <a:schemeClr val="bg1"/>
                </a:solidFill>
              </a:defRPr>
            </a:lvl1pPr>
            <a:lvl2pPr marL="544092" indent="0" algn="ctr">
              <a:buNone/>
              <a:defRPr>
                <a:solidFill>
                  <a:schemeClr val="tx1">
                    <a:tint val="75000"/>
                  </a:schemeClr>
                </a:solidFill>
              </a:defRPr>
            </a:lvl2pPr>
            <a:lvl3pPr marL="1088183" indent="0" algn="ctr">
              <a:buNone/>
              <a:defRPr>
                <a:solidFill>
                  <a:schemeClr val="tx1">
                    <a:tint val="75000"/>
                  </a:schemeClr>
                </a:solidFill>
              </a:defRPr>
            </a:lvl3pPr>
            <a:lvl4pPr marL="1632276" indent="0" algn="ctr">
              <a:buNone/>
              <a:defRPr>
                <a:solidFill>
                  <a:schemeClr val="tx1">
                    <a:tint val="75000"/>
                  </a:schemeClr>
                </a:solidFill>
              </a:defRPr>
            </a:lvl4pPr>
            <a:lvl5pPr marL="2176367" indent="0" algn="ctr">
              <a:buNone/>
              <a:defRPr>
                <a:solidFill>
                  <a:schemeClr val="tx1">
                    <a:tint val="75000"/>
                  </a:schemeClr>
                </a:solidFill>
              </a:defRPr>
            </a:lvl5pPr>
            <a:lvl6pPr marL="2720458" indent="0" algn="ctr">
              <a:buNone/>
              <a:defRPr>
                <a:solidFill>
                  <a:schemeClr val="tx1">
                    <a:tint val="75000"/>
                  </a:schemeClr>
                </a:solidFill>
              </a:defRPr>
            </a:lvl6pPr>
            <a:lvl7pPr marL="3264549" indent="0" algn="ctr">
              <a:buNone/>
              <a:defRPr>
                <a:solidFill>
                  <a:schemeClr val="tx1">
                    <a:tint val="75000"/>
                  </a:schemeClr>
                </a:solidFill>
              </a:defRPr>
            </a:lvl7pPr>
            <a:lvl8pPr marL="3808642" indent="0" algn="ctr">
              <a:buNone/>
              <a:defRPr>
                <a:solidFill>
                  <a:schemeClr val="tx1">
                    <a:tint val="75000"/>
                  </a:schemeClr>
                </a:solidFill>
              </a:defRPr>
            </a:lvl8pPr>
            <a:lvl9pPr marL="4352733" indent="0" algn="ctr">
              <a:buNone/>
              <a:defRPr>
                <a:solidFill>
                  <a:schemeClr val="tx1">
                    <a:tint val="75000"/>
                  </a:schemeClr>
                </a:solidFill>
              </a:defRPr>
            </a:lvl9pPr>
          </a:lstStyle>
          <a:p>
            <a:r>
              <a:rPr lang="en-US" dirty="0"/>
              <a:t>Speaker name</a:t>
            </a:r>
          </a:p>
          <a:p>
            <a:r>
              <a:rPr lang="en-US" dirty="0"/>
              <a:t>Speaker org</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invGray">
          <a:xfrm>
            <a:off x="530699" y="5967497"/>
            <a:ext cx="1673886" cy="358621"/>
          </a:xfrm>
          <a:prstGeom prst="rect">
            <a:avLst/>
          </a:prstGeom>
        </p:spPr>
      </p:pic>
    </p:spTree>
    <p:extLst>
      <p:ext uri="{BB962C8B-B14F-4D97-AF65-F5344CB8AC3E}">
        <p14:creationId xmlns:p14="http://schemas.microsoft.com/office/powerpoint/2010/main" val="417658661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2084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lvl1pPr>
              <a:defRPr sz="1371">
                <a:solidFill>
                  <a:schemeClr val="tx1"/>
                </a:solidFill>
              </a:defRPr>
            </a:lvl1pPr>
          </a:lstStyle>
          <a:p>
            <a:fld id="{1255DB77-E0AE-A349-8FAE-C666923B773F}" type="slidenum">
              <a:rPr lang="en-US" smtClean="0">
                <a:solidFill>
                  <a:srgbClr val="3F3F3F"/>
                </a:solidFill>
              </a:rPr>
              <a:pPr/>
              <a:t>‹#›</a:t>
            </a:fld>
            <a:endParaRPr lang="en-US" dirty="0">
              <a:solidFill>
                <a:srgbClr val="3F3F3F"/>
              </a:solidFill>
            </a:endParaRPr>
          </a:p>
        </p:txBody>
      </p:sp>
      <p:sp>
        <p:nvSpPr>
          <p:cNvPr id="7" name="Title 6"/>
          <p:cNvSpPr>
            <a:spLocks noGrp="1"/>
          </p:cNvSpPr>
          <p:nvPr>
            <p:ph type="title"/>
          </p:nvPr>
        </p:nvSpPr>
        <p:spPr>
          <a:xfrm>
            <a:off x="530229" y="469025"/>
            <a:ext cx="11131076" cy="732448"/>
          </a:xfrm>
        </p:spPr>
        <p:txBody>
          <a:bodyPr anchor="t"/>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70107076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Blank">
    <p:bg>
      <p:bgPr>
        <a:solidFill>
          <a:srgbClr val="FFFFFF"/>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11698654" y="6403845"/>
            <a:ext cx="379632" cy="365125"/>
          </a:xfrm>
        </p:spPr>
        <p:txBody>
          <a:bodyPr/>
          <a:lstStyle>
            <a:lvl1pPr>
              <a:defRPr sz="1371">
                <a:solidFill>
                  <a:schemeClr val="tx1"/>
                </a:solidFill>
              </a:defRPr>
            </a:lvl1pPr>
          </a:lstStyle>
          <a:p>
            <a:fld id="{1255DB77-E0AE-A349-8FAE-C666923B773F}" type="slidenum">
              <a:rPr lang="en-US" smtClean="0">
                <a:solidFill>
                  <a:srgbClr val="3F3F3F"/>
                </a:solidFill>
              </a:rPr>
              <a:pPr/>
              <a:t>‹#›</a:t>
            </a:fld>
            <a:endParaRPr lang="en-US" dirty="0">
              <a:solidFill>
                <a:srgbClr val="3F3F3F"/>
              </a:solidFill>
            </a:endParaRPr>
          </a:p>
        </p:txBody>
      </p:sp>
    </p:spTree>
    <p:extLst>
      <p:ext uri="{BB962C8B-B14F-4D97-AF65-F5344CB8AC3E}">
        <p14:creationId xmlns:p14="http://schemas.microsoft.com/office/powerpoint/2010/main" val="369142473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696462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2" y="228600"/>
            <a:ext cx="11582401" cy="863600"/>
          </a:xfrm>
        </p:spPr>
        <p:txBody>
          <a:bodyPr anchor="t" anchorCtr="0">
            <a:noAutofit/>
          </a:bodyPr>
          <a:lstStyle>
            <a:lvl1pPr>
              <a:defRPr sz="5329" cap="none" spc="-133" baseline="0">
                <a:solidFill>
                  <a:schemeClr val="accent1"/>
                </a:solidFill>
                <a:latin typeface="Segoe UI Light" pitchFamily="34" charset="0"/>
              </a:defRPr>
            </a:lvl1pPr>
          </a:lstStyle>
          <a:p>
            <a:r>
              <a:rPr lang="en-US" dirty="0"/>
              <a:t>Click To Edit Master Title Style</a:t>
            </a:r>
          </a:p>
        </p:txBody>
      </p:sp>
      <p:sp>
        <p:nvSpPr>
          <p:cNvPr id="4" name="Date Placeholder 3"/>
          <p:cNvSpPr>
            <a:spLocks noGrp="1"/>
          </p:cNvSpPr>
          <p:nvPr>
            <p:ph type="dt" sz="half" idx="10"/>
          </p:nvPr>
        </p:nvSpPr>
        <p:spPr>
          <a:xfrm>
            <a:off x="101604" y="6586972"/>
            <a:ext cx="1015999" cy="219456"/>
          </a:xfrm>
          <a:prstGeom prst="rect">
            <a:avLst/>
          </a:prstGeom>
        </p:spPr>
        <p:txBody>
          <a:bodyPr/>
          <a:lstStyle/>
          <a:p>
            <a:pPr defTabSz="1211495"/>
            <a:fld id="{D8556E56-BCD3-4981-BA98-3AB9C4EF7216}" type="datetimeFigureOut">
              <a:rPr lang="en-US" smtClean="0">
                <a:solidFill>
                  <a:srgbClr val="292929"/>
                </a:solidFill>
              </a:rPr>
              <a:pPr defTabSz="1211495"/>
              <a:t>4/15/2019</a:t>
            </a:fld>
            <a:endParaRPr lang="en-US" dirty="0">
              <a:solidFill>
                <a:srgbClr val="292929"/>
              </a:solidFill>
            </a:endParaRPr>
          </a:p>
        </p:txBody>
      </p:sp>
      <p:sp>
        <p:nvSpPr>
          <p:cNvPr id="5" name="Footer Placeholder 4"/>
          <p:cNvSpPr>
            <a:spLocks noGrp="1"/>
          </p:cNvSpPr>
          <p:nvPr>
            <p:ph type="ftr" sz="quarter" idx="11"/>
          </p:nvPr>
        </p:nvSpPr>
        <p:spPr>
          <a:xfrm>
            <a:off x="1219200" y="6586972"/>
            <a:ext cx="9753600" cy="219456"/>
          </a:xfrm>
          <a:prstGeom prst="rect">
            <a:avLst/>
          </a:prstGeom>
        </p:spPr>
        <p:txBody>
          <a:bodyPr/>
          <a:lstStyle/>
          <a:p>
            <a:pPr defTabSz="1211495"/>
            <a:endParaRPr lang="en-US" dirty="0">
              <a:solidFill>
                <a:srgbClr val="292929"/>
              </a:solidFill>
            </a:endParaRPr>
          </a:p>
        </p:txBody>
      </p:sp>
      <p:sp>
        <p:nvSpPr>
          <p:cNvPr id="6" name="Slide Number Placeholder 5"/>
          <p:cNvSpPr>
            <a:spLocks noGrp="1"/>
          </p:cNvSpPr>
          <p:nvPr>
            <p:ph type="sldNum" sz="quarter" idx="12"/>
          </p:nvPr>
        </p:nvSpPr>
        <p:spPr>
          <a:xfrm>
            <a:off x="11074401" y="6586972"/>
            <a:ext cx="1015999" cy="219456"/>
          </a:xfrm>
          <a:prstGeom prst="rect">
            <a:avLst/>
          </a:prstGeom>
        </p:spPr>
        <p:txBody>
          <a:bodyPr/>
          <a:lstStyle/>
          <a:p>
            <a:pPr defTabSz="1211495"/>
            <a:fld id="{701EF8F4-3127-4F0B-9FA1-9C31610D72B1}" type="slidenum">
              <a:rPr lang="en-US" sz="1765" smtClean="0">
                <a:solidFill>
                  <a:srgbClr val="292929"/>
                </a:solidFill>
              </a:rPr>
              <a:pPr defTabSz="1211495"/>
              <a:t>‹#›</a:t>
            </a:fld>
            <a:endParaRPr lang="en-US" sz="1765" dirty="0">
              <a:solidFill>
                <a:srgbClr val="292929"/>
              </a:solidFill>
            </a:endParaRPr>
          </a:p>
        </p:txBody>
      </p:sp>
    </p:spTree>
    <p:extLst>
      <p:ext uri="{BB962C8B-B14F-4D97-AF65-F5344CB8AC3E}">
        <p14:creationId xmlns:p14="http://schemas.microsoft.com/office/powerpoint/2010/main" val="2651772199"/>
      </p:ext>
    </p:extLst>
  </p:cSld>
  <p:clrMapOvr>
    <a:masterClrMapping/>
  </p:clrMapOvr>
  <p:transition spd="slow">
    <p:push/>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41351" y="1198566"/>
            <a:ext cx="11182253" cy="175124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337726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gradFill flip="none" rotWithShape="1">
            <a:gsLst>
              <a:gs pos="0">
                <a:srgbClr val="E2E6EE"/>
              </a:gs>
              <a:gs pos="43000">
                <a:sysClr val="window" lastClr="FFFFFF"/>
              </a:gs>
            </a:gsLst>
            <a:lin ang="16200000" scaled="1"/>
            <a:tileRect/>
          </a:gradFill>
          <a:ln w="25400" cap="flat" cmpd="sng" algn="ctr">
            <a:noFill/>
            <a:prstDash val="solid"/>
          </a:ln>
          <a:effectLst/>
        </p:spPr>
        <p:txBody>
          <a:bodyPr lIns="91387" tIns="45695" rIns="91387" bIns="45695" rtlCol="0" anchor="ctr"/>
          <a:lstStyle/>
          <a:p>
            <a:pPr algn="ctr" defTabSz="913782"/>
            <a:endParaRPr lang="en-US" sz="1900" kern="0">
              <a:solidFill>
                <a:prstClr val="white"/>
              </a:solidFill>
              <a:latin typeface="Calibri"/>
            </a:endParaRPr>
          </a:p>
        </p:txBody>
      </p:sp>
    </p:spTree>
    <p:extLst>
      <p:ext uri="{BB962C8B-B14F-4D97-AF65-F5344CB8AC3E}">
        <p14:creationId xmlns:p14="http://schemas.microsoft.com/office/powerpoint/2010/main" val="115720281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69240" y="4163528"/>
            <a:ext cx="11655840" cy="2403404"/>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4028712"/>
          </a:xfrm>
          <a:prstGeom prst="rect">
            <a:avLst/>
          </a:prstGeom>
        </p:spPr>
      </p:pic>
      <p:sp>
        <p:nvSpPr>
          <p:cNvPr id="8" name="Rectangle 7"/>
          <p:cNvSpPr/>
          <p:nvPr userDrawn="1"/>
        </p:nvSpPr>
        <p:spPr bwMode="auto">
          <a:xfrm>
            <a:off x="0" y="1"/>
            <a:ext cx="12192000" cy="6857999"/>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68928" y="289513"/>
            <a:ext cx="11655078" cy="899665"/>
          </a:xfrm>
        </p:spPr>
        <p:txBody>
          <a:bodyPr/>
          <a:lstStyle/>
          <a:p>
            <a:pPr algn="l"/>
            <a:endParaRPr lang="en-US"/>
          </a:p>
        </p:txBody>
      </p:sp>
    </p:spTree>
    <p:extLst>
      <p:ext uri="{BB962C8B-B14F-4D97-AF65-F5344CB8AC3E}">
        <p14:creationId xmlns:p14="http://schemas.microsoft.com/office/powerpoint/2010/main" val="2274496443"/>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0271" cy="6858000"/>
          </a:xfrm>
          <a:prstGeom prst="rect">
            <a:avLst/>
          </a:prstGeom>
        </p:spPr>
      </p:pic>
      <p:grpSp>
        <p:nvGrpSpPr>
          <p:cNvPr id="23" name="Group 22"/>
          <p:cNvGrpSpPr>
            <a:grpSpLocks noChangeAspect="1"/>
          </p:cNvGrpSpPr>
          <p:nvPr userDrawn="1"/>
        </p:nvGrpSpPr>
        <p:grpSpPr bwMode="gray">
          <a:xfrm>
            <a:off x="448525" y="380757"/>
            <a:ext cx="1648360" cy="353933"/>
            <a:chOff x="457200" y="1643393"/>
            <a:chExt cx="4492753" cy="964540"/>
          </a:xfrm>
        </p:grpSpPr>
        <p:pic>
          <p:nvPicPr>
            <p:cNvPr id="24" name="Picture 23"/>
            <p:cNvPicPr>
              <a:picLocks noChangeAspect="1"/>
            </p:cNvPicPr>
            <p:nvPr/>
          </p:nvPicPr>
          <p:blipFill>
            <a:blip r:embed="rId3"/>
            <a:stretch>
              <a:fillRect/>
            </a:stretch>
          </p:blipFill>
          <p:spPr bwMode="gray">
            <a:xfrm>
              <a:off x="457200" y="1643393"/>
              <a:ext cx="964540" cy="964540"/>
            </a:xfrm>
            <a:prstGeom prst="rect">
              <a:avLst/>
            </a:prstGeom>
          </p:spPr>
        </p:pic>
        <p:sp>
          <p:nvSpPr>
            <p:cNvPr id="2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4" name="Rectangle 3"/>
          <p:cNvSpPr/>
          <p:nvPr userDrawn="1"/>
        </p:nvSpPr>
        <p:spPr bwMode="auto">
          <a:xfrm>
            <a:off x="267620" y="2983822"/>
            <a:ext cx="6276593" cy="3406898"/>
          </a:xfrm>
          <a:prstGeom prst="rect">
            <a:avLst/>
          </a:prstGeom>
          <a:solidFill>
            <a:srgbClr val="5C005C">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983822"/>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4776907"/>
            <a:ext cx="6276530" cy="1610682"/>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3301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6" name="Group 5"/>
          <p:cNvGrpSpPr>
            <a:grpSpLocks noChangeAspect="1"/>
          </p:cNvGrpSpPr>
          <p:nvPr userDrawn="1"/>
        </p:nvGrpSpPr>
        <p:grpSpPr bwMode="gray">
          <a:xfrm>
            <a:off x="448525" y="6041472"/>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583117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403707321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994888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281278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868837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88374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14575833"/>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28544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61124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3196115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926595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60212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72602293"/>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2855892"/>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61575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982417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92904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215437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628253"/>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3920997"/>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1323657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819327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Slide 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2B8B291-2E80-4A4B-84C0-9B51FB9EC55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770" b="13854"/>
          <a:stretch/>
        </p:blipFill>
        <p:spPr>
          <a:xfrm>
            <a:off x="-1" y="-1"/>
            <a:ext cx="12191999" cy="6858974"/>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9239" y="281878"/>
            <a:ext cx="1915092" cy="704554"/>
          </a:xfrm>
          <a:prstGeom prst="rect">
            <a:avLst/>
          </a:prstGeom>
        </p:spPr>
      </p:pic>
    </p:spTree>
    <p:extLst>
      <p:ext uri="{BB962C8B-B14F-4D97-AF65-F5344CB8AC3E}">
        <p14:creationId xmlns:p14="http://schemas.microsoft.com/office/powerpoint/2010/main" val="4001452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3571936728"/>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pic>
        <p:nvPicPr>
          <p:cNvPr id="4" name="Picture 3"/>
          <p:cNvPicPr>
            <a:picLocks noChangeAspect="1"/>
          </p:cNvPicPr>
          <p:nvPr userDrawn="1"/>
        </p:nvPicPr>
        <p:blipFill>
          <a:blip r:embed="rId3"/>
          <a:stretch>
            <a:fillRect/>
          </a:stretch>
        </p:blipFill>
        <p:spPr>
          <a:xfrm>
            <a:off x="1460415" y="1592814"/>
            <a:ext cx="9271173" cy="3672373"/>
          </a:xfrm>
          <a:prstGeom prst="rect">
            <a:avLst/>
          </a:prstGeom>
        </p:spPr>
      </p:pic>
    </p:spTree>
    <p:extLst>
      <p:ext uri="{BB962C8B-B14F-4D97-AF65-F5344CB8AC3E}">
        <p14:creationId xmlns:p14="http://schemas.microsoft.com/office/powerpoint/2010/main" val="2368237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6096001" y="1019412"/>
            <a:ext cx="5374293" cy="509055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526913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5942769" y="746576"/>
            <a:ext cx="5531719" cy="536485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30971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2"/>
          <a:stretch>
            <a:fillRect/>
          </a:stretch>
        </p:blipFill>
        <p:spPr>
          <a:xfrm>
            <a:off x="6006358" y="291103"/>
            <a:ext cx="5378490" cy="581417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423785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6091087" y="470067"/>
            <a:ext cx="5392953" cy="56846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4606914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6185641" y="1078295"/>
            <a:ext cx="5334758" cy="5034317"/>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8829637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6159467" y="918682"/>
            <a:ext cx="5428517" cy="52968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41341311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5892598" y="829028"/>
            <a:ext cx="5667588" cy="5364341"/>
          </a:xfrm>
          <a:prstGeom prst="rect">
            <a:avLst/>
          </a:prstGeom>
        </p:spPr>
      </p:pic>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2903384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6006358" y="739373"/>
            <a:ext cx="5559730" cy="5453995"/>
          </a:xfrm>
          <a:prstGeom prst="rect">
            <a:avLst/>
          </a:prstGeom>
        </p:spPr>
      </p:pic>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878136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pic>
        <p:nvPicPr>
          <p:cNvPr id="7" name="Picture 6"/>
          <p:cNvPicPr>
            <a:picLocks noChangeAspect="1"/>
          </p:cNvPicPr>
          <p:nvPr userDrawn="1"/>
        </p:nvPicPr>
        <p:blipFill>
          <a:blip r:embed="rId3"/>
          <a:stretch>
            <a:fillRect/>
          </a:stretch>
        </p:blipFill>
        <p:spPr>
          <a:xfrm>
            <a:off x="6136132" y="1547451"/>
            <a:ext cx="5607657" cy="4566566"/>
          </a:xfrm>
          <a:prstGeom prst="rect">
            <a:avLst/>
          </a:prstGeom>
        </p:spPr>
      </p:pic>
    </p:spTree>
    <p:extLst>
      <p:ext uri="{BB962C8B-B14F-4D97-AF65-F5344CB8AC3E}">
        <p14:creationId xmlns:p14="http://schemas.microsoft.com/office/powerpoint/2010/main" val="2152773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7118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9449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513496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2979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522077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2398390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27819712"/>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41368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sp>
        <p:nvSpPr>
          <p:cNvPr id="5" name="TextBox 4"/>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Philadelphia!</a:t>
            </a:r>
          </a:p>
        </p:txBody>
      </p:sp>
      <p:pic>
        <p:nvPicPr>
          <p:cNvPr id="7" name="Picture 6"/>
          <p:cNvPicPr>
            <a:picLocks noChangeAspect="1"/>
          </p:cNvPicPr>
          <p:nvPr userDrawn="1"/>
        </p:nvPicPr>
        <p:blipFill>
          <a:blip r:embed="rId2"/>
          <a:stretch>
            <a:fillRect/>
          </a:stretch>
        </p:blipFill>
        <p:spPr>
          <a:xfrm>
            <a:off x="6096001" y="1019412"/>
            <a:ext cx="5374293" cy="509055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7127205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Tokyo!</a:t>
            </a:r>
          </a:p>
        </p:txBody>
      </p:sp>
      <p:pic>
        <p:nvPicPr>
          <p:cNvPr id="5" name="Picture 4"/>
          <p:cNvPicPr>
            <a:picLocks noChangeAspect="1"/>
          </p:cNvPicPr>
          <p:nvPr userDrawn="1"/>
        </p:nvPicPr>
        <p:blipFill>
          <a:blip r:embed="rId2"/>
          <a:stretch>
            <a:fillRect/>
          </a:stretch>
        </p:blipFill>
        <p:spPr>
          <a:xfrm>
            <a:off x="5942769" y="746576"/>
            <a:ext cx="5531719" cy="5364851"/>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666891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Stockholm!</a:t>
            </a:r>
          </a:p>
        </p:txBody>
      </p:sp>
      <p:pic>
        <p:nvPicPr>
          <p:cNvPr id="6" name="Picture 5"/>
          <p:cNvPicPr>
            <a:picLocks noChangeAspect="1"/>
          </p:cNvPicPr>
          <p:nvPr userDrawn="1"/>
        </p:nvPicPr>
        <p:blipFill>
          <a:blip r:embed="rId2"/>
          <a:stretch>
            <a:fillRect/>
          </a:stretch>
        </p:blipFill>
        <p:spPr>
          <a:xfrm>
            <a:off x="6006358" y="291103"/>
            <a:ext cx="5378490" cy="581417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492169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47227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Tel Aviv!</a:t>
            </a:r>
          </a:p>
        </p:txBody>
      </p:sp>
      <p:pic>
        <p:nvPicPr>
          <p:cNvPr id="6" name="Picture 5"/>
          <p:cNvPicPr>
            <a:picLocks noChangeAspect="1"/>
          </p:cNvPicPr>
          <p:nvPr userDrawn="1"/>
        </p:nvPicPr>
        <p:blipFill>
          <a:blip r:embed="rId2"/>
          <a:stretch>
            <a:fillRect/>
          </a:stretch>
        </p:blipFill>
        <p:spPr>
          <a:xfrm>
            <a:off x="6091087" y="470067"/>
            <a:ext cx="5392953" cy="56846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330259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Paris!</a:t>
            </a:r>
          </a:p>
        </p:txBody>
      </p:sp>
      <p:pic>
        <p:nvPicPr>
          <p:cNvPr id="6" name="Picture 5"/>
          <p:cNvPicPr>
            <a:picLocks noChangeAspect="1"/>
          </p:cNvPicPr>
          <p:nvPr userDrawn="1"/>
        </p:nvPicPr>
        <p:blipFill>
          <a:blip r:embed="rId2"/>
          <a:stretch>
            <a:fillRect/>
          </a:stretch>
        </p:blipFill>
        <p:spPr>
          <a:xfrm>
            <a:off x="6185641" y="1078295"/>
            <a:ext cx="5334758" cy="5034317"/>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593357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299"/>
            <a:ext cx="5468137"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Washington, D.C.!</a:t>
            </a:r>
          </a:p>
        </p:txBody>
      </p:sp>
      <p:pic>
        <p:nvPicPr>
          <p:cNvPr id="6" name="Picture 5"/>
          <p:cNvPicPr>
            <a:picLocks noChangeAspect="1"/>
          </p:cNvPicPr>
          <p:nvPr userDrawn="1"/>
        </p:nvPicPr>
        <p:blipFill>
          <a:blip r:embed="rId2"/>
          <a:stretch>
            <a:fillRect/>
          </a:stretch>
        </p:blipFill>
        <p:spPr>
          <a:xfrm>
            <a:off x="6159467" y="918682"/>
            <a:ext cx="5428517" cy="52968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999570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Atlanta!</a:t>
            </a:r>
          </a:p>
        </p:txBody>
      </p:sp>
      <p:pic>
        <p:nvPicPr>
          <p:cNvPr id="6" name="Picture 5"/>
          <p:cNvPicPr>
            <a:picLocks noChangeAspect="1"/>
          </p:cNvPicPr>
          <p:nvPr userDrawn="1"/>
        </p:nvPicPr>
        <p:blipFill>
          <a:blip r:embed="rId2"/>
          <a:stretch>
            <a:fillRect/>
          </a:stretch>
        </p:blipFill>
        <p:spPr>
          <a:xfrm>
            <a:off x="5892598" y="829028"/>
            <a:ext cx="5667588" cy="5364341"/>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4272342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Frankfurt!</a:t>
            </a:r>
          </a:p>
        </p:txBody>
      </p:sp>
      <p:pic>
        <p:nvPicPr>
          <p:cNvPr id="6" name="Picture 5"/>
          <p:cNvPicPr>
            <a:picLocks noChangeAspect="1"/>
          </p:cNvPicPr>
          <p:nvPr userDrawn="1"/>
        </p:nvPicPr>
        <p:blipFill>
          <a:blip r:embed="rId2"/>
          <a:stretch>
            <a:fillRect/>
          </a:stretch>
        </p:blipFill>
        <p:spPr>
          <a:xfrm>
            <a:off x="6006358" y="739373"/>
            <a:ext cx="5559730" cy="545399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810349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Budapest!</a:t>
            </a:r>
          </a:p>
        </p:txBody>
      </p:sp>
      <p:pic>
        <p:nvPicPr>
          <p:cNvPr id="6" name="Picture 5"/>
          <p:cNvPicPr>
            <a:picLocks noChangeAspect="1"/>
          </p:cNvPicPr>
          <p:nvPr userDrawn="1"/>
        </p:nvPicPr>
        <p:blipFill>
          <a:blip r:embed="rId2"/>
          <a:stretch>
            <a:fillRect/>
          </a:stretch>
        </p:blipFill>
        <p:spPr>
          <a:xfrm>
            <a:off x="6136132" y="1547451"/>
            <a:ext cx="5607657" cy="456656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3983434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1879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082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9143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227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3680621"/>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1714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3717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09454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467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27051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4640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8512"/>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71723387"/>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03889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049">
              <a:defRPr/>
            </a:pPr>
            <a:fld id="{E35FFCD0-55DC-4FA1-A75B-CAC7F2FFA607}" type="datetimeFigureOut">
              <a:rPr lang="en-US" smtClean="0">
                <a:solidFill>
                  <a:prstClr val="black">
                    <a:tint val="75000"/>
                  </a:prstClr>
                </a:solidFill>
              </a:rPr>
              <a:pPr defTabSz="914049">
                <a:defRPr/>
              </a:pPr>
              <a:t>4/15/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049">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049">
              <a:defRPr/>
            </a:pPr>
            <a:fld id="{6A59D5AF-717C-4F63-B565-3835D17431FA}" type="slidenum">
              <a:rPr lang="en-US" smtClean="0">
                <a:solidFill>
                  <a:prstClr val="black">
                    <a:tint val="75000"/>
                  </a:prstClr>
                </a:solidFill>
              </a:rPr>
              <a:pPr defTabSz="914049">
                <a:defRPr/>
              </a:pPr>
              <a:t>‹#›</a:t>
            </a:fld>
            <a:endParaRPr lang="en-US">
              <a:solidFill>
                <a:prstClr val="black">
                  <a:tint val="75000"/>
                </a:prstClr>
              </a:solidFill>
            </a:endParaRPr>
          </a:p>
        </p:txBody>
      </p:sp>
    </p:spTree>
    <p:extLst>
      <p:ext uri="{BB962C8B-B14F-4D97-AF65-F5344CB8AC3E}">
        <p14:creationId xmlns:p14="http://schemas.microsoft.com/office/powerpoint/2010/main" val="20299266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26241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68381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689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8"/>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17" tIns="44808" rIns="89617" bIns="44808" numCol="1" anchor="t" anchorCtr="0" compatLnSpc="1">
            <a:prstTxWarp prst="textNoShape">
              <a:avLst/>
            </a:prstTxWarp>
          </a:bodyPr>
          <a:lstStyle/>
          <a:p>
            <a:endParaRPr lang="en-US" sz="1765"/>
          </a:p>
        </p:txBody>
      </p:sp>
      <p:sp>
        <p:nvSpPr>
          <p:cNvPr id="88" name="Freeform 17"/>
          <p:cNvSpPr>
            <a:spLocks/>
          </p:cNvSpPr>
          <p:nvPr userDrawn="1"/>
        </p:nvSpPr>
        <p:spPr bwMode="auto">
          <a:xfrm>
            <a:off x="5395671"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17" tIns="44808" rIns="89617" bIns="44808"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7"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17" tIns="44808" rIns="89617" bIns="44808"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9"/>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17" tIns="44808" rIns="89617" bIns="44808"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5"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5"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endParaRPr lang="en-US" sz="1765"/>
          </a:p>
        </p:txBody>
      </p:sp>
      <p:sp>
        <p:nvSpPr>
          <p:cNvPr id="90" name="Freeform 19"/>
          <p:cNvSpPr>
            <a:spLocks/>
          </p:cNvSpPr>
          <p:nvPr userDrawn="1"/>
        </p:nvSpPr>
        <p:spPr bwMode="auto">
          <a:xfrm>
            <a:off x="8402430" y="5626801"/>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endParaRPr lang="en-US" sz="1765"/>
          </a:p>
        </p:txBody>
      </p:sp>
      <p:grpSp>
        <p:nvGrpSpPr>
          <p:cNvPr id="103" name="Group 102"/>
          <p:cNvGrpSpPr/>
          <p:nvPr userDrawn="1"/>
        </p:nvGrpSpPr>
        <p:grpSpPr>
          <a:xfrm>
            <a:off x="0" y="4244616"/>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7"/>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grpSp>
      </p:grpSp>
      <p:sp>
        <p:nvSpPr>
          <p:cNvPr id="3" name="TextBox 2"/>
          <p:cNvSpPr txBox="1"/>
          <p:nvPr userDrawn="1"/>
        </p:nvSpPr>
        <p:spPr>
          <a:xfrm>
            <a:off x="10395244" y="5944038"/>
            <a:ext cx="1527455" cy="622056"/>
          </a:xfrm>
          <a:prstGeom prst="rect">
            <a:avLst/>
          </a:prstGeom>
          <a:noFill/>
        </p:spPr>
        <p:txBody>
          <a:bodyPr wrap="none" lIns="179234" tIns="143387" rIns="179234" bIns="143387"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159896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4"/>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7" y="299809"/>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5"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31"/>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34219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7560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35196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0834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1743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8051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9062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93219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8265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7457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671734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4481416" cy="1158793"/>
          </a:xfrm>
          <a:noFill/>
        </p:spPr>
        <p:txBody>
          <a:bodyPr wrap="square"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b="-6"/>
          <a:stretch/>
        </p:blipFill>
        <p:spPr>
          <a:xfrm>
            <a:off x="5198877" y="438"/>
            <a:ext cx="6991565" cy="6863349"/>
          </a:xfrm>
          <a:prstGeom prst="rect">
            <a:avLst/>
          </a:prstGeom>
        </p:spPr>
      </p:pic>
    </p:spTree>
    <p:extLst>
      <p:ext uri="{BB962C8B-B14F-4D97-AF65-F5344CB8AC3E}">
        <p14:creationId xmlns:p14="http://schemas.microsoft.com/office/powerpoint/2010/main" val="3135141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4481416" cy="1158793"/>
          </a:xfrm>
          <a:noFill/>
        </p:spPr>
        <p:txBody>
          <a:bodyPr wrap="square"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Video title</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99586" y="0"/>
            <a:ext cx="6993968" cy="6863348"/>
          </a:xfrm>
          <a:prstGeom prst="rect">
            <a:avLst/>
          </a:prstGeom>
        </p:spPr>
      </p:pic>
    </p:spTree>
    <p:extLst>
      <p:ext uri="{BB962C8B-B14F-4D97-AF65-F5344CB8AC3E}">
        <p14:creationId xmlns:p14="http://schemas.microsoft.com/office/powerpoint/2010/main" val="1570838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36575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425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6613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4610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230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39347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756314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0354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47442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8C14075-C0F9-4B58-A37C-508C7C201F5F}" type="datetimeFigureOut">
              <a:rPr lang="en-US" smtClean="0"/>
              <a:t>4/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2DCEFF-6824-4AEA-890B-80CAFD81A4EF}" type="slidenum">
              <a:rPr lang="en-US" smtClean="0"/>
              <a:t>‹#›</a:t>
            </a:fld>
            <a:endParaRPr lang="en-US"/>
          </a:p>
        </p:txBody>
      </p:sp>
    </p:spTree>
    <p:extLst>
      <p:ext uri="{BB962C8B-B14F-4D97-AF65-F5344CB8AC3E}">
        <p14:creationId xmlns:p14="http://schemas.microsoft.com/office/powerpoint/2010/main" val="385846863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621656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9" y="0"/>
            <a:ext cx="12206318" cy="6873565"/>
          </a:xfrm>
          <a:prstGeom prst="rect">
            <a:avLst/>
          </a:prstGeom>
        </p:spPr>
      </p:pic>
    </p:spTree>
    <p:extLst>
      <p:ext uri="{BB962C8B-B14F-4D97-AF65-F5344CB8AC3E}">
        <p14:creationId xmlns:p14="http://schemas.microsoft.com/office/powerpoint/2010/main" val="87069573"/>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8521259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95866851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05086185"/>
      </p:ext>
    </p:extLst>
  </p:cSld>
  <p:clrMapOvr>
    <a:masterClrMapping/>
  </p:clrMapOvr>
  <p:transition spd="med">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73706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09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41871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3451628"/>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21410"/>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619924050"/>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341" fontAlgn="base">
              <a:spcBef>
                <a:spcPct val="0"/>
              </a:spcBef>
              <a:spcAft>
                <a:spcPct val="0"/>
              </a:spcAft>
            </a:pPr>
            <a:fld id="{83758903-653A-7442-ACA2-36E6579F0BEB}" type="slidenum">
              <a:rPr lang="en-US" smtClean="0">
                <a:ea typeface="ＭＳ Ｐゴシック" charset="0"/>
              </a:rPr>
              <a:pPr defTabSz="913341"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0"/>
            <a:ext cx="11653523" cy="49574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6414730"/>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algn="r" defTabSz="913675"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2794295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4819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13421549"/>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853491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3270797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2"/>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2" y="0"/>
            <a:ext cx="6858000" cy="6858000"/>
          </a:xfrm>
          <a:prstGeom prst="rect">
            <a:avLst/>
          </a:prstGeom>
        </p:spPr>
      </p:pic>
    </p:spTree>
    <p:extLst>
      <p:ext uri="{BB962C8B-B14F-4D97-AF65-F5344CB8AC3E}">
        <p14:creationId xmlns:p14="http://schemas.microsoft.com/office/powerpoint/2010/main" val="187468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2"/>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2" y="0"/>
            <a:ext cx="6858000" cy="6858000"/>
          </a:xfrm>
          <a:prstGeom prst="rect">
            <a:avLst/>
          </a:prstGeom>
        </p:spPr>
      </p:pic>
    </p:spTree>
    <p:extLst>
      <p:ext uri="{BB962C8B-B14F-4D97-AF65-F5344CB8AC3E}">
        <p14:creationId xmlns:p14="http://schemas.microsoft.com/office/powerpoint/2010/main" val="394964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09398"/>
          </a:xfrm>
        </p:spPr>
        <p:txBody>
          <a:bodyPr/>
          <a:lstStyle>
            <a:lvl1pPr>
              <a:defRPr sz="4400">
                <a:solidFill>
                  <a:schemeClr val="bg1">
                    <a:lumMod val="50000"/>
                  </a:schemeClr>
                </a:solidFill>
                <a:latin typeface="Segoe Light"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08000" y="1143000"/>
            <a:ext cx="11151917" cy="5105400"/>
          </a:xfrm>
        </p:spPr>
        <p:txBody>
          <a:bodyPr/>
          <a:lstStyle>
            <a:lvl1pPr marL="0" indent="0">
              <a:buNone/>
              <a:defRPr>
                <a:solidFill>
                  <a:schemeClr val="bg1">
                    <a:lumMod val="50000"/>
                  </a:schemeClr>
                </a:solidFill>
                <a:latin typeface="Segoe" charset="0"/>
              </a:defRPr>
            </a:lvl1pPr>
            <a:lvl2pPr marL="346075" indent="0">
              <a:buNone/>
              <a:defRPr>
                <a:solidFill>
                  <a:schemeClr val="bg1">
                    <a:lumMod val="50000"/>
                  </a:schemeClr>
                </a:solidFill>
                <a:latin typeface="Segoe" charset="0"/>
              </a:defRPr>
            </a:lvl2pPr>
            <a:lvl3pPr marL="630237" indent="0">
              <a:buNone/>
              <a:defRPr>
                <a:solidFill>
                  <a:schemeClr val="bg1">
                    <a:lumMod val="50000"/>
                  </a:schemeClr>
                </a:solidFill>
                <a:latin typeface="Segoe" charset="0"/>
              </a:defRPr>
            </a:lvl3pPr>
            <a:lvl4pPr marL="1258887" indent="0">
              <a:buNone/>
              <a:defRPr>
                <a:solidFill>
                  <a:schemeClr val="bg1">
                    <a:lumMod val="50000"/>
                  </a:schemeClr>
                </a:solidFill>
                <a:latin typeface="Segoe" charset="0"/>
              </a:defRPr>
            </a:lvl4pPr>
            <a:lvl5pPr marL="1482725" indent="0">
              <a:buNone/>
              <a:defRPr>
                <a:solidFill>
                  <a:schemeClr val="bg1">
                    <a:lumMod val="50000"/>
                  </a:schemeClr>
                </a:solidFill>
                <a:latin typeface="Segoe"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516465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331512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210821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236820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7"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2"/>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1936218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1"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1046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70"/>
            <a:ext cx="4133088" cy="898708"/>
          </a:xfrm>
        </p:spPr>
        <p:txBody>
          <a:bodyPr wrap="square">
            <a:spAutoFit/>
          </a:bodyPr>
          <a:lstStyle>
            <a:lvl1pPr marL="0" indent="0">
              <a:spcBef>
                <a:spcPts val="600"/>
              </a:spcBef>
              <a:buNone/>
              <a:defRPr sz="2000">
                <a:latin typeface="+mj-lt"/>
              </a:defRPr>
            </a:lvl1pPr>
            <a:lvl2pPr marL="0" indent="0">
              <a:buNone/>
              <a:defRPr sz="1800"/>
            </a:lvl2pPr>
            <a:lvl3pPr marL="171417" indent="-171417">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6" y="474595"/>
            <a:ext cx="1887538" cy="751552"/>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24947086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599755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66753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9987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685" indent="-231685">
              <a:spcBef>
                <a:spcPts val="1222"/>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874" indent="-171384">
              <a:buFont typeface="Wingdings" panose="05000000000000000000" pitchFamily="2" charset="2"/>
              <a:buChar char=""/>
              <a:defRPr sz="2000" b="0"/>
            </a:lvl2pPr>
            <a:lvl3pPr marL="639517" indent="-188840">
              <a:buFont typeface="Wingdings" panose="05000000000000000000" pitchFamily="2" charset="2"/>
              <a:buChar char=""/>
              <a:tabLst/>
              <a:defRPr sz="1600" b="0"/>
            </a:lvl3pPr>
            <a:lvl4pPr marL="828356" indent="-176146">
              <a:buFont typeface="Wingdings" panose="05000000000000000000" pitchFamily="2" charset="2"/>
              <a:buChar char=""/>
              <a:defRPr sz="1400" b="0"/>
            </a:lvl4pPr>
            <a:lvl5pPr marL="1023544" indent="-16979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685" indent="-231685">
              <a:spcBef>
                <a:spcPts val="1222"/>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874" indent="-171384">
              <a:buFont typeface="Wingdings" panose="05000000000000000000" pitchFamily="2" charset="2"/>
              <a:buChar char=""/>
              <a:defRPr sz="2000" b="0"/>
            </a:lvl2pPr>
            <a:lvl3pPr marL="639517" indent="-188840">
              <a:buFont typeface="Wingdings" panose="05000000000000000000" pitchFamily="2" charset="2"/>
              <a:buChar char=""/>
              <a:tabLst/>
              <a:defRPr sz="1600" b="0"/>
            </a:lvl3pPr>
            <a:lvl4pPr marL="828356" indent="-176146">
              <a:buFont typeface="Wingdings" panose="05000000000000000000" pitchFamily="2" charset="2"/>
              <a:buChar char=""/>
              <a:defRPr sz="1400" b="0"/>
            </a:lvl4pPr>
            <a:lvl5pPr marL="1023544" indent="-16979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18315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270069"/>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500608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125687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9906855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2" y="2025652"/>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2433186"/>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7"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543028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85547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85115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5918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30977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205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p:spPr>
        <p:txBody>
          <a:bodyPr/>
          <a:lstStyle/>
          <a:p>
            <a:r>
              <a:rPr lang="en-US"/>
              <a:t>Click to edit Master title style</a:t>
            </a:r>
            <a:endParaRPr lang="en-US" dirty="0"/>
          </a:p>
        </p:txBody>
      </p:sp>
    </p:spTree>
    <p:extLst>
      <p:ext uri="{BB962C8B-B14F-4D97-AF65-F5344CB8AC3E}">
        <p14:creationId xmlns:p14="http://schemas.microsoft.com/office/powerpoint/2010/main" val="47034560"/>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822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706942"/>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1482327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23788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view of a city at night&#10;&#10;Description generated with very high confidence">
            <a:extLst>
              <a:ext uri="{FF2B5EF4-FFF2-40B4-BE49-F238E27FC236}">
                <a16:creationId xmlns:a16="http://schemas.microsoft.com/office/drawing/2014/main" id="{F06E8D60-010F-442A-8B73-CFC8AD56E23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362238018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group of people walking on a rainy day&#10;&#10;Description generated with very high confidence">
            <a:extLst>
              <a:ext uri="{FF2B5EF4-FFF2-40B4-BE49-F238E27FC236}">
                <a16:creationId xmlns:a16="http://schemas.microsoft.com/office/drawing/2014/main" id="{34A09B12-EFC8-4ED8-AD16-D7471C0828B5}"/>
              </a:ext>
            </a:extLst>
          </p:cNvPr>
          <p:cNvPicPr>
            <a:picLocks noChangeAspect="1"/>
          </p:cNvPicPr>
          <p:nvPr userDrawn="1"/>
        </p:nvPicPr>
        <p:blipFill rotWithShape="1">
          <a:blip r:embed="rId3"/>
          <a:srcRect t="24177" b="9173"/>
          <a:stretch/>
        </p:blipFill>
        <p:spPr>
          <a:xfrm>
            <a:off x="5334001" y="0"/>
            <a:ext cx="6858000" cy="6858000"/>
          </a:xfrm>
          <a:prstGeom prst="rect">
            <a:avLst/>
          </a:prstGeom>
        </p:spPr>
      </p:pic>
    </p:spTree>
    <p:extLst>
      <p:ext uri="{BB962C8B-B14F-4D97-AF65-F5344CB8AC3E}">
        <p14:creationId xmlns:p14="http://schemas.microsoft.com/office/powerpoint/2010/main" val="1753811730"/>
      </p:ext>
    </p:extLst>
  </p:cSld>
  <p:clrMapOvr>
    <a:masterClrMapping/>
  </p:clrMapOvr>
  <p:transition>
    <p:fade/>
  </p:transition>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grpSp>
        <p:nvGrpSpPr>
          <p:cNvPr id="23" name="Group 21">
            <a:extLst>
              <a:ext uri="{FF2B5EF4-FFF2-40B4-BE49-F238E27FC236}">
                <a16:creationId xmlns:a16="http://schemas.microsoft.com/office/drawing/2014/main" id="{E1FEE244-FDD2-45A4-B9BF-BD32415AF239}"/>
              </a:ext>
            </a:extLst>
          </p:cNvPr>
          <p:cNvGrpSpPr>
            <a:grpSpLocks noChangeAspect="1"/>
          </p:cNvGrpSpPr>
          <p:nvPr userDrawn="1"/>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8135A547-0519-4204-B212-EB7084748A67}"/>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03419E32-D223-42CF-8570-A04DBBECD41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396CCFB2-CF0D-482C-9CC8-0F73D26B9A1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ED5C5BC4-DDF6-44C2-8C5B-5F930A4D5B68}"/>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633BBD4B-C10D-4906-960A-BEFCC4CDC05A}"/>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354B65B7-9C63-4CE4-B430-4A27761B47F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D4AA7E16-0603-418C-9792-CA986990EFC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594501B0-8ED1-4460-AB1D-493FAB5BCE4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37E72F66-5883-4285-8FFF-CD7B9502A9C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DA5FC26F-C159-4670-A03E-5834B08DF51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05E4C2D0-C66A-4D81-AA6C-97FBC74CDA6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78CF0401-A7A7-488E-ADF3-CCA09DFEC323}"/>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EC159A60-6B2F-4F43-9264-86566AB6129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6D777A0B-5012-4E42-AD5C-669C9E7A2B9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67002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610340026"/>
      </p:ext>
    </p:extLst>
  </p:cSld>
  <p:clrMapOvr>
    <a:masterClrMapping/>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982755956"/>
      </p:ext>
    </p:extLst>
  </p:cSld>
  <p:clrMapOvr>
    <a:masterClrMapping/>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5216" y="585788"/>
            <a:ext cx="1366245" cy="292608"/>
          </a:xfrm>
          <a:prstGeom prst="rect">
            <a:avLst/>
          </a:prstGeom>
        </p:spPr>
      </p:pic>
    </p:spTree>
    <p:extLst>
      <p:ext uri="{BB962C8B-B14F-4D97-AF65-F5344CB8AC3E}">
        <p14:creationId xmlns:p14="http://schemas.microsoft.com/office/powerpoint/2010/main" val="14754382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787346"/>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176790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197615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84731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124700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593119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8408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346861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9250054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1029420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noChangeAspect="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3076955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19248" y="228602"/>
            <a:ext cx="11151917" cy="747897"/>
          </a:xfrm>
        </p:spPr>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575421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89558509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7609244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3754831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19558340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5502618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8099200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11812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15193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19292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b="1"/>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02953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19248" y="228602"/>
            <a:ext cx="11151917" cy="747897"/>
          </a:xfrm>
        </p:spPr>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8"/>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0427395"/>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11912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5482431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5399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a:defRPr/>
            </a:pPr>
            <a:fld id="{8AAC955E-89F8-4708-B6AF-D7FA0D1A32B1}" type="datetimeFigureOut">
              <a:rPr lang="en-US">
                <a:solidFill>
                  <a:srgbClr val="000000"/>
                </a:solidFill>
              </a:rPr>
              <a:pPr>
                <a:defRPr/>
              </a:pPr>
              <a:t>4/15/2019</a:t>
            </a:fld>
            <a:endParaRPr lang="en-US">
              <a:solidFill>
                <a:srgbClr val="000000"/>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a:defRPr/>
            </a:pPr>
            <a:endParaRPr lang="en-US">
              <a:solidFill>
                <a:srgbClr val="000000"/>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a:defRPr/>
            </a:pPr>
            <a:fld id="{940E5D65-DBE3-423F-A471-8DA15088A33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55719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9" name="Rectangle 8"/>
          <p:cNvSpPr/>
          <p:nvPr userDrawn="1"/>
        </p:nvSpPr>
        <p:spPr>
          <a:xfrm>
            <a:off x="4417"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7" name="Title 1"/>
          <p:cNvSpPr>
            <a:spLocks noGrp="1"/>
          </p:cNvSpPr>
          <p:nvPr>
            <p:ph type="title" hasCustomPrompt="1"/>
          </p:nvPr>
        </p:nvSpPr>
        <p:spPr>
          <a:xfrm>
            <a:off x="382613" y="295073"/>
            <a:ext cx="9829259" cy="747897"/>
          </a:xfrm>
        </p:spPr>
        <p:txBody>
          <a:bodyPr/>
          <a:lstStyle>
            <a:lvl1pPr>
              <a:defRPr>
                <a:solidFill>
                  <a:schemeClr val="bg1"/>
                </a:solidFill>
              </a:defRPr>
            </a:lvl1pPr>
          </a:lstStyle>
          <a:p>
            <a:r>
              <a:rPr lang="en-US" dirty="0"/>
              <a:t>Click To Edit Master Title Style</a:t>
            </a:r>
          </a:p>
        </p:txBody>
      </p:sp>
      <p:sp>
        <p:nvSpPr>
          <p:cNvPr id="12" name="Slide Number Placeholder 5"/>
          <p:cNvSpPr>
            <a:spLocks noGrp="1"/>
          </p:cNvSpPr>
          <p:nvPr>
            <p:ph type="sldNum" sz="quarter" idx="4"/>
          </p:nvPr>
        </p:nvSpPr>
        <p:spPr>
          <a:xfrm>
            <a:off x="9062720" y="6492893"/>
            <a:ext cx="3129280" cy="365125"/>
          </a:xfrm>
          <a:prstGeom prst="rect">
            <a:avLst/>
          </a:prstGeom>
        </p:spPr>
        <p:txBody>
          <a:bodyPr vert="horz" lIns="91440" tIns="45720" rIns="91440" bIns="45720" rtlCol="0" anchor="ctr"/>
          <a:lstStyle>
            <a:lvl1pPr algn="r">
              <a:defRPr sz="1200">
                <a:solidFill>
                  <a:schemeClr val="bg1"/>
                </a:solidFill>
              </a:defRPr>
            </a:lvl1pPr>
          </a:lstStyle>
          <a:p>
            <a:pPr>
              <a:defRPr/>
            </a:pPr>
            <a:fld id="{40E23B03-6AFE-40A9-BC2C-E89E0B2C5091}" type="slidenum">
              <a:rPr lang="en-US" smtClean="0">
                <a:solidFill>
                  <a:srgbClr val="FFFFFF"/>
                </a:solidFill>
              </a:rPr>
              <a:pPr>
                <a:defRPr/>
              </a:pPr>
              <a:t>‹#›</a:t>
            </a:fld>
            <a:endParaRPr lang="en-US" dirty="0">
              <a:solidFill>
                <a:srgbClr val="FFFFFF"/>
              </a:solidFill>
            </a:endParaRPr>
          </a:p>
        </p:txBody>
      </p:sp>
      <p:pic>
        <p:nvPicPr>
          <p:cNvPr id="13" name="Picture 2"/>
          <p:cNvPicPr>
            <a:picLocks noChangeAspect="1" noChangeArrowheads="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bwMode="auto">
          <a:xfrm>
            <a:off x="203202" y="6572244"/>
            <a:ext cx="823215" cy="133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userDrawn="1"/>
        </p:nvSpPr>
        <p:spPr>
          <a:xfrm>
            <a:off x="1" y="0"/>
            <a:ext cx="227071" cy="121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Tree>
    <p:extLst>
      <p:ext uri="{BB962C8B-B14F-4D97-AF65-F5344CB8AC3E}">
        <p14:creationId xmlns:p14="http://schemas.microsoft.com/office/powerpoint/2010/main" val="912810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Color 2 Layout">
    <p:bg>
      <p:bgPr>
        <a:solidFill>
          <a:srgbClr val="E81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626371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4"/>
            <a:ext cx="11653523" cy="22107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669589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2041525"/>
            <a:ext cx="11231365"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7" y="3117240"/>
            <a:ext cx="7515595"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77103140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9_Title Slide 8">
    <p:spTree>
      <p:nvGrpSpPr>
        <p:cNvPr id="1" name=""/>
        <p:cNvGrpSpPr/>
        <p:nvPr/>
      </p:nvGrpSpPr>
      <p:grpSpPr>
        <a:xfrm>
          <a:off x="0" y="0"/>
          <a:ext cx="0" cy="0"/>
          <a:chOff x="0" y="0"/>
          <a:chExt cx="0" cy="0"/>
        </a:xfrm>
      </p:grpSpPr>
      <p:pic>
        <p:nvPicPr>
          <p:cNvPr id="8" name="Picture Placeholder 3"/>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0" y="0"/>
            <a:ext cx="12218523"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91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7" name="Title 1"/>
          <p:cNvSpPr>
            <a:spLocks noGrp="1"/>
          </p:cNvSpPr>
          <p:nvPr>
            <p:ph type="ctrTitle" hasCustomPrompt="1"/>
          </p:nvPr>
        </p:nvSpPr>
        <p:spPr bwMode="ltGray">
          <a:xfrm>
            <a:off x="502389" y="901999"/>
            <a:ext cx="4925000" cy="49201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4">
              <a:alpha val="92000"/>
            </a:schemeClr>
          </a:solidFill>
          <a:ln>
            <a:noFill/>
          </a:ln>
          <a:extLst/>
        </p:spPr>
        <p:txBody>
          <a:bodyPr lIns="320040" tIns="868680" rIns="1234440" bIns="868680" numCol="1" anchor="ctr" anchorCtr="0" compatLnSpc="1">
            <a:prstTxWarp prst="textNoShape">
              <a:avLst/>
            </a:prstTxWarp>
            <a:noAutofit/>
          </a:bodyPr>
          <a:lstStyle>
            <a:lvl1pPr algn="l">
              <a:lnSpc>
                <a:spcPct val="100000"/>
              </a:lnSpc>
              <a:defRPr lang="en-US" sz="5882" b="0" kern="1200" cap="none" spc="-196" baseline="0" dirty="0">
                <a:ln w="3175">
                  <a:noFill/>
                </a:ln>
                <a:gradFill>
                  <a:gsLst>
                    <a:gs pos="100000">
                      <a:schemeClr val="bg1"/>
                    </a:gs>
                    <a:gs pos="0">
                      <a:schemeClr val="bg1"/>
                    </a:gs>
                  </a:gsLst>
                  <a:lin ang="5400000" scaled="0"/>
                </a:gradFill>
                <a:effectLst/>
                <a:latin typeface="+mj-lt"/>
                <a:ea typeface="+mn-ea"/>
                <a:cs typeface="Segoe UI" pitchFamily="34" charset="0"/>
              </a:defRPr>
            </a:lvl1pPr>
          </a:lstStyle>
          <a:p>
            <a:pPr lvl="0"/>
            <a:r>
              <a:rPr lang="en-US" dirty="0"/>
              <a:t>Insert Title</a:t>
            </a:r>
          </a:p>
        </p:txBody>
      </p:sp>
    </p:spTree>
    <p:extLst>
      <p:ext uri="{BB962C8B-B14F-4D97-AF65-F5344CB8AC3E}">
        <p14:creationId xmlns:p14="http://schemas.microsoft.com/office/powerpoint/2010/main" val="19495869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Slide 8">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01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0" name="Title 1"/>
          <p:cNvSpPr>
            <a:spLocks noGrp="1"/>
          </p:cNvSpPr>
          <p:nvPr>
            <p:ph type="ctrTitle" hasCustomPrompt="1"/>
          </p:nvPr>
        </p:nvSpPr>
        <p:spPr bwMode="ltGray">
          <a:xfrm>
            <a:off x="502389" y="901999"/>
            <a:ext cx="4925000" cy="49201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4">
              <a:alpha val="92000"/>
            </a:schemeClr>
          </a:solidFill>
          <a:ln>
            <a:noFill/>
          </a:ln>
          <a:extLst/>
        </p:spPr>
        <p:txBody>
          <a:bodyPr lIns="320040" tIns="868680" rIns="1234440" bIns="868680" numCol="1" anchor="ctr" anchorCtr="0" compatLnSpc="1">
            <a:prstTxWarp prst="textNoShape">
              <a:avLst/>
            </a:prstTxWarp>
            <a:noAutofit/>
          </a:bodyPr>
          <a:lstStyle>
            <a:lvl1pPr algn="l">
              <a:lnSpc>
                <a:spcPct val="100000"/>
              </a:lnSpc>
              <a:defRPr lang="en-US" sz="5882" b="0" kern="1200" cap="none" spc="-196" baseline="0" dirty="0">
                <a:ln w="3175">
                  <a:noFill/>
                </a:ln>
                <a:gradFill>
                  <a:gsLst>
                    <a:gs pos="100000">
                      <a:schemeClr val="bg1"/>
                    </a:gs>
                    <a:gs pos="0">
                      <a:schemeClr val="bg1"/>
                    </a:gs>
                  </a:gsLst>
                  <a:lin ang="5400000" scaled="0"/>
                </a:gradFill>
                <a:effectLst/>
                <a:latin typeface="+mj-lt"/>
                <a:ea typeface="+mn-ea"/>
                <a:cs typeface="Segoe UI" pitchFamily="34" charset="0"/>
              </a:defRPr>
            </a:lvl1pPr>
          </a:lstStyle>
          <a:p>
            <a:pPr lvl="0"/>
            <a:r>
              <a:rPr lang="en-US" dirty="0"/>
              <a:t>Insert Title</a:t>
            </a:r>
          </a:p>
        </p:txBody>
      </p:sp>
    </p:spTree>
    <p:extLst>
      <p:ext uri="{BB962C8B-B14F-4D97-AF65-F5344CB8AC3E}">
        <p14:creationId xmlns:p14="http://schemas.microsoft.com/office/powerpoint/2010/main" val="9407641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0956108"/>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367">
              <a:defRPr/>
            </a:pPr>
            <a:r>
              <a:rPr lang="en-US" sz="1765">
                <a:solidFill>
                  <a:srgbClr val="FFFFFF"/>
                </a:soli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a:gradFill>
                  <a:gsLst>
                    <a:gs pos="2239">
                      <a:srgbClr val="FFFFFF"/>
                    </a:gs>
                    <a:gs pos="11940">
                      <a:srgbClr val="FFFFFF"/>
                    </a:gs>
                  </a:gsLst>
                  <a:lin ang="5400000" scaled="0"/>
                </a:gradFill>
              </a:rPr>
              <a:pPr defTabSz="914367">
                <a:def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654535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03737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367">
              <a:defRPr/>
            </a:pPr>
            <a:r>
              <a:rPr lang="en-US" sz="1765">
                <a:solidFill>
                  <a:srgbClr val="505050"/>
                </a:soli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4255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42332010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194688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49278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lgn="l" defTabSz="913917" rtl="0" eaLnBrk="1" latinLnBrk="0" hangingPunct="1">
              <a:lnSpc>
                <a:spcPct val="90000"/>
              </a:lnSpc>
              <a:spcBef>
                <a:spcPct val="0"/>
              </a:spcBef>
              <a:buNone/>
              <a:defRPr lang="en-US" sz="8623"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39076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330372477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58739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092189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138857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724848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732052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278767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83572263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
        <p:nvSpPr>
          <p:cNvPr id="4"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5"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79679428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2843580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45148"/>
            <a:ext cx="10515600" cy="1398361"/>
          </a:xfrm>
        </p:spPr>
        <p:txBody>
          <a:bodyPr anchor="b">
            <a:normAutofit/>
          </a:bodyPr>
          <a:lstStyle>
            <a:lvl1pPr>
              <a:defRPr lang="en-US" sz="7196"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a:t>HEADER (ALL CAPS)</a:t>
            </a:r>
          </a:p>
        </p:txBody>
      </p:sp>
      <p:sp>
        <p:nvSpPr>
          <p:cNvPr id="7" name="Content Placeholder 2"/>
          <p:cNvSpPr>
            <a:spLocks noGrp="1"/>
          </p:cNvSpPr>
          <p:nvPr>
            <p:ph idx="1" hasCustomPrompt="1"/>
          </p:nvPr>
        </p:nvSpPr>
        <p:spPr>
          <a:xfrm>
            <a:off x="838200" y="1564370"/>
            <a:ext cx="10515600" cy="1798439"/>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462" indent="-228487">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a:t>ITEM 1 (ALL CAPS)</a:t>
            </a:r>
          </a:p>
          <a:p>
            <a:pPr marL="685462" lvl="1" indent="-228487" algn="l" defTabSz="913950" rtl="0" eaLnBrk="1" latinLnBrk="0" hangingPunct="1">
              <a:lnSpc>
                <a:spcPct val="100000"/>
              </a:lnSpc>
              <a:spcBef>
                <a:spcPts val="500"/>
              </a:spcBef>
              <a:buFont typeface="Arial" panose="020B0604020202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62109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65757893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2499307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426210647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30622555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3"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4"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27974511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3"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58072537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8691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90209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33742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11924607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610"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a:t>Presentation title</a:t>
            </a:r>
          </a:p>
        </p:txBody>
      </p:sp>
    </p:spTree>
    <p:extLst>
      <p:ext uri="{BB962C8B-B14F-4D97-AF65-F5344CB8AC3E}">
        <p14:creationId xmlns:p14="http://schemas.microsoft.com/office/powerpoint/2010/main" val="1094619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622" tIns="44809" rIns="89622" bIns="4480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r>
              <a:rPr lang="en-US" sz="784" dirty="0">
                <a:solidFill>
                  <a:srgbClr val="FFFFFF"/>
                </a:solidFill>
              </a:rPr>
              <a:t>3</a:t>
            </a:r>
          </a:p>
        </p:txBody>
      </p:sp>
      <p:sp>
        <p:nvSpPr>
          <p:cNvPr id="16" name="Title 1"/>
          <p:cNvSpPr>
            <a:spLocks noGrp="1"/>
          </p:cNvSpPr>
          <p:nvPr>
            <p:ph type="title" hasCustomPrompt="1"/>
          </p:nvPr>
        </p:nvSpPr>
        <p:spPr>
          <a:xfrm>
            <a:off x="266922" y="289512"/>
            <a:ext cx="11655840" cy="747897"/>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7" y="1008624"/>
            <a:ext cx="11655835" cy="718466"/>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874575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3"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79976968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899665"/>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269240" y="1189178"/>
            <a:ext cx="11653523" cy="2118419"/>
          </a:xfrm>
          <a:prstGeom prst="rect">
            <a:avLst/>
          </a:prstGeom>
        </p:spPr>
        <p:txBody>
          <a:bodyPr/>
          <a:lstStyle>
            <a:lvl1pPr marL="0" indent="0">
              <a:buNone/>
              <a:defRPr>
                <a:solidFill>
                  <a:schemeClr val="tx1"/>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1"/>
          </p:nvPr>
        </p:nvSpPr>
        <p:spPr>
          <a:xfrm>
            <a:off x="661481" y="6322757"/>
            <a:ext cx="4378794" cy="364224"/>
          </a:xfrm>
          <a:prstGeom prst="rect">
            <a:avLst/>
          </a:prstGeom>
        </p:spPr>
        <p:txBody>
          <a:bodyPr/>
          <a:lstStyle/>
          <a:p>
            <a:pPr defTabSz="914367">
              <a:defRPr/>
            </a:pPr>
            <a:r>
              <a:rPr lang="en-US" sz="1765">
                <a:solidFill>
                  <a:srgbClr val="505050"/>
                </a:solidFill>
              </a:rPr>
              <a:t>Microsoft Confidential</a:t>
            </a:r>
          </a:p>
        </p:txBody>
      </p:sp>
      <p:sp>
        <p:nvSpPr>
          <p:cNvPr id="4" name="Slide Number Placeholder 3"/>
          <p:cNvSpPr>
            <a:spLocks noGrp="1"/>
          </p:cNvSpPr>
          <p:nvPr>
            <p:ph type="sldNum" sz="quarter" idx="12"/>
          </p:nvPr>
        </p:nvSpPr>
        <p:spPr>
          <a:xfrm>
            <a:off x="310437" y="6322757"/>
            <a:ext cx="349196" cy="364224"/>
          </a:xfrm>
          <a:prstGeom prst="rect">
            <a:avLst/>
          </a:prstGeom>
        </p:spPr>
        <p:txBody>
          <a:bodyPr/>
          <a:lstStyle/>
          <a:p>
            <a:pPr defTabSz="914367">
              <a:defRPr/>
            </a:pPr>
            <a:fld id="{7928D0D2-C1DF-4962-A002-C3E12A58542C}"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6923176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1"/>
                </a:solidFill>
              </a:defRPr>
            </a:lvl1pPr>
          </a:lstStyle>
          <a:p>
            <a:r>
              <a:rPr lang="en-US"/>
              <a:t>Lorem ipsum dolor sit.</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503391222"/>
      </p:ext>
    </p:extLst>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4" y="6061423"/>
            <a:ext cx="1522403" cy="326167"/>
          </a:xfrm>
          <a:prstGeom prst="rect">
            <a:avLst/>
          </a:prstGeom>
        </p:spPr>
      </p:pic>
      <p:sp>
        <p:nvSpPr>
          <p:cNvPr id="5" name="Rectangle 4"/>
          <p:cNvSpPr/>
          <p:nvPr userDrawn="1"/>
        </p:nvSpPr>
        <p:spPr bwMode="gray">
          <a:xfrm>
            <a:off x="269303" y="1187621"/>
            <a:ext cx="8964185"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09" fontAlgn="base">
              <a:lnSpc>
                <a:spcPct val="90000"/>
              </a:lnSpc>
              <a:spcBef>
                <a:spcPct val="0"/>
              </a:spcBef>
              <a:spcAft>
                <a:spcPct val="0"/>
              </a:spcAft>
              <a:defRPr/>
            </a:pPr>
            <a:r>
              <a:rPr lang="en-US" sz="7100" spc="-100" dirty="0">
                <a:ln w="3175">
                  <a:noFill/>
                </a:ln>
                <a:solidFill>
                  <a:srgbClr val="FFFFFF"/>
                </a:solidFill>
                <a:latin typeface="Segoe UI Light"/>
                <a:cs typeface="Segoe UI" pitchFamily="34" charset="0"/>
              </a:rPr>
              <a:t>Executive Retreat 2013</a:t>
            </a:r>
            <a:endParaRPr lang="en-US" sz="35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35449483"/>
      </p:ext>
    </p:extLst>
  </p:cSld>
  <p:clrMapOvr>
    <a:masterClrMapping/>
  </p:clrMapOvr>
  <p:transition>
    <p:fade/>
  </p:transition>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19" name="Rectangle 18"/>
          <p:cNvSpPr/>
          <p:nvPr userDrawn="1"/>
        </p:nvSpPr>
        <p:spPr bwMode="gray">
          <a:xfrm>
            <a:off x="269302" y="1187621"/>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07"/>
            <a:ext cx="7171399"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5707"/>
            <a:ext cx="7171399"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6061423"/>
            <a:ext cx="1522403" cy="326167"/>
          </a:xfrm>
          <a:prstGeom prst="rect">
            <a:avLst/>
          </a:prstGeom>
        </p:spPr>
      </p:pic>
    </p:spTree>
    <p:extLst>
      <p:ext uri="{BB962C8B-B14F-4D97-AF65-F5344CB8AC3E}">
        <p14:creationId xmlns:p14="http://schemas.microsoft.com/office/powerpoint/2010/main" val="4047130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7286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67264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5"/>
            <a:ext cx="11653523" cy="22107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17881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86347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3148" y="-13862"/>
            <a:ext cx="2810022"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dirty="0">
              <a:solidFill>
                <a:srgbClr val="FFFFFF"/>
              </a:solidFill>
            </a:endParaRPr>
          </a:p>
        </p:txBody>
      </p:sp>
      <p:sp>
        <p:nvSpPr>
          <p:cNvPr id="12" name="Title 11"/>
          <p:cNvSpPr>
            <a:spLocks noGrp="1"/>
          </p:cNvSpPr>
          <p:nvPr>
            <p:ph type="title" hasCustomPrompt="1"/>
          </p:nvPr>
        </p:nvSpPr>
        <p:spPr>
          <a:xfrm>
            <a:off x="619412" y="365126"/>
            <a:ext cx="10515600"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a:t>Title</a:t>
            </a:r>
          </a:p>
        </p:txBody>
      </p:sp>
      <p:sp>
        <p:nvSpPr>
          <p:cNvPr id="28" name="Text Placeholder 27"/>
          <p:cNvSpPr>
            <a:spLocks noGrp="1"/>
          </p:cNvSpPr>
          <p:nvPr>
            <p:ph type="body" sz="quarter" idx="10"/>
          </p:nvPr>
        </p:nvSpPr>
        <p:spPr>
          <a:xfrm>
            <a:off x="636588" y="1608665"/>
            <a:ext cx="8482012"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6976" indent="0">
              <a:buNone/>
              <a:defRPr>
                <a:solidFill>
                  <a:schemeClr val="tx1"/>
                </a:solidFill>
                <a:latin typeface="Segoe UI Light" panose="020B0502040204020203" pitchFamily="34" charset="0"/>
                <a:cs typeface="Segoe UI Light" panose="020B0502040204020203" pitchFamily="34" charset="0"/>
              </a:defRPr>
            </a:lvl2pPr>
            <a:lvl3pPr marL="913950" indent="0">
              <a:buNone/>
              <a:defRPr>
                <a:solidFill>
                  <a:schemeClr val="tx1"/>
                </a:solidFill>
                <a:latin typeface="Segoe UI Light" panose="020B0502040204020203" pitchFamily="34" charset="0"/>
                <a:cs typeface="Segoe UI Light" panose="020B0502040204020203" pitchFamily="34" charset="0"/>
              </a:defRPr>
            </a:lvl3pPr>
            <a:lvl4pPr marL="1370926" indent="0">
              <a:buNone/>
              <a:defRPr>
                <a:solidFill>
                  <a:schemeClr val="tx1"/>
                </a:solidFill>
                <a:latin typeface="Segoe UI Light" panose="020B0502040204020203" pitchFamily="34" charset="0"/>
                <a:cs typeface="Segoe UI Light" panose="020B0502040204020203" pitchFamily="34" charset="0"/>
              </a:defRPr>
            </a:lvl4pPr>
            <a:lvl5pPr marL="1827900"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1238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45148"/>
            <a:ext cx="10515600"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a:t>HEADER (ALL CAPS)</a:t>
            </a:r>
          </a:p>
        </p:txBody>
      </p:sp>
      <p:sp>
        <p:nvSpPr>
          <p:cNvPr id="7" name="Content Placeholder 2"/>
          <p:cNvSpPr>
            <a:spLocks noGrp="1"/>
          </p:cNvSpPr>
          <p:nvPr>
            <p:ph idx="1" hasCustomPrompt="1"/>
          </p:nvPr>
        </p:nvSpPr>
        <p:spPr>
          <a:xfrm>
            <a:off x="838201" y="1564370"/>
            <a:ext cx="10515600" cy="1767981"/>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37204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610"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a:t>Presentation title</a:t>
            </a:r>
          </a:p>
        </p:txBody>
      </p:sp>
    </p:spTree>
    <p:extLst>
      <p:ext uri="{BB962C8B-B14F-4D97-AF65-F5344CB8AC3E}">
        <p14:creationId xmlns:p14="http://schemas.microsoft.com/office/powerpoint/2010/main" val="275312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2932864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3147" y="-13863"/>
            <a:ext cx="2810022"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defRPr/>
            </a:pPr>
            <a:endParaRPr lang="en-US" sz="1799" dirty="0">
              <a:solidFill>
                <a:srgbClr val="FFFFFF"/>
              </a:solidFill>
            </a:endParaRPr>
          </a:p>
        </p:txBody>
      </p:sp>
      <p:sp>
        <p:nvSpPr>
          <p:cNvPr id="12" name="Title 11"/>
          <p:cNvSpPr>
            <a:spLocks noGrp="1"/>
          </p:cNvSpPr>
          <p:nvPr>
            <p:ph type="title" hasCustomPrompt="1"/>
          </p:nvPr>
        </p:nvSpPr>
        <p:spPr>
          <a:xfrm>
            <a:off x="619412" y="365127"/>
            <a:ext cx="10515600"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a:t>Title</a:t>
            </a:r>
          </a:p>
        </p:txBody>
      </p:sp>
      <p:sp>
        <p:nvSpPr>
          <p:cNvPr id="28" name="Text Placeholder 27"/>
          <p:cNvSpPr>
            <a:spLocks noGrp="1"/>
          </p:cNvSpPr>
          <p:nvPr>
            <p:ph type="body" sz="quarter" idx="10"/>
          </p:nvPr>
        </p:nvSpPr>
        <p:spPr>
          <a:xfrm>
            <a:off x="636588" y="1608665"/>
            <a:ext cx="8482012"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2538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p:spPr>
        <p:txBody>
          <a:bodyPr anchor="b">
            <a:noAutofit/>
          </a:bodyPr>
          <a:lstStyle>
            <a:lvl1pPr algn="l">
              <a:defRPr sz="23893">
                <a:solidFill>
                  <a:schemeClr val="bg1"/>
                </a:solidFill>
              </a:defRPr>
            </a:lvl1pPr>
          </a:lstStyle>
          <a:p>
            <a:r>
              <a:rPr lang="en-US" dirty="0"/>
              <a:t>web</a:t>
            </a:r>
          </a:p>
        </p:txBody>
      </p:sp>
    </p:spTree>
    <p:extLst>
      <p:ext uri="{BB962C8B-B14F-4D97-AF65-F5344CB8AC3E}">
        <p14:creationId xmlns:p14="http://schemas.microsoft.com/office/powerpoint/2010/main" val="39574837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10697" y="2441488"/>
            <a:ext cx="5370607" cy="1975031"/>
          </a:xfrm>
          <a:prstGeom prst="rect">
            <a:avLst/>
          </a:prstGeom>
        </p:spPr>
      </p:pic>
    </p:spTree>
    <p:extLst>
      <p:ext uri="{BB962C8B-B14F-4D97-AF65-F5344CB8AC3E}">
        <p14:creationId xmlns:p14="http://schemas.microsoft.com/office/powerpoint/2010/main" val="28643986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791" y="6261144"/>
            <a:ext cx="1529225" cy="529583"/>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210556" y="6384982"/>
            <a:ext cx="1286531" cy="281909"/>
          </a:xfrm>
          <a:prstGeom prst="rect">
            <a:avLst/>
          </a:prstGeom>
        </p:spPr>
      </p:pic>
    </p:spTree>
    <p:extLst>
      <p:ext uri="{BB962C8B-B14F-4D97-AF65-F5344CB8AC3E}">
        <p14:creationId xmlns:p14="http://schemas.microsoft.com/office/powerpoint/2010/main" val="1277577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Divider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a:prstGeom prst="rect">
            <a:avLst/>
          </a:prstGeom>
        </p:spPr>
        <p:txBody>
          <a:bodyPr anchor="b" anchorCtr="0"/>
          <a:lstStyle>
            <a:lvl1pPr>
              <a:defRPr sz="7196" spc="-150" baseline="0">
                <a:solidFill>
                  <a:schemeClr val="bg1"/>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a:prstGeom prst="rect">
            <a:avLst/>
          </a:prstGeom>
        </p:spPr>
        <p:txBody>
          <a:bodyPr>
            <a:noAutofit/>
          </a:bodyPr>
          <a:lstStyle>
            <a:lvl1pPr marL="0" indent="0">
              <a:spcBef>
                <a:spcPts val="0"/>
              </a:spcBef>
              <a:buNone/>
              <a:defRPr spc="-70" baseline="0">
                <a:solidFill>
                  <a:schemeClr val="bg1"/>
                </a:solidFill>
                <a:latin typeface="+mj-lt"/>
              </a:defRPr>
            </a:lvl1pPr>
          </a:lstStyle>
          <a:p>
            <a:pPr lvl="0"/>
            <a:r>
              <a:rPr lang="en-US" dirty="0"/>
              <a:t>Sub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210556" y="6384982"/>
            <a:ext cx="1286531" cy="281909"/>
          </a:xfrm>
          <a:prstGeom prst="rect">
            <a:avLst/>
          </a:prstGeom>
        </p:spPr>
      </p:pic>
    </p:spTree>
    <p:extLst>
      <p:ext uri="{BB962C8B-B14F-4D97-AF65-F5344CB8AC3E}">
        <p14:creationId xmlns:p14="http://schemas.microsoft.com/office/powerpoint/2010/main" val="263565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p:spPr>
        <p:txBody>
          <a:bodyPr anchor="b" anchorCtr="0"/>
          <a:lstStyle>
            <a:lvl1pPr>
              <a:defRPr sz="7196" spc="-150" baseline="0">
                <a:solidFill>
                  <a:schemeClr val="tx2"/>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p:spPr>
        <p:txBody>
          <a:bodyPr>
            <a:noAutofit/>
          </a:bodyPr>
          <a:lstStyle>
            <a:lvl1pPr marL="0" indent="0">
              <a:spcBef>
                <a:spcPts val="0"/>
              </a:spcBef>
              <a:buNone/>
              <a:defRPr spc="-70" baseline="0">
                <a:solidFill>
                  <a:schemeClr val="bg2">
                    <a:lumMod val="75000"/>
                  </a:schemeClr>
                </a:solidFill>
                <a:latin typeface="+mj-lt"/>
              </a:defRPr>
            </a:lvl1pPr>
          </a:lstStyle>
          <a:p>
            <a:pPr lvl="0"/>
            <a:r>
              <a:rPr lang="en-US" dirty="0"/>
              <a:t>Speaker Tit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16988" y="4873976"/>
            <a:ext cx="4363274" cy="2046779"/>
          </a:xfrm>
          <a:prstGeom prst="rect">
            <a:avLst/>
          </a:prstGeom>
        </p:spPr>
      </p:pic>
    </p:spTree>
    <p:extLst>
      <p:ext uri="{BB962C8B-B14F-4D97-AF65-F5344CB8AC3E}">
        <p14:creationId xmlns:p14="http://schemas.microsoft.com/office/powerpoint/2010/main" val="31789893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795" spc="-300" baseline="0">
                <a:solidFill>
                  <a:schemeClr val="tx2"/>
                </a:solidFill>
              </a:defRPr>
            </a:lvl1pPr>
          </a:lstStyle>
          <a:p>
            <a:r>
              <a:rPr lang="en-US" dirty="0"/>
              <a:t>Click to edit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7568" y="6199263"/>
            <a:ext cx="1517264" cy="399979"/>
          </a:xfrm>
          <a:prstGeom prst="rect">
            <a:avLst/>
          </a:prstGeom>
        </p:spPr>
      </p:pic>
    </p:spTree>
    <p:extLst>
      <p:ext uri="{BB962C8B-B14F-4D97-AF65-F5344CB8AC3E}">
        <p14:creationId xmlns:p14="http://schemas.microsoft.com/office/powerpoint/2010/main" val="26270752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image" Target="../media/image25.emf"/><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theme" Target="../theme/theme10.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image" Target="../media/image35.png"/><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theme" Target="../theme/theme11.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2.xml"/><Relationship Id="rId3" Type="http://schemas.openxmlformats.org/officeDocument/2006/relationships/slideLayout" Target="../slideLayouts/slideLayout227.xml"/><Relationship Id="rId7" Type="http://schemas.openxmlformats.org/officeDocument/2006/relationships/slideLayout" Target="../slideLayouts/slideLayout231.xml"/><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heme" Target="../theme/theme12.xml"/><Relationship Id="rId5" Type="http://schemas.openxmlformats.org/officeDocument/2006/relationships/slideLayout" Target="../slideLayouts/slideLayout229.xml"/><Relationship Id="rId10" Type="http://schemas.openxmlformats.org/officeDocument/2006/relationships/slideLayout" Target="../slideLayouts/slideLayout234.xml"/><Relationship Id="rId4" Type="http://schemas.openxmlformats.org/officeDocument/2006/relationships/slideLayout" Target="../slideLayouts/slideLayout228.xml"/><Relationship Id="rId9" Type="http://schemas.openxmlformats.org/officeDocument/2006/relationships/slideLayout" Target="../slideLayouts/slideLayout23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theme" Target="../theme/theme13.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5" Type="http://schemas.openxmlformats.org/officeDocument/2006/relationships/slideLayout" Target="../slideLayouts/slideLayout239.xml"/><Relationship Id="rId10" Type="http://schemas.openxmlformats.org/officeDocument/2006/relationships/slideLayout" Target="../slideLayouts/slideLayout244.xml"/><Relationship Id="rId4" Type="http://schemas.openxmlformats.org/officeDocument/2006/relationships/slideLayout" Target="../slideLayouts/slideLayout238.xml"/><Relationship Id="rId9" Type="http://schemas.openxmlformats.org/officeDocument/2006/relationships/slideLayout" Target="../slideLayouts/slideLayout24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image" Target="../media/image25.emf"/><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image" Target="../media/image25.emf"/><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theme" Target="../theme/theme15.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2" Type="http://schemas.openxmlformats.org/officeDocument/2006/relationships/slideLayout" Target="../slideLayouts/slideLayout288.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image" Target="../media/image50.png"/><Relationship Id="rId10" Type="http://schemas.openxmlformats.org/officeDocument/2006/relationships/slideLayout" Target="../slideLayouts/slideLayout296.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image" Target="../media/image24.emf"/><Relationship Id="rId3" Type="http://schemas.openxmlformats.org/officeDocument/2006/relationships/slideLayout" Target="../slideLayouts/slideLayout302.xml"/><Relationship Id="rId7" Type="http://schemas.openxmlformats.org/officeDocument/2006/relationships/slideLayout" Target="../slideLayouts/slideLayout306.xml"/><Relationship Id="rId12" Type="http://schemas.openxmlformats.org/officeDocument/2006/relationships/oleObject" Target="../embeddings/oleObject6.bin"/><Relationship Id="rId2" Type="http://schemas.openxmlformats.org/officeDocument/2006/relationships/slideLayout" Target="../slideLayouts/slideLayout301.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tags" Target="../tags/tag6.xml"/><Relationship Id="rId5" Type="http://schemas.openxmlformats.org/officeDocument/2006/relationships/slideLayout" Target="../slideLayouts/slideLayout304.xml"/><Relationship Id="rId10" Type="http://schemas.openxmlformats.org/officeDocument/2006/relationships/vmlDrawing" Target="../drawings/vmlDrawing6.vml"/><Relationship Id="rId4" Type="http://schemas.openxmlformats.org/officeDocument/2006/relationships/slideLayout" Target="../slideLayouts/slideLayout303.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24" Type="http://schemas.openxmlformats.org/officeDocument/2006/relationships/image" Target="../media/image50.png"/><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theme" Target="../theme/theme18.xml"/><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slideLayout" Target="../slideLayouts/slideLayout329.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9" Type="http://schemas.openxmlformats.org/officeDocument/2006/relationships/slideLayout" Target="../slideLayouts/slideLayout368.xml"/><Relationship Id="rId21" Type="http://schemas.openxmlformats.org/officeDocument/2006/relationships/slideLayout" Target="../slideLayouts/slideLayout350.xml"/><Relationship Id="rId34" Type="http://schemas.openxmlformats.org/officeDocument/2006/relationships/slideLayout" Target="../slideLayouts/slideLayout363.xml"/><Relationship Id="rId42" Type="http://schemas.openxmlformats.org/officeDocument/2006/relationships/slideLayout" Target="../slideLayouts/slideLayout371.xml"/><Relationship Id="rId7" Type="http://schemas.openxmlformats.org/officeDocument/2006/relationships/slideLayout" Target="../slideLayouts/slideLayout336.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slideLayout" Target="../slideLayouts/slideLayout358.xml"/><Relationship Id="rId41" Type="http://schemas.openxmlformats.org/officeDocument/2006/relationships/slideLayout" Target="../slideLayouts/slideLayout370.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37" Type="http://schemas.openxmlformats.org/officeDocument/2006/relationships/slideLayout" Target="../slideLayouts/slideLayout366.xml"/><Relationship Id="rId40" Type="http://schemas.openxmlformats.org/officeDocument/2006/relationships/slideLayout" Target="../slideLayouts/slideLayout369.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36" Type="http://schemas.openxmlformats.org/officeDocument/2006/relationships/slideLayout" Target="../slideLayouts/slideLayout365.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slideLayout" Target="../slideLayouts/slideLayout360.xml"/><Relationship Id="rId44" Type="http://schemas.openxmlformats.org/officeDocument/2006/relationships/image" Target="../media/image50.png"/><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35" Type="http://schemas.openxmlformats.org/officeDocument/2006/relationships/slideLayout" Target="../slideLayouts/slideLayout364.xml"/><Relationship Id="rId43" Type="http://schemas.openxmlformats.org/officeDocument/2006/relationships/theme" Target="../theme/theme19.xml"/><Relationship Id="rId8" Type="http://schemas.openxmlformats.org/officeDocument/2006/relationships/slideLayout" Target="../slideLayouts/slideLayout337.xml"/><Relationship Id="rId3" Type="http://schemas.openxmlformats.org/officeDocument/2006/relationships/slideLayout" Target="../slideLayouts/slideLayout332.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slideLayout" Target="../slideLayouts/slideLayout362.xml"/><Relationship Id="rId38" Type="http://schemas.openxmlformats.org/officeDocument/2006/relationships/slideLayout" Target="../slideLayouts/slideLayout36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21" Type="http://schemas.openxmlformats.org/officeDocument/2006/relationships/slideLayout" Target="../slideLayouts/slideLayout392.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slideLayout" Target="../slideLayouts/slideLayout391.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24" Type="http://schemas.openxmlformats.org/officeDocument/2006/relationships/theme" Target="../theme/theme20.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23" Type="http://schemas.openxmlformats.org/officeDocument/2006/relationships/slideLayout" Target="../slideLayouts/slideLayout394.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 Id="rId22" Type="http://schemas.openxmlformats.org/officeDocument/2006/relationships/slideLayout" Target="../slideLayouts/slideLayout39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0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2" Type="http://schemas.openxmlformats.org/officeDocument/2006/relationships/slideLayout" Target="../slideLayouts/slideLayout396.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5" Type="http://schemas.openxmlformats.org/officeDocument/2006/relationships/slideLayout" Target="../slideLayouts/slideLayout399.xml"/><Relationship Id="rId10" Type="http://schemas.openxmlformats.org/officeDocument/2006/relationships/theme" Target="../theme/theme21.xml"/><Relationship Id="rId4" Type="http://schemas.openxmlformats.org/officeDocument/2006/relationships/slideLayout" Target="../slideLayouts/slideLayout398.xml"/><Relationship Id="rId9" Type="http://schemas.openxmlformats.org/officeDocument/2006/relationships/slideLayout" Target="../slideLayouts/slideLayout403.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406.xml"/><Relationship Id="rId2" Type="http://schemas.openxmlformats.org/officeDocument/2006/relationships/slideLayout" Target="../slideLayouts/slideLayout405.xml"/><Relationship Id="rId1" Type="http://schemas.openxmlformats.org/officeDocument/2006/relationships/slideLayout" Target="../slideLayouts/slideLayout404.xml"/><Relationship Id="rId6" Type="http://schemas.openxmlformats.org/officeDocument/2006/relationships/image" Target="../media/image50.png"/><Relationship Id="rId5" Type="http://schemas.openxmlformats.org/officeDocument/2006/relationships/theme" Target="../theme/theme22.xml"/><Relationship Id="rId4" Type="http://schemas.openxmlformats.org/officeDocument/2006/relationships/slideLayout" Target="../slideLayouts/slideLayout40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slideLayout" Target="../slideLayouts/slideLayout425.xml"/><Relationship Id="rId26" Type="http://schemas.openxmlformats.org/officeDocument/2006/relationships/slideLayout" Target="../slideLayouts/slideLayout433.xml"/><Relationship Id="rId3" Type="http://schemas.openxmlformats.org/officeDocument/2006/relationships/slideLayout" Target="../slideLayouts/slideLayout410.xml"/><Relationship Id="rId21" Type="http://schemas.openxmlformats.org/officeDocument/2006/relationships/slideLayout" Target="../slideLayouts/slideLayout428.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5" Type="http://schemas.openxmlformats.org/officeDocument/2006/relationships/slideLayout" Target="../slideLayouts/slideLayout432.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20" Type="http://schemas.openxmlformats.org/officeDocument/2006/relationships/slideLayout" Target="../slideLayouts/slideLayout427.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24" Type="http://schemas.openxmlformats.org/officeDocument/2006/relationships/slideLayout" Target="../slideLayouts/slideLayout431.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23" Type="http://schemas.openxmlformats.org/officeDocument/2006/relationships/slideLayout" Target="../slideLayouts/slideLayout430.xml"/><Relationship Id="rId10" Type="http://schemas.openxmlformats.org/officeDocument/2006/relationships/slideLayout" Target="../slideLayouts/slideLayout417.xml"/><Relationship Id="rId19" Type="http://schemas.openxmlformats.org/officeDocument/2006/relationships/slideLayout" Target="../slideLayouts/slideLayout426.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 Id="rId22" Type="http://schemas.openxmlformats.org/officeDocument/2006/relationships/slideLayout" Target="../slideLayouts/slideLayout429.xml"/><Relationship Id="rId27"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29" Type="http://schemas.openxmlformats.org/officeDocument/2006/relationships/theme" Target="../theme/theme24.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image" Target="../media/image8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3.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theme" Target="../theme/theme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5.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theme" Target="../theme/theme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image" Target="../media/image25.emf"/><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theme" Target="../theme/theme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3407" tIns="89629" rIns="143407" bIns="896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10795"/>
          </a:xfrm>
          <a:prstGeom prst="rect">
            <a:avLst/>
          </a:prstGeom>
        </p:spPr>
        <p:txBody>
          <a:bodyPr vert="horz" wrap="square" lIns="143407" tIns="89629" rIns="143407" bIns="896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647103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2" r:id="rId8"/>
    <p:sldLayoutId id="2147483723" r:id="rId9"/>
    <p:sldLayoutId id="2147483726" r:id="rId10"/>
    <p:sldLayoutId id="2147483727" r:id="rId11"/>
  </p:sldLayoutIdLst>
  <p:transition>
    <p:fade/>
  </p:transition>
  <p:hf hdr="0" ftr="0" dt="0"/>
  <p:txStyles>
    <p:titleStyle>
      <a:lvl1pPr algn="l" defTabSz="914098" rtl="0" eaLnBrk="1" latinLnBrk="0" hangingPunct="1">
        <a:lnSpc>
          <a:spcPct val="90000"/>
        </a:lnSpc>
        <a:spcBef>
          <a:spcPct val="0"/>
        </a:spcBef>
        <a:buNone/>
        <a:defRPr lang="en-US" sz="52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098"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23" marR="0" indent="-236477" algn="l" defTabSz="91409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08"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139"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168"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3770"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20"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69"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19"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98" rtl="0" eaLnBrk="1" latinLnBrk="0" hangingPunct="1">
        <a:defRPr sz="1800" kern="1200">
          <a:solidFill>
            <a:schemeClr val="tx1"/>
          </a:solidFill>
          <a:latin typeface="+mn-lt"/>
          <a:ea typeface="+mn-ea"/>
          <a:cs typeface="+mn-cs"/>
        </a:defRPr>
      </a:lvl1pPr>
      <a:lvl2pPr marL="457049" algn="l" defTabSz="914098" rtl="0" eaLnBrk="1" latinLnBrk="0" hangingPunct="1">
        <a:defRPr sz="1800" kern="1200">
          <a:solidFill>
            <a:schemeClr val="tx1"/>
          </a:solidFill>
          <a:latin typeface="+mn-lt"/>
          <a:ea typeface="+mn-ea"/>
          <a:cs typeface="+mn-cs"/>
        </a:defRPr>
      </a:lvl2pPr>
      <a:lvl3pPr marL="914098" algn="l" defTabSz="914098" rtl="0" eaLnBrk="1" latinLnBrk="0" hangingPunct="1">
        <a:defRPr sz="1800" kern="1200">
          <a:solidFill>
            <a:schemeClr val="tx1"/>
          </a:solidFill>
          <a:latin typeface="+mn-lt"/>
          <a:ea typeface="+mn-ea"/>
          <a:cs typeface="+mn-cs"/>
        </a:defRPr>
      </a:lvl3pPr>
      <a:lvl4pPr marL="1371148" algn="l" defTabSz="914098" rtl="0" eaLnBrk="1" latinLnBrk="0" hangingPunct="1">
        <a:defRPr sz="1800" kern="1200">
          <a:solidFill>
            <a:schemeClr val="tx1"/>
          </a:solidFill>
          <a:latin typeface="+mn-lt"/>
          <a:ea typeface="+mn-ea"/>
          <a:cs typeface="+mn-cs"/>
        </a:defRPr>
      </a:lvl4pPr>
      <a:lvl5pPr marL="1828196" algn="l" defTabSz="914098" rtl="0" eaLnBrk="1" latinLnBrk="0" hangingPunct="1">
        <a:defRPr sz="1800" kern="1200">
          <a:solidFill>
            <a:schemeClr val="tx1"/>
          </a:solidFill>
          <a:latin typeface="+mn-lt"/>
          <a:ea typeface="+mn-ea"/>
          <a:cs typeface="+mn-cs"/>
        </a:defRPr>
      </a:lvl5pPr>
      <a:lvl6pPr marL="2285246" algn="l" defTabSz="914098" rtl="0" eaLnBrk="1" latinLnBrk="0" hangingPunct="1">
        <a:defRPr sz="1800" kern="1200">
          <a:solidFill>
            <a:schemeClr val="tx1"/>
          </a:solidFill>
          <a:latin typeface="+mn-lt"/>
          <a:ea typeface="+mn-ea"/>
          <a:cs typeface="+mn-cs"/>
        </a:defRPr>
      </a:lvl6pPr>
      <a:lvl7pPr marL="2742294" algn="l" defTabSz="914098" rtl="0" eaLnBrk="1" latinLnBrk="0" hangingPunct="1">
        <a:defRPr sz="1800" kern="1200">
          <a:solidFill>
            <a:schemeClr val="tx1"/>
          </a:solidFill>
          <a:latin typeface="+mn-lt"/>
          <a:ea typeface="+mn-ea"/>
          <a:cs typeface="+mn-cs"/>
        </a:defRPr>
      </a:lvl7pPr>
      <a:lvl8pPr marL="3199343" algn="l" defTabSz="914098" rtl="0" eaLnBrk="1" latinLnBrk="0" hangingPunct="1">
        <a:defRPr sz="1800" kern="1200">
          <a:solidFill>
            <a:schemeClr val="tx1"/>
          </a:solidFill>
          <a:latin typeface="+mn-lt"/>
          <a:ea typeface="+mn-ea"/>
          <a:cs typeface="+mn-cs"/>
        </a:defRPr>
      </a:lvl8pPr>
      <a:lvl9pPr marL="3656394" algn="l" defTabSz="91409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72730757"/>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52161823"/>
      </p:ext>
    </p:extLst>
  </p:cSld>
  <p:clrMap bg1="dk1" tx1="lt1" bg2="dk2" tx2="lt2" accent1="accent1" accent2="accent2" accent3="accent3" accent4="accent4" accent5="accent5" accent6="accent6" hlink="hlink" folHlink="folHlink"/>
  <p:sldLayoutIdLst>
    <p:sldLayoutId id="2147484240" r:id="rId1"/>
    <p:sldLayoutId id="2147484241" r:id="rId2"/>
    <p:sldLayoutId id="2147484242"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6" r:id="rId16"/>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381333"/>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13143"/>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18294461"/>
      </p:ext>
    </p:extLst>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 id="2147484300" r:id="rId11"/>
    <p:sldLayoutId id="2147484301" r:id="rId12"/>
    <p:sldLayoutId id="2147484302" r:id="rId13"/>
    <p:sldLayoutId id="2147484303" r:id="rId14"/>
    <p:sldLayoutId id="2147484304" r:id="rId15"/>
    <p:sldLayoutId id="2147484305" r:id="rId16"/>
    <p:sldLayoutId id="2147484306" r:id="rId17"/>
    <p:sldLayoutId id="2147484307" r:id="rId18"/>
    <p:sldLayoutId id="2147484308" r:id="rId19"/>
    <p:sldLayoutId id="2147484309" r:id="rId20"/>
    <p:sldLayoutId id="214748431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89511227"/>
      </p:ext>
    </p:extLst>
  </p:cSld>
  <p:clrMap bg1="lt1" tx1="dk1" bg2="lt2" tx2="dk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553479717"/>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8796" name="think-cell Slide" r:id="rId12" imgW="377" imgH="377" progId="TCLayout.ActiveDocument.1">
                  <p:embed/>
                </p:oleObj>
              </mc:Choice>
              <mc:Fallback>
                <p:oleObj name="think-cell Slide" r:id="rId12" imgW="377" imgH="377" progId="TCLayout.ActiveDocument.1">
                  <p:embed/>
                  <p:pic>
                    <p:nvPicPr>
                      <p:cNvPr id="4" name="Object 3" hidden="1"/>
                      <p:cNvPicPr/>
                      <p:nvPr/>
                    </p:nvPicPr>
                    <p:blipFill>
                      <a:blip r:embed="rId13"/>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530229" y="274640"/>
            <a:ext cx="11131076" cy="732448"/>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530698" y="1600202"/>
            <a:ext cx="11130607" cy="45259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581577" y="6474312"/>
            <a:ext cx="513455" cy="362927"/>
          </a:xfrm>
          <a:prstGeom prst="rect">
            <a:avLst/>
          </a:prstGeom>
        </p:spPr>
        <p:txBody>
          <a:bodyPr vert="horz" lIns="0" tIns="0" rIns="0" bIns="0" rtlCol="0" anchor="ctr">
            <a:noAutofit/>
          </a:bodyPr>
          <a:lstStyle>
            <a:lvl1pPr algn="r">
              <a:defRPr sz="1175">
                <a:solidFill>
                  <a:schemeClr val="bg1"/>
                </a:solidFill>
              </a:defRPr>
            </a:lvl1pPr>
          </a:lstStyle>
          <a:p>
            <a:pPr defTabSz="544092"/>
            <a:fld id="{1255DB77-E0AE-A349-8FAE-C666923B773F}" type="slidenum">
              <a:rPr lang="en-US" smtClean="0">
                <a:solidFill>
                  <a:prstClr val="white"/>
                </a:solidFill>
              </a:rPr>
              <a:pPr defTabSz="544092"/>
              <a:t>‹#›</a:t>
            </a:fld>
            <a:endParaRPr lang="en-US" dirty="0">
              <a:solidFill>
                <a:prstClr val="white"/>
              </a:solidFill>
            </a:endParaRPr>
          </a:p>
        </p:txBody>
      </p:sp>
    </p:spTree>
    <p:extLst>
      <p:ext uri="{BB962C8B-B14F-4D97-AF65-F5344CB8AC3E}">
        <p14:creationId xmlns:p14="http://schemas.microsoft.com/office/powerpoint/2010/main" val="243131392"/>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 id="2147484354" r:id="rId4"/>
    <p:sldLayoutId id="2147484355" r:id="rId5"/>
    <p:sldLayoutId id="2147484356" r:id="rId6"/>
    <p:sldLayoutId id="2147484357" r:id="rId7"/>
    <p:sldLayoutId id="2147484358" r:id="rId8"/>
  </p:sldLayoutIdLst>
  <p:hf hdr="0" dt="0"/>
  <p:txStyles>
    <p:titleStyle>
      <a:lvl1pPr algn="l" defTabSz="544092" rtl="0" eaLnBrk="1" latinLnBrk="0" hangingPunct="1">
        <a:lnSpc>
          <a:spcPct val="90000"/>
        </a:lnSpc>
        <a:spcBef>
          <a:spcPct val="0"/>
        </a:spcBef>
        <a:buNone/>
        <a:defRPr sz="4704" kern="1200" spc="-157" baseline="0">
          <a:solidFill>
            <a:schemeClr val="bg1"/>
          </a:solidFill>
          <a:latin typeface="Segoe UI Semibold" panose="020B0702040204020203" pitchFamily="34" charset="0"/>
          <a:ea typeface="+mj-ea"/>
          <a:cs typeface="Segoe UI Semibold" panose="020B0702040204020203" pitchFamily="34" charset="0"/>
        </a:defRPr>
      </a:lvl1pPr>
    </p:titleStyle>
    <p:bodyStyle>
      <a:lvl1pPr marL="408069" indent="-408069" algn="l" defTabSz="544092" rtl="0" eaLnBrk="1" latinLnBrk="0" hangingPunct="1">
        <a:spcBef>
          <a:spcPct val="20000"/>
        </a:spcBef>
        <a:buFont typeface="Arial"/>
        <a:buChar char="•"/>
        <a:defRPr sz="3528" kern="1200">
          <a:solidFill>
            <a:schemeClr val="bg1"/>
          </a:solidFill>
          <a:latin typeface="Segoe UI" panose="020B0502040204020203" pitchFamily="34" charset="0"/>
          <a:ea typeface="+mn-ea"/>
          <a:cs typeface="Segoe UI" panose="020B0502040204020203" pitchFamily="34" charset="0"/>
        </a:defRPr>
      </a:lvl1pPr>
      <a:lvl2pPr marL="884149" indent="-340057" algn="l" defTabSz="544092" rtl="0" eaLnBrk="1" latinLnBrk="0" hangingPunct="1">
        <a:spcBef>
          <a:spcPct val="20000"/>
        </a:spcBef>
        <a:buFont typeface="Arial"/>
        <a:buChar char="–"/>
        <a:defRPr sz="3332" kern="1200">
          <a:solidFill>
            <a:schemeClr val="bg1"/>
          </a:solidFill>
          <a:latin typeface="Segoe UI" panose="020B0502040204020203" pitchFamily="34" charset="0"/>
          <a:ea typeface="+mn-ea"/>
          <a:cs typeface="Segoe UI" panose="020B0502040204020203" pitchFamily="34" charset="0"/>
        </a:defRPr>
      </a:lvl2pPr>
      <a:lvl3pPr marL="1360230" indent="-272046" algn="l" defTabSz="544092" rtl="0" eaLnBrk="1" latinLnBrk="0" hangingPunct="1">
        <a:spcBef>
          <a:spcPct val="20000"/>
        </a:spcBef>
        <a:buFont typeface="Arial"/>
        <a:buChar char="•"/>
        <a:defRPr sz="2843" kern="1200">
          <a:solidFill>
            <a:schemeClr val="bg1"/>
          </a:solidFill>
          <a:latin typeface="Segoe UI" panose="020B0502040204020203" pitchFamily="34" charset="0"/>
          <a:ea typeface="+mn-ea"/>
          <a:cs typeface="Segoe UI" panose="020B0502040204020203" pitchFamily="34" charset="0"/>
        </a:defRPr>
      </a:lvl3pPr>
      <a:lvl4pPr marL="1904321" indent="-272046" algn="l" defTabSz="544092" rtl="0" eaLnBrk="1" latinLnBrk="0" hangingPunct="1">
        <a:spcBef>
          <a:spcPct val="20000"/>
        </a:spcBef>
        <a:buFont typeface="Arial"/>
        <a:buChar char="–"/>
        <a:defRPr sz="2353" kern="1200">
          <a:solidFill>
            <a:schemeClr val="bg1"/>
          </a:solidFill>
          <a:latin typeface="Segoe UI" panose="020B0502040204020203" pitchFamily="34" charset="0"/>
          <a:ea typeface="+mn-ea"/>
          <a:cs typeface="Segoe UI" panose="020B0502040204020203" pitchFamily="34" charset="0"/>
        </a:defRPr>
      </a:lvl4pPr>
      <a:lvl5pPr marL="2448413" indent="-272046" algn="l" defTabSz="544092" rtl="0" eaLnBrk="1" latinLnBrk="0" hangingPunct="1">
        <a:spcBef>
          <a:spcPct val="20000"/>
        </a:spcBef>
        <a:buFont typeface="Arial"/>
        <a:buChar char="»"/>
        <a:defRPr sz="2353" kern="1200">
          <a:solidFill>
            <a:schemeClr val="bg1"/>
          </a:solidFill>
          <a:latin typeface="Segoe UI" panose="020B0502040204020203" pitchFamily="34" charset="0"/>
          <a:ea typeface="+mn-ea"/>
          <a:cs typeface="Segoe UI" panose="020B0502040204020203" pitchFamily="34" charset="0"/>
        </a:defRPr>
      </a:lvl5pPr>
      <a:lvl6pPr marL="2992503" indent="-272046" algn="l" defTabSz="544092" rtl="0" eaLnBrk="1" latinLnBrk="0" hangingPunct="1">
        <a:spcBef>
          <a:spcPct val="20000"/>
        </a:spcBef>
        <a:buFont typeface="Arial"/>
        <a:buChar char="•"/>
        <a:defRPr sz="2353" kern="1200">
          <a:solidFill>
            <a:schemeClr val="tx1"/>
          </a:solidFill>
          <a:latin typeface="+mn-lt"/>
          <a:ea typeface="+mn-ea"/>
          <a:cs typeface="+mn-cs"/>
        </a:defRPr>
      </a:lvl6pPr>
      <a:lvl7pPr marL="3536596" indent="-272046" algn="l" defTabSz="544092" rtl="0" eaLnBrk="1" latinLnBrk="0" hangingPunct="1">
        <a:spcBef>
          <a:spcPct val="20000"/>
        </a:spcBef>
        <a:buFont typeface="Arial"/>
        <a:buChar char="•"/>
        <a:defRPr sz="2353" kern="1200">
          <a:solidFill>
            <a:schemeClr val="tx1"/>
          </a:solidFill>
          <a:latin typeface="+mn-lt"/>
          <a:ea typeface="+mn-ea"/>
          <a:cs typeface="+mn-cs"/>
        </a:defRPr>
      </a:lvl7pPr>
      <a:lvl8pPr marL="4080687" indent="-272046" algn="l" defTabSz="544092" rtl="0" eaLnBrk="1" latinLnBrk="0" hangingPunct="1">
        <a:spcBef>
          <a:spcPct val="20000"/>
        </a:spcBef>
        <a:buFont typeface="Arial"/>
        <a:buChar char="•"/>
        <a:defRPr sz="2353" kern="1200">
          <a:solidFill>
            <a:schemeClr val="tx1"/>
          </a:solidFill>
          <a:latin typeface="+mn-lt"/>
          <a:ea typeface="+mn-ea"/>
          <a:cs typeface="+mn-cs"/>
        </a:defRPr>
      </a:lvl8pPr>
      <a:lvl9pPr marL="4624779" indent="-272046" algn="l" defTabSz="544092" rtl="0" eaLnBrk="1" latinLnBrk="0" hangingPunct="1">
        <a:spcBef>
          <a:spcPct val="20000"/>
        </a:spcBef>
        <a:buFont typeface="Arial"/>
        <a:buChar char="•"/>
        <a:defRPr sz="2353" kern="1200">
          <a:solidFill>
            <a:schemeClr val="tx1"/>
          </a:solidFill>
          <a:latin typeface="+mn-lt"/>
          <a:ea typeface="+mn-ea"/>
          <a:cs typeface="+mn-cs"/>
        </a:defRPr>
      </a:lvl9pPr>
    </p:bodyStyle>
    <p:otherStyle>
      <a:defPPr>
        <a:defRPr lang="en-US"/>
      </a:defPPr>
      <a:lvl1pPr marL="0" algn="l" defTabSz="544092" rtl="0" eaLnBrk="1" latinLnBrk="0" hangingPunct="1">
        <a:defRPr sz="2157" kern="1200">
          <a:solidFill>
            <a:schemeClr val="tx1"/>
          </a:solidFill>
          <a:latin typeface="+mn-lt"/>
          <a:ea typeface="+mn-ea"/>
          <a:cs typeface="+mn-cs"/>
        </a:defRPr>
      </a:lvl1pPr>
      <a:lvl2pPr marL="544092" algn="l" defTabSz="544092" rtl="0" eaLnBrk="1" latinLnBrk="0" hangingPunct="1">
        <a:defRPr sz="2157" kern="1200">
          <a:solidFill>
            <a:schemeClr val="tx1"/>
          </a:solidFill>
          <a:latin typeface="+mn-lt"/>
          <a:ea typeface="+mn-ea"/>
          <a:cs typeface="+mn-cs"/>
        </a:defRPr>
      </a:lvl2pPr>
      <a:lvl3pPr marL="1088183" algn="l" defTabSz="544092" rtl="0" eaLnBrk="1" latinLnBrk="0" hangingPunct="1">
        <a:defRPr sz="2157" kern="1200">
          <a:solidFill>
            <a:schemeClr val="tx1"/>
          </a:solidFill>
          <a:latin typeface="+mn-lt"/>
          <a:ea typeface="+mn-ea"/>
          <a:cs typeface="+mn-cs"/>
        </a:defRPr>
      </a:lvl3pPr>
      <a:lvl4pPr marL="1632276" algn="l" defTabSz="544092" rtl="0" eaLnBrk="1" latinLnBrk="0" hangingPunct="1">
        <a:defRPr sz="2157" kern="1200">
          <a:solidFill>
            <a:schemeClr val="tx1"/>
          </a:solidFill>
          <a:latin typeface="+mn-lt"/>
          <a:ea typeface="+mn-ea"/>
          <a:cs typeface="+mn-cs"/>
        </a:defRPr>
      </a:lvl4pPr>
      <a:lvl5pPr marL="2176367" algn="l" defTabSz="544092" rtl="0" eaLnBrk="1" latinLnBrk="0" hangingPunct="1">
        <a:defRPr sz="2157" kern="1200">
          <a:solidFill>
            <a:schemeClr val="tx1"/>
          </a:solidFill>
          <a:latin typeface="+mn-lt"/>
          <a:ea typeface="+mn-ea"/>
          <a:cs typeface="+mn-cs"/>
        </a:defRPr>
      </a:lvl5pPr>
      <a:lvl6pPr marL="2720458" algn="l" defTabSz="544092" rtl="0" eaLnBrk="1" latinLnBrk="0" hangingPunct="1">
        <a:defRPr sz="2157" kern="1200">
          <a:solidFill>
            <a:schemeClr val="tx1"/>
          </a:solidFill>
          <a:latin typeface="+mn-lt"/>
          <a:ea typeface="+mn-ea"/>
          <a:cs typeface="+mn-cs"/>
        </a:defRPr>
      </a:lvl6pPr>
      <a:lvl7pPr marL="3264549" algn="l" defTabSz="544092" rtl="0" eaLnBrk="1" latinLnBrk="0" hangingPunct="1">
        <a:defRPr sz="2157" kern="1200">
          <a:solidFill>
            <a:schemeClr val="tx1"/>
          </a:solidFill>
          <a:latin typeface="+mn-lt"/>
          <a:ea typeface="+mn-ea"/>
          <a:cs typeface="+mn-cs"/>
        </a:defRPr>
      </a:lvl7pPr>
      <a:lvl8pPr marL="3808642" algn="l" defTabSz="544092" rtl="0" eaLnBrk="1" latinLnBrk="0" hangingPunct="1">
        <a:defRPr sz="2157" kern="1200">
          <a:solidFill>
            <a:schemeClr val="tx1"/>
          </a:solidFill>
          <a:latin typeface="+mn-lt"/>
          <a:ea typeface="+mn-ea"/>
          <a:cs typeface="+mn-cs"/>
        </a:defRPr>
      </a:lvl8pPr>
      <a:lvl9pPr marL="4352733" algn="l" defTabSz="544092" rtl="0" eaLnBrk="1" latinLnBrk="0" hangingPunct="1">
        <a:defRPr sz="215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65569338"/>
      </p:ext>
    </p:extLst>
  </p:cSld>
  <p:clrMap bg1="dk1" tx1="lt1" bg2="dk2" tx2="lt2" accent1="accent1" accent2="accent2" accent3="accent3" accent4="accent4" accent5="accent5" accent6="accent6" hlink="hlink" folHlink="folHlink"/>
  <p:sldLayoutIdLst>
    <p:sldLayoutId id="2147484360" r:id="rId1"/>
    <p:sldLayoutId id="2147484361" r:id="rId2"/>
    <p:sldLayoutId id="2147484362" r:id="rId3"/>
    <p:sldLayoutId id="2147484363" r:id="rId4"/>
    <p:sldLayoutId id="2147484364" r:id="rId5"/>
    <p:sldLayoutId id="2147484365" r:id="rId6"/>
    <p:sldLayoutId id="2147484366" r:id="rId7"/>
    <p:sldLayoutId id="2147484367" r:id="rId8"/>
    <p:sldLayoutId id="2147484368" r:id="rId9"/>
    <p:sldLayoutId id="2147484369" r:id="rId10"/>
    <p:sldLayoutId id="2147484370" r:id="rId11"/>
    <p:sldLayoutId id="2147484371" r:id="rId12"/>
    <p:sldLayoutId id="2147484372" r:id="rId13"/>
    <p:sldLayoutId id="2147484373" r:id="rId14"/>
    <p:sldLayoutId id="2147484374" r:id="rId15"/>
    <p:sldLayoutId id="2147484375" r:id="rId16"/>
    <p:sldLayoutId id="2147484376" r:id="rId17"/>
    <p:sldLayoutId id="2147484377" r:id="rId18"/>
    <p:sldLayoutId id="2147484378" r:id="rId19"/>
    <p:sldLayoutId id="2147484379" r:id="rId20"/>
    <p:sldLayoutId id="2147484380" r:id="rId21"/>
    <p:sldLayoutId id="2147484381"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4"/>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515007166"/>
      </p:ext>
    </p:extLst>
  </p:cSld>
  <p:clrMap bg1="dk1" tx1="lt1" bg2="dk2" tx2="lt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 id="2147484389" r:id="rId7"/>
    <p:sldLayoutId id="2147484390" r:id="rId8"/>
    <p:sldLayoutId id="2147484391" r:id="rId9"/>
    <p:sldLayoutId id="2147484392" r:id="rId10"/>
    <p:sldLayoutId id="2147484393" r:id="rId11"/>
    <p:sldLayoutId id="2147484394" r:id="rId12"/>
    <p:sldLayoutId id="2147484395" r:id="rId13"/>
    <p:sldLayoutId id="2147484396" r:id="rId14"/>
    <p:sldLayoutId id="2147484397" r:id="rId15"/>
    <p:sldLayoutId id="2147484398" r:id="rId16"/>
    <p:sldLayoutId id="2147484399" r:id="rId17"/>
    <p:sldLayoutId id="2147484400" r:id="rId18"/>
    <p:sldLayoutId id="2147484401" r:id="rId19"/>
    <p:sldLayoutId id="2147484402" r:id="rId20"/>
    <p:sldLayoutId id="2147484403" r:id="rId21"/>
    <p:sldLayoutId id="2147484404" r:id="rId22"/>
    <p:sldLayoutId id="2147484405" r:id="rId23"/>
    <p:sldLayoutId id="2147484406" r:id="rId24"/>
    <p:sldLayoutId id="2147484407" r:id="rId25"/>
    <p:sldLayoutId id="2147484408" r:id="rId26"/>
    <p:sldLayoutId id="2147484409" r:id="rId27"/>
    <p:sldLayoutId id="2147484410" r:id="rId28"/>
    <p:sldLayoutId id="2147484411" r:id="rId29"/>
    <p:sldLayoutId id="2147484412" r:id="rId30"/>
    <p:sldLayoutId id="2147484413" r:id="rId31"/>
    <p:sldLayoutId id="2147484414" r:id="rId32"/>
    <p:sldLayoutId id="2147484415" r:id="rId33"/>
    <p:sldLayoutId id="2147484416" r:id="rId34"/>
    <p:sldLayoutId id="2147484417" r:id="rId35"/>
    <p:sldLayoutId id="2147484418" r:id="rId36"/>
    <p:sldLayoutId id="2147484419" r:id="rId37"/>
    <p:sldLayoutId id="2147484420" r:id="rId38"/>
    <p:sldLayoutId id="2147484421" r:id="rId39"/>
    <p:sldLayoutId id="2147484422" r:id="rId40"/>
    <p:sldLayoutId id="2147484423" r:id="rId41"/>
    <p:sldLayoutId id="2147484424" r:id="rId4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128930"/>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25" y="-8232"/>
            <a:ext cx="941530" cy="5662634"/>
            <a:chOff x="12614198" y="-8396"/>
            <a:chExt cx="960410" cy="5775362"/>
          </a:xfrm>
        </p:grpSpPr>
        <p:grpSp>
          <p:nvGrpSpPr>
            <p:cNvPr id="37" name="Group 36"/>
            <p:cNvGrpSpPr/>
            <p:nvPr userDrawn="1"/>
          </p:nvGrpSpPr>
          <p:grpSpPr>
            <a:xfrm>
              <a:off x="12614198" y="-8396"/>
              <a:ext cx="960410" cy="5724185"/>
              <a:chOff x="12614198" y="-8396"/>
              <a:chExt cx="960410" cy="5724185"/>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5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5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5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375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3751"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375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75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5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3"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3751"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75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3751"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957210953"/>
      </p:ext>
    </p:extLst>
  </p:cSld>
  <p:clrMap bg1="lt1" tx1="dk1" bg2="lt2" tx2="dk2" accent1="accent1" accent2="accent2" accent3="accent3" accent4="accent4" accent5="accent5" accent6="accent6" hlink="hlink" folHlink="folHlink"/>
  <p:sldLayoutIdLst>
    <p:sldLayoutId id="2147484426" r:id="rId1"/>
    <p:sldLayoutId id="2147484427" r:id="rId2"/>
    <p:sldLayoutId id="2147484428" r:id="rId3"/>
    <p:sldLayoutId id="2147484429" r:id="rId4"/>
    <p:sldLayoutId id="2147484430" r:id="rId5"/>
    <p:sldLayoutId id="2147484431" r:id="rId6"/>
    <p:sldLayoutId id="2147484432" r:id="rId7"/>
    <p:sldLayoutId id="2147484433" r:id="rId8"/>
    <p:sldLayoutId id="2147484434" r:id="rId9"/>
    <p:sldLayoutId id="2147484435" r:id="rId10"/>
    <p:sldLayoutId id="2147484436" r:id="rId11"/>
    <p:sldLayoutId id="2147484437" r:id="rId12"/>
    <p:sldLayoutId id="2147484438" r:id="rId13"/>
    <p:sldLayoutId id="2147484439" r:id="rId14"/>
    <p:sldLayoutId id="2147484440" r:id="rId15"/>
    <p:sldLayoutId id="2147484441" r:id="rId16"/>
    <p:sldLayoutId id="2147484442" r:id="rId17"/>
    <p:sldLayoutId id="2147484443" r:id="rId18"/>
    <p:sldLayoutId id="2147484444" r:id="rId19"/>
    <p:sldLayoutId id="2147484445" r:id="rId20"/>
    <p:sldLayoutId id="2147484446" r:id="rId21"/>
    <p:sldLayoutId id="2147484447" r:id="rId22"/>
    <p:sldLayoutId id="2147484448" r:id="rId23"/>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6"/>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3" y="1189181"/>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6"/>
            <a:ext cx="3859607" cy="133860"/>
          </a:xfrm>
          <a:prstGeom prst="rect">
            <a:avLst/>
          </a:prstGeom>
        </p:spPr>
        <p:txBody>
          <a:bodyPr vert="horz" lIns="0" tIns="0" rIns="91440" bIns="0" rtlCol="0" anchor="ctr"/>
          <a:lstStyle>
            <a:lvl1pPr marL="0" algn="l" defTabSz="91420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341" fontAlgn="base">
              <a:spcBef>
                <a:spcPct val="0"/>
              </a:spcBef>
              <a:spcAft>
                <a:spcPct val="0"/>
              </a:spcAft>
            </a:pPr>
            <a:fld id="{83758903-653A-7442-ACA2-36E6579F0BEB}" type="slidenum">
              <a:rPr lang="en-US" smtClean="0">
                <a:ea typeface="ＭＳ Ｐゴシック" charset="0"/>
              </a:rPr>
              <a:pPr defTabSz="913341"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2522636229"/>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Lst>
  <p:transition>
    <p:fade/>
  </p:transition>
  <p:txStyles>
    <p:titleStyle>
      <a:lvl1pPr algn="l" defTabSz="913341" rtl="0" eaLnBrk="0" fontAlgn="base" hangingPunct="0">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12"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25"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36"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50"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4" indent="-336084" algn="l" defTabSz="913341"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8" indent="-236503" algn="l" defTabSz="913341"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97" indent="-224057" algn="l" defTabSz="913341"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53"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309"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56"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58"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59"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62"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02" rtl="0" eaLnBrk="1" latinLnBrk="0" hangingPunct="1">
        <a:defRPr sz="1765" kern="1200">
          <a:solidFill>
            <a:schemeClr val="tx1"/>
          </a:solidFill>
          <a:latin typeface="+mn-lt"/>
          <a:ea typeface="+mn-ea"/>
          <a:cs typeface="+mn-cs"/>
        </a:defRPr>
      </a:lvl1pPr>
      <a:lvl2pPr marL="457101" algn="l" defTabSz="914202" rtl="0" eaLnBrk="1" latinLnBrk="0" hangingPunct="1">
        <a:defRPr sz="1765" kern="1200">
          <a:solidFill>
            <a:schemeClr val="tx1"/>
          </a:solidFill>
          <a:latin typeface="+mn-lt"/>
          <a:ea typeface="+mn-ea"/>
          <a:cs typeface="+mn-cs"/>
        </a:defRPr>
      </a:lvl2pPr>
      <a:lvl3pPr marL="914202" algn="l" defTabSz="914202" rtl="0" eaLnBrk="1" latinLnBrk="0" hangingPunct="1">
        <a:defRPr sz="1765" kern="1200">
          <a:solidFill>
            <a:schemeClr val="tx1"/>
          </a:solidFill>
          <a:latin typeface="+mn-lt"/>
          <a:ea typeface="+mn-ea"/>
          <a:cs typeface="+mn-cs"/>
        </a:defRPr>
      </a:lvl3pPr>
      <a:lvl4pPr marL="1371303" algn="l" defTabSz="914202" rtl="0" eaLnBrk="1" latinLnBrk="0" hangingPunct="1">
        <a:defRPr sz="1765" kern="1200">
          <a:solidFill>
            <a:schemeClr val="tx1"/>
          </a:solidFill>
          <a:latin typeface="+mn-lt"/>
          <a:ea typeface="+mn-ea"/>
          <a:cs typeface="+mn-cs"/>
        </a:defRPr>
      </a:lvl4pPr>
      <a:lvl5pPr marL="1828405" algn="l" defTabSz="914202" rtl="0" eaLnBrk="1" latinLnBrk="0" hangingPunct="1">
        <a:defRPr sz="1765" kern="1200">
          <a:solidFill>
            <a:schemeClr val="tx1"/>
          </a:solidFill>
          <a:latin typeface="+mn-lt"/>
          <a:ea typeface="+mn-ea"/>
          <a:cs typeface="+mn-cs"/>
        </a:defRPr>
      </a:lvl5pPr>
      <a:lvl6pPr marL="2285507" algn="l" defTabSz="914202" rtl="0" eaLnBrk="1" latinLnBrk="0" hangingPunct="1">
        <a:defRPr sz="1765" kern="1200">
          <a:solidFill>
            <a:schemeClr val="tx1"/>
          </a:solidFill>
          <a:latin typeface="+mn-lt"/>
          <a:ea typeface="+mn-ea"/>
          <a:cs typeface="+mn-cs"/>
        </a:defRPr>
      </a:lvl6pPr>
      <a:lvl7pPr marL="2742607" algn="l" defTabSz="914202" rtl="0" eaLnBrk="1" latinLnBrk="0" hangingPunct="1">
        <a:defRPr sz="1765" kern="1200">
          <a:solidFill>
            <a:schemeClr val="tx1"/>
          </a:solidFill>
          <a:latin typeface="+mn-lt"/>
          <a:ea typeface="+mn-ea"/>
          <a:cs typeface="+mn-cs"/>
        </a:defRPr>
      </a:lvl7pPr>
      <a:lvl8pPr marL="3199708" algn="l" defTabSz="914202" rtl="0" eaLnBrk="1" latinLnBrk="0" hangingPunct="1">
        <a:defRPr sz="1765" kern="1200">
          <a:solidFill>
            <a:schemeClr val="tx1"/>
          </a:solidFill>
          <a:latin typeface="+mn-lt"/>
          <a:ea typeface="+mn-ea"/>
          <a:cs typeface="+mn-cs"/>
        </a:defRPr>
      </a:lvl8pPr>
      <a:lvl9pPr marL="3656811" algn="l" defTabSz="91420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986477"/>
      </p:ext>
    </p:extLst>
  </p:cSld>
  <p:clrMap bg1="dk1" tx1="lt1" bg2="dk2" tx2="lt2" accent1="accent1" accent2="accent2" accent3="accent3" accent4="accent4" accent5="accent5" accent6="accent6" hlink="hlink" folHlink="folHlink"/>
  <p:sldLayoutIdLst>
    <p:sldLayoutId id="2147484460" r:id="rId1"/>
    <p:sldLayoutId id="2147484461" r:id="rId2"/>
    <p:sldLayoutId id="2147484462" r:id="rId3"/>
    <p:sldLayoutId id="2147484463" r:id="rId4"/>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4565974"/>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 id="2147484484" r:id="rId20"/>
    <p:sldLayoutId id="2147484485" r:id="rId21"/>
    <p:sldLayoutId id="2147484486" r:id="rId22"/>
    <p:sldLayoutId id="2147484487" r:id="rId23"/>
    <p:sldLayoutId id="2147484488" r:id="rId24"/>
    <p:sldLayoutId id="2147484489" r:id="rId25"/>
    <p:sldLayoutId id="2147484490" r:id="rId26"/>
  </p:sldLayoutIdLst>
  <p:transition>
    <p:fade/>
  </p:transition>
  <p:hf sldNum="0" hdr="0" ftr="0" dt="0"/>
  <p:txStyles>
    <p:titleStyle>
      <a:lvl1pPr algn="l" defTabSz="932384"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3585724"/>
      </p:ext>
    </p:extLst>
  </p:cSld>
  <p:clrMap bg1="lt1" tx1="dk1" bg2="lt2" tx2="dk2" accent1="accent1" accent2="accent2" accent3="accent3" accent4="accent4" accent5="accent5" accent6="accent6" hlink="hlink" folHlink="folHlink"/>
  <p:sldLayoutIdLst>
    <p:sldLayoutId id="2147484492" r:id="rId1"/>
    <p:sldLayoutId id="2147484493" r:id="rId2"/>
    <p:sldLayoutId id="2147484494" r:id="rId3"/>
    <p:sldLayoutId id="2147484495" r:id="rId4"/>
    <p:sldLayoutId id="2147484496" r:id="rId5"/>
    <p:sldLayoutId id="2147484497" r:id="rId6"/>
    <p:sldLayoutId id="2147484498" r:id="rId7"/>
    <p:sldLayoutId id="2147484499" r:id="rId8"/>
    <p:sldLayoutId id="2147484500" r:id="rId9"/>
    <p:sldLayoutId id="2147484501" r:id="rId10"/>
    <p:sldLayoutId id="2147484502" r:id="rId11"/>
    <p:sldLayoutId id="2147484503" r:id="rId12"/>
    <p:sldLayoutId id="2147484504" r:id="rId13"/>
    <p:sldLayoutId id="2147484505" r:id="rId14"/>
    <p:sldLayoutId id="2147484506" r:id="rId15"/>
    <p:sldLayoutId id="2147484507" r:id="rId16"/>
    <p:sldLayoutId id="2147484508" r:id="rId17"/>
    <p:sldLayoutId id="2147484509" r:id="rId18"/>
    <p:sldLayoutId id="2147484510" r:id="rId19"/>
    <p:sldLayoutId id="2147484511" r:id="rId20"/>
    <p:sldLayoutId id="2147484512" r:id="rId21"/>
    <p:sldLayoutId id="2147484513" r:id="rId22"/>
    <p:sldLayoutId id="2147484514" r:id="rId23"/>
    <p:sldLayoutId id="2147484515" r:id="rId24"/>
    <p:sldLayoutId id="2147484516" r:id="rId25"/>
    <p:sldLayoutId id="2147484517" r:id="rId26"/>
    <p:sldLayoutId id="2147484518" r:id="rId27"/>
    <p:sldLayoutId id="2147484519"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68">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1495794"/>
          </a:xfrm>
          <a:prstGeom prst="rect">
            <a:avLst/>
          </a:prstGeom>
        </p:spPr>
        <p:txBody>
          <a:bodyPr vert="horz" wrap="square" lIns="0" tIns="0" rIns="0" bIns="0" rtlCol="0" anchor="t">
            <a:spAutoFit/>
          </a:bodyPr>
          <a:lstStyle/>
          <a:p>
            <a:r>
              <a:rPr lang="de-DE"/>
              <a:t>Titelmasterformat durch Klicken bearbeiten</a:t>
            </a:r>
            <a:endParaRPr lang="en-US" dirty="0"/>
          </a:p>
        </p:txBody>
      </p:sp>
      <p:sp>
        <p:nvSpPr>
          <p:cNvPr id="3" name="Text Placeholder 2"/>
          <p:cNvSpPr>
            <a:spLocks noGrp="1"/>
          </p:cNvSpPr>
          <p:nvPr>
            <p:ph type="body" idx="1"/>
          </p:nvPr>
        </p:nvSpPr>
        <p:spPr>
          <a:xfrm>
            <a:off x="519249" y="1447800"/>
            <a:ext cx="11151916" cy="4876800"/>
          </a:xfrm>
          <a:prstGeom prst="rect">
            <a:avLst/>
          </a:prstGeom>
        </p:spPr>
        <p:txBody>
          <a:bodyPr vert="horz" wrap="square" lIns="0" tIns="0" rIns="0" bIns="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43260523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60" r:id="rId13"/>
    <p:sldLayoutId id="2147483961" r:id="rId14"/>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739377219"/>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4049" r:id="rId22"/>
    <p:sldLayoutId id="2147484050" r:id="rId23"/>
    <p:sldLayoutId id="2147484051" r:id="rId24"/>
    <p:sldLayoutId id="2147484052" r:id="rId25"/>
    <p:sldLayoutId id="2147484053" r:id="rId26"/>
    <p:sldLayoutId id="2147484054" r:id="rId27"/>
    <p:sldLayoutId id="2147484055" r:id="rId28"/>
    <p:sldLayoutId id="2147484056" r:id="rId29"/>
    <p:sldLayoutId id="2147484057" r:id="rId30"/>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1339">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3">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288">
          <p15:clr>
            <a:srgbClr val="A4A3A4"/>
          </p15:clr>
        </p15:guide>
        <p15:guide id="23" pos="7544">
          <p15:clr>
            <a:srgbClr val="A4A3A4"/>
          </p15:clr>
        </p15:guide>
        <p15:guide id="24" orient="horz" pos="794">
          <p15:clr>
            <a:srgbClr val="A4A3A4"/>
          </p15:clr>
        </p15:guide>
        <p15:guide id="25" orient="horz" pos="912">
          <p15:clr>
            <a:srgbClr val="A4A3A4"/>
          </p15:clr>
        </p15:guide>
        <p15:guide id="26" orient="horz" pos="4123">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3407" tIns="89629" rIns="143407" bIns="896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210795"/>
          </a:xfrm>
          <a:prstGeom prst="rect">
            <a:avLst/>
          </a:prstGeom>
        </p:spPr>
        <p:txBody>
          <a:bodyPr vert="horz" wrap="square" lIns="143407" tIns="89629" rIns="143407" bIns="896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8596007"/>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1" r:id="rId12"/>
  </p:sldLayoutIdLst>
  <p:transition>
    <p:fade/>
  </p:transition>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2"/>
            <a:ext cx="11155093" cy="20559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0120564"/>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335" r:id="rId20"/>
  </p:sldLayoutIdLst>
  <p:transition>
    <p:fade/>
  </p:transition>
  <p:hf hdr="0" ftr="0" dt="0"/>
  <p:txStyles>
    <p:titleStyle>
      <a:lvl1pPr algn="l" defTabSz="913913" rtl="0" eaLnBrk="1" latinLnBrk="0" hangingPunct="1">
        <a:lnSpc>
          <a:spcPct val="90000"/>
        </a:lnSpc>
        <a:spcBef>
          <a:spcPct val="0"/>
        </a:spcBef>
        <a:buNone/>
        <a:defRPr lang="en-US" sz="539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3913" rtl="0" eaLnBrk="1" fontAlgn="auto" latinLnBrk="0" hangingPunct="1">
        <a:lnSpc>
          <a:spcPct val="90000"/>
        </a:lnSpc>
        <a:spcBef>
          <a:spcPct val="20000"/>
        </a:spcBef>
        <a:spcAft>
          <a:spcPts val="0"/>
        </a:spcAft>
        <a:buClrTx/>
        <a:buSzPct val="80000"/>
        <a:buFont typeface="Arial" pitchFamily="34" charset="0"/>
        <a:buNone/>
        <a:tabLst/>
        <a:defRPr sz="3599" kern="1200" spc="-70" baseline="0">
          <a:gradFill>
            <a:gsLst>
              <a:gs pos="1250">
                <a:schemeClr val="bg2"/>
              </a:gs>
              <a:gs pos="100000">
                <a:schemeClr val="bg2"/>
              </a:gs>
            </a:gsLst>
            <a:lin ang="5400000" scaled="0"/>
          </a:gradFill>
          <a:latin typeface="+mj-lt"/>
          <a:ea typeface="+mn-ea"/>
          <a:cs typeface="+mn-cs"/>
        </a:defRPr>
      </a:lvl1pPr>
      <a:lvl2pPr marL="339557" marR="0" indent="0" algn="l" defTabSz="913913" rtl="0" eaLnBrk="1" fontAlgn="auto" latinLnBrk="0" hangingPunct="1">
        <a:lnSpc>
          <a:spcPct val="90000"/>
        </a:lnSpc>
        <a:spcBef>
          <a:spcPct val="20000"/>
        </a:spcBef>
        <a:spcAft>
          <a:spcPts val="0"/>
        </a:spcAft>
        <a:buClrTx/>
        <a:buSzPct val="90000"/>
        <a:buFont typeface="Wingdings" pitchFamily="2" charset="2"/>
        <a:buNone/>
        <a:tabLst/>
        <a:defRPr sz="2399" kern="1200" spc="0" baseline="0">
          <a:gradFill>
            <a:gsLst>
              <a:gs pos="1250">
                <a:schemeClr val="bg2"/>
              </a:gs>
              <a:gs pos="100000">
                <a:schemeClr val="bg2"/>
              </a:gs>
            </a:gsLst>
            <a:lin ang="5400000" scaled="0"/>
          </a:gradFill>
          <a:latin typeface="+mn-lt"/>
          <a:ea typeface="+mn-ea"/>
          <a:cs typeface="+mn-cs"/>
        </a:defRPr>
      </a:lvl2pPr>
      <a:lvl3pPr marL="572806" marR="0" indent="0" algn="l" defTabSz="913913" rtl="0" eaLnBrk="1" fontAlgn="auto" latinLnBrk="0" hangingPunct="1">
        <a:lnSpc>
          <a:spcPct val="90000"/>
        </a:lnSpc>
        <a:spcBef>
          <a:spcPct val="20000"/>
        </a:spcBef>
        <a:spcAft>
          <a:spcPts val="0"/>
        </a:spcAft>
        <a:buClrTx/>
        <a:buSzPct val="90000"/>
        <a:buFont typeface="Wingdings" pitchFamily="2" charset="2"/>
        <a:buNone/>
        <a:tabLst>
          <a:tab pos="798120" algn="l"/>
        </a:tabLst>
        <a:defRPr sz="2399" kern="1200" spc="0" baseline="0">
          <a:gradFill>
            <a:gsLst>
              <a:gs pos="1250">
                <a:schemeClr val="bg2"/>
              </a:gs>
              <a:gs pos="100000">
                <a:schemeClr val="bg2"/>
              </a:gs>
            </a:gsLst>
            <a:lin ang="5400000" scaled="0"/>
          </a:gradFill>
          <a:latin typeface="+mn-lt"/>
          <a:ea typeface="+mn-ea"/>
          <a:cs typeface="+mn-cs"/>
        </a:defRPr>
      </a:lvl3pPr>
      <a:lvl4pPr marL="798121" marR="0" indent="0" algn="l" defTabSz="913913" rtl="0" eaLnBrk="1" fontAlgn="auto" latinLnBrk="0" hangingPunct="1">
        <a:lnSpc>
          <a:spcPct val="90000"/>
        </a:lnSpc>
        <a:spcBef>
          <a:spcPct val="20000"/>
        </a:spcBef>
        <a:spcAft>
          <a:spcPts val="0"/>
        </a:spcAft>
        <a:buClrTx/>
        <a:buSzPct val="90000"/>
        <a:buFont typeface="Wingdings" pitchFamily="2" charset="2"/>
        <a:buNone/>
        <a:tabLst/>
        <a:defRPr sz="1999" kern="1200" spc="0" baseline="0">
          <a:gradFill>
            <a:gsLst>
              <a:gs pos="1250">
                <a:schemeClr val="bg2"/>
              </a:gs>
              <a:gs pos="100000">
                <a:schemeClr val="bg2"/>
              </a:gs>
            </a:gsLst>
            <a:lin ang="5400000" scaled="0"/>
          </a:gradFill>
          <a:latin typeface="+mn-lt"/>
          <a:ea typeface="+mn-ea"/>
          <a:cs typeface="+mn-cs"/>
        </a:defRPr>
      </a:lvl4pPr>
      <a:lvl5pPr marL="1029781" marR="0" indent="0" algn="l" defTabSz="913913" rtl="0" eaLnBrk="1" fontAlgn="auto" latinLnBrk="0" hangingPunct="1">
        <a:lnSpc>
          <a:spcPct val="90000"/>
        </a:lnSpc>
        <a:spcBef>
          <a:spcPct val="20000"/>
        </a:spcBef>
        <a:spcAft>
          <a:spcPts val="0"/>
        </a:spcAft>
        <a:buClrTx/>
        <a:buSzPct val="90000"/>
        <a:buFont typeface="Wingdings" pitchFamily="2" charset="2"/>
        <a:buNone/>
        <a:tabLst>
          <a:tab pos="1255095" algn="l"/>
        </a:tabLst>
        <a:defRPr sz="1999" kern="1200" spc="0" baseline="0">
          <a:gradFill>
            <a:gsLst>
              <a:gs pos="1250">
                <a:schemeClr val="bg2"/>
              </a:gs>
              <a:gs pos="100000">
                <a:schemeClr val="bg2"/>
              </a:gs>
            </a:gsLst>
            <a:lin ang="5400000" scaled="0"/>
          </a:gradFill>
          <a:latin typeface="+mn-lt"/>
          <a:ea typeface="+mn-ea"/>
          <a:cs typeface="+mn-cs"/>
        </a:defRPr>
      </a:lvl5pPr>
      <a:lvl6pPr marL="2513263"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219"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176"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133"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13" rtl="0" eaLnBrk="1" latinLnBrk="0" hangingPunct="1">
        <a:defRPr sz="1799" kern="1200">
          <a:solidFill>
            <a:schemeClr val="tx1"/>
          </a:solidFill>
          <a:latin typeface="+mn-lt"/>
          <a:ea typeface="+mn-ea"/>
          <a:cs typeface="+mn-cs"/>
        </a:defRPr>
      </a:lvl1pPr>
      <a:lvl2pPr marL="456957" algn="l" defTabSz="913913" rtl="0" eaLnBrk="1" latinLnBrk="0" hangingPunct="1">
        <a:defRPr sz="1799" kern="1200">
          <a:solidFill>
            <a:schemeClr val="tx1"/>
          </a:solidFill>
          <a:latin typeface="+mn-lt"/>
          <a:ea typeface="+mn-ea"/>
          <a:cs typeface="+mn-cs"/>
        </a:defRPr>
      </a:lvl2pPr>
      <a:lvl3pPr marL="913913" algn="l" defTabSz="913913" rtl="0" eaLnBrk="1" latinLnBrk="0" hangingPunct="1">
        <a:defRPr sz="1799" kern="1200">
          <a:solidFill>
            <a:schemeClr val="tx1"/>
          </a:solidFill>
          <a:latin typeface="+mn-lt"/>
          <a:ea typeface="+mn-ea"/>
          <a:cs typeface="+mn-cs"/>
        </a:defRPr>
      </a:lvl3pPr>
      <a:lvl4pPr marL="1370871" algn="l" defTabSz="913913" rtl="0" eaLnBrk="1" latinLnBrk="0" hangingPunct="1">
        <a:defRPr sz="1799" kern="1200">
          <a:solidFill>
            <a:schemeClr val="tx1"/>
          </a:solidFill>
          <a:latin typeface="+mn-lt"/>
          <a:ea typeface="+mn-ea"/>
          <a:cs typeface="+mn-cs"/>
        </a:defRPr>
      </a:lvl4pPr>
      <a:lvl5pPr marL="1827827" algn="l" defTabSz="913913" rtl="0" eaLnBrk="1" latinLnBrk="0" hangingPunct="1">
        <a:defRPr sz="1799" kern="1200">
          <a:solidFill>
            <a:schemeClr val="tx1"/>
          </a:solidFill>
          <a:latin typeface="+mn-lt"/>
          <a:ea typeface="+mn-ea"/>
          <a:cs typeface="+mn-cs"/>
        </a:defRPr>
      </a:lvl5pPr>
      <a:lvl6pPr marL="2284784" algn="l" defTabSz="913913" rtl="0" eaLnBrk="1" latinLnBrk="0" hangingPunct="1">
        <a:defRPr sz="1799" kern="1200">
          <a:solidFill>
            <a:schemeClr val="tx1"/>
          </a:solidFill>
          <a:latin typeface="+mn-lt"/>
          <a:ea typeface="+mn-ea"/>
          <a:cs typeface="+mn-cs"/>
        </a:defRPr>
      </a:lvl6pPr>
      <a:lvl7pPr marL="2741740" algn="l" defTabSz="913913" rtl="0" eaLnBrk="1" latinLnBrk="0" hangingPunct="1">
        <a:defRPr sz="1799" kern="1200">
          <a:solidFill>
            <a:schemeClr val="tx1"/>
          </a:solidFill>
          <a:latin typeface="+mn-lt"/>
          <a:ea typeface="+mn-ea"/>
          <a:cs typeface="+mn-cs"/>
        </a:defRPr>
      </a:lvl7pPr>
      <a:lvl8pPr marL="3198697" algn="l" defTabSz="913913" rtl="0" eaLnBrk="1" latinLnBrk="0" hangingPunct="1">
        <a:defRPr sz="1799" kern="1200">
          <a:solidFill>
            <a:schemeClr val="tx1"/>
          </a:solidFill>
          <a:latin typeface="+mn-lt"/>
          <a:ea typeface="+mn-ea"/>
          <a:cs typeface="+mn-cs"/>
        </a:defRPr>
      </a:lvl8pPr>
      <a:lvl9pPr marL="3655655" algn="l" defTabSz="913913"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userDrawn="1"/>
        </p:nvGrpSpPr>
        <p:grpSpPr>
          <a:xfrm>
            <a:off x="12366230" y="2747"/>
            <a:ext cx="940153" cy="5651655"/>
            <a:chOff x="12614198" y="2802"/>
            <a:chExt cx="959005" cy="5764164"/>
          </a:xfrm>
        </p:grpSpPr>
        <p:grpSp>
          <p:nvGrpSpPr>
            <p:cNvPr id="37" name="Group 36"/>
            <p:cNvGrpSpPr/>
            <p:nvPr userDrawn="1"/>
          </p:nvGrpSpPr>
          <p:grpSpPr>
            <a:xfrm>
              <a:off x="12614198" y="2802"/>
              <a:ext cx="959005" cy="5683558"/>
              <a:chOff x="12614198" y="2802"/>
              <a:chExt cx="959005" cy="5683558"/>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95988" y="258334"/>
                <a:ext cx="827595"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76120" y="4228745"/>
                <a:ext cx="2588396"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pic>
        <p:nvPicPr>
          <p:cNvPr id="25" name="Picture 24"/>
          <p:cNvPicPr>
            <a:picLocks noChangeAspect="1"/>
          </p:cNvPicPr>
          <p:nvPr userDrawn="1"/>
        </p:nvPicPr>
        <p:blipFill>
          <a:blip r:embed="rId28"/>
          <a:stretch>
            <a:fillRect/>
          </a:stretch>
        </p:blipFill>
        <p:spPr>
          <a:xfrm rot="5400000">
            <a:off x="10172359" y="2855533"/>
            <a:ext cx="6858623" cy="833218"/>
          </a:xfrm>
          <a:prstGeom prst="rect">
            <a:avLst/>
          </a:prstGeom>
        </p:spPr>
      </p:pic>
    </p:spTree>
    <p:extLst>
      <p:ext uri="{BB962C8B-B14F-4D97-AF65-F5344CB8AC3E}">
        <p14:creationId xmlns:p14="http://schemas.microsoft.com/office/powerpoint/2010/main" val="3462379385"/>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 id="2147484145" r:id="rId25"/>
    <p:sldLayoutId id="2147484146" r:id="rId26"/>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82468">
                <a:schemeClr val="tx1"/>
              </a:gs>
              <a:gs pos="68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5219">
          <p15:clr>
            <a:srgbClr val="FBAE40"/>
          </p15:clr>
        </p15:guide>
        <p15:guide id="28" pos="2615">
          <p15:clr>
            <a:srgbClr val="FBAE4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518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7"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5659578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0.xml"/></Relationships>
</file>

<file path=ppt/slides/_rels/slide15.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220.xml"/><Relationship Id="rId6" Type="http://schemas.openxmlformats.org/officeDocument/2006/relationships/diagramColors" Target="../diagrams/colors1.xml"/><Relationship Id="rId11" Type="http://schemas.openxmlformats.org/officeDocument/2006/relationships/image" Target="../media/image174.png"/><Relationship Id="rId5" Type="http://schemas.openxmlformats.org/officeDocument/2006/relationships/diagramQuickStyle" Target="../diagrams/quickStyle1.xml"/><Relationship Id="rId10" Type="http://schemas.openxmlformats.org/officeDocument/2006/relationships/image" Target="../media/image173.svg"/><Relationship Id="rId4" Type="http://schemas.openxmlformats.org/officeDocument/2006/relationships/diagramLayout" Target="../diagrams/layout1.xml"/><Relationship Id="rId9" Type="http://schemas.openxmlformats.org/officeDocument/2006/relationships/image" Target="../media/image172.png"/></Relationships>
</file>

<file path=ppt/slides/_rels/slide1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5.xml"/><Relationship Id="rId1" Type="http://schemas.openxmlformats.org/officeDocument/2006/relationships/slideLayout" Target="../slideLayouts/slideLayout220.xml"/><Relationship Id="rId6" Type="http://schemas.openxmlformats.org/officeDocument/2006/relationships/image" Target="../media/image178.svg"/><Relationship Id="rId5" Type="http://schemas.openxmlformats.org/officeDocument/2006/relationships/image" Target="../media/image177.png"/><Relationship Id="rId4" Type="http://schemas.openxmlformats.org/officeDocument/2006/relationships/image" Target="../media/image176.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57.xml"/></Relationships>
</file>

<file path=ppt/slides/_rels/slide18.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83.png"/><Relationship Id="rId2" Type="http://schemas.openxmlformats.org/officeDocument/2006/relationships/notesSlide" Target="../notesSlides/notesSlide17.xml"/><Relationship Id="rId1" Type="http://schemas.openxmlformats.org/officeDocument/2006/relationships/slideLayout" Target="../slideLayouts/slideLayout252.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19.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image" Target="../media/image193.png"/><Relationship Id="rId3" Type="http://schemas.openxmlformats.org/officeDocument/2006/relationships/image" Target="../media/image184.png"/><Relationship Id="rId7" Type="http://schemas.openxmlformats.org/officeDocument/2006/relationships/image" Target="../media/image188.png"/><Relationship Id="rId12" Type="http://schemas.openxmlformats.org/officeDocument/2006/relationships/image" Target="../media/image192.png"/><Relationship Id="rId2" Type="http://schemas.openxmlformats.org/officeDocument/2006/relationships/notesSlide" Target="../notesSlides/notesSlide18.xml"/><Relationship Id="rId1" Type="http://schemas.openxmlformats.org/officeDocument/2006/relationships/slideLayout" Target="../slideLayouts/slideLayout301.xml"/><Relationship Id="rId6" Type="http://schemas.openxmlformats.org/officeDocument/2006/relationships/image" Target="../media/image187.png"/><Relationship Id="rId11" Type="http://schemas.openxmlformats.org/officeDocument/2006/relationships/image" Target="../media/image191.png"/><Relationship Id="rId5" Type="http://schemas.openxmlformats.org/officeDocument/2006/relationships/image" Target="../media/image186.png"/><Relationship Id="rId10" Type="http://schemas.openxmlformats.org/officeDocument/2006/relationships/hyperlink" Target="https://demos.microsoft.com/demos/details/294" TargetMode="External"/><Relationship Id="rId4" Type="http://schemas.openxmlformats.org/officeDocument/2006/relationships/image" Target="../media/image185.png"/><Relationship Id="rId9" Type="http://schemas.openxmlformats.org/officeDocument/2006/relationships/image" Target="../media/image19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70.xml"/><Relationship Id="rId1" Type="http://schemas.openxmlformats.org/officeDocument/2006/relationships/themeOverride" Target="../theme/themeOverride1.xml"/><Relationship Id="rId4" Type="http://schemas.openxmlformats.org/officeDocument/2006/relationships/image" Target="../media/image86.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29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20.xml"/><Relationship Id="rId1" Type="http://schemas.openxmlformats.org/officeDocument/2006/relationships/slideLayout" Target="../slideLayouts/slideLayout115.xml"/><Relationship Id="rId6" Type="http://schemas.openxmlformats.org/officeDocument/2006/relationships/image" Target="../media/image197.wmf"/><Relationship Id="rId5" Type="http://schemas.openxmlformats.org/officeDocument/2006/relationships/image" Target="../media/image196.png"/><Relationship Id="rId4" Type="http://schemas.openxmlformats.org/officeDocument/2006/relationships/image" Target="../media/image195.png"/></Relationships>
</file>

<file path=ppt/slides/_rels/slide22.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21.xml"/><Relationship Id="rId1" Type="http://schemas.openxmlformats.org/officeDocument/2006/relationships/slideLayout" Target="../slideLayouts/slideLayout231.xml"/><Relationship Id="rId5" Type="http://schemas.openxmlformats.org/officeDocument/2006/relationships/image" Target="../media/image200.png"/><Relationship Id="rId4" Type="http://schemas.openxmlformats.org/officeDocument/2006/relationships/image" Target="../media/image199.emf"/></Relationships>
</file>

<file path=ppt/slides/_rels/slide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xml"/><Relationship Id="rId1" Type="http://schemas.openxmlformats.org/officeDocument/2006/relationships/slideLayout" Target="../slideLayouts/slideLayout394.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svg"/></Relationships>
</file>

<file path=ppt/slides/_rels/slide4.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jpeg"/><Relationship Id="rId18" Type="http://schemas.openxmlformats.org/officeDocument/2006/relationships/image" Target="../media/image105.png"/><Relationship Id="rId26" Type="http://schemas.openxmlformats.org/officeDocument/2006/relationships/image" Target="../media/image113.png"/><Relationship Id="rId3" Type="http://schemas.openxmlformats.org/officeDocument/2006/relationships/notesSlide" Target="../notesSlides/notesSlide3.xml"/><Relationship Id="rId21" Type="http://schemas.openxmlformats.org/officeDocument/2006/relationships/image" Target="../media/image108.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104.jpeg"/><Relationship Id="rId25" Type="http://schemas.openxmlformats.org/officeDocument/2006/relationships/image" Target="../media/image112.png"/><Relationship Id="rId2" Type="http://schemas.openxmlformats.org/officeDocument/2006/relationships/slideLayout" Target="../slideLayouts/slideLayout346.xml"/><Relationship Id="rId16" Type="http://schemas.openxmlformats.org/officeDocument/2006/relationships/image" Target="../media/image103.png"/><Relationship Id="rId20" Type="http://schemas.openxmlformats.org/officeDocument/2006/relationships/image" Target="../media/image107.png"/><Relationship Id="rId29" Type="http://schemas.openxmlformats.org/officeDocument/2006/relationships/image" Target="../media/image116.png"/><Relationship Id="rId1" Type="http://schemas.openxmlformats.org/officeDocument/2006/relationships/themeOverride" Target="../theme/themeOverride2.xml"/><Relationship Id="rId6" Type="http://schemas.openxmlformats.org/officeDocument/2006/relationships/image" Target="../media/image93.png"/><Relationship Id="rId11" Type="http://schemas.openxmlformats.org/officeDocument/2006/relationships/image" Target="../media/image98.png"/><Relationship Id="rId24" Type="http://schemas.openxmlformats.org/officeDocument/2006/relationships/image" Target="../media/image111.png"/><Relationship Id="rId5" Type="http://schemas.openxmlformats.org/officeDocument/2006/relationships/image" Target="../media/image92.png"/><Relationship Id="rId15" Type="http://schemas.openxmlformats.org/officeDocument/2006/relationships/image" Target="../media/image102.jpeg"/><Relationship Id="rId23" Type="http://schemas.openxmlformats.org/officeDocument/2006/relationships/image" Target="../media/image110.png"/><Relationship Id="rId28" Type="http://schemas.openxmlformats.org/officeDocument/2006/relationships/image" Target="../media/image115.png"/><Relationship Id="rId10" Type="http://schemas.openxmlformats.org/officeDocument/2006/relationships/image" Target="../media/image97.png"/><Relationship Id="rId19" Type="http://schemas.openxmlformats.org/officeDocument/2006/relationships/image" Target="../media/image106.png"/><Relationship Id="rId31" Type="http://schemas.openxmlformats.org/officeDocument/2006/relationships/image" Target="../media/image118.png"/><Relationship Id="rId4" Type="http://schemas.openxmlformats.org/officeDocument/2006/relationships/image" Target="../media/image91.png"/><Relationship Id="rId9" Type="http://schemas.openxmlformats.org/officeDocument/2006/relationships/image" Target="../media/image96.png"/><Relationship Id="rId14" Type="http://schemas.openxmlformats.org/officeDocument/2006/relationships/image" Target="../media/image101.png"/><Relationship Id="rId22" Type="http://schemas.openxmlformats.org/officeDocument/2006/relationships/image" Target="../media/image109.png"/><Relationship Id="rId27" Type="http://schemas.openxmlformats.org/officeDocument/2006/relationships/image" Target="../media/image114.png"/><Relationship Id="rId30" Type="http://schemas.openxmlformats.org/officeDocument/2006/relationships/image" Target="../media/image11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41.xml"/><Relationship Id="rId1" Type="http://schemas.openxmlformats.org/officeDocument/2006/relationships/themeOverride" Target="../theme/themeOverride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8.xml"/></Relationships>
</file>

<file path=ppt/slides/_rels/slide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xml"/><Relationship Id="rId1" Type="http://schemas.openxmlformats.org/officeDocument/2006/relationships/slideLayout" Target="../slideLayouts/slideLayout398.xml"/><Relationship Id="rId4" Type="http://schemas.openxmlformats.org/officeDocument/2006/relationships/image" Target="../media/image120.png"/></Relationships>
</file>

<file path=ppt/slides/_rels/slide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xml"/><Relationship Id="rId1" Type="http://schemas.openxmlformats.org/officeDocument/2006/relationships/slideLayout" Target="../slideLayouts/slideLayout398.xml"/><Relationship Id="rId5" Type="http://schemas.openxmlformats.org/officeDocument/2006/relationships/image" Target="../media/image120.png"/><Relationship Id="rId4" Type="http://schemas.openxmlformats.org/officeDocument/2006/relationships/image" Target="../media/image122.png"/></Relationships>
</file>

<file path=ppt/slides/_rels/slide9.xml.rels><?xml version="1.0" encoding="UTF-8" standalone="yes"?>
<Relationships xmlns="http://schemas.openxmlformats.org/package/2006/relationships"><Relationship Id="rId13" Type="http://schemas.openxmlformats.org/officeDocument/2006/relationships/image" Target="../media/image133.png"/><Relationship Id="rId18" Type="http://schemas.openxmlformats.org/officeDocument/2006/relationships/image" Target="../media/image138.png"/><Relationship Id="rId26" Type="http://schemas.openxmlformats.org/officeDocument/2006/relationships/image" Target="../media/image146.png"/><Relationship Id="rId39" Type="http://schemas.openxmlformats.org/officeDocument/2006/relationships/image" Target="../media/image159.png"/><Relationship Id="rId21" Type="http://schemas.openxmlformats.org/officeDocument/2006/relationships/image" Target="../media/image141.jpeg"/><Relationship Id="rId34" Type="http://schemas.openxmlformats.org/officeDocument/2006/relationships/image" Target="../media/image154.png"/><Relationship Id="rId42" Type="http://schemas.openxmlformats.org/officeDocument/2006/relationships/image" Target="../media/image162.png"/><Relationship Id="rId47" Type="http://schemas.openxmlformats.org/officeDocument/2006/relationships/image" Target="../media/image167.png"/><Relationship Id="rId50" Type="http://schemas.openxmlformats.org/officeDocument/2006/relationships/image" Target="../media/image170.jpeg"/><Relationship Id="rId7" Type="http://schemas.openxmlformats.org/officeDocument/2006/relationships/image" Target="../media/image127.png"/><Relationship Id="rId2" Type="http://schemas.openxmlformats.org/officeDocument/2006/relationships/notesSlide" Target="../notesSlides/notesSlide8.xml"/><Relationship Id="rId16" Type="http://schemas.openxmlformats.org/officeDocument/2006/relationships/image" Target="../media/image136.png"/><Relationship Id="rId29" Type="http://schemas.openxmlformats.org/officeDocument/2006/relationships/image" Target="../media/image149.png"/><Relationship Id="rId11" Type="http://schemas.openxmlformats.org/officeDocument/2006/relationships/image" Target="../media/image131.png"/><Relationship Id="rId24" Type="http://schemas.openxmlformats.org/officeDocument/2006/relationships/image" Target="../media/image144.png"/><Relationship Id="rId32" Type="http://schemas.openxmlformats.org/officeDocument/2006/relationships/image" Target="../media/image152.png"/><Relationship Id="rId37" Type="http://schemas.openxmlformats.org/officeDocument/2006/relationships/image" Target="../media/image157.png"/><Relationship Id="rId40" Type="http://schemas.openxmlformats.org/officeDocument/2006/relationships/image" Target="../media/image160.png"/><Relationship Id="rId45" Type="http://schemas.openxmlformats.org/officeDocument/2006/relationships/image" Target="../media/image165.jpg"/><Relationship Id="rId5" Type="http://schemas.openxmlformats.org/officeDocument/2006/relationships/image" Target="../media/image125.png"/><Relationship Id="rId15" Type="http://schemas.openxmlformats.org/officeDocument/2006/relationships/image" Target="../media/image135.png"/><Relationship Id="rId23" Type="http://schemas.openxmlformats.org/officeDocument/2006/relationships/image" Target="../media/image143.png"/><Relationship Id="rId28" Type="http://schemas.openxmlformats.org/officeDocument/2006/relationships/image" Target="../media/image148.png"/><Relationship Id="rId36" Type="http://schemas.openxmlformats.org/officeDocument/2006/relationships/image" Target="../media/image156.png"/><Relationship Id="rId49" Type="http://schemas.openxmlformats.org/officeDocument/2006/relationships/image" Target="../media/image169.png"/><Relationship Id="rId10" Type="http://schemas.openxmlformats.org/officeDocument/2006/relationships/image" Target="../media/image130.emf"/><Relationship Id="rId19" Type="http://schemas.openxmlformats.org/officeDocument/2006/relationships/image" Target="../media/image139.png"/><Relationship Id="rId31" Type="http://schemas.openxmlformats.org/officeDocument/2006/relationships/image" Target="../media/image151.png"/><Relationship Id="rId44" Type="http://schemas.openxmlformats.org/officeDocument/2006/relationships/image" Target="../media/image164.png"/><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34.png"/><Relationship Id="rId22" Type="http://schemas.openxmlformats.org/officeDocument/2006/relationships/image" Target="../media/image142.png"/><Relationship Id="rId27" Type="http://schemas.openxmlformats.org/officeDocument/2006/relationships/image" Target="../media/image147.jpeg"/><Relationship Id="rId30" Type="http://schemas.openxmlformats.org/officeDocument/2006/relationships/image" Target="../media/image150.png"/><Relationship Id="rId35" Type="http://schemas.openxmlformats.org/officeDocument/2006/relationships/image" Target="../media/image155.png"/><Relationship Id="rId43" Type="http://schemas.openxmlformats.org/officeDocument/2006/relationships/image" Target="../media/image163.png"/><Relationship Id="rId48" Type="http://schemas.openxmlformats.org/officeDocument/2006/relationships/image" Target="../media/image168.jpg"/><Relationship Id="rId8" Type="http://schemas.openxmlformats.org/officeDocument/2006/relationships/image" Target="../media/image128.png"/><Relationship Id="rId3" Type="http://schemas.openxmlformats.org/officeDocument/2006/relationships/image" Target="../media/image123.png"/><Relationship Id="rId12" Type="http://schemas.openxmlformats.org/officeDocument/2006/relationships/image" Target="../media/image132.png"/><Relationship Id="rId17" Type="http://schemas.openxmlformats.org/officeDocument/2006/relationships/image" Target="../media/image137.png"/><Relationship Id="rId25" Type="http://schemas.openxmlformats.org/officeDocument/2006/relationships/image" Target="../media/image145.jpeg"/><Relationship Id="rId33" Type="http://schemas.openxmlformats.org/officeDocument/2006/relationships/image" Target="../media/image153.png"/><Relationship Id="rId38" Type="http://schemas.openxmlformats.org/officeDocument/2006/relationships/image" Target="../media/image158.png"/><Relationship Id="rId46" Type="http://schemas.openxmlformats.org/officeDocument/2006/relationships/image" Target="../media/image166.emf"/><Relationship Id="rId20" Type="http://schemas.openxmlformats.org/officeDocument/2006/relationships/image" Target="../media/image140.png"/><Relationship Id="rId41" Type="http://schemas.openxmlformats.org/officeDocument/2006/relationships/image" Target="../media/image161.png"/><Relationship Id="rId1" Type="http://schemas.openxmlformats.org/officeDocument/2006/relationships/slideLayout" Target="../slideLayouts/slideLayout406.xml"/><Relationship Id="rId6" Type="http://schemas.openxmlformats.org/officeDocument/2006/relationships/image" Target="../media/image1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39A014F-386F-43D7-9FBA-784851613F48}"/>
              </a:ext>
            </a:extLst>
          </p:cNvPr>
          <p:cNvSpPr/>
          <p:nvPr/>
        </p:nvSpPr>
        <p:spPr bwMode="auto">
          <a:xfrm>
            <a:off x="0" y="486"/>
            <a:ext cx="12192000" cy="6857028"/>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11ADE02A-2F40-4857-B705-E0B5E6F501F3}"/>
              </a:ext>
            </a:extLst>
          </p:cNvPr>
          <p:cNvSpPr txBox="1"/>
          <p:nvPr/>
        </p:nvSpPr>
        <p:spPr>
          <a:xfrm>
            <a:off x="6788727" y="4644417"/>
            <a:ext cx="5239328" cy="1994411"/>
          </a:xfrm>
          <a:prstGeom prst="rect">
            <a:avLst/>
          </a:prstGeom>
          <a:noFill/>
        </p:spPr>
        <p:txBody>
          <a:bodyPr wrap="square" lIns="179285" tIns="143428" rIns="179285" bIns="143428" rtlCol="0">
            <a:spAutoFit/>
          </a:bodyPr>
          <a:lstStyle/>
          <a:p>
            <a:pPr defTabSz="914367">
              <a:lnSpc>
                <a:spcPct val="90000"/>
              </a:lnSpc>
              <a:spcAft>
                <a:spcPts val="588"/>
              </a:spcAft>
            </a:pPr>
            <a:r>
              <a:rPr lang="en-US" sz="3921" dirty="0">
                <a:gradFill>
                  <a:gsLst>
                    <a:gs pos="2917">
                      <a:srgbClr val="FFFFFF"/>
                    </a:gs>
                    <a:gs pos="30000">
                      <a:srgbClr val="FFFFFF"/>
                    </a:gs>
                  </a:gsLst>
                  <a:lin ang="5400000" scaled="0"/>
                </a:gradFill>
                <a:latin typeface="Segoe UI"/>
              </a:rPr>
              <a:t>Kris Swanson</a:t>
            </a:r>
          </a:p>
          <a:p>
            <a:pPr defTabSz="914367">
              <a:lnSpc>
                <a:spcPct val="90000"/>
              </a:lnSpc>
              <a:spcAft>
                <a:spcPts val="588"/>
              </a:spcAft>
            </a:pPr>
            <a:r>
              <a:rPr lang="en-US" sz="3921" dirty="0">
                <a:gradFill>
                  <a:gsLst>
                    <a:gs pos="2917">
                      <a:srgbClr val="FFFFFF"/>
                    </a:gs>
                    <a:gs pos="30000">
                      <a:srgbClr val="FFFFFF"/>
                    </a:gs>
                  </a:gsLst>
                  <a:lin ang="5400000" scaled="0"/>
                </a:gradFill>
                <a:latin typeface="Segoe UI"/>
              </a:rPr>
              <a:t>Microsoft Partner Technology Strategist</a:t>
            </a:r>
          </a:p>
        </p:txBody>
      </p:sp>
      <p:sp>
        <p:nvSpPr>
          <p:cNvPr id="4" name="TextBox 3">
            <a:extLst>
              <a:ext uri="{FF2B5EF4-FFF2-40B4-BE49-F238E27FC236}">
                <a16:creationId xmlns:a16="http://schemas.microsoft.com/office/drawing/2014/main" id="{A23C8248-04CC-4490-9166-E5C5A8A77E3C}"/>
              </a:ext>
            </a:extLst>
          </p:cNvPr>
          <p:cNvSpPr txBox="1"/>
          <p:nvPr/>
        </p:nvSpPr>
        <p:spPr>
          <a:xfrm>
            <a:off x="2659705" y="1262641"/>
            <a:ext cx="6349676" cy="832764"/>
          </a:xfrm>
          <a:prstGeom prst="rect">
            <a:avLst/>
          </a:prstGeom>
          <a:noFill/>
        </p:spPr>
        <p:txBody>
          <a:bodyPr wrap="square" lIns="179285" tIns="143428" rIns="179285" bIns="143428" rtlCol="0">
            <a:spAutoFit/>
          </a:bodyPr>
          <a:lstStyle/>
          <a:p>
            <a:pPr defTabSz="914367">
              <a:lnSpc>
                <a:spcPct val="90000"/>
              </a:lnSpc>
              <a:spcAft>
                <a:spcPts val="588"/>
              </a:spcAft>
            </a:pPr>
            <a:r>
              <a:rPr lang="en-US" sz="3921" dirty="0">
                <a:gradFill>
                  <a:gsLst>
                    <a:gs pos="2917">
                      <a:srgbClr val="FFFFFF"/>
                    </a:gs>
                    <a:gs pos="30000">
                      <a:srgbClr val="FFFFFF"/>
                    </a:gs>
                  </a:gsLst>
                  <a:lin ang="5400000" scaled="0"/>
                </a:gradFill>
                <a:latin typeface="Segoe UI"/>
              </a:rPr>
              <a:t>Azure Overview</a:t>
            </a:r>
          </a:p>
        </p:txBody>
      </p:sp>
    </p:spTree>
    <p:extLst>
      <p:ext uri="{BB962C8B-B14F-4D97-AF65-F5344CB8AC3E}">
        <p14:creationId xmlns:p14="http://schemas.microsoft.com/office/powerpoint/2010/main" val="39961065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8157" y="1247445"/>
            <a:ext cx="11015688"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a:gradFill>
                  <a:gsLst>
                    <a:gs pos="1250">
                      <a:srgbClr val="1A1A1A"/>
                    </a:gs>
                    <a:gs pos="100000">
                      <a:srgbClr val="1A1A1A"/>
                    </a:gs>
                  </a:gsLst>
                  <a:lin ang="5400000" scaled="0"/>
                </a:gradFill>
                <a:latin typeface="Segoe UI Semibold"/>
              </a:rPr>
              <a:t>Azure: Productive</a:t>
            </a:r>
          </a:p>
        </p:txBody>
      </p:sp>
      <p:grpSp>
        <p:nvGrpSpPr>
          <p:cNvPr id="5" name="Group 4">
            <a:extLst>
              <a:ext uri="{FF2B5EF4-FFF2-40B4-BE49-F238E27FC236}">
                <a16:creationId xmlns:a16="http://schemas.microsoft.com/office/drawing/2014/main" id="{EEDCBCD7-5170-45DF-8D96-5655E94F78B6}"/>
              </a:ext>
            </a:extLst>
          </p:cNvPr>
          <p:cNvGrpSpPr/>
          <p:nvPr/>
        </p:nvGrpSpPr>
        <p:grpSpPr>
          <a:xfrm>
            <a:off x="1537601" y="3018383"/>
            <a:ext cx="2541671" cy="2249347"/>
            <a:chOff x="1536954" y="3018324"/>
            <a:chExt cx="2542032" cy="2249666"/>
          </a:xfrm>
        </p:grpSpPr>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786626"/>
            </a:xfrm>
            <a:prstGeom prst="rect">
              <a:avLst/>
            </a:prstGeom>
            <a:noFill/>
            <a:ln>
              <a:noFill/>
            </a:ln>
          </p:spPr>
          <p:txBody>
            <a:bodyPr wrap="square" lIns="0" tIns="219425" rIns="0" bIns="0" rtlCol="0" anchor="t">
              <a:spAutoFit/>
            </a:bodyPr>
            <a:lstStyle/>
            <a:p>
              <a:pPr algn="ctr" defTabSz="895870" fontAlgn="base">
                <a:lnSpc>
                  <a:spcPct val="90000"/>
                </a:lnSpc>
                <a:spcBef>
                  <a:spcPts val="300"/>
                </a:spcBef>
                <a:spcAft>
                  <a:spcPts val="588"/>
                </a:spcAft>
                <a:defRPr/>
              </a:pPr>
              <a:r>
                <a:rPr lang="en-US" sz="2000" kern="0">
                  <a:gradFill>
                    <a:gsLst>
                      <a:gs pos="41204">
                        <a:srgbClr val="1A1A1A"/>
                      </a:gs>
                      <a:gs pos="59000">
                        <a:srgbClr val="1A1A1A"/>
                      </a:gs>
                    </a:gsLst>
                    <a:lin ang="5400000" scaled="1"/>
                  </a:gradFill>
                  <a:latin typeface="Segoe UI Semibold"/>
                </a:rPr>
                <a:t>Integrated tooling </a:t>
              </a:r>
              <a:br>
                <a:rPr lang="en-US" sz="2000" kern="0">
                  <a:gradFill>
                    <a:gsLst>
                      <a:gs pos="41204">
                        <a:srgbClr val="1A1A1A"/>
                      </a:gs>
                      <a:gs pos="59000">
                        <a:srgbClr val="1A1A1A"/>
                      </a:gs>
                    </a:gsLst>
                    <a:lin ang="5400000" scaled="1"/>
                  </a:gradFill>
                  <a:latin typeface="Segoe UI Semibold"/>
                </a:rPr>
              </a:br>
              <a:r>
                <a:rPr lang="en-US" sz="2000" kern="0">
                  <a:gradFill>
                    <a:gsLst>
                      <a:gs pos="41204">
                        <a:srgbClr val="1A1A1A"/>
                      </a:gs>
                      <a:gs pos="59000">
                        <a:srgbClr val="1A1A1A"/>
                      </a:gs>
                    </a:gsLst>
                    <a:lin ang="5400000" scaled="1"/>
                  </a:gradFill>
                  <a:latin typeface="Segoe UI Semibold"/>
                </a:rPr>
                <a:t>for developers</a:t>
              </a:r>
            </a:p>
          </p:txBody>
        </p:sp>
        <p:grpSp>
          <p:nvGrpSpPr>
            <p:cNvPr id="4" name="Group 3">
              <a:extLst>
                <a:ext uri="{FF2B5EF4-FFF2-40B4-BE49-F238E27FC236}">
                  <a16:creationId xmlns:a16="http://schemas.microsoft.com/office/drawing/2014/main" id="{760418C1-BC48-4672-9279-58273911118D}"/>
                </a:ext>
              </a:extLst>
            </p:cNvPr>
            <p:cNvGrpSpPr/>
            <p:nvPr/>
          </p:nvGrpSpPr>
          <p:grpSpPr>
            <a:xfrm>
              <a:off x="2076450" y="3018324"/>
              <a:ext cx="1463040" cy="1463040"/>
              <a:chOff x="2076450" y="3018324"/>
              <a:chExt cx="1463040" cy="1463040"/>
            </a:xfrm>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2076450" y="3018324"/>
                <a:ext cx="1463040" cy="14630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lnSpc>
                    <a:spcPct val="90000"/>
                  </a:lnSpc>
                  <a:spcBef>
                    <a:spcPts val="600"/>
                  </a:spcBef>
                </a:pPr>
                <a:r>
                  <a:rPr lang="en-US" sz="2000" kern="0">
                    <a:noFill/>
                    <a:latin typeface="Segoe UI Semilight"/>
                  </a:rPr>
                  <a:t>a</a:t>
                </a:r>
              </a:p>
            </p:txBody>
          </p:sp>
          <p:sp>
            <p:nvSpPr>
              <p:cNvPr id="73" name="DeveloperTools_EC7A" title="Icon of a wrench and a screwdriver">
                <a:extLst>
                  <a:ext uri="{FF2B5EF4-FFF2-40B4-BE49-F238E27FC236}">
                    <a16:creationId xmlns:a16="http://schemas.microsoft.com/office/drawing/2014/main" id="{8068EEC0-A61C-4E42-B167-B91D1DB69DAD}"/>
                  </a:ext>
                </a:extLst>
              </p:cNvPr>
              <p:cNvSpPr>
                <a:spLocks noChangeAspect="1" noEditPoints="1"/>
              </p:cNvSpPr>
              <p:nvPr/>
            </p:nvSpPr>
            <p:spPr bwMode="auto">
              <a:xfrm>
                <a:off x="2602353" y="3425861"/>
                <a:ext cx="411234" cy="64796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1A1A1A"/>
                  </a:solidFill>
                  <a:latin typeface="Segoe UI"/>
                </a:endParaRPr>
              </a:p>
            </p:txBody>
          </p:sp>
        </p:grpSp>
      </p:grpSp>
      <p:grpSp>
        <p:nvGrpSpPr>
          <p:cNvPr id="6" name="Group 5">
            <a:extLst>
              <a:ext uri="{FF2B5EF4-FFF2-40B4-BE49-F238E27FC236}">
                <a16:creationId xmlns:a16="http://schemas.microsoft.com/office/drawing/2014/main" id="{4729F1B0-D02B-4BF3-81B4-5590DEEF3C12}"/>
              </a:ext>
            </a:extLst>
          </p:cNvPr>
          <p:cNvGrpSpPr/>
          <p:nvPr/>
        </p:nvGrpSpPr>
        <p:grpSpPr>
          <a:xfrm>
            <a:off x="4832657" y="3018383"/>
            <a:ext cx="2541671" cy="2249347"/>
            <a:chOff x="4832477" y="3018324"/>
            <a:chExt cx="2542032" cy="2249666"/>
          </a:xfrm>
        </p:grpSpPr>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786626"/>
            </a:xfrm>
            <a:prstGeom prst="rect">
              <a:avLst/>
            </a:prstGeom>
            <a:noFill/>
            <a:ln>
              <a:noFill/>
            </a:ln>
          </p:spPr>
          <p:txBody>
            <a:bodyPr wrap="square" lIns="0" tIns="219425" rIns="0" bIns="0" rtlCol="0" anchor="t">
              <a:spAutoFit/>
            </a:bodyPr>
            <a:lstStyle/>
            <a:p>
              <a:pPr algn="ctr" defTabSz="895870" fontAlgn="base">
                <a:lnSpc>
                  <a:spcPct val="90000"/>
                </a:lnSpc>
                <a:spcBef>
                  <a:spcPts val="300"/>
                </a:spcBef>
                <a:spcAft>
                  <a:spcPts val="588"/>
                </a:spcAft>
                <a:defRPr/>
              </a:pPr>
              <a:r>
                <a:rPr lang="en-US" sz="2000" kern="0">
                  <a:gradFill>
                    <a:gsLst>
                      <a:gs pos="41204">
                        <a:srgbClr val="1A1A1A"/>
                      </a:gs>
                      <a:gs pos="59000">
                        <a:srgbClr val="1A1A1A"/>
                      </a:gs>
                    </a:gsLst>
                    <a:lin ang="5400000" scaled="1"/>
                  </a:gradFill>
                  <a:latin typeface="Segoe UI Semibold"/>
                </a:rPr>
                <a:t>100+ cloud </a:t>
              </a:r>
              <a:br>
                <a:rPr lang="en-US" sz="2000" kern="0">
                  <a:gradFill>
                    <a:gsLst>
                      <a:gs pos="41204">
                        <a:srgbClr val="1A1A1A"/>
                      </a:gs>
                      <a:gs pos="59000">
                        <a:srgbClr val="1A1A1A"/>
                      </a:gs>
                    </a:gsLst>
                    <a:lin ang="5400000" scaled="1"/>
                  </a:gradFill>
                  <a:latin typeface="Segoe UI Semibold"/>
                </a:rPr>
              </a:br>
              <a:r>
                <a:rPr lang="en-US" sz="2000" kern="0">
                  <a:gradFill>
                    <a:gsLst>
                      <a:gs pos="41204">
                        <a:srgbClr val="1A1A1A"/>
                      </a:gs>
                      <a:gs pos="59000">
                        <a:srgbClr val="1A1A1A"/>
                      </a:gs>
                    </a:gsLst>
                    <a:lin ang="5400000" scaled="1"/>
                  </a:gradFill>
                  <a:latin typeface="Segoe UI Semibold"/>
                </a:rPr>
                <a:t>services</a:t>
              </a:r>
            </a:p>
          </p:txBody>
        </p:sp>
        <p:grpSp>
          <p:nvGrpSpPr>
            <p:cNvPr id="3" name="Group 2">
              <a:extLst>
                <a:ext uri="{FF2B5EF4-FFF2-40B4-BE49-F238E27FC236}">
                  <a16:creationId xmlns:a16="http://schemas.microsoft.com/office/drawing/2014/main" id="{79E97037-495F-4A80-BBA8-03EAA7EB6A2F}"/>
                </a:ext>
              </a:extLst>
            </p:cNvPr>
            <p:cNvGrpSpPr/>
            <p:nvPr/>
          </p:nvGrpSpPr>
          <p:grpSpPr>
            <a:xfrm>
              <a:off x="5371973" y="3018324"/>
              <a:ext cx="1463040" cy="1463040"/>
              <a:chOff x="5371973" y="3018324"/>
              <a:chExt cx="1463040" cy="1463040"/>
            </a:xfrm>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5371973" y="3018324"/>
                <a:ext cx="1463040" cy="14630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lnSpc>
                    <a:spcPct val="90000"/>
                  </a:lnSpc>
                  <a:spcBef>
                    <a:spcPts val="600"/>
                  </a:spcBef>
                </a:pPr>
                <a:r>
                  <a:rPr lang="en-US" sz="2000" kern="0">
                    <a:noFill/>
                    <a:latin typeface="Segoe UI Semilight"/>
                  </a:rPr>
                  <a:t>b</a:t>
                </a:r>
              </a:p>
            </p:txBody>
          </p:sp>
          <p:sp>
            <p:nvSpPr>
              <p:cNvPr id="74" name="cloud" title="Icon of a cloud">
                <a:extLst>
                  <a:ext uri="{FF2B5EF4-FFF2-40B4-BE49-F238E27FC236}">
                    <a16:creationId xmlns:a16="http://schemas.microsoft.com/office/drawing/2014/main" id="{A5A816C4-CF92-4333-BFF5-11E6525EBA92}"/>
                  </a:ext>
                </a:extLst>
              </p:cNvPr>
              <p:cNvSpPr>
                <a:spLocks noChangeAspect="1"/>
              </p:cNvSpPr>
              <p:nvPr/>
            </p:nvSpPr>
            <p:spPr bwMode="auto">
              <a:xfrm>
                <a:off x="5748031" y="3491476"/>
                <a:ext cx="736325" cy="46593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1A1A1A"/>
                  </a:solidFill>
                  <a:latin typeface="Segoe UI"/>
                </a:endParaRPr>
              </a:p>
            </p:txBody>
          </p:sp>
        </p:grpSp>
      </p:grpSp>
      <p:grpSp>
        <p:nvGrpSpPr>
          <p:cNvPr id="7" name="Group 6">
            <a:extLst>
              <a:ext uri="{FF2B5EF4-FFF2-40B4-BE49-F238E27FC236}">
                <a16:creationId xmlns:a16="http://schemas.microsoft.com/office/drawing/2014/main" id="{300BFFFE-C3FC-4450-9E5B-4579DCD2E1CF}"/>
              </a:ext>
            </a:extLst>
          </p:cNvPr>
          <p:cNvGrpSpPr/>
          <p:nvPr/>
        </p:nvGrpSpPr>
        <p:grpSpPr>
          <a:xfrm>
            <a:off x="8122546" y="3018383"/>
            <a:ext cx="2541671" cy="2249347"/>
            <a:chOff x="8122833" y="3018324"/>
            <a:chExt cx="2542032" cy="2249666"/>
          </a:xfrm>
        </p:grpSpPr>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786626"/>
            </a:xfrm>
            <a:prstGeom prst="rect">
              <a:avLst/>
            </a:prstGeom>
            <a:noFill/>
            <a:ln>
              <a:noFill/>
            </a:ln>
          </p:spPr>
          <p:txBody>
            <a:bodyPr wrap="square" lIns="0" tIns="219425" rIns="0" bIns="0" rtlCol="0" anchor="t">
              <a:spAutoFit/>
            </a:bodyPr>
            <a:lstStyle/>
            <a:p>
              <a:pPr algn="ctr" defTabSz="895870" fontAlgn="base">
                <a:lnSpc>
                  <a:spcPct val="90000"/>
                </a:lnSpc>
                <a:spcBef>
                  <a:spcPts val="300"/>
                </a:spcBef>
                <a:spcAft>
                  <a:spcPts val="588"/>
                </a:spcAft>
                <a:defRPr/>
              </a:pPr>
              <a:r>
                <a:rPr lang="en-US" sz="2000" kern="0">
                  <a:gradFill>
                    <a:gsLst>
                      <a:gs pos="41204">
                        <a:srgbClr val="1A1A1A"/>
                      </a:gs>
                      <a:gs pos="59000">
                        <a:srgbClr val="1A1A1A"/>
                      </a:gs>
                    </a:gsLst>
                    <a:lin ang="5400000" scaled="1"/>
                  </a:gradFill>
                  <a:latin typeface="Segoe UI Semibold"/>
                </a:rPr>
                <a:t>Unified management </a:t>
              </a:r>
              <a:br>
                <a:rPr lang="en-US" sz="2000" kern="0">
                  <a:gradFill>
                    <a:gsLst>
                      <a:gs pos="41204">
                        <a:srgbClr val="1A1A1A"/>
                      </a:gs>
                      <a:gs pos="59000">
                        <a:srgbClr val="1A1A1A"/>
                      </a:gs>
                    </a:gsLst>
                    <a:lin ang="5400000" scaled="1"/>
                  </a:gradFill>
                  <a:latin typeface="Segoe UI Semibold"/>
                </a:rPr>
              </a:br>
              <a:r>
                <a:rPr lang="en-US" sz="2000" kern="0">
                  <a:gradFill>
                    <a:gsLst>
                      <a:gs pos="41204">
                        <a:srgbClr val="1A1A1A"/>
                      </a:gs>
                      <a:gs pos="59000">
                        <a:srgbClr val="1A1A1A"/>
                      </a:gs>
                    </a:gsLst>
                    <a:lin ang="5400000" scaled="1"/>
                  </a:gradFill>
                  <a:latin typeface="Segoe UI Semibold"/>
                </a:rPr>
                <a:t>for IT admins</a:t>
              </a:r>
            </a:p>
          </p:txBody>
        </p:sp>
        <p:grpSp>
          <p:nvGrpSpPr>
            <p:cNvPr id="2" name="Group 1">
              <a:extLst>
                <a:ext uri="{FF2B5EF4-FFF2-40B4-BE49-F238E27FC236}">
                  <a16:creationId xmlns:a16="http://schemas.microsoft.com/office/drawing/2014/main" id="{4EB285AA-4DCD-44B1-B45D-96CDE0B4299C}"/>
                </a:ext>
              </a:extLst>
            </p:cNvPr>
            <p:cNvGrpSpPr/>
            <p:nvPr/>
          </p:nvGrpSpPr>
          <p:grpSpPr>
            <a:xfrm>
              <a:off x="8667496" y="3018324"/>
              <a:ext cx="1463040" cy="1463040"/>
              <a:chOff x="8667496" y="3018324"/>
              <a:chExt cx="1463040" cy="1463040"/>
            </a:xfrm>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8667496" y="3018324"/>
                <a:ext cx="1463040" cy="14630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lnSpc>
                    <a:spcPct val="90000"/>
                  </a:lnSpc>
                  <a:spcBef>
                    <a:spcPts val="600"/>
                  </a:spcBef>
                </a:pPr>
                <a:r>
                  <a:rPr lang="en-US" sz="2000" kern="0">
                    <a:noFill/>
                    <a:latin typeface="Segoe UI Semilight"/>
                  </a:rPr>
                  <a:t>c</a:t>
                </a:r>
              </a:p>
            </p:txBody>
          </p:sp>
          <p:sp>
            <p:nvSpPr>
              <p:cNvPr id="75" name="list_4" title="Icon of a checklist">
                <a:extLst>
                  <a:ext uri="{FF2B5EF4-FFF2-40B4-BE49-F238E27FC236}">
                    <a16:creationId xmlns:a16="http://schemas.microsoft.com/office/drawing/2014/main" id="{F1508A03-720D-4D62-A976-DA0A91911D34}"/>
                  </a:ext>
                </a:extLst>
              </p:cNvPr>
              <p:cNvSpPr>
                <a:spLocks noChangeAspect="1" noEditPoints="1"/>
              </p:cNvSpPr>
              <p:nvPr/>
            </p:nvSpPr>
            <p:spPr bwMode="auto">
              <a:xfrm>
                <a:off x="9071619" y="3503159"/>
                <a:ext cx="654795" cy="44257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1A1A1A"/>
                  </a:solidFill>
                  <a:latin typeface="Segoe UI"/>
                </a:endParaRPr>
              </a:p>
            </p:txBody>
          </p:sp>
        </p:grpSp>
      </p:grpSp>
    </p:spTree>
    <p:extLst>
      <p:ext uri="{BB962C8B-B14F-4D97-AF65-F5344CB8AC3E}">
        <p14:creationId xmlns:p14="http://schemas.microsoft.com/office/powerpoint/2010/main" val="28293429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5"/>
                                        </p:tgtEl>
                                        <p:attrNameLst>
                                          <p:attrName>ppt_x</p:attrName>
                                          <p:attrName>ppt_y</p:attrName>
                                        </p:attrNameLst>
                                      </p:cBhvr>
                                      <p:rCtr x="-26" y="3542"/>
                                    </p:animMotion>
                                  </p:childTnLst>
                                </p:cTn>
                              </p:par>
                              <p:par>
                                <p:cTn id="15" presetID="10" presetClass="entr" presetSubtype="0" fill="hold" nodeType="withEffect">
                                  <p:stCondLst>
                                    <p:cond delay="2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63" presetClass="path" presetSubtype="0" decel="100000" fill="hold" nodeType="withEffect">
                                  <p:stCondLst>
                                    <p:cond delay="200"/>
                                  </p:stCondLst>
                                  <p:childTnLst>
                                    <p:animMotion origin="layout" path="M 1.45833E-6 4.44444E-6 L -0.00052 0.07106 " pathEditMode="relative" rAng="0" ptsTypes="AA">
                                      <p:cBhvr>
                                        <p:cTn id="19" dur="500" spd="-100000" fill="hold"/>
                                        <p:tgtEl>
                                          <p:spTgt spid="6"/>
                                        </p:tgtEl>
                                        <p:attrNameLst>
                                          <p:attrName>ppt_x</p:attrName>
                                          <p:attrName>ppt_y</p:attrName>
                                        </p:attrNameLst>
                                      </p:cBhvr>
                                      <p:rCtr x="-26" y="3542"/>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3" presetClass="path" presetSubtype="0" decel="100000" fill="hold" nodeType="withEffect">
                                  <p:stCondLst>
                                    <p:cond delay="300"/>
                                  </p:stCondLst>
                                  <p:childTnLst>
                                    <p:animMotion origin="layout" path="M 1.45833E-6 4.44444E-6 L -0.00052 0.07106 " pathEditMode="relative" rAng="0" ptsTypes="AA">
                                      <p:cBhvr>
                                        <p:cTn id="24" dur="500" spd="-100000" fill="hold"/>
                                        <p:tgtEl>
                                          <p:spTgt spid="7"/>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e case for hybrid cloud platform</a:t>
            </a:r>
          </a:p>
        </p:txBody>
      </p:sp>
      <p:sp>
        <p:nvSpPr>
          <p:cNvPr id="28" name="Rectangle 27"/>
          <p:cNvSpPr/>
          <p:nvPr/>
        </p:nvSpPr>
        <p:spPr bwMode="auto">
          <a:xfrm>
            <a:off x="1558298" y="4314663"/>
            <a:ext cx="2551570" cy="6535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a:ea typeface="Segoe UI" pitchFamily="34" charset="0"/>
                <a:cs typeface="Segoe UI" pitchFamily="34" charset="0"/>
              </a:rPr>
              <a:t>Business and technical  considerations</a:t>
            </a:r>
          </a:p>
        </p:txBody>
      </p:sp>
      <p:sp>
        <p:nvSpPr>
          <p:cNvPr id="38" name="Rectangle 37"/>
          <p:cNvSpPr/>
          <p:nvPr/>
        </p:nvSpPr>
        <p:spPr bwMode="auto">
          <a:xfrm>
            <a:off x="5026200" y="4314663"/>
            <a:ext cx="2139601" cy="6535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a:ea typeface="Segoe UI" pitchFamily="34" charset="0"/>
                <a:cs typeface="Segoe UI" pitchFamily="34" charset="0"/>
              </a:rPr>
              <a:t>Application flexibility</a:t>
            </a:r>
          </a:p>
        </p:txBody>
      </p:sp>
      <p:sp>
        <p:nvSpPr>
          <p:cNvPr id="37" name="Oval 36"/>
          <p:cNvSpPr/>
          <p:nvPr/>
        </p:nvSpPr>
        <p:spPr bwMode="auto">
          <a:xfrm>
            <a:off x="5050323" y="1929523"/>
            <a:ext cx="2091357" cy="2091353"/>
          </a:xfrm>
          <a:prstGeom prst="ellipse">
            <a:avLst/>
          </a:prstGeom>
          <a:solidFill>
            <a:srgbClr val="00336A"/>
          </a:solidFill>
          <a:ln w="19050">
            <a:noFill/>
            <a:miter lim="800000"/>
          </a:ln>
        </p:spPr>
        <p:txBody>
          <a:bodyPr wrap="square" lIns="233037" tIns="197185" rIns="179259" bIns="179259" rtlCol="0" anchor="ctr">
            <a:noAutofit/>
          </a:bodyPr>
          <a:lstStyle/>
          <a:p>
            <a:pPr algn="ctr" defTabSz="896214">
              <a:defRPr/>
            </a:pPr>
            <a:endParaRPr lang="en-US" sz="2745" kern="0" spc="49" dirty="0">
              <a:solidFill>
                <a:srgbClr val="CDF4FF">
                  <a:lumMod val="50000"/>
                </a:srgbClr>
              </a:solidFill>
              <a:latin typeface="Segoe UI Semilight"/>
              <a:ea typeface="MS PGothic" panose="020B0600070205080204" pitchFamily="34" charset="-128"/>
              <a:cs typeface="Segoe UI Semibold" panose="020B0702040204020203" pitchFamily="34" charset="0"/>
            </a:endParaRPr>
          </a:p>
        </p:txBody>
      </p:sp>
      <p:sp>
        <p:nvSpPr>
          <p:cNvPr id="43" name="Rectangle 42"/>
          <p:cNvSpPr/>
          <p:nvPr/>
        </p:nvSpPr>
        <p:spPr bwMode="auto">
          <a:xfrm>
            <a:off x="8300565" y="4314663"/>
            <a:ext cx="2139601" cy="6535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a:ea typeface="Segoe UI" pitchFamily="34" charset="0"/>
                <a:cs typeface="Segoe UI" pitchFamily="34" charset="0"/>
              </a:rPr>
              <a:t>Inadequate alternatives</a:t>
            </a:r>
          </a:p>
        </p:txBody>
      </p:sp>
      <p:sp>
        <p:nvSpPr>
          <p:cNvPr id="42" name="Oval 41"/>
          <p:cNvSpPr/>
          <p:nvPr/>
        </p:nvSpPr>
        <p:spPr bwMode="auto">
          <a:xfrm>
            <a:off x="8324689" y="1929523"/>
            <a:ext cx="2091357" cy="2091353"/>
          </a:xfrm>
          <a:prstGeom prst="ellipse">
            <a:avLst/>
          </a:prstGeom>
          <a:solidFill>
            <a:srgbClr val="00336A"/>
          </a:solidFill>
          <a:ln w="19050">
            <a:noFill/>
            <a:miter lim="800000"/>
          </a:ln>
        </p:spPr>
        <p:txBody>
          <a:bodyPr wrap="square" lIns="233037" tIns="197185" rIns="179259" bIns="179259" rtlCol="0" anchor="ctr">
            <a:noAutofit/>
          </a:bodyPr>
          <a:lstStyle/>
          <a:p>
            <a:pPr algn="ctr" defTabSz="896214">
              <a:defRPr/>
            </a:pPr>
            <a:endParaRPr lang="en-US" sz="2745" kern="0" spc="49" dirty="0">
              <a:solidFill>
                <a:srgbClr val="CDF4FF">
                  <a:lumMod val="50000"/>
                </a:srgbClr>
              </a:solidFill>
              <a:latin typeface="Segoe UI Semilight"/>
              <a:ea typeface="MS PGothic" panose="020B0600070205080204" pitchFamily="34" charset="-128"/>
              <a:cs typeface="Segoe UI Semibold" panose="020B0702040204020203" pitchFamily="34" charset="0"/>
            </a:endParaRPr>
          </a:p>
        </p:txBody>
      </p:sp>
      <p:grpSp>
        <p:nvGrpSpPr>
          <p:cNvPr id="74" name="Group 73"/>
          <p:cNvGrpSpPr/>
          <p:nvPr/>
        </p:nvGrpSpPr>
        <p:grpSpPr>
          <a:xfrm>
            <a:off x="5588735" y="2475129"/>
            <a:ext cx="1014534" cy="1000142"/>
            <a:chOff x="6900863" y="5819775"/>
            <a:chExt cx="671513" cy="661988"/>
          </a:xfrm>
        </p:grpSpPr>
        <p:sp>
          <p:nvSpPr>
            <p:cNvPr id="63" name="Freeform 9"/>
            <p:cNvSpPr>
              <a:spLocks/>
            </p:cNvSpPr>
            <p:nvPr/>
          </p:nvSpPr>
          <p:spPr bwMode="auto">
            <a:xfrm>
              <a:off x="6900863" y="5862638"/>
              <a:ext cx="212725" cy="425450"/>
            </a:xfrm>
            <a:custGeom>
              <a:avLst/>
              <a:gdLst>
                <a:gd name="T0" fmla="*/ 43 w 134"/>
                <a:gd name="T1" fmla="*/ 268 h 268"/>
                <a:gd name="T2" fmla="*/ 0 w 134"/>
                <a:gd name="T3" fmla="*/ 268 h 268"/>
                <a:gd name="T4" fmla="*/ 0 w 134"/>
                <a:gd name="T5" fmla="*/ 0 h 268"/>
                <a:gd name="T6" fmla="*/ 134 w 134"/>
                <a:gd name="T7" fmla="*/ 0 h 268"/>
                <a:gd name="T8" fmla="*/ 134 w 134"/>
                <a:gd name="T9" fmla="*/ 134 h 268"/>
              </a:gdLst>
              <a:ahLst/>
              <a:cxnLst>
                <a:cxn ang="0">
                  <a:pos x="T0" y="T1"/>
                </a:cxn>
                <a:cxn ang="0">
                  <a:pos x="T2" y="T3"/>
                </a:cxn>
                <a:cxn ang="0">
                  <a:pos x="T4" y="T5"/>
                </a:cxn>
                <a:cxn ang="0">
                  <a:pos x="T6" y="T7"/>
                </a:cxn>
                <a:cxn ang="0">
                  <a:pos x="T8" y="T9"/>
                </a:cxn>
              </a:cxnLst>
              <a:rect l="0" t="0" r="r" b="b"/>
              <a:pathLst>
                <a:path w="134" h="268">
                  <a:moveTo>
                    <a:pt x="43" y="268"/>
                  </a:moveTo>
                  <a:lnTo>
                    <a:pt x="0" y="268"/>
                  </a:lnTo>
                  <a:lnTo>
                    <a:pt x="0" y="0"/>
                  </a:lnTo>
                  <a:lnTo>
                    <a:pt x="134" y="0"/>
                  </a:lnTo>
                  <a:lnTo>
                    <a:pt x="134" y="134"/>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4" name="Rectangle 10"/>
            <p:cNvSpPr>
              <a:spLocks noChangeArrowheads="1"/>
            </p:cNvSpPr>
            <p:nvPr/>
          </p:nvSpPr>
          <p:spPr bwMode="auto">
            <a:xfrm>
              <a:off x="6942138" y="6105525"/>
              <a:ext cx="34925" cy="34925"/>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5" name="Rectangle 11"/>
            <p:cNvSpPr>
              <a:spLocks noChangeArrowheads="1"/>
            </p:cNvSpPr>
            <p:nvPr/>
          </p:nvSpPr>
          <p:spPr bwMode="auto">
            <a:xfrm>
              <a:off x="6942138" y="6018213"/>
              <a:ext cx="34925" cy="30162"/>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6" name="Rectangle 12"/>
            <p:cNvSpPr>
              <a:spLocks noChangeArrowheads="1"/>
            </p:cNvSpPr>
            <p:nvPr/>
          </p:nvSpPr>
          <p:spPr bwMode="auto">
            <a:xfrm>
              <a:off x="7037388" y="6018213"/>
              <a:ext cx="34925" cy="30162"/>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7" name="Rectangle 13"/>
            <p:cNvSpPr>
              <a:spLocks noChangeArrowheads="1"/>
            </p:cNvSpPr>
            <p:nvPr/>
          </p:nvSpPr>
          <p:spPr bwMode="auto">
            <a:xfrm>
              <a:off x="6942138" y="5930900"/>
              <a:ext cx="34925" cy="33337"/>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8" name="Rectangle 14"/>
            <p:cNvSpPr>
              <a:spLocks noChangeArrowheads="1"/>
            </p:cNvSpPr>
            <p:nvPr/>
          </p:nvSpPr>
          <p:spPr bwMode="auto">
            <a:xfrm>
              <a:off x="7037388" y="5930900"/>
              <a:ext cx="34925" cy="33337"/>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9" name="Rectangle 15"/>
            <p:cNvSpPr>
              <a:spLocks noChangeArrowheads="1"/>
            </p:cNvSpPr>
            <p:nvPr/>
          </p:nvSpPr>
          <p:spPr bwMode="auto">
            <a:xfrm>
              <a:off x="6931026" y="5819775"/>
              <a:ext cx="57150" cy="42862"/>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0" name="Freeform 16"/>
            <p:cNvSpPr>
              <a:spLocks/>
            </p:cNvSpPr>
            <p:nvPr/>
          </p:nvSpPr>
          <p:spPr bwMode="auto">
            <a:xfrm>
              <a:off x="6999288" y="6075363"/>
              <a:ext cx="355600" cy="406400"/>
            </a:xfrm>
            <a:custGeom>
              <a:avLst/>
              <a:gdLst>
                <a:gd name="T0" fmla="*/ 0 w 224"/>
                <a:gd name="T1" fmla="*/ 65 h 256"/>
                <a:gd name="T2" fmla="*/ 111 w 224"/>
                <a:gd name="T3" fmla="*/ 0 h 256"/>
                <a:gd name="T4" fmla="*/ 224 w 224"/>
                <a:gd name="T5" fmla="*/ 65 h 256"/>
                <a:gd name="T6" fmla="*/ 224 w 224"/>
                <a:gd name="T7" fmla="*/ 192 h 256"/>
                <a:gd name="T8" fmla="*/ 111 w 224"/>
                <a:gd name="T9" fmla="*/ 256 h 256"/>
                <a:gd name="T10" fmla="*/ 0 w 224"/>
                <a:gd name="T11" fmla="*/ 192 h 256"/>
                <a:gd name="T12" fmla="*/ 0 w 224"/>
                <a:gd name="T13" fmla="*/ 65 h 256"/>
              </a:gdLst>
              <a:ahLst/>
              <a:cxnLst>
                <a:cxn ang="0">
                  <a:pos x="T0" y="T1"/>
                </a:cxn>
                <a:cxn ang="0">
                  <a:pos x="T2" y="T3"/>
                </a:cxn>
                <a:cxn ang="0">
                  <a:pos x="T4" y="T5"/>
                </a:cxn>
                <a:cxn ang="0">
                  <a:pos x="T6" y="T7"/>
                </a:cxn>
                <a:cxn ang="0">
                  <a:pos x="T8" y="T9"/>
                </a:cxn>
                <a:cxn ang="0">
                  <a:pos x="T10" y="T11"/>
                </a:cxn>
                <a:cxn ang="0">
                  <a:pos x="T12" y="T13"/>
                </a:cxn>
              </a:cxnLst>
              <a:rect l="0" t="0" r="r" b="b"/>
              <a:pathLst>
                <a:path w="224" h="256">
                  <a:moveTo>
                    <a:pt x="0" y="65"/>
                  </a:moveTo>
                  <a:lnTo>
                    <a:pt x="111" y="0"/>
                  </a:lnTo>
                  <a:lnTo>
                    <a:pt x="224" y="65"/>
                  </a:lnTo>
                  <a:lnTo>
                    <a:pt x="224" y="192"/>
                  </a:lnTo>
                  <a:lnTo>
                    <a:pt x="111" y="256"/>
                  </a:lnTo>
                  <a:lnTo>
                    <a:pt x="0" y="192"/>
                  </a:lnTo>
                  <a:lnTo>
                    <a:pt x="0" y="65"/>
                  </a:lnTo>
                  <a:close/>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1" name="Freeform 17"/>
            <p:cNvSpPr>
              <a:spLocks/>
            </p:cNvSpPr>
            <p:nvPr/>
          </p:nvSpPr>
          <p:spPr bwMode="auto">
            <a:xfrm>
              <a:off x="6999288" y="6178550"/>
              <a:ext cx="355600" cy="101600"/>
            </a:xfrm>
            <a:custGeom>
              <a:avLst/>
              <a:gdLst>
                <a:gd name="T0" fmla="*/ 224 w 224"/>
                <a:gd name="T1" fmla="*/ 0 h 64"/>
                <a:gd name="T2" fmla="*/ 111 w 224"/>
                <a:gd name="T3" fmla="*/ 64 h 64"/>
                <a:gd name="T4" fmla="*/ 0 w 224"/>
                <a:gd name="T5" fmla="*/ 0 h 64"/>
              </a:gdLst>
              <a:ahLst/>
              <a:cxnLst>
                <a:cxn ang="0">
                  <a:pos x="T0" y="T1"/>
                </a:cxn>
                <a:cxn ang="0">
                  <a:pos x="T2" y="T3"/>
                </a:cxn>
                <a:cxn ang="0">
                  <a:pos x="T4" y="T5"/>
                </a:cxn>
              </a:cxnLst>
              <a:rect l="0" t="0" r="r" b="b"/>
              <a:pathLst>
                <a:path w="224" h="64">
                  <a:moveTo>
                    <a:pt x="224" y="0"/>
                  </a:moveTo>
                  <a:lnTo>
                    <a:pt x="111" y="64"/>
                  </a:lnTo>
                  <a:lnTo>
                    <a:pt x="0"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2" name="Line 18"/>
            <p:cNvSpPr>
              <a:spLocks noChangeShapeType="1"/>
            </p:cNvSpPr>
            <p:nvPr/>
          </p:nvSpPr>
          <p:spPr bwMode="auto">
            <a:xfrm>
              <a:off x="7175501" y="6269038"/>
              <a:ext cx="0" cy="212725"/>
            </a:xfrm>
            <a:prstGeom prst="line">
              <a:avLst/>
            </a:prstGeom>
            <a:noFill/>
            <a:ln w="222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3" name="Freeform 19"/>
            <p:cNvSpPr>
              <a:spLocks/>
            </p:cNvSpPr>
            <p:nvPr/>
          </p:nvSpPr>
          <p:spPr bwMode="auto">
            <a:xfrm>
              <a:off x="7216776" y="5953125"/>
              <a:ext cx="355600" cy="225425"/>
            </a:xfrm>
            <a:custGeom>
              <a:avLst/>
              <a:gdLst>
                <a:gd name="T0" fmla="*/ 0 w 93"/>
                <a:gd name="T1" fmla="*/ 29 h 59"/>
                <a:gd name="T2" fmla="*/ 10 w 93"/>
                <a:gd name="T3" fmla="*/ 24 h 59"/>
                <a:gd name="T4" fmla="*/ 35 w 93"/>
                <a:gd name="T5" fmla="*/ 0 h 59"/>
                <a:gd name="T6" fmla="*/ 58 w 93"/>
                <a:gd name="T7" fmla="*/ 15 h 59"/>
                <a:gd name="T8" fmla="*/ 69 w 93"/>
                <a:gd name="T9" fmla="*/ 12 h 59"/>
                <a:gd name="T10" fmla="*/ 93 w 93"/>
                <a:gd name="T11" fmla="*/ 35 h 59"/>
                <a:gd name="T12" fmla="*/ 69 w 93"/>
                <a:gd name="T13" fmla="*/ 59 h 59"/>
                <a:gd name="T14" fmla="*/ 69 w 93"/>
                <a:gd name="T15" fmla="*/ 59 h 59"/>
                <a:gd name="T16" fmla="*/ 45 w 93"/>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59">
                  <a:moveTo>
                    <a:pt x="0" y="29"/>
                  </a:moveTo>
                  <a:cubicBezTo>
                    <a:pt x="4" y="23"/>
                    <a:pt x="4" y="25"/>
                    <a:pt x="10" y="24"/>
                  </a:cubicBezTo>
                  <a:cubicBezTo>
                    <a:pt x="11" y="11"/>
                    <a:pt x="22" y="0"/>
                    <a:pt x="35" y="0"/>
                  </a:cubicBezTo>
                  <a:cubicBezTo>
                    <a:pt x="45" y="0"/>
                    <a:pt x="54" y="6"/>
                    <a:pt x="58" y="15"/>
                  </a:cubicBezTo>
                  <a:cubicBezTo>
                    <a:pt x="62" y="13"/>
                    <a:pt x="66" y="12"/>
                    <a:pt x="69" y="12"/>
                  </a:cubicBezTo>
                  <a:cubicBezTo>
                    <a:pt x="82" y="12"/>
                    <a:pt x="93" y="22"/>
                    <a:pt x="93" y="35"/>
                  </a:cubicBezTo>
                  <a:cubicBezTo>
                    <a:pt x="93" y="48"/>
                    <a:pt x="82" y="59"/>
                    <a:pt x="69" y="59"/>
                  </a:cubicBezTo>
                  <a:cubicBezTo>
                    <a:pt x="69" y="59"/>
                    <a:pt x="69" y="59"/>
                    <a:pt x="69" y="59"/>
                  </a:cubicBezTo>
                  <a:cubicBezTo>
                    <a:pt x="57" y="59"/>
                    <a:pt x="45" y="59"/>
                    <a:pt x="45" y="59"/>
                  </a:cubicBezTo>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39" name="Oval 38"/>
          <p:cNvSpPr/>
          <p:nvPr/>
        </p:nvSpPr>
        <p:spPr bwMode="auto">
          <a:xfrm>
            <a:off x="1775957" y="1929523"/>
            <a:ext cx="2091357" cy="2091353"/>
          </a:xfrm>
          <a:prstGeom prst="ellipse">
            <a:avLst/>
          </a:prstGeom>
          <a:solidFill>
            <a:srgbClr val="00336A"/>
          </a:solidFill>
          <a:ln w="19050">
            <a:noFill/>
            <a:miter lim="800000"/>
          </a:ln>
        </p:spPr>
        <p:txBody>
          <a:bodyPr wrap="square" lIns="233037" tIns="197185" rIns="179259" bIns="179259" rtlCol="0" anchor="ctr">
            <a:noAutofit/>
          </a:bodyPr>
          <a:lstStyle/>
          <a:p>
            <a:pPr algn="ctr" defTabSz="896214">
              <a:defRPr/>
            </a:pPr>
            <a:endParaRPr lang="en-US" sz="2745" kern="0" spc="49" dirty="0">
              <a:solidFill>
                <a:srgbClr val="CDF4FF">
                  <a:lumMod val="50000"/>
                </a:srgbClr>
              </a:solidFill>
              <a:latin typeface="Segoe UI Semilight"/>
              <a:ea typeface="MS PGothic" panose="020B0600070205080204" pitchFamily="34" charset="-128"/>
              <a:cs typeface="Segoe UI Semibold" panose="020B0702040204020203" pitchFamily="34" charset="0"/>
            </a:endParaRPr>
          </a:p>
        </p:txBody>
      </p:sp>
      <p:grpSp>
        <p:nvGrpSpPr>
          <p:cNvPr id="40" name="Group 39"/>
          <p:cNvGrpSpPr/>
          <p:nvPr/>
        </p:nvGrpSpPr>
        <p:grpSpPr>
          <a:xfrm>
            <a:off x="2347812" y="2500599"/>
            <a:ext cx="947649" cy="949204"/>
            <a:chOff x="3451226" y="7002463"/>
            <a:chExt cx="966788" cy="968375"/>
          </a:xfrm>
        </p:grpSpPr>
        <p:sp>
          <p:nvSpPr>
            <p:cNvPr id="41" name="Oval 5"/>
            <p:cNvSpPr>
              <a:spLocks noChangeArrowheads="1"/>
            </p:cNvSpPr>
            <p:nvPr/>
          </p:nvSpPr>
          <p:spPr bwMode="auto">
            <a:xfrm>
              <a:off x="3451226" y="7002463"/>
              <a:ext cx="966788" cy="968375"/>
            </a:xfrm>
            <a:prstGeom prst="ellipse">
              <a:avLst/>
            </a:prstGeom>
            <a:noFill/>
            <a:ln w="222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44" name="Freeform 43"/>
            <p:cNvSpPr>
              <a:spLocks/>
            </p:cNvSpPr>
            <p:nvPr/>
          </p:nvSpPr>
          <p:spPr bwMode="auto">
            <a:xfrm>
              <a:off x="3705226" y="7302500"/>
              <a:ext cx="484188" cy="330200"/>
            </a:xfrm>
            <a:custGeom>
              <a:avLst/>
              <a:gdLst>
                <a:gd name="T0" fmla="*/ 0 w 305"/>
                <a:gd name="T1" fmla="*/ 110 h 208"/>
                <a:gd name="T2" fmla="*/ 100 w 305"/>
                <a:gd name="T3" fmla="*/ 208 h 208"/>
                <a:gd name="T4" fmla="*/ 305 w 305"/>
                <a:gd name="T5" fmla="*/ 0 h 208"/>
              </a:gdLst>
              <a:ahLst/>
              <a:cxnLst>
                <a:cxn ang="0">
                  <a:pos x="T0" y="T1"/>
                </a:cxn>
                <a:cxn ang="0">
                  <a:pos x="T2" y="T3"/>
                </a:cxn>
                <a:cxn ang="0">
                  <a:pos x="T4" y="T5"/>
                </a:cxn>
              </a:cxnLst>
              <a:rect l="0" t="0" r="r" b="b"/>
              <a:pathLst>
                <a:path w="305" h="208">
                  <a:moveTo>
                    <a:pt x="0" y="110"/>
                  </a:moveTo>
                  <a:lnTo>
                    <a:pt x="100" y="208"/>
                  </a:lnTo>
                  <a:lnTo>
                    <a:pt x="305" y="0"/>
                  </a:lnTo>
                </a:path>
              </a:pathLst>
            </a:custGeom>
            <a:noFill/>
            <a:ln w="222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13" name="Group 12"/>
          <p:cNvGrpSpPr/>
          <p:nvPr/>
        </p:nvGrpSpPr>
        <p:grpSpPr>
          <a:xfrm>
            <a:off x="8741846" y="2607707"/>
            <a:ext cx="1257040" cy="734988"/>
            <a:chOff x="7299325" y="8694738"/>
            <a:chExt cx="581026" cy="339725"/>
          </a:xfrm>
        </p:grpSpPr>
        <p:sp>
          <p:nvSpPr>
            <p:cNvPr id="5" name="Freeform 5"/>
            <p:cNvSpPr>
              <a:spLocks/>
            </p:cNvSpPr>
            <p:nvPr/>
          </p:nvSpPr>
          <p:spPr bwMode="auto">
            <a:xfrm>
              <a:off x="7405688" y="8694738"/>
              <a:ext cx="368300" cy="266700"/>
            </a:xfrm>
            <a:custGeom>
              <a:avLst/>
              <a:gdLst>
                <a:gd name="T0" fmla="*/ 0 w 232"/>
                <a:gd name="T1" fmla="*/ 134 h 168"/>
                <a:gd name="T2" fmla="*/ 25 w 232"/>
                <a:gd name="T3" fmla="*/ 168 h 168"/>
                <a:gd name="T4" fmla="*/ 210 w 232"/>
                <a:gd name="T5" fmla="*/ 68 h 168"/>
                <a:gd name="T6" fmla="*/ 232 w 232"/>
                <a:gd name="T7" fmla="*/ 2 h 168"/>
                <a:gd name="T8" fmla="*/ 164 w 232"/>
                <a:gd name="T9" fmla="*/ 0 h 168"/>
                <a:gd name="T10" fmla="*/ 0 w 232"/>
                <a:gd name="T11" fmla="*/ 134 h 168"/>
              </a:gdLst>
              <a:ahLst/>
              <a:cxnLst>
                <a:cxn ang="0">
                  <a:pos x="T0" y="T1"/>
                </a:cxn>
                <a:cxn ang="0">
                  <a:pos x="T2" y="T3"/>
                </a:cxn>
                <a:cxn ang="0">
                  <a:pos x="T4" y="T5"/>
                </a:cxn>
                <a:cxn ang="0">
                  <a:pos x="T6" y="T7"/>
                </a:cxn>
                <a:cxn ang="0">
                  <a:pos x="T8" y="T9"/>
                </a:cxn>
                <a:cxn ang="0">
                  <a:pos x="T10" y="T11"/>
                </a:cxn>
              </a:cxnLst>
              <a:rect l="0" t="0" r="r" b="b"/>
              <a:pathLst>
                <a:path w="232" h="168">
                  <a:moveTo>
                    <a:pt x="0" y="134"/>
                  </a:moveTo>
                  <a:lnTo>
                    <a:pt x="25" y="168"/>
                  </a:lnTo>
                  <a:lnTo>
                    <a:pt x="210" y="68"/>
                  </a:lnTo>
                  <a:lnTo>
                    <a:pt x="232" y="2"/>
                  </a:lnTo>
                  <a:lnTo>
                    <a:pt x="164" y="0"/>
                  </a:lnTo>
                  <a:lnTo>
                    <a:pt x="0" y="134"/>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 name="Freeform 6"/>
            <p:cNvSpPr>
              <a:spLocks/>
            </p:cNvSpPr>
            <p:nvPr/>
          </p:nvSpPr>
          <p:spPr bwMode="auto">
            <a:xfrm>
              <a:off x="7337425" y="8856663"/>
              <a:ext cx="138113" cy="177800"/>
            </a:xfrm>
            <a:custGeom>
              <a:avLst/>
              <a:gdLst>
                <a:gd name="T0" fmla="*/ 0 w 87"/>
                <a:gd name="T1" fmla="*/ 15 h 112"/>
                <a:gd name="T2" fmla="*/ 65 w 87"/>
                <a:gd name="T3" fmla="*/ 112 h 112"/>
                <a:gd name="T4" fmla="*/ 87 w 87"/>
                <a:gd name="T5" fmla="*/ 97 h 112"/>
                <a:gd name="T6" fmla="*/ 22 w 87"/>
                <a:gd name="T7" fmla="*/ 0 h 112"/>
                <a:gd name="T8" fmla="*/ 0 w 87"/>
                <a:gd name="T9" fmla="*/ 15 h 112"/>
              </a:gdLst>
              <a:ahLst/>
              <a:cxnLst>
                <a:cxn ang="0">
                  <a:pos x="T0" y="T1"/>
                </a:cxn>
                <a:cxn ang="0">
                  <a:pos x="T2" y="T3"/>
                </a:cxn>
                <a:cxn ang="0">
                  <a:pos x="T4" y="T5"/>
                </a:cxn>
                <a:cxn ang="0">
                  <a:pos x="T6" y="T7"/>
                </a:cxn>
                <a:cxn ang="0">
                  <a:pos x="T8" y="T9"/>
                </a:cxn>
              </a:cxnLst>
              <a:rect l="0" t="0" r="r" b="b"/>
              <a:pathLst>
                <a:path w="87" h="112">
                  <a:moveTo>
                    <a:pt x="0" y="15"/>
                  </a:moveTo>
                  <a:lnTo>
                    <a:pt x="65" y="112"/>
                  </a:lnTo>
                  <a:lnTo>
                    <a:pt x="87" y="97"/>
                  </a:lnTo>
                  <a:lnTo>
                    <a:pt x="22" y="0"/>
                  </a:lnTo>
                  <a:lnTo>
                    <a:pt x="0" y="15"/>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8" name="Freeform 7"/>
            <p:cNvSpPr>
              <a:spLocks/>
            </p:cNvSpPr>
            <p:nvPr/>
          </p:nvSpPr>
          <p:spPr bwMode="auto">
            <a:xfrm>
              <a:off x="7299325" y="8929688"/>
              <a:ext cx="106363" cy="104775"/>
            </a:xfrm>
            <a:custGeom>
              <a:avLst/>
              <a:gdLst>
                <a:gd name="T0" fmla="*/ 0 w 67"/>
                <a:gd name="T1" fmla="*/ 32 h 66"/>
                <a:gd name="T2" fmla="*/ 24 w 67"/>
                <a:gd name="T3" fmla="*/ 66 h 66"/>
                <a:gd name="T4" fmla="*/ 67 w 67"/>
                <a:gd name="T5" fmla="*/ 37 h 66"/>
                <a:gd name="T6" fmla="*/ 46 w 67"/>
                <a:gd name="T7" fmla="*/ 0 h 66"/>
                <a:gd name="T8" fmla="*/ 0 w 67"/>
                <a:gd name="T9" fmla="*/ 32 h 66"/>
              </a:gdLst>
              <a:ahLst/>
              <a:cxnLst>
                <a:cxn ang="0">
                  <a:pos x="T0" y="T1"/>
                </a:cxn>
                <a:cxn ang="0">
                  <a:pos x="T2" y="T3"/>
                </a:cxn>
                <a:cxn ang="0">
                  <a:pos x="T4" y="T5"/>
                </a:cxn>
                <a:cxn ang="0">
                  <a:pos x="T6" y="T7"/>
                </a:cxn>
                <a:cxn ang="0">
                  <a:pos x="T8" y="T9"/>
                </a:cxn>
              </a:cxnLst>
              <a:rect l="0" t="0" r="r" b="b"/>
              <a:pathLst>
                <a:path w="67" h="66">
                  <a:moveTo>
                    <a:pt x="0" y="32"/>
                  </a:moveTo>
                  <a:lnTo>
                    <a:pt x="24" y="66"/>
                  </a:lnTo>
                  <a:lnTo>
                    <a:pt x="67" y="37"/>
                  </a:lnTo>
                  <a:lnTo>
                    <a:pt x="46" y="0"/>
                  </a:lnTo>
                  <a:lnTo>
                    <a:pt x="0" y="32"/>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9" name="Freeform 8"/>
            <p:cNvSpPr>
              <a:spLocks/>
            </p:cNvSpPr>
            <p:nvPr/>
          </p:nvSpPr>
          <p:spPr bwMode="auto">
            <a:xfrm>
              <a:off x="7593013" y="8837613"/>
              <a:ext cx="180975" cy="123825"/>
            </a:xfrm>
            <a:custGeom>
              <a:avLst/>
              <a:gdLst>
                <a:gd name="T0" fmla="*/ 58 w 114"/>
                <a:gd name="T1" fmla="*/ 0 h 78"/>
                <a:gd name="T2" fmla="*/ 114 w 114"/>
                <a:gd name="T3" fmla="*/ 44 h 78"/>
                <a:gd name="T4" fmla="*/ 89 w 114"/>
                <a:gd name="T5" fmla="*/ 78 h 78"/>
                <a:gd name="T6" fmla="*/ 0 w 114"/>
                <a:gd name="T7" fmla="*/ 29 h 78"/>
              </a:gdLst>
              <a:ahLst/>
              <a:cxnLst>
                <a:cxn ang="0">
                  <a:pos x="T0" y="T1"/>
                </a:cxn>
                <a:cxn ang="0">
                  <a:pos x="T2" y="T3"/>
                </a:cxn>
                <a:cxn ang="0">
                  <a:pos x="T4" y="T5"/>
                </a:cxn>
                <a:cxn ang="0">
                  <a:pos x="T6" y="T7"/>
                </a:cxn>
              </a:cxnLst>
              <a:rect l="0" t="0" r="r" b="b"/>
              <a:pathLst>
                <a:path w="114" h="78">
                  <a:moveTo>
                    <a:pt x="58" y="0"/>
                  </a:moveTo>
                  <a:lnTo>
                    <a:pt x="114" y="44"/>
                  </a:lnTo>
                  <a:lnTo>
                    <a:pt x="89" y="78"/>
                  </a:lnTo>
                  <a:lnTo>
                    <a:pt x="0" y="29"/>
                  </a:lnTo>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0" name="Freeform 9"/>
            <p:cNvSpPr>
              <a:spLocks/>
            </p:cNvSpPr>
            <p:nvPr/>
          </p:nvSpPr>
          <p:spPr bwMode="auto">
            <a:xfrm>
              <a:off x="7405688" y="8694738"/>
              <a:ext cx="184150" cy="138112"/>
            </a:xfrm>
            <a:custGeom>
              <a:avLst/>
              <a:gdLst>
                <a:gd name="T0" fmla="*/ 58 w 116"/>
                <a:gd name="T1" fmla="*/ 87 h 87"/>
                <a:gd name="T2" fmla="*/ 22 w 116"/>
                <a:gd name="T3" fmla="*/ 68 h 87"/>
                <a:gd name="T4" fmla="*/ 0 w 116"/>
                <a:gd name="T5" fmla="*/ 2 h 87"/>
                <a:gd name="T6" fmla="*/ 68 w 116"/>
                <a:gd name="T7" fmla="*/ 0 h 87"/>
                <a:gd name="T8" fmla="*/ 116 w 116"/>
                <a:gd name="T9" fmla="*/ 39 h 87"/>
              </a:gdLst>
              <a:ahLst/>
              <a:cxnLst>
                <a:cxn ang="0">
                  <a:pos x="T0" y="T1"/>
                </a:cxn>
                <a:cxn ang="0">
                  <a:pos x="T2" y="T3"/>
                </a:cxn>
                <a:cxn ang="0">
                  <a:pos x="T4" y="T5"/>
                </a:cxn>
                <a:cxn ang="0">
                  <a:pos x="T6" y="T7"/>
                </a:cxn>
                <a:cxn ang="0">
                  <a:pos x="T8" y="T9"/>
                </a:cxn>
              </a:cxnLst>
              <a:rect l="0" t="0" r="r" b="b"/>
              <a:pathLst>
                <a:path w="116" h="87">
                  <a:moveTo>
                    <a:pt x="58" y="87"/>
                  </a:moveTo>
                  <a:lnTo>
                    <a:pt x="22" y="68"/>
                  </a:lnTo>
                  <a:lnTo>
                    <a:pt x="0" y="2"/>
                  </a:lnTo>
                  <a:lnTo>
                    <a:pt x="68" y="0"/>
                  </a:lnTo>
                  <a:lnTo>
                    <a:pt x="116" y="39"/>
                  </a:lnTo>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1" name="Freeform 10"/>
            <p:cNvSpPr>
              <a:spLocks/>
            </p:cNvSpPr>
            <p:nvPr/>
          </p:nvSpPr>
          <p:spPr bwMode="auto">
            <a:xfrm>
              <a:off x="7704138" y="8856663"/>
              <a:ext cx="138113" cy="177800"/>
            </a:xfrm>
            <a:custGeom>
              <a:avLst/>
              <a:gdLst>
                <a:gd name="T0" fmla="*/ 87 w 87"/>
                <a:gd name="T1" fmla="*/ 15 h 112"/>
                <a:gd name="T2" fmla="*/ 22 w 87"/>
                <a:gd name="T3" fmla="*/ 112 h 112"/>
                <a:gd name="T4" fmla="*/ 0 w 87"/>
                <a:gd name="T5" fmla="*/ 97 h 112"/>
                <a:gd name="T6" fmla="*/ 65 w 87"/>
                <a:gd name="T7" fmla="*/ 0 h 112"/>
                <a:gd name="T8" fmla="*/ 87 w 87"/>
                <a:gd name="T9" fmla="*/ 15 h 112"/>
              </a:gdLst>
              <a:ahLst/>
              <a:cxnLst>
                <a:cxn ang="0">
                  <a:pos x="T0" y="T1"/>
                </a:cxn>
                <a:cxn ang="0">
                  <a:pos x="T2" y="T3"/>
                </a:cxn>
                <a:cxn ang="0">
                  <a:pos x="T4" y="T5"/>
                </a:cxn>
                <a:cxn ang="0">
                  <a:pos x="T6" y="T7"/>
                </a:cxn>
                <a:cxn ang="0">
                  <a:pos x="T8" y="T9"/>
                </a:cxn>
              </a:cxnLst>
              <a:rect l="0" t="0" r="r" b="b"/>
              <a:pathLst>
                <a:path w="87" h="112">
                  <a:moveTo>
                    <a:pt x="87" y="15"/>
                  </a:moveTo>
                  <a:lnTo>
                    <a:pt x="22" y="112"/>
                  </a:lnTo>
                  <a:lnTo>
                    <a:pt x="0" y="97"/>
                  </a:lnTo>
                  <a:lnTo>
                    <a:pt x="65" y="0"/>
                  </a:lnTo>
                  <a:lnTo>
                    <a:pt x="87" y="15"/>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2" name="Freeform 11"/>
            <p:cNvSpPr>
              <a:spLocks/>
            </p:cNvSpPr>
            <p:nvPr/>
          </p:nvSpPr>
          <p:spPr bwMode="auto">
            <a:xfrm>
              <a:off x="7773988" y="8929688"/>
              <a:ext cx="106363" cy="101600"/>
            </a:xfrm>
            <a:custGeom>
              <a:avLst/>
              <a:gdLst>
                <a:gd name="T0" fmla="*/ 67 w 67"/>
                <a:gd name="T1" fmla="*/ 29 h 64"/>
                <a:gd name="T2" fmla="*/ 43 w 67"/>
                <a:gd name="T3" fmla="*/ 64 h 64"/>
                <a:gd name="T4" fmla="*/ 0 w 67"/>
                <a:gd name="T5" fmla="*/ 34 h 64"/>
                <a:gd name="T6" fmla="*/ 21 w 67"/>
                <a:gd name="T7" fmla="*/ 0 h 64"/>
                <a:gd name="T8" fmla="*/ 67 w 67"/>
                <a:gd name="T9" fmla="*/ 29 h 64"/>
              </a:gdLst>
              <a:ahLst/>
              <a:cxnLst>
                <a:cxn ang="0">
                  <a:pos x="T0" y="T1"/>
                </a:cxn>
                <a:cxn ang="0">
                  <a:pos x="T2" y="T3"/>
                </a:cxn>
                <a:cxn ang="0">
                  <a:pos x="T4" y="T5"/>
                </a:cxn>
                <a:cxn ang="0">
                  <a:pos x="T6" y="T7"/>
                </a:cxn>
                <a:cxn ang="0">
                  <a:pos x="T8" y="T9"/>
                </a:cxn>
              </a:cxnLst>
              <a:rect l="0" t="0" r="r" b="b"/>
              <a:pathLst>
                <a:path w="67" h="64">
                  <a:moveTo>
                    <a:pt x="67" y="29"/>
                  </a:moveTo>
                  <a:lnTo>
                    <a:pt x="43" y="64"/>
                  </a:lnTo>
                  <a:lnTo>
                    <a:pt x="0" y="34"/>
                  </a:lnTo>
                  <a:lnTo>
                    <a:pt x="21" y="0"/>
                  </a:lnTo>
                  <a:lnTo>
                    <a:pt x="67" y="29"/>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412591089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a:t>Your World …</a:t>
            </a:r>
          </a:p>
        </p:txBody>
      </p:sp>
      <p:sp>
        <p:nvSpPr>
          <p:cNvPr id="13" name="Rectangle 12"/>
          <p:cNvSpPr/>
          <p:nvPr/>
        </p:nvSpPr>
        <p:spPr>
          <a:xfrm>
            <a:off x="5588958" y="1608897"/>
            <a:ext cx="2069775" cy="1976922"/>
          </a:xfrm>
          <a:prstGeom prst="rect">
            <a:avLst/>
          </a:prstGeom>
        </p:spPr>
        <p:txBody>
          <a:bodyPr wrap="square" anchor="ctr">
            <a:noAutofit/>
          </a:bodyPr>
          <a:lstStyle/>
          <a:p>
            <a:pPr algn="ctr" defTabSz="914367"/>
            <a:r>
              <a:rPr lang="en-US" sz="4313" spc="-100" dirty="0">
                <a:ln w="3175">
                  <a:noFill/>
                </a:ln>
                <a:gradFill>
                  <a:gsLst>
                    <a:gs pos="1250">
                      <a:srgbClr val="FFFFFF"/>
                    </a:gs>
                    <a:gs pos="100000">
                      <a:srgbClr val="FFFFFF"/>
                    </a:gs>
                  </a:gsLst>
                  <a:lin ang="5400000" scaled="0"/>
                </a:gradFill>
                <a:latin typeface="Segoe UI Light"/>
                <a:cs typeface="Segoe UI" pitchFamily="34" charset="0"/>
              </a:rPr>
              <a:t>Cloud</a:t>
            </a:r>
          </a:p>
        </p:txBody>
      </p:sp>
      <p:sp>
        <p:nvSpPr>
          <p:cNvPr id="21" name="Freeform 73"/>
          <p:cNvSpPr>
            <a:spLocks noChangeAspect="1"/>
          </p:cNvSpPr>
          <p:nvPr/>
        </p:nvSpPr>
        <p:spPr bwMode="auto">
          <a:xfrm>
            <a:off x="4533268" y="2220899"/>
            <a:ext cx="1137476" cy="940405"/>
          </a:xfrm>
          <a:custGeom>
            <a:avLst/>
            <a:gdLst>
              <a:gd name="connsiteX0" fmla="*/ 731441 w 1073065"/>
              <a:gd name="connsiteY0" fmla="*/ 533748 h 887153"/>
              <a:gd name="connsiteX1" fmla="*/ 759927 w 1073065"/>
              <a:gd name="connsiteY1" fmla="*/ 562183 h 887153"/>
              <a:gd name="connsiteX2" fmla="*/ 759927 w 1073065"/>
              <a:gd name="connsiteY2" fmla="*/ 740916 h 887153"/>
              <a:gd name="connsiteX3" fmla="*/ 731441 w 1073065"/>
              <a:gd name="connsiteY3" fmla="*/ 769351 h 887153"/>
              <a:gd name="connsiteX4" fmla="*/ 702954 w 1073065"/>
              <a:gd name="connsiteY4" fmla="*/ 740916 h 887153"/>
              <a:gd name="connsiteX5" fmla="*/ 702954 w 1073065"/>
              <a:gd name="connsiteY5" fmla="*/ 562183 h 887153"/>
              <a:gd name="connsiteX6" fmla="*/ 731441 w 1073065"/>
              <a:gd name="connsiteY6" fmla="*/ 533748 h 887153"/>
              <a:gd name="connsiteX7" fmla="*/ 612569 w 1073065"/>
              <a:gd name="connsiteY7" fmla="*/ 489198 h 887153"/>
              <a:gd name="connsiteX8" fmla="*/ 640841 w 1073065"/>
              <a:gd name="connsiteY8" fmla="*/ 517610 h 887153"/>
              <a:gd name="connsiteX9" fmla="*/ 640841 w 1073065"/>
              <a:gd name="connsiteY9" fmla="*/ 785490 h 887153"/>
              <a:gd name="connsiteX10" fmla="*/ 612569 w 1073065"/>
              <a:gd name="connsiteY10" fmla="*/ 813902 h 887153"/>
              <a:gd name="connsiteX11" fmla="*/ 584296 w 1073065"/>
              <a:gd name="connsiteY11" fmla="*/ 785490 h 887153"/>
              <a:gd name="connsiteX12" fmla="*/ 584296 w 1073065"/>
              <a:gd name="connsiteY12" fmla="*/ 517610 h 887153"/>
              <a:gd name="connsiteX13" fmla="*/ 612569 w 1073065"/>
              <a:gd name="connsiteY13" fmla="*/ 489198 h 887153"/>
              <a:gd name="connsiteX14" fmla="*/ 374181 w 1073065"/>
              <a:gd name="connsiteY14" fmla="*/ 489198 h 887153"/>
              <a:gd name="connsiteX15" fmla="*/ 402667 w 1073065"/>
              <a:gd name="connsiteY15" fmla="*/ 517610 h 887153"/>
              <a:gd name="connsiteX16" fmla="*/ 402667 w 1073065"/>
              <a:gd name="connsiteY16" fmla="*/ 785490 h 887153"/>
              <a:gd name="connsiteX17" fmla="*/ 374181 w 1073065"/>
              <a:gd name="connsiteY17" fmla="*/ 813902 h 887153"/>
              <a:gd name="connsiteX18" fmla="*/ 345694 w 1073065"/>
              <a:gd name="connsiteY18" fmla="*/ 785490 h 887153"/>
              <a:gd name="connsiteX19" fmla="*/ 345694 w 1073065"/>
              <a:gd name="connsiteY19" fmla="*/ 517610 h 887153"/>
              <a:gd name="connsiteX20" fmla="*/ 374181 w 1073065"/>
              <a:gd name="connsiteY20" fmla="*/ 489198 h 887153"/>
              <a:gd name="connsiteX21" fmla="*/ 493910 w 1073065"/>
              <a:gd name="connsiteY21" fmla="*/ 415090 h 887153"/>
              <a:gd name="connsiteX22" fmla="*/ 522182 w 1073065"/>
              <a:gd name="connsiteY22" fmla="*/ 443515 h 887153"/>
              <a:gd name="connsiteX23" fmla="*/ 522182 w 1073065"/>
              <a:gd name="connsiteY23" fmla="*/ 858728 h 887153"/>
              <a:gd name="connsiteX24" fmla="*/ 493910 w 1073065"/>
              <a:gd name="connsiteY24" fmla="*/ 887153 h 887153"/>
              <a:gd name="connsiteX25" fmla="*/ 465637 w 1073065"/>
              <a:gd name="connsiteY25" fmla="*/ 858728 h 887153"/>
              <a:gd name="connsiteX26" fmla="*/ 465637 w 1073065"/>
              <a:gd name="connsiteY26" fmla="*/ 443515 h 887153"/>
              <a:gd name="connsiteX27" fmla="*/ 493910 w 1073065"/>
              <a:gd name="connsiteY27" fmla="*/ 415090 h 887153"/>
              <a:gd name="connsiteX28" fmla="*/ 702868 w 1073065"/>
              <a:gd name="connsiteY28" fmla="*/ 0 h 887153"/>
              <a:gd name="connsiteX29" fmla="*/ 855004 w 1073065"/>
              <a:gd name="connsiteY29" fmla="*/ 65987 h 887153"/>
              <a:gd name="connsiteX30" fmla="*/ 915858 w 1073065"/>
              <a:gd name="connsiteY30" fmla="*/ 219278 h 887153"/>
              <a:gd name="connsiteX31" fmla="*/ 915858 w 1073065"/>
              <a:gd name="connsiteY31" fmla="*/ 235521 h 887153"/>
              <a:gd name="connsiteX32" fmla="*/ 1011197 w 1073065"/>
              <a:gd name="connsiteY32" fmla="*/ 293386 h 887153"/>
              <a:gd name="connsiteX33" fmla="*/ 1073065 w 1073065"/>
              <a:gd name="connsiteY33" fmla="*/ 446678 h 887153"/>
              <a:gd name="connsiteX34" fmla="*/ 1011197 w 1073065"/>
              <a:gd name="connsiteY34" fmla="*/ 600985 h 887153"/>
              <a:gd name="connsiteX35" fmla="*/ 855004 w 1073065"/>
              <a:gd name="connsiteY35" fmla="*/ 666971 h 887153"/>
              <a:gd name="connsiteX36" fmla="*/ 808349 w 1073065"/>
              <a:gd name="connsiteY36" fmla="*/ 666971 h 887153"/>
              <a:gd name="connsiteX37" fmla="*/ 808349 w 1073065"/>
              <a:gd name="connsiteY37" fmla="*/ 606061 h 887153"/>
              <a:gd name="connsiteX38" fmla="*/ 855004 w 1073065"/>
              <a:gd name="connsiteY38" fmla="*/ 606061 h 887153"/>
              <a:gd name="connsiteX39" fmla="*/ 1012211 w 1073065"/>
              <a:gd name="connsiteY39" fmla="*/ 446678 h 887153"/>
              <a:gd name="connsiteX40" fmla="*/ 855004 w 1073065"/>
              <a:gd name="connsiteY40" fmla="*/ 288310 h 887153"/>
              <a:gd name="connsiteX41" fmla="*/ 842833 w 1073065"/>
              <a:gd name="connsiteY41" fmla="*/ 292371 h 887153"/>
              <a:gd name="connsiteX42" fmla="*/ 855004 w 1073065"/>
              <a:gd name="connsiteY42" fmla="*/ 219278 h 887153"/>
              <a:gd name="connsiteX43" fmla="*/ 702868 w 1073065"/>
              <a:gd name="connsiteY43" fmla="*/ 60911 h 887153"/>
              <a:gd name="connsiteX44" fmla="*/ 545661 w 1073065"/>
              <a:gd name="connsiteY44" fmla="*/ 202020 h 887153"/>
              <a:gd name="connsiteX45" fmla="*/ 431052 w 1073065"/>
              <a:gd name="connsiteY45" fmla="*/ 151261 h 887153"/>
              <a:gd name="connsiteX46" fmla="*/ 273845 w 1073065"/>
              <a:gd name="connsiteY46" fmla="*/ 301507 h 887153"/>
              <a:gd name="connsiteX47" fmla="*/ 218062 w 1073065"/>
              <a:gd name="connsiteY47" fmla="*/ 288310 h 887153"/>
              <a:gd name="connsiteX48" fmla="*/ 60855 w 1073065"/>
              <a:gd name="connsiteY48" fmla="*/ 446678 h 887153"/>
              <a:gd name="connsiteX49" fmla="*/ 218062 w 1073065"/>
              <a:gd name="connsiteY49" fmla="*/ 606061 h 887153"/>
              <a:gd name="connsiteX50" fmla="*/ 293115 w 1073065"/>
              <a:gd name="connsiteY50" fmla="*/ 606061 h 887153"/>
              <a:gd name="connsiteX51" fmla="*/ 293115 w 1073065"/>
              <a:gd name="connsiteY51" fmla="*/ 666971 h 887153"/>
              <a:gd name="connsiteX52" fmla="*/ 218062 w 1073065"/>
              <a:gd name="connsiteY52" fmla="*/ 666971 h 887153"/>
              <a:gd name="connsiteX53" fmla="*/ 64912 w 1073065"/>
              <a:gd name="connsiteY53" fmla="*/ 600985 h 887153"/>
              <a:gd name="connsiteX54" fmla="*/ 0 w 1073065"/>
              <a:gd name="connsiteY54" fmla="*/ 446678 h 887153"/>
              <a:gd name="connsiteX55" fmla="*/ 64912 w 1073065"/>
              <a:gd name="connsiteY55" fmla="*/ 292371 h 887153"/>
              <a:gd name="connsiteX56" fmla="*/ 218062 w 1073065"/>
              <a:gd name="connsiteY56" fmla="*/ 227400 h 887153"/>
              <a:gd name="connsiteX57" fmla="*/ 227190 w 1073065"/>
              <a:gd name="connsiteY57" fmla="*/ 227400 h 887153"/>
              <a:gd name="connsiteX58" fmla="*/ 279930 w 1073065"/>
              <a:gd name="connsiteY58" fmla="*/ 149231 h 887153"/>
              <a:gd name="connsiteX59" fmla="*/ 431052 w 1073065"/>
              <a:gd name="connsiteY59" fmla="*/ 90351 h 887153"/>
              <a:gd name="connsiteX60" fmla="*/ 515234 w 1073065"/>
              <a:gd name="connsiteY60" fmla="*/ 106594 h 887153"/>
              <a:gd name="connsiteX61" fmla="*/ 702868 w 1073065"/>
              <a:gd name="connsiteY61" fmla="*/ 0 h 88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073065" h="887153">
                <a:moveTo>
                  <a:pt x="731441" y="533748"/>
                </a:moveTo>
                <a:cubicBezTo>
                  <a:pt x="747719" y="533748"/>
                  <a:pt x="759927" y="545934"/>
                  <a:pt x="759927" y="562183"/>
                </a:cubicBezTo>
                <a:cubicBezTo>
                  <a:pt x="759927" y="562183"/>
                  <a:pt x="759927" y="562183"/>
                  <a:pt x="759927" y="740916"/>
                </a:cubicBezTo>
                <a:cubicBezTo>
                  <a:pt x="759927" y="756149"/>
                  <a:pt x="747719" y="769351"/>
                  <a:pt x="731441" y="769351"/>
                </a:cubicBezTo>
                <a:cubicBezTo>
                  <a:pt x="716180" y="769351"/>
                  <a:pt x="702954" y="756149"/>
                  <a:pt x="702954" y="740916"/>
                </a:cubicBezTo>
                <a:cubicBezTo>
                  <a:pt x="702954" y="740916"/>
                  <a:pt x="702954" y="740916"/>
                  <a:pt x="702954" y="562183"/>
                </a:cubicBezTo>
                <a:cubicBezTo>
                  <a:pt x="702954" y="545934"/>
                  <a:pt x="716180" y="533748"/>
                  <a:pt x="731441" y="533748"/>
                </a:cubicBezTo>
                <a:close/>
                <a:moveTo>
                  <a:pt x="612569" y="489198"/>
                </a:moveTo>
                <a:cubicBezTo>
                  <a:pt x="627715" y="489198"/>
                  <a:pt x="640841" y="501374"/>
                  <a:pt x="640841" y="517610"/>
                </a:cubicBezTo>
                <a:cubicBezTo>
                  <a:pt x="640841" y="517610"/>
                  <a:pt x="640841" y="517610"/>
                  <a:pt x="640841" y="785490"/>
                </a:cubicBezTo>
                <a:cubicBezTo>
                  <a:pt x="640841" y="800711"/>
                  <a:pt x="627715" y="813902"/>
                  <a:pt x="612569" y="813902"/>
                </a:cubicBezTo>
                <a:cubicBezTo>
                  <a:pt x="597423" y="813902"/>
                  <a:pt x="584296" y="800711"/>
                  <a:pt x="584296" y="785490"/>
                </a:cubicBezTo>
                <a:cubicBezTo>
                  <a:pt x="584296" y="785490"/>
                  <a:pt x="584296" y="785490"/>
                  <a:pt x="584296" y="517610"/>
                </a:cubicBezTo>
                <a:cubicBezTo>
                  <a:pt x="584296" y="501374"/>
                  <a:pt x="597423" y="489198"/>
                  <a:pt x="612569" y="489198"/>
                </a:cubicBezTo>
                <a:close/>
                <a:moveTo>
                  <a:pt x="374181" y="489198"/>
                </a:moveTo>
                <a:cubicBezTo>
                  <a:pt x="390459" y="489198"/>
                  <a:pt x="402667" y="501374"/>
                  <a:pt x="402667" y="517610"/>
                </a:cubicBezTo>
                <a:cubicBezTo>
                  <a:pt x="402667" y="517610"/>
                  <a:pt x="402667" y="517610"/>
                  <a:pt x="402667" y="785490"/>
                </a:cubicBezTo>
                <a:cubicBezTo>
                  <a:pt x="402667" y="800711"/>
                  <a:pt x="390459" y="813902"/>
                  <a:pt x="374181" y="813902"/>
                </a:cubicBezTo>
                <a:cubicBezTo>
                  <a:pt x="358920" y="813902"/>
                  <a:pt x="345694" y="800711"/>
                  <a:pt x="345694" y="785490"/>
                </a:cubicBezTo>
                <a:cubicBezTo>
                  <a:pt x="345694" y="785490"/>
                  <a:pt x="345694" y="785490"/>
                  <a:pt x="345694" y="517610"/>
                </a:cubicBezTo>
                <a:cubicBezTo>
                  <a:pt x="345694" y="501374"/>
                  <a:pt x="358920" y="489198"/>
                  <a:pt x="374181" y="489198"/>
                </a:cubicBezTo>
                <a:close/>
                <a:moveTo>
                  <a:pt x="493910" y="415090"/>
                </a:moveTo>
                <a:cubicBezTo>
                  <a:pt x="509056" y="415090"/>
                  <a:pt x="522182" y="428288"/>
                  <a:pt x="522182" y="443515"/>
                </a:cubicBezTo>
                <a:cubicBezTo>
                  <a:pt x="522182" y="443515"/>
                  <a:pt x="522182" y="443515"/>
                  <a:pt x="522182" y="858728"/>
                </a:cubicBezTo>
                <a:cubicBezTo>
                  <a:pt x="522182" y="873956"/>
                  <a:pt x="509056" y="887153"/>
                  <a:pt x="493910" y="887153"/>
                </a:cubicBezTo>
                <a:cubicBezTo>
                  <a:pt x="477754" y="887153"/>
                  <a:pt x="465637" y="873956"/>
                  <a:pt x="465637" y="858728"/>
                </a:cubicBezTo>
                <a:cubicBezTo>
                  <a:pt x="465637" y="858728"/>
                  <a:pt x="465637" y="858728"/>
                  <a:pt x="465637" y="443515"/>
                </a:cubicBezTo>
                <a:cubicBezTo>
                  <a:pt x="465637" y="428288"/>
                  <a:pt x="477754" y="415090"/>
                  <a:pt x="493910" y="415090"/>
                </a:cubicBezTo>
                <a:close/>
                <a:moveTo>
                  <a:pt x="702868" y="0"/>
                </a:moveTo>
                <a:cubicBezTo>
                  <a:pt x="759665" y="0"/>
                  <a:pt x="814434" y="23349"/>
                  <a:pt x="855004" y="65987"/>
                </a:cubicBezTo>
                <a:cubicBezTo>
                  <a:pt x="894559" y="107609"/>
                  <a:pt x="915858" y="162428"/>
                  <a:pt x="915858" y="219278"/>
                </a:cubicBezTo>
                <a:cubicBezTo>
                  <a:pt x="915858" y="225369"/>
                  <a:pt x="915858" y="230445"/>
                  <a:pt x="915858" y="235521"/>
                </a:cubicBezTo>
                <a:cubicBezTo>
                  <a:pt x="951357" y="245673"/>
                  <a:pt x="983812" y="264961"/>
                  <a:pt x="1011197" y="293386"/>
                </a:cubicBezTo>
                <a:cubicBezTo>
                  <a:pt x="1050752" y="333993"/>
                  <a:pt x="1073065" y="388813"/>
                  <a:pt x="1073065" y="446678"/>
                </a:cubicBezTo>
                <a:cubicBezTo>
                  <a:pt x="1073065" y="504543"/>
                  <a:pt x="1050752" y="559362"/>
                  <a:pt x="1011197" y="600985"/>
                </a:cubicBezTo>
                <a:cubicBezTo>
                  <a:pt x="969613" y="643622"/>
                  <a:pt x="914844" y="666971"/>
                  <a:pt x="855004" y="666971"/>
                </a:cubicBezTo>
                <a:cubicBezTo>
                  <a:pt x="855004" y="666971"/>
                  <a:pt x="855004" y="666971"/>
                  <a:pt x="808349" y="666971"/>
                </a:cubicBezTo>
                <a:cubicBezTo>
                  <a:pt x="808349" y="666971"/>
                  <a:pt x="808349" y="666971"/>
                  <a:pt x="808349" y="606061"/>
                </a:cubicBezTo>
                <a:cubicBezTo>
                  <a:pt x="855004" y="606061"/>
                  <a:pt x="855004" y="606061"/>
                  <a:pt x="855004" y="606061"/>
                </a:cubicBezTo>
                <a:cubicBezTo>
                  <a:pt x="944257" y="606061"/>
                  <a:pt x="1012211" y="532968"/>
                  <a:pt x="1012211" y="446678"/>
                </a:cubicBezTo>
                <a:cubicBezTo>
                  <a:pt x="1012211" y="361403"/>
                  <a:pt x="944257" y="288310"/>
                  <a:pt x="855004" y="288310"/>
                </a:cubicBezTo>
                <a:cubicBezTo>
                  <a:pt x="850947" y="288310"/>
                  <a:pt x="846890" y="288310"/>
                  <a:pt x="842833" y="292371"/>
                </a:cubicBezTo>
                <a:cubicBezTo>
                  <a:pt x="850947" y="271052"/>
                  <a:pt x="855004" y="245673"/>
                  <a:pt x="855004" y="219278"/>
                </a:cubicBezTo>
                <a:cubicBezTo>
                  <a:pt x="855004" y="134003"/>
                  <a:pt x="787050" y="60911"/>
                  <a:pt x="702868" y="60911"/>
                </a:cubicBezTo>
                <a:cubicBezTo>
                  <a:pt x="621729" y="60911"/>
                  <a:pt x="553775" y="124867"/>
                  <a:pt x="545661" y="202020"/>
                </a:cubicBezTo>
                <a:cubicBezTo>
                  <a:pt x="515234" y="168519"/>
                  <a:pt x="477707" y="151261"/>
                  <a:pt x="431052" y="151261"/>
                </a:cubicBezTo>
                <a:cubicBezTo>
                  <a:pt x="345856" y="151261"/>
                  <a:pt x="277902" y="215217"/>
                  <a:pt x="273845" y="301507"/>
                </a:cubicBezTo>
                <a:cubicBezTo>
                  <a:pt x="256603" y="292371"/>
                  <a:pt x="239361" y="288310"/>
                  <a:pt x="218062" y="288310"/>
                </a:cubicBezTo>
                <a:cubicBezTo>
                  <a:pt x="132866" y="288310"/>
                  <a:pt x="60855" y="361403"/>
                  <a:pt x="60855" y="446678"/>
                </a:cubicBezTo>
                <a:cubicBezTo>
                  <a:pt x="60855" y="532968"/>
                  <a:pt x="132866" y="606061"/>
                  <a:pt x="218062" y="606061"/>
                </a:cubicBezTo>
                <a:cubicBezTo>
                  <a:pt x="244432" y="606061"/>
                  <a:pt x="268774" y="606061"/>
                  <a:pt x="293115" y="606061"/>
                </a:cubicBezTo>
                <a:cubicBezTo>
                  <a:pt x="293115" y="606061"/>
                  <a:pt x="293115" y="606061"/>
                  <a:pt x="293115" y="666971"/>
                </a:cubicBezTo>
                <a:cubicBezTo>
                  <a:pt x="293115" y="666971"/>
                  <a:pt x="293115" y="666971"/>
                  <a:pt x="218062" y="666971"/>
                </a:cubicBezTo>
                <a:cubicBezTo>
                  <a:pt x="161264" y="666971"/>
                  <a:pt x="106495" y="643622"/>
                  <a:pt x="64912" y="600985"/>
                </a:cubicBezTo>
                <a:cubicBezTo>
                  <a:pt x="23328" y="559362"/>
                  <a:pt x="0" y="504543"/>
                  <a:pt x="0" y="446678"/>
                </a:cubicBezTo>
                <a:cubicBezTo>
                  <a:pt x="0" y="388813"/>
                  <a:pt x="23328" y="333993"/>
                  <a:pt x="64912" y="292371"/>
                </a:cubicBezTo>
                <a:cubicBezTo>
                  <a:pt x="106495" y="250749"/>
                  <a:pt x="161264" y="227400"/>
                  <a:pt x="218062" y="227400"/>
                </a:cubicBezTo>
                <a:cubicBezTo>
                  <a:pt x="221104" y="227400"/>
                  <a:pt x="224147" y="227400"/>
                  <a:pt x="227190" y="227400"/>
                </a:cubicBezTo>
                <a:cubicBezTo>
                  <a:pt x="239361" y="197959"/>
                  <a:pt x="256603" y="171565"/>
                  <a:pt x="279930" y="149231"/>
                </a:cubicBezTo>
                <a:cubicBezTo>
                  <a:pt x="320500" y="111669"/>
                  <a:pt x="373240" y="90351"/>
                  <a:pt x="431052" y="90351"/>
                </a:cubicBezTo>
                <a:cubicBezTo>
                  <a:pt x="460465" y="90351"/>
                  <a:pt x="489878" y="95427"/>
                  <a:pt x="515234" y="106594"/>
                </a:cubicBezTo>
                <a:cubicBezTo>
                  <a:pt x="554789" y="42637"/>
                  <a:pt x="624772" y="0"/>
                  <a:pt x="702868" y="0"/>
                </a:cubicBezTo>
                <a:close/>
              </a:path>
            </a:pathLst>
          </a:custGeom>
          <a:solidFill>
            <a:schemeClr val="tx1"/>
          </a:solidFill>
          <a:ln>
            <a:noFill/>
          </a:ln>
          <a:extLst/>
        </p:spPr>
        <p:txBody>
          <a:bodyPr vert="horz" wrap="square" lIns="87857" tIns="43929" rIns="87857" bIns="43929" numCol="1" anchor="t" anchorCtr="0" compatLnSpc="1">
            <a:prstTxWarp prst="textNoShape">
              <a:avLst/>
            </a:prstTxWarp>
            <a:noAutofit/>
          </a:bodyPr>
          <a:lstStyle/>
          <a:p>
            <a:pPr defTabSz="914367"/>
            <a:endParaRPr lang="en-US" sz="1729">
              <a:solidFill>
                <a:srgbClr val="FFFFFF"/>
              </a:solidFill>
              <a:latin typeface="Segoe UI"/>
            </a:endParaRPr>
          </a:p>
        </p:txBody>
      </p:sp>
      <p:sp>
        <p:nvSpPr>
          <p:cNvPr id="14" name="Rectangle 13"/>
          <p:cNvSpPr/>
          <p:nvPr/>
        </p:nvSpPr>
        <p:spPr>
          <a:xfrm>
            <a:off x="5004494" y="4473130"/>
            <a:ext cx="3118654" cy="1976922"/>
          </a:xfrm>
          <a:prstGeom prst="rect">
            <a:avLst/>
          </a:prstGeom>
        </p:spPr>
        <p:txBody>
          <a:bodyPr wrap="square" anchor="ctr">
            <a:noAutofit/>
          </a:bodyPr>
          <a:lstStyle/>
          <a:p>
            <a:pPr algn="ctr" defTabSz="914367"/>
            <a:r>
              <a:rPr lang="en-US" sz="4313" spc="-100">
                <a:ln w="3175">
                  <a:noFill/>
                </a:ln>
                <a:gradFill>
                  <a:gsLst>
                    <a:gs pos="1250">
                      <a:srgbClr val="FFFFFF"/>
                    </a:gs>
                    <a:gs pos="100000">
                      <a:srgbClr val="FFFFFF"/>
                    </a:gs>
                  </a:gsLst>
                  <a:lin ang="5400000" scaled="0"/>
                </a:gradFill>
                <a:latin typeface="Segoe UI Light"/>
                <a:cs typeface="Segoe UI" pitchFamily="34" charset="0"/>
              </a:rPr>
              <a:t>On-Premises</a:t>
            </a:r>
          </a:p>
        </p:txBody>
      </p:sp>
      <p:sp>
        <p:nvSpPr>
          <p:cNvPr id="22" name="Freeform 58"/>
          <p:cNvSpPr/>
          <p:nvPr/>
        </p:nvSpPr>
        <p:spPr bwMode="auto">
          <a:xfrm>
            <a:off x="4068852" y="4810282"/>
            <a:ext cx="773503" cy="1404196"/>
          </a:xfrm>
          <a:custGeom>
            <a:avLst/>
            <a:gdLst/>
            <a:ahLst/>
            <a:cxnLst/>
            <a:rect l="l" t="t" r="r" b="b"/>
            <a:pathLst>
              <a:path w="2021693" h="3693642">
                <a:moveTo>
                  <a:pt x="93735" y="2232665"/>
                </a:moveTo>
                <a:lnTo>
                  <a:pt x="93735" y="3406187"/>
                </a:lnTo>
                <a:lnTo>
                  <a:pt x="1217425" y="3603020"/>
                </a:lnTo>
                <a:lnTo>
                  <a:pt x="1217425" y="2294954"/>
                </a:lnTo>
                <a:close/>
                <a:moveTo>
                  <a:pt x="96227" y="1906272"/>
                </a:moveTo>
                <a:lnTo>
                  <a:pt x="96227" y="2150444"/>
                </a:lnTo>
                <a:lnTo>
                  <a:pt x="1224900" y="2195292"/>
                </a:lnTo>
                <a:lnTo>
                  <a:pt x="1224900" y="1938662"/>
                </a:lnTo>
                <a:close/>
                <a:moveTo>
                  <a:pt x="1229883" y="1574895"/>
                </a:moveTo>
                <a:lnTo>
                  <a:pt x="96227" y="1582370"/>
                </a:lnTo>
                <a:lnTo>
                  <a:pt x="96227" y="1824051"/>
                </a:lnTo>
                <a:lnTo>
                  <a:pt x="1229883" y="1839000"/>
                </a:lnTo>
                <a:close/>
                <a:moveTo>
                  <a:pt x="1232375" y="1211129"/>
                </a:moveTo>
                <a:lnTo>
                  <a:pt x="98718" y="1255977"/>
                </a:lnTo>
                <a:lnTo>
                  <a:pt x="98718" y="1495166"/>
                </a:lnTo>
                <a:lnTo>
                  <a:pt x="1232375" y="1475233"/>
                </a:lnTo>
                <a:close/>
                <a:moveTo>
                  <a:pt x="1237358" y="847362"/>
                </a:moveTo>
                <a:lnTo>
                  <a:pt x="101210" y="937058"/>
                </a:lnTo>
                <a:lnTo>
                  <a:pt x="101210" y="1178738"/>
                </a:lnTo>
                <a:lnTo>
                  <a:pt x="1229883" y="1116450"/>
                </a:lnTo>
                <a:close/>
                <a:moveTo>
                  <a:pt x="1232375" y="491070"/>
                </a:moveTo>
                <a:lnTo>
                  <a:pt x="98718" y="608173"/>
                </a:lnTo>
                <a:lnTo>
                  <a:pt x="98718" y="857328"/>
                </a:lnTo>
                <a:lnTo>
                  <a:pt x="1234866" y="755174"/>
                </a:lnTo>
                <a:cubicBezTo>
                  <a:pt x="1234036" y="667139"/>
                  <a:pt x="1233205" y="579105"/>
                  <a:pt x="1232375" y="491070"/>
                </a:cubicBezTo>
                <a:close/>
                <a:moveTo>
                  <a:pt x="1234866" y="122320"/>
                </a:moveTo>
                <a:lnTo>
                  <a:pt x="103701" y="284271"/>
                </a:lnTo>
                <a:lnTo>
                  <a:pt x="108684" y="525951"/>
                </a:lnTo>
                <a:lnTo>
                  <a:pt x="1234866" y="386424"/>
                </a:lnTo>
                <a:close/>
                <a:moveTo>
                  <a:pt x="1364857" y="0"/>
                </a:moveTo>
                <a:lnTo>
                  <a:pt x="2021693" y="255913"/>
                </a:lnTo>
                <a:lnTo>
                  <a:pt x="2021693" y="3395082"/>
                </a:lnTo>
                <a:lnTo>
                  <a:pt x="1339265" y="3693642"/>
                </a:lnTo>
                <a:lnTo>
                  <a:pt x="0" y="3463325"/>
                </a:lnTo>
                <a:cubicBezTo>
                  <a:pt x="5685" y="2371440"/>
                  <a:pt x="11374" y="1279555"/>
                  <a:pt x="17059" y="18767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Rectangle: Rounded Corners 13"/>
          <p:cNvSpPr/>
          <p:nvPr/>
        </p:nvSpPr>
        <p:spPr bwMode="auto">
          <a:xfrm>
            <a:off x="269241" y="1368881"/>
            <a:ext cx="11655840" cy="5368187"/>
          </a:xfrm>
          <a:prstGeom prst="roundRect">
            <a:avLst>
              <a:gd name="adj" fmla="val 2487"/>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4705">
              <a:gradFill>
                <a:gsLst>
                  <a:gs pos="0">
                    <a:srgbClr val="FFFFFF"/>
                  </a:gs>
                  <a:gs pos="100000">
                    <a:srgbClr val="FFFFFF"/>
                  </a:gs>
                </a:gsLst>
                <a:lin ang="5400000" scaled="0"/>
              </a:gra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7712295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Freeform: Shape 131">
            <a:extLst>
              <a:ext uri="{FF2B5EF4-FFF2-40B4-BE49-F238E27FC236}">
                <a16:creationId xmlns:a16="http://schemas.microsoft.com/office/drawing/2014/main" id="{4272E02C-4496-4422-8E14-D42610DB1778}"/>
              </a:ext>
            </a:extLst>
          </p:cNvPr>
          <p:cNvSpPr/>
          <p:nvPr/>
        </p:nvSpPr>
        <p:spPr bwMode="auto">
          <a:xfrm>
            <a:off x="7474346" y="3375357"/>
            <a:ext cx="0" cy="1494578"/>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cap="rnd" cmpd="sng" algn="ctr">
            <a:solidFill>
              <a:schemeClr val="tx1"/>
            </a:solidFill>
            <a:prstDash val="solid"/>
            <a:round/>
            <a:headEnd type="arrow" w="lg" len="sm"/>
            <a:tailEnd type="arrow" w="lg" len="sm"/>
          </a:ln>
          <a:effectLst/>
        </p:spPr>
        <p:txBody>
          <a:bodyPr lIns="146284" tIns="91427" rIns="146284" bIns="91427" rtlCol="0" anchor="ctr"/>
          <a:lstStyle/>
          <a:p>
            <a:pPr algn="ctr" defTabSz="1242574">
              <a:lnSpc>
                <a:spcPct val="90000"/>
              </a:lnSpc>
            </a:pPr>
            <a:endParaRPr lang="en-US" sz="2000" kern="0">
              <a:solidFill>
                <a:prstClr val="black"/>
              </a:solidFill>
              <a:latin typeface="Calibri"/>
              <a:cs typeface="Segoe UI" pitchFamily="34" charset="0"/>
            </a:endParaRPr>
          </a:p>
        </p:txBody>
      </p:sp>
      <p:sp>
        <p:nvSpPr>
          <p:cNvPr id="133" name="Freeform: Shape 132">
            <a:extLst>
              <a:ext uri="{FF2B5EF4-FFF2-40B4-BE49-F238E27FC236}">
                <a16:creationId xmlns:a16="http://schemas.microsoft.com/office/drawing/2014/main" id="{FA4780C1-DB04-4534-9159-364CFA2D7C99}"/>
              </a:ext>
            </a:extLst>
          </p:cNvPr>
          <p:cNvSpPr/>
          <p:nvPr/>
        </p:nvSpPr>
        <p:spPr bwMode="auto">
          <a:xfrm>
            <a:off x="4717653" y="3375357"/>
            <a:ext cx="0" cy="1494578"/>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cap="rnd" cmpd="sng" algn="ctr">
            <a:solidFill>
              <a:schemeClr val="tx1"/>
            </a:solidFill>
            <a:prstDash val="solid"/>
            <a:round/>
            <a:headEnd type="arrow" w="lg" len="sm"/>
            <a:tailEnd type="arrow" w="lg" len="sm"/>
          </a:ln>
          <a:effectLst/>
        </p:spPr>
        <p:txBody>
          <a:bodyPr lIns="146284" tIns="91427" rIns="146284" bIns="91427" rtlCol="0" anchor="ctr"/>
          <a:lstStyle/>
          <a:p>
            <a:pPr algn="ctr" defTabSz="1242574">
              <a:lnSpc>
                <a:spcPct val="90000"/>
              </a:lnSpc>
            </a:pPr>
            <a:endParaRPr lang="en-US" sz="2000" kern="0">
              <a:solidFill>
                <a:prstClr val="black"/>
              </a:solidFill>
              <a:latin typeface="Calibri"/>
              <a:cs typeface="Segoe UI" pitchFamily="34" charset="0"/>
            </a:endParaRPr>
          </a:p>
        </p:txBody>
      </p:sp>
      <p:sp>
        <p:nvSpPr>
          <p:cNvPr id="135" name="Freeform: Shape 134">
            <a:extLst>
              <a:ext uri="{FF2B5EF4-FFF2-40B4-BE49-F238E27FC236}">
                <a16:creationId xmlns:a16="http://schemas.microsoft.com/office/drawing/2014/main" id="{86F7D6D7-7A07-42FD-ABCD-4F2B2741897A}"/>
              </a:ext>
            </a:extLst>
          </p:cNvPr>
          <p:cNvSpPr/>
          <p:nvPr/>
        </p:nvSpPr>
        <p:spPr bwMode="auto">
          <a:xfrm>
            <a:off x="1960958" y="3375357"/>
            <a:ext cx="0" cy="1494578"/>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cap="rnd" cmpd="sng" algn="ctr">
            <a:solidFill>
              <a:schemeClr val="tx1"/>
            </a:solidFill>
            <a:prstDash val="solid"/>
            <a:round/>
            <a:headEnd type="arrow" w="lg" len="sm"/>
            <a:tailEnd type="arrow" w="lg" len="sm"/>
          </a:ln>
          <a:effectLst/>
        </p:spPr>
        <p:txBody>
          <a:bodyPr lIns="146284" tIns="91427" rIns="146284" bIns="91427" rtlCol="0" anchor="ctr"/>
          <a:lstStyle/>
          <a:p>
            <a:pPr algn="ctr" defTabSz="1242574">
              <a:lnSpc>
                <a:spcPct val="90000"/>
              </a:lnSpc>
            </a:pPr>
            <a:endParaRPr lang="en-US" sz="2000" kern="0">
              <a:solidFill>
                <a:prstClr val="black"/>
              </a:solidFill>
              <a:latin typeface="Calibri"/>
              <a:cs typeface="Segoe UI" pitchFamily="34" charset="0"/>
            </a:endParaRPr>
          </a:p>
        </p:txBody>
      </p:sp>
      <p:sp>
        <p:nvSpPr>
          <p:cNvPr id="2" name="Title 1">
            <a:extLst>
              <a:ext uri="{FF2B5EF4-FFF2-40B4-BE49-F238E27FC236}">
                <a16:creationId xmlns:a16="http://schemas.microsoft.com/office/drawing/2014/main" id="{0040DE86-397A-49EE-A22B-20172252B5C8}"/>
              </a:ext>
            </a:extLst>
          </p:cNvPr>
          <p:cNvSpPr>
            <a:spLocks noGrp="1"/>
          </p:cNvSpPr>
          <p:nvPr>
            <p:ph type="title"/>
          </p:nvPr>
        </p:nvSpPr>
        <p:spPr>
          <a:xfrm>
            <a:off x="587522" y="457622"/>
            <a:ext cx="11016957" cy="553920"/>
          </a:xfrm>
        </p:spPr>
        <p:txBody>
          <a:bodyPr/>
          <a:lstStyle/>
          <a:p>
            <a:r>
              <a:rPr lang="en-US"/>
              <a:t>Consistent hybrid environment</a:t>
            </a:r>
          </a:p>
        </p:txBody>
      </p:sp>
      <p:sp>
        <p:nvSpPr>
          <p:cNvPr id="118" name="Freeform: Shape 117">
            <a:extLst>
              <a:ext uri="{FF2B5EF4-FFF2-40B4-BE49-F238E27FC236}">
                <a16:creationId xmlns:a16="http://schemas.microsoft.com/office/drawing/2014/main" id="{DEF9F1BF-5E58-4569-9A05-7BEBEA68CA45}"/>
              </a:ext>
            </a:extLst>
          </p:cNvPr>
          <p:cNvSpPr/>
          <p:nvPr/>
        </p:nvSpPr>
        <p:spPr bwMode="auto">
          <a:xfrm>
            <a:off x="10231042" y="3375357"/>
            <a:ext cx="0" cy="1494578"/>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cap="rnd" cmpd="sng" algn="ctr">
            <a:solidFill>
              <a:schemeClr val="tx1"/>
            </a:solidFill>
            <a:prstDash val="solid"/>
            <a:round/>
            <a:headEnd type="arrow" w="lg" len="sm"/>
            <a:tailEnd type="arrow" w="lg" len="sm"/>
          </a:ln>
          <a:effectLst/>
        </p:spPr>
        <p:txBody>
          <a:bodyPr lIns="146284" tIns="91427" rIns="146284" bIns="91427" rtlCol="0" anchor="ctr"/>
          <a:lstStyle/>
          <a:p>
            <a:pPr algn="ctr" defTabSz="1242574">
              <a:lnSpc>
                <a:spcPct val="90000"/>
              </a:lnSpc>
            </a:pPr>
            <a:endParaRPr lang="en-US" sz="2000" kern="0">
              <a:solidFill>
                <a:prstClr val="black"/>
              </a:solidFill>
              <a:latin typeface="Calibri"/>
              <a:cs typeface="Segoe UI" pitchFamily="34" charset="0"/>
            </a:endParaRPr>
          </a:p>
        </p:txBody>
      </p:sp>
      <p:grpSp>
        <p:nvGrpSpPr>
          <p:cNvPr id="19" name="Group 18">
            <a:extLst>
              <a:ext uri="{FF2B5EF4-FFF2-40B4-BE49-F238E27FC236}">
                <a16:creationId xmlns:a16="http://schemas.microsoft.com/office/drawing/2014/main" id="{F4F8F4CF-7770-4CC8-A4D8-861F536A89B0}"/>
              </a:ext>
            </a:extLst>
          </p:cNvPr>
          <p:cNvGrpSpPr/>
          <p:nvPr/>
        </p:nvGrpSpPr>
        <p:grpSpPr>
          <a:xfrm>
            <a:off x="1451108" y="2030377"/>
            <a:ext cx="9410717" cy="1011091"/>
            <a:chOff x="1450449" y="2030178"/>
            <a:chExt cx="9412052" cy="1011234"/>
          </a:xfrm>
        </p:grpSpPr>
        <p:sp>
          <p:nvSpPr>
            <p:cNvPr id="74" name="Rectangle 73">
              <a:extLst>
                <a:ext uri="{FF2B5EF4-FFF2-40B4-BE49-F238E27FC236}">
                  <a16:creationId xmlns:a16="http://schemas.microsoft.com/office/drawing/2014/main" id="{FF323383-A315-4DA9-A447-11623B81A8D4}"/>
                </a:ext>
              </a:extLst>
            </p:cNvPr>
            <p:cNvSpPr/>
            <p:nvPr/>
          </p:nvSpPr>
          <p:spPr>
            <a:xfrm>
              <a:off x="7136661" y="2030178"/>
              <a:ext cx="675762" cy="543226"/>
            </a:xfrm>
            <a:prstGeom prst="rect">
              <a:avLst/>
            </a:prstGeom>
            <a:ln>
              <a:noFill/>
            </a:ln>
          </p:spPr>
          <p:txBody>
            <a:bodyPr wrap="none" lIns="0" tIns="0" rIns="0" bIns="146284" anchor="t">
              <a:spAutoFit/>
            </a:bodyPr>
            <a:lstStyle/>
            <a:p>
              <a:pPr algn="ctr" defTabSz="913347" fontAlgn="base">
                <a:lnSpc>
                  <a:spcPct val="90000"/>
                </a:lnSpc>
                <a:spcBef>
                  <a:spcPct val="0"/>
                </a:spcBef>
                <a:spcAft>
                  <a:spcPct val="0"/>
                </a:spcAft>
                <a:defRPr/>
              </a:pPr>
              <a:r>
                <a:rPr lang="en-US" sz="1400">
                  <a:gradFill>
                    <a:gsLst>
                      <a:gs pos="0">
                        <a:srgbClr val="1A1A1A"/>
                      </a:gs>
                      <a:gs pos="100000">
                        <a:srgbClr val="1A1A1A"/>
                      </a:gs>
                    </a:gsLst>
                    <a:lin ang="5400000" scaled="0"/>
                  </a:gradFill>
                  <a:latin typeface="Segoe UI Semibold"/>
                  <a:cs typeface="Segoe UI" panose="020B0502040204020203" pitchFamily="34" charset="0"/>
                </a:rPr>
                <a:t>Azur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Services</a:t>
              </a:r>
            </a:p>
          </p:txBody>
        </p:sp>
        <p:sp>
          <p:nvSpPr>
            <p:cNvPr id="75" name="cloud">
              <a:extLst>
                <a:ext uri="{FF2B5EF4-FFF2-40B4-BE49-F238E27FC236}">
                  <a16:creationId xmlns:a16="http://schemas.microsoft.com/office/drawing/2014/main" id="{166637BA-0454-45F9-8C59-78161632E10C}"/>
                </a:ext>
              </a:extLst>
            </p:cNvPr>
            <p:cNvSpPr>
              <a:spLocks noChangeAspect="1"/>
            </p:cNvSpPr>
            <p:nvPr/>
          </p:nvSpPr>
          <p:spPr bwMode="auto">
            <a:xfrm>
              <a:off x="7162327" y="260912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86" name="Rectangle 85">
              <a:extLst>
                <a:ext uri="{FF2B5EF4-FFF2-40B4-BE49-F238E27FC236}">
                  <a16:creationId xmlns:a16="http://schemas.microsoft.com/office/drawing/2014/main" id="{E37020B6-E0D0-4EF2-94D2-3DC671D91164}"/>
                </a:ext>
              </a:extLst>
            </p:cNvPr>
            <p:cNvSpPr/>
            <p:nvPr/>
          </p:nvSpPr>
          <p:spPr>
            <a:xfrm>
              <a:off x="9600758" y="2030178"/>
              <a:ext cx="1261743" cy="535587"/>
            </a:xfrm>
            <a:prstGeom prst="rect">
              <a:avLst/>
            </a:prstGeom>
            <a:ln>
              <a:noFill/>
            </a:ln>
          </p:spPr>
          <p:txBody>
            <a:bodyPr wrap="none" lIns="0" tIns="0" rIns="0" bIns="146284" anchor="t">
              <a:spAutoFit/>
            </a:bodyPr>
            <a:lstStyle/>
            <a:p>
              <a:pPr algn="ctr" defTabSz="913347" fontAlgn="base">
                <a:lnSpc>
                  <a:spcPct val="90000"/>
                </a:lnSpc>
                <a:spcBef>
                  <a:spcPct val="0"/>
                </a:spcBef>
                <a:spcAft>
                  <a:spcPct val="0"/>
                </a:spcAft>
                <a:defRPr/>
              </a:pPr>
              <a:r>
                <a:rPr lang="en-US" sz="1400">
                  <a:gradFill>
                    <a:gsLst>
                      <a:gs pos="0">
                        <a:srgbClr val="1A1A1A"/>
                      </a:gs>
                      <a:gs pos="100000">
                        <a:srgbClr val="1A1A1A"/>
                      </a:gs>
                    </a:gsLst>
                    <a:lin ang="5400000" scaled="0"/>
                  </a:gradFill>
                  <a:latin typeface="Segoe UI Semibold"/>
                  <a:cs typeface="Segoe UI" panose="020B0502040204020203" pitchFamily="34" charset="0"/>
                </a:rPr>
                <a:t>Azure Security</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amp; Management</a:t>
              </a:r>
            </a:p>
          </p:txBody>
        </p:sp>
        <p:sp>
          <p:nvSpPr>
            <p:cNvPr id="87" name="DeveloperTools_EC7A">
              <a:extLst>
                <a:ext uri="{FF2B5EF4-FFF2-40B4-BE49-F238E27FC236}">
                  <a16:creationId xmlns:a16="http://schemas.microsoft.com/office/drawing/2014/main" id="{A9E29AA7-D102-49A5-9173-B81B19076F7A}"/>
                </a:ext>
              </a:extLst>
            </p:cNvPr>
            <p:cNvSpPr>
              <a:spLocks noChangeAspect="1" noEditPoints="1"/>
            </p:cNvSpPr>
            <p:nvPr/>
          </p:nvSpPr>
          <p:spPr bwMode="auto">
            <a:xfrm>
              <a:off x="10095406" y="2592049"/>
              <a:ext cx="272444" cy="429281"/>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98" name="Rectangle 97">
              <a:extLst>
                <a:ext uri="{FF2B5EF4-FFF2-40B4-BE49-F238E27FC236}">
                  <a16:creationId xmlns:a16="http://schemas.microsoft.com/office/drawing/2014/main" id="{C97DDBF1-1AA6-4860-8392-9447D0F0E9DF}"/>
                </a:ext>
              </a:extLst>
            </p:cNvPr>
            <p:cNvSpPr/>
            <p:nvPr/>
          </p:nvSpPr>
          <p:spPr>
            <a:xfrm>
              <a:off x="4171974" y="2030178"/>
              <a:ext cx="1090967" cy="535587"/>
            </a:xfrm>
            <a:prstGeom prst="rect">
              <a:avLst/>
            </a:prstGeom>
            <a:ln>
              <a:noFill/>
            </a:ln>
          </p:spPr>
          <p:txBody>
            <a:bodyPr wrap="none" lIns="0" tIns="0" rIns="0" bIns="146284" anchor="t">
              <a:spAutoFit/>
            </a:bodyPr>
            <a:lstStyle/>
            <a:p>
              <a:pPr algn="ctr" defTabSz="913347" fontAlgn="base">
                <a:lnSpc>
                  <a:spcPct val="90000"/>
                </a:lnSpc>
                <a:spcBef>
                  <a:spcPct val="0"/>
                </a:spcBef>
                <a:spcAft>
                  <a:spcPct val="0"/>
                </a:spcAft>
                <a:defRPr/>
              </a:pPr>
              <a:r>
                <a:rPr lang="en-US" sz="1400">
                  <a:gradFill>
                    <a:gsLst>
                      <a:gs pos="0">
                        <a:srgbClr val="1A1A1A"/>
                      </a:gs>
                      <a:gs pos="100000">
                        <a:srgbClr val="1A1A1A"/>
                      </a:gs>
                    </a:gsLst>
                    <a:lin ang="5400000" scaled="0"/>
                  </a:gradFill>
                  <a:latin typeface="Segoe UI Semibold"/>
                  <a:cs typeface="Segoe UI" panose="020B0502040204020203" pitchFamily="34" charset="0"/>
                </a:rPr>
                <a:t>Azur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Data Services</a:t>
              </a:r>
            </a:p>
          </p:txBody>
        </p:sp>
        <p:sp>
          <p:nvSpPr>
            <p:cNvPr id="99" name="binary">
              <a:extLst>
                <a:ext uri="{FF2B5EF4-FFF2-40B4-BE49-F238E27FC236}">
                  <a16:creationId xmlns:a16="http://schemas.microsoft.com/office/drawing/2014/main" id="{776834B5-BF79-46AD-8EA1-A922BBB1D70C}"/>
                </a:ext>
              </a:extLst>
            </p:cNvPr>
            <p:cNvSpPr>
              <a:spLocks noChangeAspect="1" noEditPoints="1"/>
            </p:cNvSpPr>
            <p:nvPr/>
          </p:nvSpPr>
          <p:spPr bwMode="auto">
            <a:xfrm>
              <a:off x="4478054" y="2599965"/>
              <a:ext cx="478807" cy="41344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109" name="Rectangle 108">
              <a:extLst>
                <a:ext uri="{FF2B5EF4-FFF2-40B4-BE49-F238E27FC236}">
                  <a16:creationId xmlns:a16="http://schemas.microsoft.com/office/drawing/2014/main" id="{1E4853B4-7B4F-4AA1-BEE8-B61EA643CE93}"/>
                </a:ext>
              </a:extLst>
            </p:cNvPr>
            <p:cNvSpPr/>
            <p:nvPr/>
          </p:nvSpPr>
          <p:spPr>
            <a:xfrm>
              <a:off x="1450449" y="2030178"/>
              <a:ext cx="1019848" cy="535587"/>
            </a:xfrm>
            <a:prstGeom prst="rect">
              <a:avLst/>
            </a:prstGeom>
            <a:ln>
              <a:noFill/>
            </a:ln>
          </p:spPr>
          <p:txBody>
            <a:bodyPr wrap="none" lIns="0" tIns="0" rIns="0" bIns="146284" anchor="t">
              <a:spAutoFit/>
            </a:bodyPr>
            <a:lstStyle/>
            <a:p>
              <a:pPr algn="ctr" defTabSz="913347" fontAlgn="base">
                <a:lnSpc>
                  <a:spcPct val="90000"/>
                </a:lnSpc>
                <a:spcBef>
                  <a:spcPct val="0"/>
                </a:spcBef>
                <a:spcAft>
                  <a:spcPct val="0"/>
                </a:spcAft>
                <a:defRPr/>
              </a:pPr>
              <a:r>
                <a:rPr lang="en-US" sz="1400">
                  <a:gradFill>
                    <a:gsLst>
                      <a:gs pos="0">
                        <a:srgbClr val="1A1A1A"/>
                      </a:gs>
                      <a:gs pos="100000">
                        <a:srgbClr val="1A1A1A"/>
                      </a:gs>
                    </a:gsLst>
                    <a:lin ang="5400000" scaled="0"/>
                  </a:gradFill>
                  <a:latin typeface="Segoe UI Semibold"/>
                  <a:cs typeface="Segoe UI" panose="020B0502040204020203" pitchFamily="34" charset="0"/>
                </a:rPr>
                <a:t>Azure Activ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Directory</a:t>
              </a:r>
            </a:p>
          </p:txBody>
        </p:sp>
        <p:sp>
          <p:nvSpPr>
            <p:cNvPr id="110" name="people_5">
              <a:extLst>
                <a:ext uri="{FF2B5EF4-FFF2-40B4-BE49-F238E27FC236}">
                  <a16:creationId xmlns:a16="http://schemas.microsoft.com/office/drawing/2014/main" id="{6CB885E4-D31C-49C2-976C-30A01D2D23D5}"/>
                </a:ext>
              </a:extLst>
            </p:cNvPr>
            <p:cNvSpPr>
              <a:spLocks noChangeAspect="1" noEditPoints="1"/>
            </p:cNvSpPr>
            <p:nvPr/>
          </p:nvSpPr>
          <p:spPr bwMode="auto">
            <a:xfrm>
              <a:off x="1724716" y="2571967"/>
              <a:ext cx="471313" cy="469445"/>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1A1A1A"/>
                    </a:gs>
                    <a:gs pos="100000">
                      <a:srgbClr val="1A1A1A"/>
                    </a:gs>
                  </a:gsLst>
                  <a:lin ang="5400000" scaled="0"/>
                </a:gradFill>
                <a:latin typeface="Segoe UI Semibold"/>
                <a:cs typeface="Segoe UI" pitchFamily="34" charset="0"/>
              </a:endParaRPr>
            </a:p>
          </p:txBody>
        </p:sp>
      </p:grpSp>
      <p:grpSp>
        <p:nvGrpSpPr>
          <p:cNvPr id="20" name="Group 19">
            <a:extLst>
              <a:ext uri="{FF2B5EF4-FFF2-40B4-BE49-F238E27FC236}">
                <a16:creationId xmlns:a16="http://schemas.microsoft.com/office/drawing/2014/main" id="{7C3DA30E-F694-4B2F-BBA1-F4FB431DB72D}"/>
              </a:ext>
            </a:extLst>
          </p:cNvPr>
          <p:cNvGrpSpPr/>
          <p:nvPr/>
        </p:nvGrpSpPr>
        <p:grpSpPr>
          <a:xfrm>
            <a:off x="1583582" y="5231820"/>
            <a:ext cx="9198893" cy="1033179"/>
            <a:chOff x="1582941" y="5232075"/>
            <a:chExt cx="9200199" cy="1033325"/>
          </a:xfrm>
        </p:grpSpPr>
        <p:sp>
          <p:nvSpPr>
            <p:cNvPr id="76" name="Rectangle 75">
              <a:extLst>
                <a:ext uri="{FF2B5EF4-FFF2-40B4-BE49-F238E27FC236}">
                  <a16:creationId xmlns:a16="http://schemas.microsoft.com/office/drawing/2014/main" id="{2EB079D1-8252-4FF1-83A6-B122EC306094}"/>
                </a:ext>
              </a:extLst>
            </p:cNvPr>
            <p:cNvSpPr/>
            <p:nvPr/>
          </p:nvSpPr>
          <p:spPr>
            <a:xfrm>
              <a:off x="7240471" y="5729813"/>
              <a:ext cx="468144" cy="535587"/>
            </a:xfrm>
            <a:prstGeom prst="rect">
              <a:avLst/>
            </a:prstGeom>
            <a:ln>
              <a:noFill/>
            </a:ln>
          </p:spPr>
          <p:txBody>
            <a:bodyPr wrap="none" lIns="0" tIns="146284" rIns="0" bIns="0" anchor="b" anchorCtr="0">
              <a:spAutoFit/>
            </a:bodyPr>
            <a:lstStyle/>
            <a:p>
              <a:pPr algn="ctr" defTabSz="913347" fontAlgn="base">
                <a:lnSpc>
                  <a:spcPct val="90000"/>
                </a:lnSpc>
                <a:spcBef>
                  <a:spcPct val="0"/>
                </a:spcBef>
                <a:spcAft>
                  <a:spcPct val="0"/>
                </a:spcAft>
              </a:pPr>
              <a:r>
                <a:rPr lang="en-US" sz="1400">
                  <a:gradFill>
                    <a:gsLst>
                      <a:gs pos="0">
                        <a:srgbClr val="1A1A1A"/>
                      </a:gs>
                      <a:gs pos="100000">
                        <a:srgbClr val="1A1A1A"/>
                      </a:gs>
                    </a:gsLst>
                    <a:lin ang="5400000" scaled="0"/>
                  </a:gradFill>
                  <a:latin typeface="Segoe UI Semibold"/>
                  <a:cs typeface="Segoe UI" panose="020B0502040204020203" pitchFamily="34" charset="0"/>
                </a:rPr>
                <a:t>Azur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Stack</a:t>
              </a:r>
            </a:p>
          </p:txBody>
        </p:sp>
        <p:grpSp>
          <p:nvGrpSpPr>
            <p:cNvPr id="77" name="Group 76">
              <a:extLst>
                <a:ext uri="{FF2B5EF4-FFF2-40B4-BE49-F238E27FC236}">
                  <a16:creationId xmlns:a16="http://schemas.microsoft.com/office/drawing/2014/main" id="{4F8F5AFA-1566-4FC7-9321-0FEB5DC72DC4}"/>
                </a:ext>
              </a:extLst>
            </p:cNvPr>
            <p:cNvGrpSpPr/>
            <p:nvPr/>
          </p:nvGrpSpPr>
          <p:grpSpPr>
            <a:xfrm>
              <a:off x="7238658" y="5243706"/>
              <a:ext cx="471768" cy="471768"/>
              <a:chOff x="10262067" y="5357124"/>
              <a:chExt cx="426425" cy="426425"/>
            </a:xfrm>
          </p:grpSpPr>
          <p:sp>
            <p:nvSpPr>
              <p:cNvPr id="81" name="cloud">
                <a:extLst>
                  <a:ext uri="{FF2B5EF4-FFF2-40B4-BE49-F238E27FC236}">
                    <a16:creationId xmlns:a16="http://schemas.microsoft.com/office/drawing/2014/main" id="{3588300D-8ADC-4140-A06C-2CB1A1AFBBBB}"/>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82" name="Rectangle 81">
                <a:extLst>
                  <a:ext uri="{FF2B5EF4-FFF2-40B4-BE49-F238E27FC236}">
                    <a16:creationId xmlns:a16="http://schemas.microsoft.com/office/drawing/2014/main" id="{C797D5B1-60A5-4F6E-B033-D28954009FEF}"/>
                  </a:ext>
                </a:extLst>
              </p:cNvPr>
              <p:cNvSpPr/>
              <p:nvPr/>
            </p:nvSpPr>
            <p:spPr bwMode="auto">
              <a:xfrm>
                <a:off x="10262067" y="5357124"/>
                <a:ext cx="426425" cy="426425"/>
              </a:xfrm>
              <a:prstGeom prst="rect">
                <a:avLst/>
              </a:pr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grpSp>
        <p:sp>
          <p:nvSpPr>
            <p:cNvPr id="88" name="Rectangle 87">
              <a:extLst>
                <a:ext uri="{FF2B5EF4-FFF2-40B4-BE49-F238E27FC236}">
                  <a16:creationId xmlns:a16="http://schemas.microsoft.com/office/drawing/2014/main" id="{869D0A96-E447-4E58-8AAE-6312FBDD82A7}"/>
                </a:ext>
              </a:extLst>
            </p:cNvPr>
            <p:cNvSpPr/>
            <p:nvPr/>
          </p:nvSpPr>
          <p:spPr>
            <a:xfrm>
              <a:off x="9680116" y="5729813"/>
              <a:ext cx="1103024" cy="535587"/>
            </a:xfrm>
            <a:prstGeom prst="rect">
              <a:avLst/>
            </a:prstGeom>
            <a:ln>
              <a:noFill/>
            </a:ln>
          </p:spPr>
          <p:txBody>
            <a:bodyPr wrap="none" lIns="0" tIns="146284" rIns="0" bIns="0" anchor="b" anchorCtr="0">
              <a:spAutoFit/>
            </a:bodyPr>
            <a:lstStyle/>
            <a:p>
              <a:pPr algn="ctr" defTabSz="913347" fontAlgn="base">
                <a:lnSpc>
                  <a:spcPct val="90000"/>
                </a:lnSpc>
                <a:spcBef>
                  <a:spcPct val="0"/>
                </a:spcBef>
                <a:spcAft>
                  <a:spcPct val="0"/>
                </a:spcAft>
              </a:pPr>
              <a:r>
                <a:rPr lang="en-US" sz="1400">
                  <a:gradFill>
                    <a:gsLst>
                      <a:gs pos="0">
                        <a:srgbClr val="1A1A1A"/>
                      </a:gs>
                      <a:gs pos="100000">
                        <a:srgbClr val="1A1A1A"/>
                      </a:gs>
                    </a:gsLst>
                    <a:lin ang="5400000" scaled="0"/>
                  </a:gradFill>
                  <a:latin typeface="Segoe UI Semibold"/>
                  <a:cs typeface="Segoe UI" panose="020B0502040204020203" pitchFamily="34" charset="0"/>
                </a:rPr>
                <a:t>On-premises</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Infrastructure</a:t>
              </a:r>
            </a:p>
          </p:txBody>
        </p:sp>
        <p:sp>
          <p:nvSpPr>
            <p:cNvPr id="89" name="server">
              <a:extLst>
                <a:ext uri="{FF2B5EF4-FFF2-40B4-BE49-F238E27FC236}">
                  <a16:creationId xmlns:a16="http://schemas.microsoft.com/office/drawing/2014/main" id="{590D42DA-ADBC-447A-A381-CF68923C9D06}"/>
                </a:ext>
              </a:extLst>
            </p:cNvPr>
            <p:cNvSpPr>
              <a:spLocks noChangeAspect="1" noEditPoints="1"/>
            </p:cNvSpPr>
            <p:nvPr/>
          </p:nvSpPr>
          <p:spPr bwMode="auto">
            <a:xfrm>
              <a:off x="10124293" y="5232075"/>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100" name="Rectangle 99">
              <a:extLst>
                <a:ext uri="{FF2B5EF4-FFF2-40B4-BE49-F238E27FC236}">
                  <a16:creationId xmlns:a16="http://schemas.microsoft.com/office/drawing/2014/main" id="{25003D8B-0F87-4347-91B3-FEE576A0621B}"/>
                </a:ext>
              </a:extLst>
            </p:cNvPr>
            <p:cNvSpPr/>
            <p:nvPr/>
          </p:nvSpPr>
          <p:spPr>
            <a:xfrm>
              <a:off x="4453218" y="5722174"/>
              <a:ext cx="528478" cy="543226"/>
            </a:xfrm>
            <a:prstGeom prst="rect">
              <a:avLst/>
            </a:prstGeom>
            <a:ln>
              <a:noFill/>
            </a:ln>
          </p:spPr>
          <p:txBody>
            <a:bodyPr wrap="none" lIns="0" tIns="146284" rIns="0" bIns="0" anchor="b" anchorCtr="0">
              <a:spAutoFit/>
            </a:bodyPr>
            <a:lstStyle/>
            <a:p>
              <a:pPr algn="ctr" defTabSz="913347" fontAlgn="base">
                <a:lnSpc>
                  <a:spcPct val="90000"/>
                </a:lnSpc>
                <a:spcBef>
                  <a:spcPct val="0"/>
                </a:spcBef>
                <a:spcAft>
                  <a:spcPct val="0"/>
                </a:spcAft>
              </a:pPr>
              <a:r>
                <a:rPr lang="en-US" sz="1400">
                  <a:gradFill>
                    <a:gsLst>
                      <a:gs pos="0">
                        <a:srgbClr val="1A1A1A"/>
                      </a:gs>
                      <a:gs pos="100000">
                        <a:srgbClr val="1A1A1A"/>
                      </a:gs>
                    </a:gsLst>
                    <a:lin ang="5400000" scaled="0"/>
                  </a:gradFill>
                  <a:latin typeface="Segoe UI Semibold"/>
                  <a:cs typeface="Segoe UI" panose="020B0502040204020203" pitchFamily="34" charset="0"/>
                </a:rPr>
                <a:t>SQL</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Server</a:t>
              </a:r>
            </a:p>
          </p:txBody>
        </p:sp>
        <p:sp>
          <p:nvSpPr>
            <p:cNvPr id="101" name="Database_EFC7">
              <a:extLst>
                <a:ext uri="{FF2B5EF4-FFF2-40B4-BE49-F238E27FC236}">
                  <a16:creationId xmlns:a16="http://schemas.microsoft.com/office/drawing/2014/main" id="{CBF30E5A-C936-4BC0-8F9D-F9AE3A663840}"/>
                </a:ext>
              </a:extLst>
            </p:cNvPr>
            <p:cNvSpPr>
              <a:spLocks noChangeAspect="1" noEditPoints="1"/>
            </p:cNvSpPr>
            <p:nvPr/>
          </p:nvSpPr>
          <p:spPr bwMode="auto">
            <a:xfrm>
              <a:off x="4543587" y="5263467"/>
              <a:ext cx="347740" cy="45200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111" name="Rectangle 110">
              <a:extLst>
                <a:ext uri="{FF2B5EF4-FFF2-40B4-BE49-F238E27FC236}">
                  <a16:creationId xmlns:a16="http://schemas.microsoft.com/office/drawing/2014/main" id="{7FA6E340-E2BB-4E5F-BCFB-17E9BB1291C9}"/>
                </a:ext>
              </a:extLst>
            </p:cNvPr>
            <p:cNvSpPr/>
            <p:nvPr/>
          </p:nvSpPr>
          <p:spPr>
            <a:xfrm>
              <a:off x="1582941" y="5729813"/>
              <a:ext cx="754865" cy="535587"/>
            </a:xfrm>
            <a:prstGeom prst="rect">
              <a:avLst/>
            </a:prstGeom>
            <a:ln>
              <a:noFill/>
            </a:ln>
          </p:spPr>
          <p:txBody>
            <a:bodyPr wrap="none" lIns="0" tIns="146284" rIns="0" bIns="0" anchor="b" anchorCtr="0">
              <a:spAutoFit/>
            </a:bodyPr>
            <a:lstStyle/>
            <a:p>
              <a:pPr algn="ctr" defTabSz="913347" fontAlgn="base">
                <a:lnSpc>
                  <a:spcPct val="90000"/>
                </a:lnSpc>
                <a:spcBef>
                  <a:spcPct val="0"/>
                </a:spcBef>
                <a:spcAft>
                  <a:spcPct val="0"/>
                </a:spcAft>
              </a:pPr>
              <a:r>
                <a:rPr lang="en-US" sz="1400">
                  <a:gradFill>
                    <a:gsLst>
                      <a:gs pos="0">
                        <a:srgbClr val="1A1A1A"/>
                      </a:gs>
                      <a:gs pos="100000">
                        <a:srgbClr val="1A1A1A"/>
                      </a:gs>
                    </a:gsLst>
                    <a:lin ang="5400000" scaled="0"/>
                  </a:gradFill>
                  <a:latin typeface="Segoe UI Semibold"/>
                  <a:cs typeface="Segoe UI" panose="020B0502040204020203" pitchFamily="34" charset="0"/>
                </a:rPr>
                <a:t>Activ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Directory</a:t>
              </a:r>
            </a:p>
          </p:txBody>
        </p:sp>
        <p:sp>
          <p:nvSpPr>
            <p:cNvPr id="112" name="people_5">
              <a:extLst>
                <a:ext uri="{FF2B5EF4-FFF2-40B4-BE49-F238E27FC236}">
                  <a16:creationId xmlns:a16="http://schemas.microsoft.com/office/drawing/2014/main" id="{78801495-DC27-485B-B4C6-A2399D4BB5CD}"/>
                </a:ext>
              </a:extLst>
            </p:cNvPr>
            <p:cNvSpPr>
              <a:spLocks noChangeAspect="1" noEditPoints="1"/>
            </p:cNvSpPr>
            <p:nvPr/>
          </p:nvSpPr>
          <p:spPr bwMode="auto">
            <a:xfrm>
              <a:off x="1724716" y="5246029"/>
              <a:ext cx="471313" cy="469445"/>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grpSp>
      <p:grpSp>
        <p:nvGrpSpPr>
          <p:cNvPr id="17" name="Group 16">
            <a:extLst>
              <a:ext uri="{FF2B5EF4-FFF2-40B4-BE49-F238E27FC236}">
                <a16:creationId xmlns:a16="http://schemas.microsoft.com/office/drawing/2014/main" id="{BB3C7E20-C89E-4332-BDFC-25F1846C67AC}"/>
              </a:ext>
            </a:extLst>
          </p:cNvPr>
          <p:cNvGrpSpPr/>
          <p:nvPr/>
        </p:nvGrpSpPr>
        <p:grpSpPr>
          <a:xfrm>
            <a:off x="584983" y="3683796"/>
            <a:ext cx="11022036" cy="877699"/>
            <a:chOff x="584200" y="3683832"/>
            <a:chExt cx="11023600" cy="877824"/>
          </a:xfrm>
        </p:grpSpPr>
        <p:sp>
          <p:nvSpPr>
            <p:cNvPr id="12" name="Rectangle 11">
              <a:extLst>
                <a:ext uri="{FF2B5EF4-FFF2-40B4-BE49-F238E27FC236}">
                  <a16:creationId xmlns:a16="http://schemas.microsoft.com/office/drawing/2014/main" id="{A7EECF54-502B-4FDD-8F3D-ABA295F918DE}"/>
                </a:ext>
              </a:extLst>
            </p:cNvPr>
            <p:cNvSpPr/>
            <p:nvPr/>
          </p:nvSpPr>
          <p:spPr bwMode="auto">
            <a:xfrm>
              <a:off x="584200" y="3683832"/>
              <a:ext cx="11023600" cy="877824"/>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err="1">
                <a:solidFill>
                  <a:srgbClr val="0078D4"/>
                </a:solidFill>
                <a:latin typeface="Segoe UI Semilight"/>
              </a:endParaRPr>
            </a:p>
          </p:txBody>
        </p:sp>
        <p:sp>
          <p:nvSpPr>
            <p:cNvPr id="78" name="Rectangle 77">
              <a:extLst>
                <a:ext uri="{FF2B5EF4-FFF2-40B4-BE49-F238E27FC236}">
                  <a16:creationId xmlns:a16="http://schemas.microsoft.com/office/drawing/2014/main" id="{67108311-7F1D-44F7-8FB0-A2B8A68B24B3}"/>
                </a:ext>
              </a:extLst>
            </p:cNvPr>
            <p:cNvSpPr/>
            <p:nvPr/>
          </p:nvSpPr>
          <p:spPr bwMode="auto">
            <a:xfrm>
              <a:off x="6098370" y="3873408"/>
              <a:ext cx="2752344" cy="498669"/>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347" fontAlgn="base">
                <a:lnSpc>
                  <a:spcPct val="90000"/>
                </a:lnSpc>
                <a:spcBef>
                  <a:spcPct val="0"/>
                </a:spcBef>
                <a:spcAft>
                  <a:spcPct val="0"/>
                </a:spcAft>
                <a:defRPr/>
              </a:pPr>
              <a:r>
                <a:rPr lang="en-US">
                  <a:gradFill>
                    <a:gsLst>
                      <a:gs pos="0">
                        <a:srgbClr val="1A1A1A"/>
                      </a:gs>
                      <a:gs pos="100000">
                        <a:srgbClr val="1A1A1A"/>
                      </a:gs>
                    </a:gsLst>
                    <a:lin ang="5400000" scaled="0"/>
                  </a:gradFill>
                  <a:latin typeface="Segoe UI Semibold"/>
                  <a:cs typeface="Segoe UI" panose="020B0502040204020203" pitchFamily="34" charset="0"/>
                </a:rPr>
                <a:t>Unified </a:t>
              </a:r>
              <a:br>
                <a:rPr lang="en-US">
                  <a:gradFill>
                    <a:gsLst>
                      <a:gs pos="0">
                        <a:srgbClr val="1A1A1A"/>
                      </a:gs>
                      <a:gs pos="100000">
                        <a:srgbClr val="1A1A1A"/>
                      </a:gs>
                    </a:gsLst>
                    <a:lin ang="5400000" scaled="0"/>
                  </a:gradFill>
                  <a:latin typeface="Segoe UI Semibold"/>
                  <a:cs typeface="Segoe UI" panose="020B0502040204020203" pitchFamily="34" charset="0"/>
                </a:rPr>
              </a:br>
              <a:r>
                <a:rPr lang="en-US">
                  <a:gradFill>
                    <a:gsLst>
                      <a:gs pos="0">
                        <a:srgbClr val="1A1A1A"/>
                      </a:gs>
                      <a:gs pos="100000">
                        <a:srgbClr val="1A1A1A"/>
                      </a:gs>
                    </a:gsLst>
                    <a:lin ang="5400000" scaled="0"/>
                  </a:gradFill>
                  <a:latin typeface="Segoe UI Semibold"/>
                  <a:cs typeface="Segoe UI" panose="020B0502040204020203" pitchFamily="34" charset="0"/>
                </a:rPr>
                <a:t>development</a:t>
              </a:r>
            </a:p>
          </p:txBody>
        </p:sp>
        <p:sp>
          <p:nvSpPr>
            <p:cNvPr id="92" name="Rectangle 91">
              <a:extLst>
                <a:ext uri="{FF2B5EF4-FFF2-40B4-BE49-F238E27FC236}">
                  <a16:creationId xmlns:a16="http://schemas.microsoft.com/office/drawing/2014/main" id="{CFB12B4A-7C62-4BFD-B212-23E4DBDD10DE}"/>
                </a:ext>
              </a:extLst>
            </p:cNvPr>
            <p:cNvSpPr/>
            <p:nvPr/>
          </p:nvSpPr>
          <p:spPr bwMode="auto">
            <a:xfrm>
              <a:off x="8855456" y="3873408"/>
              <a:ext cx="2752344" cy="498669"/>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347" fontAlgn="base">
                <a:lnSpc>
                  <a:spcPct val="90000"/>
                </a:lnSpc>
                <a:spcBef>
                  <a:spcPct val="0"/>
                </a:spcBef>
                <a:spcAft>
                  <a:spcPct val="0"/>
                </a:spcAft>
                <a:defRPr/>
              </a:pPr>
              <a:r>
                <a:rPr lang="en-US">
                  <a:gradFill>
                    <a:gsLst>
                      <a:gs pos="0">
                        <a:srgbClr val="1A1A1A"/>
                      </a:gs>
                      <a:gs pos="100000">
                        <a:srgbClr val="1A1A1A"/>
                      </a:gs>
                    </a:gsLst>
                    <a:lin ang="5400000" scaled="0"/>
                  </a:gradFill>
                  <a:latin typeface="Segoe UI Semibold"/>
                  <a:cs typeface="Segoe UI" panose="020B0502040204020203" pitchFamily="34" charset="0"/>
                </a:rPr>
                <a:t>Security &amp; </a:t>
              </a:r>
              <a:br>
                <a:rPr lang="en-US">
                  <a:gradFill>
                    <a:gsLst>
                      <a:gs pos="0">
                        <a:srgbClr val="1A1A1A"/>
                      </a:gs>
                      <a:gs pos="100000">
                        <a:srgbClr val="1A1A1A"/>
                      </a:gs>
                    </a:gsLst>
                    <a:lin ang="5400000" scaled="0"/>
                  </a:gradFill>
                  <a:latin typeface="Segoe UI Semibold"/>
                  <a:cs typeface="Segoe UI" panose="020B0502040204020203" pitchFamily="34" charset="0"/>
                </a:rPr>
              </a:br>
              <a:r>
                <a:rPr lang="en-US">
                  <a:gradFill>
                    <a:gsLst>
                      <a:gs pos="0">
                        <a:srgbClr val="1A1A1A"/>
                      </a:gs>
                      <a:gs pos="100000">
                        <a:srgbClr val="1A1A1A"/>
                      </a:gs>
                    </a:gsLst>
                    <a:lin ang="5400000" scaled="0"/>
                  </a:gradFill>
                  <a:latin typeface="Segoe UI Semibold"/>
                  <a:cs typeface="Segoe UI" panose="020B0502040204020203" pitchFamily="34" charset="0"/>
                </a:rPr>
                <a:t>management</a:t>
              </a:r>
            </a:p>
          </p:txBody>
        </p:sp>
        <p:sp>
          <p:nvSpPr>
            <p:cNvPr id="102" name="Rectangle 101">
              <a:extLst>
                <a:ext uri="{FF2B5EF4-FFF2-40B4-BE49-F238E27FC236}">
                  <a16:creationId xmlns:a16="http://schemas.microsoft.com/office/drawing/2014/main" id="{FF8B2593-BBD1-4F11-BB1F-7ABFB5D2369F}"/>
                </a:ext>
              </a:extLst>
            </p:cNvPr>
            <p:cNvSpPr/>
            <p:nvPr/>
          </p:nvSpPr>
          <p:spPr bwMode="auto">
            <a:xfrm>
              <a:off x="3341285" y="3873408"/>
              <a:ext cx="2752344" cy="498669"/>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347" fontAlgn="base">
                <a:lnSpc>
                  <a:spcPct val="90000"/>
                </a:lnSpc>
                <a:spcBef>
                  <a:spcPct val="0"/>
                </a:spcBef>
                <a:spcAft>
                  <a:spcPct val="0"/>
                </a:spcAft>
                <a:defRPr/>
              </a:pPr>
              <a:r>
                <a:rPr lang="en-US">
                  <a:gradFill>
                    <a:gsLst>
                      <a:gs pos="0">
                        <a:srgbClr val="1A1A1A"/>
                      </a:gs>
                      <a:gs pos="100000">
                        <a:srgbClr val="1A1A1A"/>
                      </a:gs>
                    </a:gsLst>
                    <a:lin ang="5400000" scaled="0"/>
                  </a:gradFill>
                  <a:latin typeface="Segoe UI Semibold"/>
                  <a:cs typeface="Segoe UI" panose="020B0502040204020203" pitchFamily="34" charset="0"/>
                </a:rPr>
                <a:t>Data </a:t>
              </a:r>
              <a:br>
                <a:rPr lang="en-US">
                  <a:gradFill>
                    <a:gsLst>
                      <a:gs pos="0">
                        <a:srgbClr val="1A1A1A"/>
                      </a:gs>
                      <a:gs pos="100000">
                        <a:srgbClr val="1A1A1A"/>
                      </a:gs>
                    </a:gsLst>
                    <a:lin ang="5400000" scaled="0"/>
                  </a:gradFill>
                  <a:latin typeface="Segoe UI Semibold"/>
                  <a:cs typeface="Segoe UI" panose="020B0502040204020203" pitchFamily="34" charset="0"/>
                </a:rPr>
              </a:br>
              <a:r>
                <a:rPr lang="en-US">
                  <a:gradFill>
                    <a:gsLst>
                      <a:gs pos="0">
                        <a:srgbClr val="1A1A1A"/>
                      </a:gs>
                      <a:gs pos="100000">
                        <a:srgbClr val="1A1A1A"/>
                      </a:gs>
                    </a:gsLst>
                    <a:lin ang="5400000" scaled="0"/>
                  </a:gradFill>
                  <a:latin typeface="Segoe UI Semibold"/>
                  <a:cs typeface="Segoe UI" panose="020B0502040204020203" pitchFamily="34" charset="0"/>
                </a:rPr>
                <a:t>platform</a:t>
              </a:r>
            </a:p>
          </p:txBody>
        </p:sp>
        <p:sp>
          <p:nvSpPr>
            <p:cNvPr id="113" name="Rectangle 112">
              <a:extLst>
                <a:ext uri="{FF2B5EF4-FFF2-40B4-BE49-F238E27FC236}">
                  <a16:creationId xmlns:a16="http://schemas.microsoft.com/office/drawing/2014/main" id="{145357A4-C9E7-41EF-846B-41A0057150B7}"/>
                </a:ext>
              </a:extLst>
            </p:cNvPr>
            <p:cNvSpPr/>
            <p:nvPr/>
          </p:nvSpPr>
          <p:spPr bwMode="auto">
            <a:xfrm>
              <a:off x="584200" y="3873408"/>
              <a:ext cx="2752344" cy="498669"/>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347" fontAlgn="base">
                <a:lnSpc>
                  <a:spcPct val="90000"/>
                </a:lnSpc>
                <a:spcBef>
                  <a:spcPct val="0"/>
                </a:spcBef>
                <a:spcAft>
                  <a:spcPct val="0"/>
                </a:spcAft>
                <a:defRPr/>
              </a:pPr>
              <a:r>
                <a:rPr lang="en-US">
                  <a:gradFill>
                    <a:gsLst>
                      <a:gs pos="0">
                        <a:srgbClr val="1A1A1A"/>
                      </a:gs>
                      <a:gs pos="100000">
                        <a:srgbClr val="1A1A1A"/>
                      </a:gs>
                    </a:gsLst>
                    <a:lin ang="5400000" scaled="0"/>
                  </a:gradFill>
                  <a:latin typeface="Segoe UI Semibold"/>
                  <a:cs typeface="Segoe UI" panose="020B0502040204020203" pitchFamily="34" charset="0"/>
                </a:rPr>
                <a:t>Common </a:t>
              </a:r>
              <a:br>
                <a:rPr lang="en-US">
                  <a:gradFill>
                    <a:gsLst>
                      <a:gs pos="0">
                        <a:srgbClr val="1A1A1A"/>
                      </a:gs>
                      <a:gs pos="100000">
                        <a:srgbClr val="1A1A1A"/>
                      </a:gs>
                    </a:gsLst>
                    <a:lin ang="5400000" scaled="0"/>
                  </a:gradFill>
                  <a:latin typeface="Segoe UI Semibold"/>
                  <a:cs typeface="Segoe UI" panose="020B0502040204020203" pitchFamily="34" charset="0"/>
                </a:rPr>
              </a:br>
              <a:r>
                <a:rPr lang="en-US">
                  <a:gradFill>
                    <a:gsLst>
                      <a:gs pos="0">
                        <a:srgbClr val="1A1A1A"/>
                      </a:gs>
                      <a:gs pos="100000">
                        <a:srgbClr val="1A1A1A"/>
                      </a:gs>
                    </a:gsLst>
                    <a:lin ang="5400000" scaled="0"/>
                  </a:gradFill>
                  <a:latin typeface="Segoe UI Semibold"/>
                  <a:cs typeface="Segoe UI" panose="020B0502040204020203" pitchFamily="34" charset="0"/>
                </a:rPr>
                <a:t>identity</a:t>
              </a:r>
            </a:p>
          </p:txBody>
        </p:sp>
      </p:grpSp>
    </p:spTree>
    <p:extLst>
      <p:ext uri="{BB962C8B-B14F-4D97-AF65-F5344CB8AC3E}">
        <p14:creationId xmlns:p14="http://schemas.microsoft.com/office/powerpoint/2010/main" val="701753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0 -4.44444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63" presetClass="path" presetSubtype="0" decel="100000" fill="hold" nodeType="withEffect">
                                  <p:stCondLst>
                                    <p:cond delay="100"/>
                                  </p:stCondLst>
                                  <p:childTnLst>
                                    <p:animMotion origin="layout" path="M -4.375E-6 4.44444E-6 L -0.00052 0.07106 " pathEditMode="relative" rAng="0" ptsTypes="AA">
                                      <p:cBhvr>
                                        <p:cTn id="14" dur="500" spd="-100000" fill="hold"/>
                                        <p:tgtEl>
                                          <p:spTgt spid="17"/>
                                        </p:tgtEl>
                                        <p:attrNameLst>
                                          <p:attrName>ppt_x</p:attrName>
                                          <p:attrName>ppt_y</p:attrName>
                                        </p:attrNameLst>
                                      </p:cBhvr>
                                      <p:rCtr x="-26" y="3542"/>
                                    </p:animMotion>
                                  </p:childTnLst>
                                </p:cTn>
                              </p:par>
                              <p:par>
                                <p:cTn id="15" presetID="16" presetClass="entr" presetSubtype="42" fill="hold" grpId="0" nodeType="withEffect">
                                  <p:stCondLst>
                                    <p:cond delay="500"/>
                                  </p:stCondLst>
                                  <p:childTnLst>
                                    <p:set>
                                      <p:cBhvr>
                                        <p:cTn id="16" dur="1" fill="hold">
                                          <p:stCondLst>
                                            <p:cond delay="0"/>
                                          </p:stCondLst>
                                        </p:cTn>
                                        <p:tgtEl>
                                          <p:spTgt spid="118"/>
                                        </p:tgtEl>
                                        <p:attrNameLst>
                                          <p:attrName>style.visibility</p:attrName>
                                        </p:attrNameLst>
                                      </p:cBhvr>
                                      <p:to>
                                        <p:strVal val="visible"/>
                                      </p:to>
                                    </p:set>
                                    <p:animEffect transition="in" filter="barn(outHorizontal)">
                                      <p:cBhvr>
                                        <p:cTn id="17" dur="750"/>
                                        <p:tgtEl>
                                          <p:spTgt spid="118"/>
                                        </p:tgtEl>
                                      </p:cBhvr>
                                    </p:animEffect>
                                  </p:childTnLst>
                                </p:cTn>
                              </p:par>
                              <p:par>
                                <p:cTn id="18" presetID="16" presetClass="entr" presetSubtype="42" fill="hold" grpId="0" nodeType="withEffect">
                                  <p:stCondLst>
                                    <p:cond delay="500"/>
                                  </p:stCondLst>
                                  <p:childTnLst>
                                    <p:set>
                                      <p:cBhvr>
                                        <p:cTn id="19" dur="1" fill="hold">
                                          <p:stCondLst>
                                            <p:cond delay="0"/>
                                          </p:stCondLst>
                                        </p:cTn>
                                        <p:tgtEl>
                                          <p:spTgt spid="132"/>
                                        </p:tgtEl>
                                        <p:attrNameLst>
                                          <p:attrName>style.visibility</p:attrName>
                                        </p:attrNameLst>
                                      </p:cBhvr>
                                      <p:to>
                                        <p:strVal val="visible"/>
                                      </p:to>
                                    </p:set>
                                    <p:animEffect transition="in" filter="barn(outHorizontal)">
                                      <p:cBhvr>
                                        <p:cTn id="20" dur="750"/>
                                        <p:tgtEl>
                                          <p:spTgt spid="132"/>
                                        </p:tgtEl>
                                      </p:cBhvr>
                                    </p:animEffect>
                                  </p:childTnLst>
                                </p:cTn>
                              </p:par>
                              <p:par>
                                <p:cTn id="21" presetID="16" presetClass="entr" presetSubtype="42" fill="hold" grpId="0" nodeType="withEffect">
                                  <p:stCondLst>
                                    <p:cond delay="500"/>
                                  </p:stCondLst>
                                  <p:childTnLst>
                                    <p:set>
                                      <p:cBhvr>
                                        <p:cTn id="22" dur="1" fill="hold">
                                          <p:stCondLst>
                                            <p:cond delay="0"/>
                                          </p:stCondLst>
                                        </p:cTn>
                                        <p:tgtEl>
                                          <p:spTgt spid="133"/>
                                        </p:tgtEl>
                                        <p:attrNameLst>
                                          <p:attrName>style.visibility</p:attrName>
                                        </p:attrNameLst>
                                      </p:cBhvr>
                                      <p:to>
                                        <p:strVal val="visible"/>
                                      </p:to>
                                    </p:set>
                                    <p:animEffect transition="in" filter="barn(outHorizontal)">
                                      <p:cBhvr>
                                        <p:cTn id="23" dur="750"/>
                                        <p:tgtEl>
                                          <p:spTgt spid="133"/>
                                        </p:tgtEl>
                                      </p:cBhvr>
                                    </p:animEffect>
                                  </p:childTnLst>
                                </p:cTn>
                              </p:par>
                              <p:par>
                                <p:cTn id="24" presetID="16" presetClass="entr" presetSubtype="42" fill="hold" grpId="0" nodeType="withEffect">
                                  <p:stCondLst>
                                    <p:cond delay="500"/>
                                  </p:stCondLst>
                                  <p:childTnLst>
                                    <p:set>
                                      <p:cBhvr>
                                        <p:cTn id="25" dur="1" fill="hold">
                                          <p:stCondLst>
                                            <p:cond delay="0"/>
                                          </p:stCondLst>
                                        </p:cTn>
                                        <p:tgtEl>
                                          <p:spTgt spid="135"/>
                                        </p:tgtEl>
                                        <p:attrNameLst>
                                          <p:attrName>style.visibility</p:attrName>
                                        </p:attrNameLst>
                                      </p:cBhvr>
                                      <p:to>
                                        <p:strVal val="visible"/>
                                      </p:to>
                                    </p:set>
                                    <p:animEffect transition="in" filter="barn(outHorizontal)">
                                      <p:cBhvr>
                                        <p:cTn id="26" dur="750"/>
                                        <p:tgtEl>
                                          <p:spTgt spid="135"/>
                                        </p:tgtEl>
                                      </p:cBhvr>
                                    </p:animEffect>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decel="100000" fill="hold" nodeType="withEffect">
                                  <p:stCondLst>
                                    <p:cond delay="1000"/>
                                  </p:stCondLst>
                                  <p:childTnLst>
                                    <p:animMotion origin="layout" path="M -4.375E-6 4.44444E-6 L -0.00052 0.07106 " pathEditMode="relative" rAng="0" ptsTypes="AA">
                                      <p:cBhvr>
                                        <p:cTn id="31" dur="500" spd="-100000" fill="hold"/>
                                        <p:tgtEl>
                                          <p:spTgt spid="19"/>
                                        </p:tgtEl>
                                        <p:attrNameLst>
                                          <p:attrName>ppt_x</p:attrName>
                                          <p:attrName>ppt_y</p:attrName>
                                        </p:attrNameLst>
                                      </p:cBhvr>
                                      <p:rCtr x="-26" y="3542"/>
                                    </p:animMotion>
                                  </p:childTnLst>
                                </p:cTn>
                              </p:par>
                              <p:par>
                                <p:cTn id="32" presetID="10" presetClass="entr" presetSubtype="0" fill="hold" nodeType="withEffect">
                                  <p:stCondLst>
                                    <p:cond delay="100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63" presetClass="path" presetSubtype="0" decel="100000" fill="hold" nodeType="withEffect">
                                  <p:stCondLst>
                                    <p:cond delay="1000"/>
                                  </p:stCondLst>
                                  <p:childTnLst>
                                    <p:animMotion origin="layout" path="M -1.25E-6 -4.44444E-6 L -1.25E-6 -0.05717 " pathEditMode="relative" rAng="0" ptsTypes="AA">
                                      <p:cBhvr>
                                        <p:cTn id="36" dur="500" spd="-100000" fill="hold"/>
                                        <p:tgtEl>
                                          <p:spTgt spid="20"/>
                                        </p:tgtEl>
                                        <p:attrNameLst>
                                          <p:attrName>ppt_x</p:attrName>
                                          <p:attrName>ppt_y</p:attrName>
                                        </p:attrNameLst>
                                      </p:cBhvr>
                                      <p:rCtr x="0" y="-28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5" grpId="0" animBg="1"/>
      <p:bldP spid="2" grpId="0"/>
      <p:bldP spid="2" grpId="1"/>
      <p:bldP spid="1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A7506B-BAEF-40E3-BB1D-F8641968FA42}"/>
              </a:ext>
            </a:extLst>
          </p:cNvPr>
          <p:cNvSpPr/>
          <p:nvPr/>
        </p:nvSpPr>
        <p:spPr>
          <a:xfrm>
            <a:off x="802232" y="4967461"/>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000" dirty="0">
                <a:solidFill>
                  <a:schemeClr val="tx1"/>
                </a:solidFill>
                <a:latin typeface="Segoe UI Semilight" panose="020B0402040204020203" pitchFamily="34" charset="0"/>
                <a:cs typeface="Segoe UI Semilight" panose="020B0402040204020203" pitchFamily="34" charset="0"/>
              </a:rPr>
              <a:t>Edge and disconnected solutions</a:t>
            </a:r>
          </a:p>
        </p:txBody>
      </p:sp>
      <p:sp>
        <p:nvSpPr>
          <p:cNvPr id="4" name="Rectangle 3">
            <a:extLst>
              <a:ext uri="{FF2B5EF4-FFF2-40B4-BE49-F238E27FC236}">
                <a16:creationId xmlns:a16="http://schemas.microsoft.com/office/drawing/2014/main" id="{96801FF3-AFFF-40E2-9DC1-287E4933EB4E}"/>
              </a:ext>
            </a:extLst>
          </p:cNvPr>
          <p:cNvSpPr/>
          <p:nvPr/>
        </p:nvSpPr>
        <p:spPr>
          <a:xfrm>
            <a:off x="4383713" y="4967461"/>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000" dirty="0">
                <a:solidFill>
                  <a:schemeClr val="tx1"/>
                </a:solidFill>
                <a:latin typeface="Segoe UI Semilight" panose="020B0402040204020203" pitchFamily="34" charset="0"/>
                <a:cs typeface="Segoe UI Semilight" panose="020B0402040204020203" pitchFamily="34" charset="0"/>
              </a:rPr>
              <a:t>Cloud applications to meet varied regulations</a:t>
            </a:r>
          </a:p>
        </p:txBody>
      </p:sp>
      <p:sp>
        <p:nvSpPr>
          <p:cNvPr id="5" name="Rectangle 4">
            <a:extLst>
              <a:ext uri="{FF2B5EF4-FFF2-40B4-BE49-F238E27FC236}">
                <a16:creationId xmlns:a16="http://schemas.microsoft.com/office/drawing/2014/main" id="{0EA607D7-1BAB-4D50-8948-DEB3FC6F04A1}"/>
              </a:ext>
            </a:extLst>
          </p:cNvPr>
          <p:cNvSpPr/>
          <p:nvPr/>
        </p:nvSpPr>
        <p:spPr>
          <a:xfrm>
            <a:off x="7958358" y="4967461"/>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000" dirty="0">
                <a:solidFill>
                  <a:schemeClr val="tx1"/>
                </a:solidFill>
                <a:latin typeface="Segoe UI Semilight" panose="020B0402040204020203" pitchFamily="34" charset="0"/>
                <a:cs typeface="Segoe UI Semilight" panose="020B0402040204020203" pitchFamily="34" charset="0"/>
              </a:rPr>
              <a:t>Cloud application </a:t>
            </a:r>
          </a:p>
          <a:p>
            <a:pPr algn="ctr" defTabSz="914225">
              <a:lnSpc>
                <a:spcPct val="90000"/>
              </a:lnSpc>
              <a:defRPr/>
            </a:pPr>
            <a:r>
              <a:rPr lang="en-US" sz="2000" dirty="0">
                <a:solidFill>
                  <a:schemeClr val="tx1"/>
                </a:solidFill>
                <a:latin typeface="Segoe UI Semilight" panose="020B0402040204020203" pitchFamily="34" charset="0"/>
                <a:cs typeface="Segoe UI Semilight" panose="020B0402040204020203" pitchFamily="34" charset="0"/>
              </a:rPr>
              <a:t>model on-premises</a:t>
            </a:r>
          </a:p>
        </p:txBody>
      </p:sp>
      <p:grpSp>
        <p:nvGrpSpPr>
          <p:cNvPr id="7" name="Group 6">
            <a:extLst>
              <a:ext uri="{FF2B5EF4-FFF2-40B4-BE49-F238E27FC236}">
                <a16:creationId xmlns:a16="http://schemas.microsoft.com/office/drawing/2014/main" id="{F1BF12C4-A259-468F-BB6C-1B5BF9E997B0}"/>
              </a:ext>
            </a:extLst>
          </p:cNvPr>
          <p:cNvGrpSpPr/>
          <p:nvPr/>
        </p:nvGrpSpPr>
        <p:grpSpPr>
          <a:xfrm>
            <a:off x="1407553" y="2116791"/>
            <a:ext cx="2276533" cy="2276533"/>
            <a:chOff x="1829657" y="3112807"/>
            <a:chExt cx="1578952" cy="1578952"/>
          </a:xfrm>
          <a:solidFill>
            <a:schemeClr val="accent4"/>
          </a:solidFill>
        </p:grpSpPr>
        <p:sp>
          <p:nvSpPr>
            <p:cNvPr id="8" name="Rectangle 7">
              <a:extLst>
                <a:ext uri="{FF2B5EF4-FFF2-40B4-BE49-F238E27FC236}">
                  <a16:creationId xmlns:a16="http://schemas.microsoft.com/office/drawing/2014/main" id="{9C410332-5646-42E1-9F85-05F1F3DC3777}"/>
                </a:ext>
              </a:extLst>
            </p:cNvPr>
            <p:cNvSpPr/>
            <p:nvPr/>
          </p:nvSpPr>
          <p:spPr bwMode="auto">
            <a:xfrm>
              <a:off x="1829657" y="3112807"/>
              <a:ext cx="1578952" cy="1578952"/>
            </a:xfrm>
            <a:prstGeom prst="rect">
              <a:avLst/>
            </a:prstGeom>
            <a:grp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775A461D-C6CB-448B-BAEC-74C0BFD5F7AC}"/>
                </a:ext>
              </a:extLst>
            </p:cNvPr>
            <p:cNvGrpSpPr/>
            <p:nvPr/>
          </p:nvGrpSpPr>
          <p:grpSpPr>
            <a:xfrm>
              <a:off x="2161225" y="3566083"/>
              <a:ext cx="915814" cy="672398"/>
              <a:chOff x="3255963" y="4467225"/>
              <a:chExt cx="1935162" cy="1420812"/>
            </a:xfrm>
            <a:grpFill/>
          </p:grpSpPr>
          <p:sp>
            <p:nvSpPr>
              <p:cNvPr id="10" name="Oval 5">
                <a:extLst>
                  <a:ext uri="{FF2B5EF4-FFF2-40B4-BE49-F238E27FC236}">
                    <a16:creationId xmlns:a16="http://schemas.microsoft.com/office/drawing/2014/main" id="{BD6390CB-4713-4B8A-8D82-6FE82627C00D}"/>
                  </a:ext>
                </a:extLst>
              </p:cNvPr>
              <p:cNvSpPr>
                <a:spLocks noChangeArrowheads="1"/>
              </p:cNvSpPr>
              <p:nvPr/>
            </p:nvSpPr>
            <p:spPr bwMode="auto">
              <a:xfrm>
                <a:off x="3362325" y="4573588"/>
                <a:ext cx="249238" cy="249237"/>
              </a:xfrm>
              <a:prstGeom prst="ellipse">
                <a:avLst/>
              </a:pr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1" name="Oval 6">
                <a:extLst>
                  <a:ext uri="{FF2B5EF4-FFF2-40B4-BE49-F238E27FC236}">
                    <a16:creationId xmlns:a16="http://schemas.microsoft.com/office/drawing/2014/main" id="{35E62C7F-DF9C-4294-96DE-4525D556BDF9}"/>
                  </a:ext>
                </a:extLst>
              </p:cNvPr>
              <p:cNvSpPr>
                <a:spLocks noChangeArrowheads="1"/>
              </p:cNvSpPr>
              <p:nvPr/>
            </p:nvSpPr>
            <p:spPr bwMode="auto">
              <a:xfrm>
                <a:off x="3255963" y="4467225"/>
                <a:ext cx="460375" cy="461962"/>
              </a:xfrm>
              <a:prstGeom prst="ellipse">
                <a:avLst/>
              </a:pr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2" name="Oval 7">
                <a:extLst>
                  <a:ext uri="{FF2B5EF4-FFF2-40B4-BE49-F238E27FC236}">
                    <a16:creationId xmlns:a16="http://schemas.microsoft.com/office/drawing/2014/main" id="{ABFDE077-445D-4618-A808-A6157B8013CF}"/>
                  </a:ext>
                </a:extLst>
              </p:cNvPr>
              <p:cNvSpPr>
                <a:spLocks noChangeArrowheads="1"/>
              </p:cNvSpPr>
              <p:nvPr/>
            </p:nvSpPr>
            <p:spPr bwMode="auto">
              <a:xfrm>
                <a:off x="4335463" y="4605338"/>
                <a:ext cx="185738" cy="185737"/>
              </a:xfrm>
              <a:prstGeom prst="ellipse">
                <a:avLst/>
              </a:pr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3" name="Oval 8">
                <a:extLst>
                  <a:ext uri="{FF2B5EF4-FFF2-40B4-BE49-F238E27FC236}">
                    <a16:creationId xmlns:a16="http://schemas.microsoft.com/office/drawing/2014/main" id="{D4E2358B-83CF-43BE-B446-6D62C10441AB}"/>
                  </a:ext>
                </a:extLst>
              </p:cNvPr>
              <p:cNvSpPr>
                <a:spLocks noChangeArrowheads="1"/>
              </p:cNvSpPr>
              <p:nvPr/>
            </p:nvSpPr>
            <p:spPr bwMode="auto">
              <a:xfrm>
                <a:off x="4257675" y="4527550"/>
                <a:ext cx="341313" cy="341312"/>
              </a:xfrm>
              <a:prstGeom prst="ellipse">
                <a:avLst/>
              </a:pr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4" name="Freeform 9">
                <a:extLst>
                  <a:ext uri="{FF2B5EF4-FFF2-40B4-BE49-F238E27FC236}">
                    <a16:creationId xmlns:a16="http://schemas.microsoft.com/office/drawing/2014/main" id="{FFDBE420-5C85-4C30-96A3-32C51CE685CA}"/>
                  </a:ext>
                </a:extLst>
              </p:cNvPr>
              <p:cNvSpPr>
                <a:spLocks/>
              </p:cNvSpPr>
              <p:nvPr/>
            </p:nvSpPr>
            <p:spPr bwMode="auto">
              <a:xfrm>
                <a:off x="4470400" y="4833938"/>
                <a:ext cx="520700" cy="517525"/>
              </a:xfrm>
              <a:custGeom>
                <a:avLst/>
                <a:gdLst>
                  <a:gd name="T0" fmla="*/ 0 w 182"/>
                  <a:gd name="T1" fmla="*/ 40 h 180"/>
                  <a:gd name="T2" fmla="*/ 65 w 182"/>
                  <a:gd name="T3" fmla="*/ 0 h 180"/>
                  <a:gd name="T4" fmla="*/ 182 w 182"/>
                  <a:gd name="T5" fmla="*/ 138 h 180"/>
                  <a:gd name="T6" fmla="*/ 117 w 182"/>
                  <a:gd name="T7" fmla="*/ 180 h 180"/>
                  <a:gd name="T8" fmla="*/ 0 w 182"/>
                  <a:gd name="T9" fmla="*/ 40 h 180"/>
                </a:gdLst>
                <a:ahLst/>
                <a:cxnLst>
                  <a:cxn ang="0">
                    <a:pos x="T0" y="T1"/>
                  </a:cxn>
                  <a:cxn ang="0">
                    <a:pos x="T2" y="T3"/>
                  </a:cxn>
                  <a:cxn ang="0">
                    <a:pos x="T4" y="T5"/>
                  </a:cxn>
                  <a:cxn ang="0">
                    <a:pos x="T6" y="T7"/>
                  </a:cxn>
                  <a:cxn ang="0">
                    <a:pos x="T8" y="T9"/>
                  </a:cxn>
                </a:cxnLst>
                <a:rect l="0" t="0" r="r" b="b"/>
                <a:pathLst>
                  <a:path w="182" h="180">
                    <a:moveTo>
                      <a:pt x="0" y="40"/>
                    </a:moveTo>
                    <a:cubicBezTo>
                      <a:pt x="0" y="40"/>
                      <a:pt x="43" y="34"/>
                      <a:pt x="65" y="0"/>
                    </a:cubicBezTo>
                    <a:cubicBezTo>
                      <a:pt x="182" y="138"/>
                      <a:pt x="182" y="138"/>
                      <a:pt x="182" y="138"/>
                    </a:cubicBezTo>
                    <a:cubicBezTo>
                      <a:pt x="182" y="138"/>
                      <a:pt x="141" y="137"/>
                      <a:pt x="117" y="180"/>
                    </a:cubicBezTo>
                    <a:lnTo>
                      <a:pt x="0" y="40"/>
                    </a:ln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5" name="Freeform 10">
                <a:extLst>
                  <a:ext uri="{FF2B5EF4-FFF2-40B4-BE49-F238E27FC236}">
                    <a16:creationId xmlns:a16="http://schemas.microsoft.com/office/drawing/2014/main" id="{EFEA79DE-2E38-44CE-8E01-8599C4190794}"/>
                  </a:ext>
                </a:extLst>
              </p:cNvPr>
              <p:cNvSpPr>
                <a:spLocks/>
              </p:cNvSpPr>
              <p:nvPr/>
            </p:nvSpPr>
            <p:spPr bwMode="auto">
              <a:xfrm>
                <a:off x="3771900" y="4559300"/>
                <a:ext cx="431800" cy="287337"/>
              </a:xfrm>
              <a:custGeom>
                <a:avLst/>
                <a:gdLst>
                  <a:gd name="T0" fmla="*/ 0 w 151"/>
                  <a:gd name="T1" fmla="*/ 100 h 100"/>
                  <a:gd name="T2" fmla="*/ 0 w 151"/>
                  <a:gd name="T3" fmla="*/ 0 h 100"/>
                  <a:gd name="T4" fmla="*/ 150 w 151"/>
                  <a:gd name="T5" fmla="*/ 9 h 100"/>
                  <a:gd name="T6" fmla="*/ 151 w 151"/>
                  <a:gd name="T7" fmla="*/ 88 h 100"/>
                  <a:gd name="T8" fmla="*/ 0 w 151"/>
                  <a:gd name="T9" fmla="*/ 100 h 100"/>
                </a:gdLst>
                <a:ahLst/>
                <a:cxnLst>
                  <a:cxn ang="0">
                    <a:pos x="T0" y="T1"/>
                  </a:cxn>
                  <a:cxn ang="0">
                    <a:pos x="T2" y="T3"/>
                  </a:cxn>
                  <a:cxn ang="0">
                    <a:pos x="T4" y="T5"/>
                  </a:cxn>
                  <a:cxn ang="0">
                    <a:pos x="T6" y="T7"/>
                  </a:cxn>
                  <a:cxn ang="0">
                    <a:pos x="T8" y="T9"/>
                  </a:cxn>
                </a:cxnLst>
                <a:rect l="0" t="0" r="r" b="b"/>
                <a:pathLst>
                  <a:path w="151" h="100">
                    <a:moveTo>
                      <a:pt x="0" y="100"/>
                    </a:moveTo>
                    <a:cubicBezTo>
                      <a:pt x="0" y="100"/>
                      <a:pt x="22" y="47"/>
                      <a:pt x="0" y="0"/>
                    </a:cubicBezTo>
                    <a:cubicBezTo>
                      <a:pt x="150" y="9"/>
                      <a:pt x="150" y="9"/>
                      <a:pt x="150" y="9"/>
                    </a:cubicBezTo>
                    <a:cubicBezTo>
                      <a:pt x="150" y="9"/>
                      <a:pt x="129" y="51"/>
                      <a:pt x="151" y="88"/>
                    </a:cubicBezTo>
                    <a:lnTo>
                      <a:pt x="0" y="100"/>
                    </a:ln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6" name="Freeform 11">
                <a:extLst>
                  <a:ext uri="{FF2B5EF4-FFF2-40B4-BE49-F238E27FC236}">
                    <a16:creationId xmlns:a16="http://schemas.microsoft.com/office/drawing/2014/main" id="{1835089A-A92B-4377-86FA-F80514426A7F}"/>
                  </a:ext>
                </a:extLst>
              </p:cNvPr>
              <p:cNvSpPr>
                <a:spLocks/>
              </p:cNvSpPr>
              <p:nvPr/>
            </p:nvSpPr>
            <p:spPr bwMode="auto">
              <a:xfrm>
                <a:off x="3422650" y="4911725"/>
                <a:ext cx="614363" cy="519112"/>
              </a:xfrm>
              <a:custGeom>
                <a:avLst/>
                <a:gdLst>
                  <a:gd name="T0" fmla="*/ 0 w 215"/>
                  <a:gd name="T1" fmla="*/ 40 h 181"/>
                  <a:gd name="T2" fmla="*/ 107 w 215"/>
                  <a:gd name="T3" fmla="*/ 0 h 181"/>
                  <a:gd name="T4" fmla="*/ 185 w 215"/>
                  <a:gd name="T5" fmla="*/ 132 h 181"/>
                  <a:gd name="T6" fmla="*/ 215 w 215"/>
                  <a:gd name="T7" fmla="*/ 132 h 181"/>
                  <a:gd name="T8" fmla="*/ 215 w 215"/>
                  <a:gd name="T9" fmla="*/ 181 h 181"/>
                  <a:gd name="T10" fmla="*/ 9 w 215"/>
                  <a:gd name="T11" fmla="*/ 181 h 181"/>
                  <a:gd name="T12" fmla="*/ 9 w 215"/>
                  <a:gd name="T13" fmla="*/ 137 h 181"/>
                  <a:gd name="T14" fmla="*/ 39 w 215"/>
                  <a:gd name="T15" fmla="*/ 137 h 181"/>
                  <a:gd name="T16" fmla="*/ 0 w 215"/>
                  <a:gd name="T17"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81">
                    <a:moveTo>
                      <a:pt x="0" y="40"/>
                    </a:moveTo>
                    <a:cubicBezTo>
                      <a:pt x="0" y="40"/>
                      <a:pt x="62" y="43"/>
                      <a:pt x="107" y="0"/>
                    </a:cubicBezTo>
                    <a:cubicBezTo>
                      <a:pt x="185" y="132"/>
                      <a:pt x="185" y="132"/>
                      <a:pt x="185" y="132"/>
                    </a:cubicBezTo>
                    <a:cubicBezTo>
                      <a:pt x="215" y="132"/>
                      <a:pt x="215" y="132"/>
                      <a:pt x="215" y="132"/>
                    </a:cubicBezTo>
                    <a:cubicBezTo>
                      <a:pt x="215" y="181"/>
                      <a:pt x="215" y="181"/>
                      <a:pt x="215" y="181"/>
                    </a:cubicBezTo>
                    <a:cubicBezTo>
                      <a:pt x="9" y="181"/>
                      <a:pt x="9" y="181"/>
                      <a:pt x="9" y="181"/>
                    </a:cubicBezTo>
                    <a:cubicBezTo>
                      <a:pt x="9" y="137"/>
                      <a:pt x="9" y="137"/>
                      <a:pt x="9" y="137"/>
                    </a:cubicBezTo>
                    <a:cubicBezTo>
                      <a:pt x="39" y="137"/>
                      <a:pt x="39" y="137"/>
                      <a:pt x="39" y="137"/>
                    </a:cubicBezTo>
                    <a:lnTo>
                      <a:pt x="0" y="40"/>
                    </a:ln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7" name="Freeform 12">
                <a:extLst>
                  <a:ext uri="{FF2B5EF4-FFF2-40B4-BE49-F238E27FC236}">
                    <a16:creationId xmlns:a16="http://schemas.microsoft.com/office/drawing/2014/main" id="{619B7B09-5403-438D-B7F1-DB42062402B8}"/>
                  </a:ext>
                </a:extLst>
              </p:cNvPr>
              <p:cNvSpPr>
                <a:spLocks/>
              </p:cNvSpPr>
              <p:nvPr/>
            </p:nvSpPr>
            <p:spPr bwMode="auto">
              <a:xfrm>
                <a:off x="3333750" y="5514975"/>
                <a:ext cx="1857375" cy="373062"/>
              </a:xfrm>
              <a:custGeom>
                <a:avLst/>
                <a:gdLst>
                  <a:gd name="T0" fmla="*/ 119 w 1170"/>
                  <a:gd name="T1" fmla="*/ 0 h 235"/>
                  <a:gd name="T2" fmla="*/ 416 w 1170"/>
                  <a:gd name="T3" fmla="*/ 0 h 235"/>
                  <a:gd name="T4" fmla="*/ 416 w 1170"/>
                  <a:gd name="T5" fmla="*/ 70 h 235"/>
                  <a:gd name="T6" fmla="*/ 481 w 1170"/>
                  <a:gd name="T7" fmla="*/ 70 h 235"/>
                  <a:gd name="T8" fmla="*/ 481 w 1170"/>
                  <a:gd name="T9" fmla="*/ 172 h 235"/>
                  <a:gd name="T10" fmla="*/ 1170 w 1170"/>
                  <a:gd name="T11" fmla="*/ 172 h 235"/>
                  <a:gd name="T12" fmla="*/ 1170 w 1170"/>
                  <a:gd name="T13" fmla="*/ 235 h 235"/>
                  <a:gd name="T14" fmla="*/ 0 w 1170"/>
                  <a:gd name="T15" fmla="*/ 235 h 235"/>
                  <a:gd name="T16" fmla="*/ 0 w 1170"/>
                  <a:gd name="T17" fmla="*/ 181 h 235"/>
                  <a:gd name="T18" fmla="*/ 45 w 1170"/>
                  <a:gd name="T19" fmla="*/ 181 h 235"/>
                  <a:gd name="T20" fmla="*/ 45 w 1170"/>
                  <a:gd name="T21" fmla="*/ 88 h 235"/>
                  <a:gd name="T22" fmla="*/ 113 w 1170"/>
                  <a:gd name="T23" fmla="*/ 88 h 235"/>
                  <a:gd name="T24" fmla="*/ 119 w 1170"/>
                  <a:gd name="T25"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0" h="235">
                    <a:moveTo>
                      <a:pt x="119" y="0"/>
                    </a:moveTo>
                    <a:lnTo>
                      <a:pt x="416" y="0"/>
                    </a:lnTo>
                    <a:lnTo>
                      <a:pt x="416" y="70"/>
                    </a:lnTo>
                    <a:lnTo>
                      <a:pt x="481" y="70"/>
                    </a:lnTo>
                    <a:lnTo>
                      <a:pt x="481" y="172"/>
                    </a:lnTo>
                    <a:lnTo>
                      <a:pt x="1170" y="172"/>
                    </a:lnTo>
                    <a:lnTo>
                      <a:pt x="1170" y="235"/>
                    </a:lnTo>
                    <a:lnTo>
                      <a:pt x="0" y="235"/>
                    </a:lnTo>
                    <a:lnTo>
                      <a:pt x="0" y="181"/>
                    </a:lnTo>
                    <a:lnTo>
                      <a:pt x="45" y="181"/>
                    </a:lnTo>
                    <a:lnTo>
                      <a:pt x="45" y="88"/>
                    </a:lnTo>
                    <a:lnTo>
                      <a:pt x="113" y="88"/>
                    </a:lnTo>
                    <a:lnTo>
                      <a:pt x="119" y="0"/>
                    </a:ln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8" name="Freeform 13">
                <a:extLst>
                  <a:ext uri="{FF2B5EF4-FFF2-40B4-BE49-F238E27FC236}">
                    <a16:creationId xmlns:a16="http://schemas.microsoft.com/office/drawing/2014/main" id="{1C50F6FF-588B-4816-B7F4-341C4703B2DE}"/>
                  </a:ext>
                </a:extLst>
              </p:cNvPr>
              <p:cNvSpPr>
                <a:spLocks/>
              </p:cNvSpPr>
              <p:nvPr/>
            </p:nvSpPr>
            <p:spPr bwMode="auto">
              <a:xfrm>
                <a:off x="4873625" y="5305425"/>
                <a:ext cx="252413" cy="387350"/>
              </a:xfrm>
              <a:custGeom>
                <a:avLst/>
                <a:gdLst>
                  <a:gd name="T0" fmla="*/ 88 w 88"/>
                  <a:gd name="T1" fmla="*/ 44 h 135"/>
                  <a:gd name="T2" fmla="*/ 44 w 88"/>
                  <a:gd name="T3" fmla="*/ 0 h 135"/>
                  <a:gd name="T4" fmla="*/ 0 w 88"/>
                  <a:gd name="T5" fmla="*/ 44 h 135"/>
                  <a:gd name="T6" fmla="*/ 24 w 88"/>
                  <a:gd name="T7" fmla="*/ 79 h 135"/>
                  <a:gd name="T8" fmla="*/ 25 w 88"/>
                  <a:gd name="T9" fmla="*/ 115 h 135"/>
                  <a:gd name="T10" fmla="*/ 37 w 88"/>
                  <a:gd name="T11" fmla="*/ 115 h 135"/>
                  <a:gd name="T12" fmla="*/ 44 w 88"/>
                  <a:gd name="T13" fmla="*/ 135 h 135"/>
                  <a:gd name="T14" fmla="*/ 53 w 88"/>
                  <a:gd name="T15" fmla="*/ 115 h 135"/>
                  <a:gd name="T16" fmla="*/ 68 w 88"/>
                  <a:gd name="T17" fmla="*/ 115 h 135"/>
                  <a:gd name="T18" fmla="*/ 68 w 88"/>
                  <a:gd name="T19" fmla="*/ 81 h 135"/>
                  <a:gd name="T20" fmla="*/ 88 w 88"/>
                  <a:gd name="T21" fmla="*/ 4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35">
                    <a:moveTo>
                      <a:pt x="88" y="44"/>
                    </a:moveTo>
                    <a:cubicBezTo>
                      <a:pt x="88" y="20"/>
                      <a:pt x="68" y="0"/>
                      <a:pt x="44" y="0"/>
                    </a:cubicBezTo>
                    <a:cubicBezTo>
                      <a:pt x="20" y="0"/>
                      <a:pt x="0" y="20"/>
                      <a:pt x="0" y="44"/>
                    </a:cubicBezTo>
                    <a:cubicBezTo>
                      <a:pt x="0" y="59"/>
                      <a:pt x="11" y="74"/>
                      <a:pt x="24" y="79"/>
                    </a:cubicBezTo>
                    <a:cubicBezTo>
                      <a:pt x="25" y="115"/>
                      <a:pt x="25" y="115"/>
                      <a:pt x="25" y="115"/>
                    </a:cubicBezTo>
                    <a:cubicBezTo>
                      <a:pt x="37" y="115"/>
                      <a:pt x="37" y="115"/>
                      <a:pt x="37" y="115"/>
                    </a:cubicBezTo>
                    <a:cubicBezTo>
                      <a:pt x="44" y="135"/>
                      <a:pt x="44" y="135"/>
                      <a:pt x="44" y="135"/>
                    </a:cubicBezTo>
                    <a:cubicBezTo>
                      <a:pt x="53" y="115"/>
                      <a:pt x="53" y="115"/>
                      <a:pt x="53" y="115"/>
                    </a:cubicBezTo>
                    <a:cubicBezTo>
                      <a:pt x="68" y="115"/>
                      <a:pt x="68" y="115"/>
                      <a:pt x="68" y="115"/>
                    </a:cubicBezTo>
                    <a:cubicBezTo>
                      <a:pt x="68" y="81"/>
                      <a:pt x="68" y="81"/>
                      <a:pt x="68" y="81"/>
                    </a:cubicBezTo>
                    <a:cubicBezTo>
                      <a:pt x="80" y="73"/>
                      <a:pt x="88" y="59"/>
                      <a:pt x="88" y="44"/>
                    </a:cubicBez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grpSp>
      </p:grpSp>
      <p:grpSp>
        <p:nvGrpSpPr>
          <p:cNvPr id="19" name="Group 18">
            <a:extLst>
              <a:ext uri="{FF2B5EF4-FFF2-40B4-BE49-F238E27FC236}">
                <a16:creationId xmlns:a16="http://schemas.microsoft.com/office/drawing/2014/main" id="{2BE6A009-7D27-417B-9D5E-5C10AEE37D2E}"/>
              </a:ext>
            </a:extLst>
          </p:cNvPr>
          <p:cNvGrpSpPr/>
          <p:nvPr/>
        </p:nvGrpSpPr>
        <p:grpSpPr>
          <a:xfrm>
            <a:off x="4984011" y="2116791"/>
            <a:ext cx="2276533" cy="2276533"/>
            <a:chOff x="8560818" y="1460521"/>
            <a:chExt cx="2275141" cy="2275141"/>
          </a:xfrm>
          <a:solidFill>
            <a:schemeClr val="accent4"/>
          </a:solidFill>
        </p:grpSpPr>
        <p:sp>
          <p:nvSpPr>
            <p:cNvPr id="20" name="Rectangle 19">
              <a:extLst>
                <a:ext uri="{FF2B5EF4-FFF2-40B4-BE49-F238E27FC236}">
                  <a16:creationId xmlns:a16="http://schemas.microsoft.com/office/drawing/2014/main" id="{C4F0D459-B3B6-4AA9-B55B-66541AFED644}"/>
                </a:ext>
              </a:extLst>
            </p:cNvPr>
            <p:cNvSpPr/>
            <p:nvPr/>
          </p:nvSpPr>
          <p:spPr bwMode="auto">
            <a:xfrm>
              <a:off x="8560818" y="1460521"/>
              <a:ext cx="2275141" cy="2275141"/>
            </a:xfrm>
            <a:prstGeom prst="rect">
              <a:avLst/>
            </a:prstGeom>
            <a:grp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grpSp>
          <p:nvGrpSpPr>
            <p:cNvPr id="21" name="Group 20">
              <a:extLst>
                <a:ext uri="{FF2B5EF4-FFF2-40B4-BE49-F238E27FC236}">
                  <a16:creationId xmlns:a16="http://schemas.microsoft.com/office/drawing/2014/main" id="{B3FEC2AE-F46D-491A-9C59-99397711B00F}"/>
                </a:ext>
              </a:extLst>
            </p:cNvPr>
            <p:cNvGrpSpPr>
              <a:grpSpLocks noChangeAspect="1"/>
            </p:cNvGrpSpPr>
            <p:nvPr/>
          </p:nvGrpSpPr>
          <p:grpSpPr>
            <a:xfrm>
              <a:off x="9261373" y="1927867"/>
              <a:ext cx="829592" cy="1285626"/>
              <a:chOff x="7621675" y="431686"/>
              <a:chExt cx="864158" cy="1339194"/>
            </a:xfrm>
            <a:grpFill/>
          </p:grpSpPr>
          <p:sp>
            <p:nvSpPr>
              <p:cNvPr id="22" name="Rectangle: Rounded Corners 21">
                <a:extLst>
                  <a:ext uri="{FF2B5EF4-FFF2-40B4-BE49-F238E27FC236}">
                    <a16:creationId xmlns:a16="http://schemas.microsoft.com/office/drawing/2014/main" id="{5561F4AF-0D84-4CB4-9F1D-C964F7AD13A2}"/>
                  </a:ext>
                </a:extLst>
              </p:cNvPr>
              <p:cNvSpPr/>
              <p:nvPr/>
            </p:nvSpPr>
            <p:spPr bwMode="auto">
              <a:xfrm>
                <a:off x="7621675" y="592853"/>
                <a:ext cx="864158" cy="1178027"/>
              </a:xfrm>
              <a:prstGeom prst="roundRect">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9DB4FA14-C7F1-4E20-AC9E-AAC2836C06F0}"/>
                  </a:ext>
                </a:extLst>
              </p:cNvPr>
              <p:cNvSpPr/>
              <p:nvPr/>
            </p:nvSpPr>
            <p:spPr bwMode="auto">
              <a:xfrm>
                <a:off x="7815943" y="600406"/>
                <a:ext cx="475622" cy="184220"/>
              </a:xfrm>
              <a:prstGeom prst="roundRect">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Flowchart: Delay 23">
                <a:extLst>
                  <a:ext uri="{FF2B5EF4-FFF2-40B4-BE49-F238E27FC236}">
                    <a16:creationId xmlns:a16="http://schemas.microsoft.com/office/drawing/2014/main" id="{E07B2F67-859A-48C2-9980-C2A223415689}"/>
                  </a:ext>
                </a:extLst>
              </p:cNvPr>
              <p:cNvSpPr/>
              <p:nvPr/>
            </p:nvSpPr>
            <p:spPr bwMode="auto">
              <a:xfrm rot="16200000">
                <a:off x="7966786" y="347635"/>
                <a:ext cx="168718" cy="336819"/>
              </a:xfrm>
              <a:prstGeom prst="flowChartDelay">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FE531542-DE0E-4223-8C55-02CA821834B0}"/>
                  </a:ext>
                </a:extLst>
              </p:cNvPr>
              <p:cNvCxnSpPr/>
              <p:nvPr/>
            </p:nvCxnSpPr>
            <p:spPr>
              <a:xfrm>
                <a:off x="7815943" y="1329624"/>
                <a:ext cx="199671" cy="140677"/>
              </a:xfrm>
              <a:prstGeom prst="line">
                <a:avLst/>
              </a:prstGeom>
              <a:grpFill/>
              <a:ln w="28575" cap="rnd">
                <a:solidFill>
                  <a:schemeClr val="tx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94FC27-501B-4C89-AE81-D97DD149BE67}"/>
                  </a:ext>
                </a:extLst>
              </p:cNvPr>
              <p:cNvCxnSpPr>
                <a:cxnSpLocks noChangeAspect="1"/>
              </p:cNvCxnSpPr>
              <p:nvPr/>
            </p:nvCxnSpPr>
            <p:spPr>
              <a:xfrm flipV="1">
                <a:off x="8015614" y="1048110"/>
                <a:ext cx="263149" cy="405305"/>
              </a:xfrm>
              <a:prstGeom prst="line">
                <a:avLst/>
              </a:prstGeom>
              <a:grpFill/>
              <a:ln w="285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031ABDAA-5C10-4562-9017-10888756C107}"/>
              </a:ext>
            </a:extLst>
          </p:cNvPr>
          <p:cNvGrpSpPr/>
          <p:nvPr/>
        </p:nvGrpSpPr>
        <p:grpSpPr>
          <a:xfrm>
            <a:off x="8560467" y="2116791"/>
            <a:ext cx="2276533" cy="2276533"/>
            <a:chOff x="4983851" y="1543061"/>
            <a:chExt cx="2275140" cy="2275140"/>
          </a:xfrm>
          <a:solidFill>
            <a:schemeClr val="accent4"/>
          </a:solidFill>
        </p:grpSpPr>
        <p:cxnSp>
          <p:nvCxnSpPr>
            <p:cNvPr id="28" name="Straight Connector 27">
              <a:extLst>
                <a:ext uri="{FF2B5EF4-FFF2-40B4-BE49-F238E27FC236}">
                  <a16:creationId xmlns:a16="http://schemas.microsoft.com/office/drawing/2014/main" id="{80866251-1049-4453-A590-EB26141B29F0}"/>
                </a:ext>
              </a:extLst>
            </p:cNvPr>
            <p:cNvCxnSpPr>
              <a:cxnSpLocks/>
            </p:cNvCxnSpPr>
            <p:nvPr/>
          </p:nvCxnSpPr>
          <p:spPr>
            <a:xfrm>
              <a:off x="5984199" y="1676934"/>
              <a:ext cx="0" cy="0"/>
            </a:xfrm>
            <a:prstGeom prst="line">
              <a:avLst/>
            </a:prstGeom>
            <a:grpFill/>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25FAE8C8-249C-420B-9B9A-259205DC85DC}"/>
                </a:ext>
              </a:extLst>
            </p:cNvPr>
            <p:cNvSpPr/>
            <p:nvPr/>
          </p:nvSpPr>
          <p:spPr bwMode="auto">
            <a:xfrm>
              <a:off x="4983851" y="1543061"/>
              <a:ext cx="2275140" cy="2275140"/>
            </a:xfrm>
            <a:prstGeom prst="rect">
              <a:avLst/>
            </a:prstGeom>
            <a:grp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grpSp>
          <p:nvGrpSpPr>
            <p:cNvPr id="30" name="Group 29">
              <a:extLst>
                <a:ext uri="{FF2B5EF4-FFF2-40B4-BE49-F238E27FC236}">
                  <a16:creationId xmlns:a16="http://schemas.microsoft.com/office/drawing/2014/main" id="{C3667226-5B15-4C8B-A962-BF2607A79B94}"/>
                </a:ext>
              </a:extLst>
            </p:cNvPr>
            <p:cNvGrpSpPr>
              <a:grpSpLocks noChangeAspect="1"/>
            </p:cNvGrpSpPr>
            <p:nvPr/>
          </p:nvGrpSpPr>
          <p:grpSpPr>
            <a:xfrm>
              <a:off x="5725021" y="2211098"/>
              <a:ext cx="766275" cy="1025532"/>
              <a:chOff x="5743456" y="2250148"/>
              <a:chExt cx="722901" cy="967483"/>
            </a:xfrm>
            <a:grpFill/>
          </p:grpSpPr>
          <p:sp>
            <p:nvSpPr>
              <p:cNvPr id="31" name="Rectangle 17">
                <a:extLst>
                  <a:ext uri="{FF2B5EF4-FFF2-40B4-BE49-F238E27FC236}">
                    <a16:creationId xmlns:a16="http://schemas.microsoft.com/office/drawing/2014/main" id="{202F8BED-649B-4D7A-A61B-A43A46D70632}"/>
                  </a:ext>
                </a:extLst>
              </p:cNvPr>
              <p:cNvSpPr>
                <a:spLocks noChangeArrowheads="1"/>
              </p:cNvSpPr>
              <p:nvPr/>
            </p:nvSpPr>
            <p:spPr bwMode="auto">
              <a:xfrm rot="16200000">
                <a:off x="5389137" y="2604467"/>
                <a:ext cx="967483" cy="258846"/>
              </a:xfrm>
              <a:prstGeom prst="rect">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2" name="Line 20">
                <a:extLst>
                  <a:ext uri="{FF2B5EF4-FFF2-40B4-BE49-F238E27FC236}">
                    <a16:creationId xmlns:a16="http://schemas.microsoft.com/office/drawing/2014/main" id="{7FDC63A7-DB60-4285-9770-69641EE4BFA9}"/>
                  </a:ext>
                </a:extLst>
              </p:cNvPr>
              <p:cNvSpPr>
                <a:spLocks noChangeShapeType="1"/>
              </p:cNvSpPr>
              <p:nvPr/>
            </p:nvSpPr>
            <p:spPr bwMode="auto">
              <a:xfrm rot="16200000" flipH="1">
                <a:off x="5642822" y="2901821"/>
                <a:ext cx="455867" cy="0"/>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3" name="Rectangle 21">
                <a:extLst>
                  <a:ext uri="{FF2B5EF4-FFF2-40B4-BE49-F238E27FC236}">
                    <a16:creationId xmlns:a16="http://schemas.microsoft.com/office/drawing/2014/main" id="{DDB8094E-72D8-4E18-AF1F-82B15F681A08}"/>
                  </a:ext>
                </a:extLst>
              </p:cNvPr>
              <p:cNvSpPr>
                <a:spLocks noChangeArrowheads="1"/>
              </p:cNvSpPr>
              <p:nvPr/>
            </p:nvSpPr>
            <p:spPr bwMode="auto">
              <a:xfrm rot="16200000">
                <a:off x="5851071" y="2602346"/>
                <a:ext cx="967483" cy="263088"/>
              </a:xfrm>
              <a:prstGeom prst="rect">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4" name="Line 30">
                <a:extLst>
                  <a:ext uri="{FF2B5EF4-FFF2-40B4-BE49-F238E27FC236}">
                    <a16:creationId xmlns:a16="http://schemas.microsoft.com/office/drawing/2014/main" id="{CC3A4236-D768-4C7E-8306-69584E8EF00B}"/>
                  </a:ext>
                </a:extLst>
              </p:cNvPr>
              <p:cNvSpPr>
                <a:spLocks noChangeShapeType="1"/>
              </p:cNvSpPr>
              <p:nvPr/>
            </p:nvSpPr>
            <p:spPr bwMode="auto">
              <a:xfrm rot="16200000" flipV="1">
                <a:off x="6105067" y="2328759"/>
                <a:ext cx="0" cy="218245"/>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5" name="Line 30">
                <a:extLst>
                  <a:ext uri="{FF2B5EF4-FFF2-40B4-BE49-F238E27FC236}">
                    <a16:creationId xmlns:a16="http://schemas.microsoft.com/office/drawing/2014/main" id="{DB1E6969-5C2E-4346-92F3-82FE809C8C6A}"/>
                  </a:ext>
                </a:extLst>
              </p:cNvPr>
              <p:cNvSpPr>
                <a:spLocks noChangeShapeType="1"/>
              </p:cNvSpPr>
              <p:nvPr/>
            </p:nvSpPr>
            <p:spPr bwMode="auto">
              <a:xfrm rot="16200000" flipV="1">
                <a:off x="6102845" y="2930500"/>
                <a:ext cx="0" cy="218245"/>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6" name="Line 20">
                <a:extLst>
                  <a:ext uri="{FF2B5EF4-FFF2-40B4-BE49-F238E27FC236}">
                    <a16:creationId xmlns:a16="http://schemas.microsoft.com/office/drawing/2014/main" id="{823636AD-5EA5-4A7A-A3EF-363EE5C247F0}"/>
                  </a:ext>
                </a:extLst>
              </p:cNvPr>
              <p:cNvSpPr>
                <a:spLocks noChangeShapeType="1"/>
              </p:cNvSpPr>
              <p:nvPr/>
            </p:nvSpPr>
            <p:spPr bwMode="auto">
              <a:xfrm rot="16200000" flipH="1">
                <a:off x="6123127" y="2901821"/>
                <a:ext cx="455867" cy="0"/>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7" name="Line 20">
                <a:extLst>
                  <a:ext uri="{FF2B5EF4-FFF2-40B4-BE49-F238E27FC236}">
                    <a16:creationId xmlns:a16="http://schemas.microsoft.com/office/drawing/2014/main" id="{63D56E43-3ACC-4C6D-AB36-BEF6D065AF60}"/>
                  </a:ext>
                </a:extLst>
              </p:cNvPr>
              <p:cNvSpPr>
                <a:spLocks noChangeShapeType="1"/>
              </p:cNvSpPr>
              <p:nvPr/>
            </p:nvSpPr>
            <p:spPr bwMode="auto">
              <a:xfrm rot="16200000" flipH="1">
                <a:off x="5857484" y="2385587"/>
                <a:ext cx="27432" cy="0"/>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8" name="Line 20">
                <a:extLst>
                  <a:ext uri="{FF2B5EF4-FFF2-40B4-BE49-F238E27FC236}">
                    <a16:creationId xmlns:a16="http://schemas.microsoft.com/office/drawing/2014/main" id="{471EB6F4-1C40-444A-853B-D8CFAFFE23C9}"/>
                  </a:ext>
                </a:extLst>
              </p:cNvPr>
              <p:cNvSpPr>
                <a:spLocks noChangeShapeType="1"/>
              </p:cNvSpPr>
              <p:nvPr/>
            </p:nvSpPr>
            <p:spPr bwMode="auto">
              <a:xfrm rot="16200000" flipH="1">
                <a:off x="6337344" y="2385587"/>
                <a:ext cx="27432" cy="0"/>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sp>
        <p:nvSpPr>
          <p:cNvPr id="41" name="Title 4">
            <a:extLst>
              <a:ext uri="{FF2B5EF4-FFF2-40B4-BE49-F238E27FC236}">
                <a16:creationId xmlns:a16="http://schemas.microsoft.com/office/drawing/2014/main" id="{6DF60F1D-06E5-4A54-823C-665ED38B43E0}"/>
              </a:ext>
            </a:extLst>
          </p:cNvPr>
          <p:cNvSpPr txBox="1">
            <a:spLocks/>
          </p:cNvSpPr>
          <p:nvPr/>
        </p:nvSpPr>
        <p:spPr>
          <a:xfrm>
            <a:off x="270066" y="289958"/>
            <a:ext cx="11654187" cy="899537"/>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dirty="0">
                <a:gradFill>
                  <a:gsLst>
                    <a:gs pos="1250">
                      <a:srgbClr val="FFFFFF"/>
                    </a:gs>
                    <a:gs pos="100000">
                      <a:srgbClr val="FFFFFF"/>
                    </a:gs>
                  </a:gsLst>
                  <a:lin ang="5400000" scaled="0"/>
                </a:gradFill>
                <a:latin typeface="Segoe UI Light"/>
              </a:rPr>
              <a:t>Hybrid use cases: Azure and Azure Stack</a:t>
            </a:r>
            <a:br>
              <a:rPr lang="en-US" sz="4703" dirty="0">
                <a:gradFill>
                  <a:gsLst>
                    <a:gs pos="1250">
                      <a:srgbClr val="FFFFFF"/>
                    </a:gs>
                    <a:gs pos="100000">
                      <a:srgbClr val="FFFFFF"/>
                    </a:gs>
                  </a:gsLst>
                  <a:lin ang="5400000" scaled="0"/>
                </a:gradFill>
                <a:latin typeface="Segoe UI Light"/>
              </a:rPr>
            </a:br>
            <a:endParaRPr lang="en-US" sz="4703" dirty="0">
              <a:gradFill>
                <a:gsLst>
                  <a:gs pos="1250">
                    <a:srgbClr val="FFFFFF"/>
                  </a:gs>
                  <a:gs pos="100000">
                    <a:srgbClr val="FFFFFF"/>
                  </a:gs>
                </a:gsLst>
                <a:lin ang="5400000" scaled="0"/>
              </a:gradFill>
              <a:latin typeface="Segoe UI Light"/>
            </a:endParaRPr>
          </a:p>
        </p:txBody>
      </p:sp>
    </p:spTree>
    <p:extLst>
      <p:ext uri="{BB962C8B-B14F-4D97-AF65-F5344CB8AC3E}">
        <p14:creationId xmlns:p14="http://schemas.microsoft.com/office/powerpoint/2010/main" val="4224158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7"/>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7"/>
                                        </p:tgtEl>
                                      </p:cBhvr>
                                      <p:by x="0" y="0"/>
                                    </p:animScale>
                                  </p:childTnLst>
                                </p:cTn>
                              </p:par>
                              <p:par>
                                <p:cTn id="9" presetID="6" presetClass="emph" presetSubtype="0" decel="100000" fill="hold" nodeType="withEffect">
                                  <p:stCondLst>
                                    <p:cond delay="900"/>
                                  </p:stCondLst>
                                  <p:childTnLst>
                                    <p:animScale>
                                      <p:cBhvr>
                                        <p:cTn id="10" dur="500" fill="hold"/>
                                        <p:tgtEl>
                                          <p:spTgt spid="7"/>
                                        </p:tgtEl>
                                      </p:cBhvr>
                                      <p:by x="90000" y="90000"/>
                                    </p:animScale>
                                  </p:childTnLst>
                                </p:cTn>
                              </p:par>
                              <p:par>
                                <p:cTn id="11" presetID="10" presetClass="entr" presetSubtype="0" fill="hold" grpId="0" nodeType="withEffect">
                                  <p:stCondLst>
                                    <p:cond delay="90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42" presetClass="path" presetSubtype="0" decel="100000" fill="hold" grpId="1" nodeType="withEffect">
                                  <p:stCondLst>
                                    <p:cond delay="400"/>
                                  </p:stCondLst>
                                  <p:childTnLst>
                                    <p:animMotion origin="layout" path="M -4.58333E-6 -0.04491 L -4.58333E-6 4.07407E-6 " pathEditMode="relative" rAng="0" ptsTypes="AA">
                                      <p:cBhvr>
                                        <p:cTn id="15" dur="1000" fill="hold"/>
                                        <p:tgtEl>
                                          <p:spTgt spid="3"/>
                                        </p:tgtEl>
                                        <p:attrNameLst>
                                          <p:attrName>ppt_x</p:attrName>
                                          <p:attrName>ppt_y</p:attrName>
                                        </p:attrNameLst>
                                      </p:cBhvr>
                                      <p:rCtr x="0" y="2245"/>
                                    </p:animMotion>
                                  </p:childTnLst>
                                </p:cTn>
                              </p:par>
                              <p:par>
                                <p:cTn id="16" presetID="1" presetClass="entr" presetSubtype="0" fill="hold" nodeType="withEffect">
                                  <p:stCondLst>
                                    <p:cond delay="700"/>
                                  </p:stCondLst>
                                  <p:childTnLst>
                                    <p:set>
                                      <p:cBhvr>
                                        <p:cTn id="17" dur="1" fill="hold">
                                          <p:stCondLst>
                                            <p:cond delay="0"/>
                                          </p:stCondLst>
                                        </p:cTn>
                                        <p:tgtEl>
                                          <p:spTgt spid="19"/>
                                        </p:tgtEl>
                                        <p:attrNameLst>
                                          <p:attrName>style.visibility</p:attrName>
                                        </p:attrNameLst>
                                      </p:cBhvr>
                                      <p:to>
                                        <p:strVal val="visible"/>
                                      </p:to>
                                    </p:set>
                                  </p:childTnLst>
                                </p:cTn>
                              </p:par>
                              <p:par>
                                <p:cTn id="18" presetID="6" presetClass="emph" presetSubtype="0" accel="100000" autoRev="1" fill="hold" nodeType="withEffect">
                                  <p:stCondLst>
                                    <p:cond delay="200"/>
                                  </p:stCondLst>
                                  <p:childTnLst>
                                    <p:animScale>
                                      <p:cBhvr>
                                        <p:cTn id="19" dur="500" fill="hold"/>
                                        <p:tgtEl>
                                          <p:spTgt spid="19"/>
                                        </p:tgtEl>
                                      </p:cBhvr>
                                      <p:by x="0" y="0"/>
                                    </p:animScale>
                                  </p:childTnLst>
                                </p:cTn>
                              </p:par>
                              <p:par>
                                <p:cTn id="20" presetID="6" presetClass="emph" presetSubtype="0" decel="100000" fill="hold" nodeType="withEffect">
                                  <p:stCondLst>
                                    <p:cond delay="1100"/>
                                  </p:stCondLst>
                                  <p:childTnLst>
                                    <p:animScale>
                                      <p:cBhvr>
                                        <p:cTn id="21" dur="500" fill="hold"/>
                                        <p:tgtEl>
                                          <p:spTgt spid="19"/>
                                        </p:tgtEl>
                                      </p:cBhvr>
                                      <p:by x="90000" y="90000"/>
                                    </p:animScale>
                                  </p:childTnLst>
                                </p:cTn>
                              </p:par>
                              <p:par>
                                <p:cTn id="22" presetID="10" presetClass="entr" presetSubtype="0" fill="hold" grpId="0" nodeType="withEffect">
                                  <p:stCondLst>
                                    <p:cond delay="110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par>
                                <p:cTn id="25" presetID="42" presetClass="path" presetSubtype="0" decel="100000" fill="hold" grpId="1" nodeType="withEffect">
                                  <p:stCondLst>
                                    <p:cond delay="600"/>
                                  </p:stCondLst>
                                  <p:childTnLst>
                                    <p:animMotion origin="layout" path="M -4.58333E-6 -0.04491 L -4.58333E-6 4.07407E-6 " pathEditMode="relative" rAng="0" ptsTypes="AA">
                                      <p:cBhvr>
                                        <p:cTn id="26" dur="1000" fill="hold"/>
                                        <p:tgtEl>
                                          <p:spTgt spid="4"/>
                                        </p:tgtEl>
                                        <p:attrNameLst>
                                          <p:attrName>ppt_x</p:attrName>
                                          <p:attrName>ppt_y</p:attrName>
                                        </p:attrNameLst>
                                      </p:cBhvr>
                                      <p:rCtr x="0" y="2245"/>
                                    </p:animMotion>
                                  </p:childTnLst>
                                </p:cTn>
                              </p:par>
                              <p:par>
                                <p:cTn id="27" presetID="1" presetClass="entr" presetSubtype="0" fill="hold" nodeType="withEffect">
                                  <p:stCondLst>
                                    <p:cond delay="900"/>
                                  </p:stCondLst>
                                  <p:childTnLst>
                                    <p:set>
                                      <p:cBhvr>
                                        <p:cTn id="28" dur="1" fill="hold">
                                          <p:stCondLst>
                                            <p:cond delay="0"/>
                                          </p:stCondLst>
                                        </p:cTn>
                                        <p:tgtEl>
                                          <p:spTgt spid="27"/>
                                        </p:tgtEl>
                                        <p:attrNameLst>
                                          <p:attrName>style.visibility</p:attrName>
                                        </p:attrNameLst>
                                      </p:cBhvr>
                                      <p:to>
                                        <p:strVal val="visible"/>
                                      </p:to>
                                    </p:set>
                                  </p:childTnLst>
                                </p:cTn>
                              </p:par>
                              <p:par>
                                <p:cTn id="29" presetID="6" presetClass="emph" presetSubtype="0" accel="100000" autoRev="1" fill="hold" nodeType="withEffect">
                                  <p:stCondLst>
                                    <p:cond delay="400"/>
                                  </p:stCondLst>
                                  <p:childTnLst>
                                    <p:animScale>
                                      <p:cBhvr>
                                        <p:cTn id="30" dur="500" fill="hold"/>
                                        <p:tgtEl>
                                          <p:spTgt spid="27"/>
                                        </p:tgtEl>
                                      </p:cBhvr>
                                      <p:by x="0" y="0"/>
                                    </p:animScale>
                                  </p:childTnLst>
                                </p:cTn>
                              </p:par>
                              <p:par>
                                <p:cTn id="31" presetID="6" presetClass="emph" presetSubtype="0" decel="100000" fill="hold" nodeType="withEffect">
                                  <p:stCondLst>
                                    <p:cond delay="1300"/>
                                  </p:stCondLst>
                                  <p:childTnLst>
                                    <p:animScale>
                                      <p:cBhvr>
                                        <p:cTn id="32" dur="500" fill="hold"/>
                                        <p:tgtEl>
                                          <p:spTgt spid="27"/>
                                        </p:tgtEl>
                                      </p:cBhvr>
                                      <p:by x="90000" y="90000"/>
                                    </p:animScale>
                                  </p:childTnLst>
                                </p:cTn>
                              </p:par>
                              <p:par>
                                <p:cTn id="33" presetID="10" presetClass="entr" presetSubtype="0" fill="hold" grpId="0" nodeType="withEffect">
                                  <p:stCondLst>
                                    <p:cond delay="140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42" presetClass="path" presetSubtype="0" decel="100000" fill="hold" grpId="1" nodeType="withEffect">
                                  <p:stCondLst>
                                    <p:cond delay="900"/>
                                  </p:stCondLst>
                                  <p:childTnLst>
                                    <p:animMotion origin="layout" path="M -3.75E-6 -0.04491 L -3.75E-6 4.07407E-6 " pathEditMode="relative" rAng="0" ptsTypes="AA">
                                      <p:cBhvr>
                                        <p:cTn id="37" dur="1000" fill="hold"/>
                                        <p:tgtEl>
                                          <p:spTgt spid="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P spid="5" grpId="0"/>
      <p:bldP spid="5"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94BE0-AE8C-499E-8746-4D6D5FCEB417}"/>
              </a:ext>
            </a:extLst>
          </p:cNvPr>
          <p:cNvSpPr>
            <a:spLocks noGrp="1"/>
          </p:cNvSpPr>
          <p:nvPr>
            <p:ph type="title" idx="4294967295"/>
          </p:nvPr>
        </p:nvSpPr>
        <p:spPr>
          <a:xfrm>
            <a:off x="268928" y="289512"/>
            <a:ext cx="11655078" cy="899665"/>
          </a:xfrm>
        </p:spPr>
        <p:txBody>
          <a:bodyPr/>
          <a:lstStyle/>
          <a:p>
            <a:r>
              <a:rPr lang="en-US" dirty="0"/>
              <a:t>Azure Stack is an extension of Azure</a:t>
            </a:r>
            <a:br>
              <a:rPr lang="en-US" dirty="0"/>
            </a:br>
            <a:r>
              <a:rPr lang="en-US" sz="3235" spc="0" dirty="0">
                <a:gradFill>
                  <a:gsLst>
                    <a:gs pos="3000">
                      <a:schemeClr val="tx2"/>
                    </a:gs>
                    <a:gs pos="100000">
                      <a:schemeClr val="tx2"/>
                    </a:gs>
                  </a:gsLst>
                  <a:lin ang="5400000" scaled="0"/>
                </a:gradFill>
                <a:latin typeface="+mn-lt"/>
              </a:rPr>
              <a:t>Consistent hybrid environment</a:t>
            </a:r>
          </a:p>
        </p:txBody>
      </p:sp>
      <p:graphicFrame>
        <p:nvGraphicFramePr>
          <p:cNvPr id="11" name="Diagram 10">
            <a:extLst>
              <a:ext uri="{FF2B5EF4-FFF2-40B4-BE49-F238E27FC236}">
                <a16:creationId xmlns:a16="http://schemas.microsoft.com/office/drawing/2014/main" id="{4F10F2D3-BEF1-438F-81C0-3EB684BFA42C}"/>
              </a:ext>
            </a:extLst>
          </p:cNvPr>
          <p:cNvGraphicFramePr/>
          <p:nvPr>
            <p:extLst>
              <p:ext uri="{D42A27DB-BD31-4B8C-83A1-F6EECF244321}">
                <p14:modId xmlns:p14="http://schemas.microsoft.com/office/powerpoint/2010/main" val="1528744969"/>
              </p:ext>
            </p:extLst>
          </p:nvPr>
        </p:nvGraphicFramePr>
        <p:xfrm>
          <a:off x="3943152" y="2496456"/>
          <a:ext cx="3929542" cy="28197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Box 11">
            <a:extLst>
              <a:ext uri="{FF2B5EF4-FFF2-40B4-BE49-F238E27FC236}">
                <a16:creationId xmlns:a16="http://schemas.microsoft.com/office/drawing/2014/main" id="{AEFA11A0-ED88-4FAE-A299-D16B33C0D148}"/>
              </a:ext>
            </a:extLst>
          </p:cNvPr>
          <p:cNvSpPr txBox="1"/>
          <p:nvPr/>
        </p:nvSpPr>
        <p:spPr>
          <a:xfrm>
            <a:off x="4927992" y="3641479"/>
            <a:ext cx="2008085" cy="634443"/>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2400" dirty="0">
                <a:latin typeface="Segoe UI"/>
              </a:rPr>
              <a:t>Consistency</a:t>
            </a:r>
          </a:p>
        </p:txBody>
      </p:sp>
      <p:sp>
        <p:nvSpPr>
          <p:cNvPr id="13" name="Title 9">
            <a:extLst>
              <a:ext uri="{FF2B5EF4-FFF2-40B4-BE49-F238E27FC236}">
                <a16:creationId xmlns:a16="http://schemas.microsoft.com/office/drawing/2014/main" id="{6591468C-6416-4991-BF34-D861D4380B64}"/>
              </a:ext>
            </a:extLst>
          </p:cNvPr>
          <p:cNvSpPr txBox="1">
            <a:spLocks/>
          </p:cNvSpPr>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endParaRPr lang="en-US" sz="2941" spc="0" dirty="0">
              <a:gradFill>
                <a:gsLst>
                  <a:gs pos="1250">
                    <a:srgbClr val="353535"/>
                  </a:gs>
                  <a:gs pos="100000">
                    <a:srgbClr val="353535"/>
                  </a:gs>
                </a:gsLst>
                <a:lin ang="5400000" scaled="0"/>
              </a:gradFill>
              <a:latin typeface="Segoe UI Semilight"/>
            </a:endParaRPr>
          </a:p>
        </p:txBody>
      </p:sp>
      <p:grpSp>
        <p:nvGrpSpPr>
          <p:cNvPr id="14" name="Group 13">
            <a:extLst>
              <a:ext uri="{FF2B5EF4-FFF2-40B4-BE49-F238E27FC236}">
                <a16:creationId xmlns:a16="http://schemas.microsoft.com/office/drawing/2014/main" id="{21F4E1BA-C1D7-44F4-815A-4AEAB15CEEA8}"/>
              </a:ext>
            </a:extLst>
          </p:cNvPr>
          <p:cNvGrpSpPr/>
          <p:nvPr/>
        </p:nvGrpSpPr>
        <p:grpSpPr>
          <a:xfrm>
            <a:off x="372430" y="2653541"/>
            <a:ext cx="3899207" cy="2243261"/>
            <a:chOff x="789763" y="2625693"/>
            <a:chExt cx="4301008" cy="2256927"/>
          </a:xfrm>
        </p:grpSpPr>
        <p:grpSp>
          <p:nvGrpSpPr>
            <p:cNvPr id="15" name="Group 14">
              <a:extLst>
                <a:ext uri="{FF2B5EF4-FFF2-40B4-BE49-F238E27FC236}">
                  <a16:creationId xmlns:a16="http://schemas.microsoft.com/office/drawing/2014/main" id="{3AFA11D1-AE60-42B4-BEF0-F816DB9360F9}"/>
                </a:ext>
              </a:extLst>
            </p:cNvPr>
            <p:cNvGrpSpPr/>
            <p:nvPr/>
          </p:nvGrpSpPr>
          <p:grpSpPr>
            <a:xfrm>
              <a:off x="1050146" y="2625693"/>
              <a:ext cx="3796492" cy="2093550"/>
              <a:chOff x="-5282916" y="-3376602"/>
              <a:chExt cx="6672732" cy="3679633"/>
            </a:xfrm>
          </p:grpSpPr>
          <p:sp>
            <p:nvSpPr>
              <p:cNvPr id="17" name="Freeform 154">
                <a:extLst>
                  <a:ext uri="{FF2B5EF4-FFF2-40B4-BE49-F238E27FC236}">
                    <a16:creationId xmlns:a16="http://schemas.microsoft.com/office/drawing/2014/main" id="{9E8D5A94-CEC1-4E4A-A357-A29FEF5E5B2D}"/>
                  </a:ext>
                </a:extLst>
              </p:cNvPr>
              <p:cNvSpPr>
                <a:spLocks noChangeAspect="1"/>
              </p:cNvSpPr>
              <p:nvPr/>
            </p:nvSpPr>
            <p:spPr bwMode="auto">
              <a:xfrm>
                <a:off x="-5270640" y="-3373539"/>
                <a:ext cx="6619619" cy="3673779"/>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blipFill>
                <a:blip r:embed="rId8" cstate="email">
                  <a:extLst>
                    <a:ext uri="{28A0092B-C50C-407E-A947-70E740481C1C}">
                      <a14:useLocalDpi xmlns:a14="http://schemas.microsoft.com/office/drawing/2010/main"/>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8" name="Oval 17">
                <a:extLst>
                  <a:ext uri="{FF2B5EF4-FFF2-40B4-BE49-F238E27FC236}">
                    <a16:creationId xmlns:a16="http://schemas.microsoft.com/office/drawing/2014/main" id="{949E47D9-5B55-4863-9A83-4154E999A2B9}"/>
                  </a:ext>
                </a:extLst>
              </p:cNvPr>
              <p:cNvSpPr/>
              <p:nvPr/>
            </p:nvSpPr>
            <p:spPr bwMode="auto">
              <a:xfrm flipV="1">
                <a:off x="-3565808" y="-3376602"/>
                <a:ext cx="3136153" cy="3136153"/>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9" name="Oval 18">
                <a:extLst>
                  <a:ext uri="{FF2B5EF4-FFF2-40B4-BE49-F238E27FC236}">
                    <a16:creationId xmlns:a16="http://schemas.microsoft.com/office/drawing/2014/main" id="{45E2C9E8-73AC-445B-8109-8C9066F1F490}"/>
                  </a:ext>
                </a:extLst>
              </p:cNvPr>
              <p:cNvSpPr/>
              <p:nvPr/>
            </p:nvSpPr>
            <p:spPr bwMode="auto">
              <a:xfrm rot="6300000">
                <a:off x="-5282916" y="-1220243"/>
                <a:ext cx="1523274" cy="1523274"/>
              </a:xfrm>
              <a:prstGeom prst="ellipse">
                <a:avLst/>
              </a:prstGeom>
              <a:gradFill>
                <a:gsLst>
                  <a:gs pos="0">
                    <a:schemeClr val="bg1">
                      <a:alpha val="3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0" name="Oval 19">
                <a:extLst>
                  <a:ext uri="{FF2B5EF4-FFF2-40B4-BE49-F238E27FC236}">
                    <a16:creationId xmlns:a16="http://schemas.microsoft.com/office/drawing/2014/main" id="{42BE573E-56B2-4C30-A9AA-9029A5A38706}"/>
                  </a:ext>
                </a:extLst>
              </p:cNvPr>
              <p:cNvSpPr/>
              <p:nvPr/>
            </p:nvSpPr>
            <p:spPr bwMode="auto">
              <a:xfrm rot="7200000">
                <a:off x="-4436495" y="-2263574"/>
                <a:ext cx="1792088" cy="1792088"/>
              </a:xfrm>
              <a:prstGeom prst="ellipse">
                <a:avLst/>
              </a:prstGeom>
              <a:gradFill>
                <a:gsLst>
                  <a:gs pos="0">
                    <a:schemeClr val="bg1">
                      <a:alpha val="27000"/>
                    </a:schemeClr>
                  </a:gs>
                  <a:gs pos="35360">
                    <a:srgbClr val="FFFFFF">
                      <a:alpha val="8000"/>
                    </a:srgbClr>
                  </a:gs>
                  <a:gs pos="8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1" name="Oval 20">
                <a:extLst>
                  <a:ext uri="{FF2B5EF4-FFF2-40B4-BE49-F238E27FC236}">
                    <a16:creationId xmlns:a16="http://schemas.microsoft.com/office/drawing/2014/main" id="{E82D8D5F-4326-431B-9928-D70C7A0958F3}"/>
                  </a:ext>
                </a:extLst>
              </p:cNvPr>
              <p:cNvSpPr/>
              <p:nvPr/>
            </p:nvSpPr>
            <p:spPr bwMode="auto">
              <a:xfrm rot="16200000" flipH="1">
                <a:off x="-1389816" y="-2484357"/>
                <a:ext cx="2779632" cy="2779632"/>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grpSp>
        <p:sp>
          <p:nvSpPr>
            <p:cNvPr id="16" name="Title">
              <a:extLst>
                <a:ext uri="{FF2B5EF4-FFF2-40B4-BE49-F238E27FC236}">
                  <a16:creationId xmlns:a16="http://schemas.microsoft.com/office/drawing/2014/main" id="{CFA0C67C-7717-4362-9A21-6FEE0A900845}"/>
                </a:ext>
              </a:extLst>
            </p:cNvPr>
            <p:cNvSpPr txBox="1">
              <a:spLocks/>
            </p:cNvSpPr>
            <p:nvPr/>
          </p:nvSpPr>
          <p:spPr>
            <a:xfrm>
              <a:off x="789763" y="3983466"/>
              <a:ext cx="4301008" cy="899154"/>
            </a:xfrm>
            <a:prstGeom prst="rect">
              <a:avLst/>
            </a:prstGeom>
          </p:spPr>
          <p:txBody>
            <a:bodyPr vert="horz" wrap="square" lIns="140528" tIns="87831" rIns="140528" bIns="87831"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78053">
                <a:defRPr/>
              </a:pPr>
              <a:r>
                <a:rPr lang="en-US" sz="2800" kern="0" spc="-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p>
          </p:txBody>
        </p:sp>
      </p:grpSp>
      <p:pic>
        <p:nvPicPr>
          <p:cNvPr id="31" name="Graphic 30" descr="City">
            <a:extLst>
              <a:ext uri="{FF2B5EF4-FFF2-40B4-BE49-F238E27FC236}">
                <a16:creationId xmlns:a16="http://schemas.microsoft.com/office/drawing/2014/main" id="{4F5DAD57-E9B8-4C7D-A551-2D2250F025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30527" y="2240633"/>
            <a:ext cx="3101121" cy="3101121"/>
          </a:xfrm>
          <a:prstGeom prst="rect">
            <a:avLst/>
          </a:prstGeom>
        </p:spPr>
      </p:pic>
      <p:grpSp>
        <p:nvGrpSpPr>
          <p:cNvPr id="22" name="Group 21">
            <a:extLst>
              <a:ext uri="{FF2B5EF4-FFF2-40B4-BE49-F238E27FC236}">
                <a16:creationId xmlns:a16="http://schemas.microsoft.com/office/drawing/2014/main" id="{C9273EDD-90E1-46CA-BFB1-17786051C747}"/>
              </a:ext>
            </a:extLst>
          </p:cNvPr>
          <p:cNvGrpSpPr/>
          <p:nvPr/>
        </p:nvGrpSpPr>
        <p:grpSpPr>
          <a:xfrm>
            <a:off x="7161984" y="2668630"/>
            <a:ext cx="3850119" cy="2154600"/>
            <a:chOff x="789763" y="2625693"/>
            <a:chExt cx="4301008" cy="2256927"/>
          </a:xfrm>
        </p:grpSpPr>
        <p:grpSp>
          <p:nvGrpSpPr>
            <p:cNvPr id="23" name="Group 22">
              <a:extLst>
                <a:ext uri="{FF2B5EF4-FFF2-40B4-BE49-F238E27FC236}">
                  <a16:creationId xmlns:a16="http://schemas.microsoft.com/office/drawing/2014/main" id="{C45D8484-C45E-4095-9281-95A7A7952A65}"/>
                </a:ext>
              </a:extLst>
            </p:cNvPr>
            <p:cNvGrpSpPr/>
            <p:nvPr/>
          </p:nvGrpSpPr>
          <p:grpSpPr>
            <a:xfrm>
              <a:off x="1050146" y="2625693"/>
              <a:ext cx="3796492" cy="2093550"/>
              <a:chOff x="-5282916" y="-3376602"/>
              <a:chExt cx="6672732" cy="3679633"/>
            </a:xfrm>
          </p:grpSpPr>
          <p:sp>
            <p:nvSpPr>
              <p:cNvPr id="25" name="Freeform 154">
                <a:extLst>
                  <a:ext uri="{FF2B5EF4-FFF2-40B4-BE49-F238E27FC236}">
                    <a16:creationId xmlns:a16="http://schemas.microsoft.com/office/drawing/2014/main" id="{EF84A77B-8860-4296-960E-9DF4D325FC98}"/>
                  </a:ext>
                </a:extLst>
              </p:cNvPr>
              <p:cNvSpPr>
                <a:spLocks noChangeAspect="1"/>
              </p:cNvSpPr>
              <p:nvPr/>
            </p:nvSpPr>
            <p:spPr bwMode="auto">
              <a:xfrm>
                <a:off x="-5270640" y="-3373539"/>
                <a:ext cx="6619619" cy="3673779"/>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blipFill>
                <a:blip r:embed="rId11" cstate="email">
                  <a:extLst>
                    <a:ext uri="{28A0092B-C50C-407E-A947-70E740481C1C}">
                      <a14:useLocalDpi xmlns:a14="http://schemas.microsoft.com/office/drawing/2010/main"/>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6" name="Oval 25">
                <a:extLst>
                  <a:ext uri="{FF2B5EF4-FFF2-40B4-BE49-F238E27FC236}">
                    <a16:creationId xmlns:a16="http://schemas.microsoft.com/office/drawing/2014/main" id="{ADD6AF3B-A468-4766-8697-8A0E0E65FC17}"/>
                  </a:ext>
                </a:extLst>
              </p:cNvPr>
              <p:cNvSpPr/>
              <p:nvPr/>
            </p:nvSpPr>
            <p:spPr bwMode="auto">
              <a:xfrm flipV="1">
                <a:off x="-3565808" y="-3376602"/>
                <a:ext cx="3136153" cy="3136153"/>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7" name="Oval 26">
                <a:extLst>
                  <a:ext uri="{FF2B5EF4-FFF2-40B4-BE49-F238E27FC236}">
                    <a16:creationId xmlns:a16="http://schemas.microsoft.com/office/drawing/2014/main" id="{557AAFF8-05DF-4599-93C8-37D05307461E}"/>
                  </a:ext>
                </a:extLst>
              </p:cNvPr>
              <p:cNvSpPr/>
              <p:nvPr/>
            </p:nvSpPr>
            <p:spPr bwMode="auto">
              <a:xfrm rot="6300000">
                <a:off x="-5282916" y="-1220243"/>
                <a:ext cx="1523274" cy="1523274"/>
              </a:xfrm>
              <a:prstGeom prst="ellipse">
                <a:avLst/>
              </a:prstGeom>
              <a:gradFill>
                <a:gsLst>
                  <a:gs pos="0">
                    <a:schemeClr val="bg1">
                      <a:alpha val="3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8" name="Oval 27">
                <a:extLst>
                  <a:ext uri="{FF2B5EF4-FFF2-40B4-BE49-F238E27FC236}">
                    <a16:creationId xmlns:a16="http://schemas.microsoft.com/office/drawing/2014/main" id="{F5F3BE3D-F983-45A1-955E-B8C9C69C88D5}"/>
                  </a:ext>
                </a:extLst>
              </p:cNvPr>
              <p:cNvSpPr/>
              <p:nvPr/>
            </p:nvSpPr>
            <p:spPr bwMode="auto">
              <a:xfrm rot="7200000">
                <a:off x="-4436495" y="-2263574"/>
                <a:ext cx="1792088" cy="1792088"/>
              </a:xfrm>
              <a:prstGeom prst="ellipse">
                <a:avLst/>
              </a:prstGeom>
              <a:gradFill>
                <a:gsLst>
                  <a:gs pos="0">
                    <a:schemeClr val="bg1">
                      <a:alpha val="27000"/>
                    </a:schemeClr>
                  </a:gs>
                  <a:gs pos="35360">
                    <a:srgbClr val="FFFFFF">
                      <a:alpha val="8000"/>
                    </a:srgbClr>
                  </a:gs>
                  <a:gs pos="8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9" name="Oval 28">
                <a:extLst>
                  <a:ext uri="{FF2B5EF4-FFF2-40B4-BE49-F238E27FC236}">
                    <a16:creationId xmlns:a16="http://schemas.microsoft.com/office/drawing/2014/main" id="{05B5ABEA-37EC-433A-A5FF-84BB0FAE0369}"/>
                  </a:ext>
                </a:extLst>
              </p:cNvPr>
              <p:cNvSpPr/>
              <p:nvPr/>
            </p:nvSpPr>
            <p:spPr bwMode="auto">
              <a:xfrm rot="16200000" flipH="1">
                <a:off x="-1389816" y="-2484357"/>
                <a:ext cx="2779632" cy="2779632"/>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grpSp>
        <p:sp>
          <p:nvSpPr>
            <p:cNvPr id="24" name="Title">
              <a:extLst>
                <a:ext uri="{FF2B5EF4-FFF2-40B4-BE49-F238E27FC236}">
                  <a16:creationId xmlns:a16="http://schemas.microsoft.com/office/drawing/2014/main" id="{B5BA4749-711E-47EE-8288-8A556EE1238E}"/>
                </a:ext>
              </a:extLst>
            </p:cNvPr>
            <p:cNvSpPr txBox="1">
              <a:spLocks/>
            </p:cNvSpPr>
            <p:nvPr/>
          </p:nvSpPr>
          <p:spPr>
            <a:xfrm>
              <a:off x="789763" y="3983466"/>
              <a:ext cx="4301008" cy="899154"/>
            </a:xfrm>
            <a:prstGeom prst="rect">
              <a:avLst/>
            </a:prstGeom>
          </p:spPr>
          <p:txBody>
            <a:bodyPr vert="horz" wrap="square" lIns="140528" tIns="87831" rIns="140528" bIns="87831"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78053">
                <a:defRPr/>
              </a:pPr>
              <a:r>
                <a:rPr lang="en-US" sz="2800" kern="0" spc="-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Stack</a:t>
              </a:r>
            </a:p>
          </p:txBody>
        </p:sp>
      </p:grpSp>
    </p:spTree>
    <p:extLst>
      <p:ext uri="{BB962C8B-B14F-4D97-AF65-F5344CB8AC3E}">
        <p14:creationId xmlns:p14="http://schemas.microsoft.com/office/powerpoint/2010/main" val="26856715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F9E618-6A3E-4EAA-A258-368611C6054C}"/>
              </a:ext>
            </a:extLst>
          </p:cNvPr>
          <p:cNvSpPr/>
          <p:nvPr/>
        </p:nvSpPr>
        <p:spPr>
          <a:xfrm>
            <a:off x="791600" y="4393998"/>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Consistent </a:t>
            </a:r>
          </a:p>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application development</a:t>
            </a:r>
          </a:p>
        </p:txBody>
      </p:sp>
      <p:sp>
        <p:nvSpPr>
          <p:cNvPr id="3" name="Rectangle 2">
            <a:extLst>
              <a:ext uri="{FF2B5EF4-FFF2-40B4-BE49-F238E27FC236}">
                <a16:creationId xmlns:a16="http://schemas.microsoft.com/office/drawing/2014/main" id="{840D4343-F331-4C73-B4B5-2BAB02EA3B3E}"/>
              </a:ext>
            </a:extLst>
          </p:cNvPr>
          <p:cNvSpPr/>
          <p:nvPr/>
        </p:nvSpPr>
        <p:spPr>
          <a:xfrm>
            <a:off x="4348220" y="4393998"/>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 Azure services </a:t>
            </a:r>
          </a:p>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available on-premises</a:t>
            </a:r>
          </a:p>
        </p:txBody>
      </p:sp>
      <p:sp>
        <p:nvSpPr>
          <p:cNvPr id="4" name="Rectangle 3">
            <a:extLst>
              <a:ext uri="{FF2B5EF4-FFF2-40B4-BE49-F238E27FC236}">
                <a16:creationId xmlns:a16="http://schemas.microsoft.com/office/drawing/2014/main" id="{098FF3B5-B51E-4171-AFC5-D6D362B7237F}"/>
              </a:ext>
            </a:extLst>
          </p:cNvPr>
          <p:cNvSpPr/>
          <p:nvPr/>
        </p:nvSpPr>
        <p:spPr>
          <a:xfrm>
            <a:off x="7933132" y="4393998"/>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Integrated </a:t>
            </a:r>
          </a:p>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delivery experience</a:t>
            </a:r>
          </a:p>
        </p:txBody>
      </p:sp>
      <p:cxnSp>
        <p:nvCxnSpPr>
          <p:cNvPr id="6" name="Straight Connector 5">
            <a:extLst>
              <a:ext uri="{FF2B5EF4-FFF2-40B4-BE49-F238E27FC236}">
                <a16:creationId xmlns:a16="http://schemas.microsoft.com/office/drawing/2014/main" id="{59F594D0-E4C6-41D4-839F-A3B9F2319B29}"/>
              </a:ext>
            </a:extLst>
          </p:cNvPr>
          <p:cNvCxnSpPr>
            <a:cxnSpLocks/>
          </p:cNvCxnSpPr>
          <p:nvPr/>
        </p:nvCxnSpPr>
        <p:spPr>
          <a:xfrm>
            <a:off x="5984215" y="1677183"/>
            <a:ext cx="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32">
            <a:extLst>
              <a:ext uri="{FF2B5EF4-FFF2-40B4-BE49-F238E27FC236}">
                <a16:creationId xmlns:a16="http://schemas.microsoft.com/office/drawing/2014/main" id="{29A4157B-AB17-4912-B6A2-B7AC7831BAC6}"/>
              </a:ext>
            </a:extLst>
          </p:cNvPr>
          <p:cNvSpPr txBox="1">
            <a:spLocks/>
          </p:cNvSpPr>
          <p:nvPr/>
        </p:nvSpPr>
        <p:spPr>
          <a:xfrm>
            <a:off x="269241" y="289958"/>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endParaRPr lang="en-US" sz="4400" spc="-100" dirty="0">
              <a:gradFill>
                <a:gsLst>
                  <a:gs pos="1250">
                    <a:srgbClr val="353535"/>
                  </a:gs>
                  <a:gs pos="100000">
                    <a:srgbClr val="353535"/>
                  </a:gs>
                </a:gsLst>
                <a:lin ang="5400000" scaled="0"/>
              </a:gradFill>
              <a:latin typeface="Segoe UI Light"/>
            </a:endParaRPr>
          </a:p>
        </p:txBody>
      </p:sp>
      <p:grpSp>
        <p:nvGrpSpPr>
          <p:cNvPr id="8" name="Group 7">
            <a:extLst>
              <a:ext uri="{FF2B5EF4-FFF2-40B4-BE49-F238E27FC236}">
                <a16:creationId xmlns:a16="http://schemas.microsoft.com/office/drawing/2014/main" id="{6EE55E0E-2117-4404-871D-3C7D3966B8E0}"/>
              </a:ext>
            </a:extLst>
          </p:cNvPr>
          <p:cNvGrpSpPr/>
          <p:nvPr/>
        </p:nvGrpSpPr>
        <p:grpSpPr>
          <a:xfrm>
            <a:off x="1157382" y="1216726"/>
            <a:ext cx="2775164" cy="2775162"/>
            <a:chOff x="1156681" y="1216412"/>
            <a:chExt cx="2775558" cy="2775556"/>
          </a:xfrm>
        </p:grpSpPr>
        <p:sp>
          <p:nvSpPr>
            <p:cNvPr id="9" name="Diamond 8">
              <a:extLst>
                <a:ext uri="{FF2B5EF4-FFF2-40B4-BE49-F238E27FC236}">
                  <a16:creationId xmlns:a16="http://schemas.microsoft.com/office/drawing/2014/main" id="{02E96612-4E93-465D-A7C5-1AE4686915FA}"/>
                </a:ext>
              </a:extLst>
            </p:cNvPr>
            <p:cNvSpPr/>
            <p:nvPr/>
          </p:nvSpPr>
          <p:spPr bwMode="auto">
            <a:xfrm>
              <a:off x="1156681" y="1216412"/>
              <a:ext cx="2775558" cy="2775556"/>
            </a:xfrm>
            <a:prstGeom prst="diamond">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4">
              <a:extLst>
                <a:ext uri="{FF2B5EF4-FFF2-40B4-BE49-F238E27FC236}">
                  <a16:creationId xmlns:a16="http://schemas.microsoft.com/office/drawing/2014/main" id="{4F43A11A-79CF-4965-8399-CD78EBE7913A}"/>
                </a:ext>
              </a:extLst>
            </p:cNvPr>
            <p:cNvGrpSpPr>
              <a:grpSpLocks noChangeAspect="1"/>
            </p:cNvGrpSpPr>
            <p:nvPr/>
          </p:nvGrpSpPr>
          <p:grpSpPr bwMode="auto">
            <a:xfrm>
              <a:off x="2011767" y="2020493"/>
              <a:ext cx="1065384" cy="1167392"/>
              <a:chOff x="3412" y="-353"/>
              <a:chExt cx="188" cy="206"/>
            </a:xfrm>
          </p:grpSpPr>
          <p:sp>
            <p:nvSpPr>
              <p:cNvPr id="11" name="Line 5">
                <a:extLst>
                  <a:ext uri="{FF2B5EF4-FFF2-40B4-BE49-F238E27FC236}">
                    <a16:creationId xmlns:a16="http://schemas.microsoft.com/office/drawing/2014/main" id="{B2577C28-8D40-4B15-BFE1-84EA97DACF5B}"/>
                  </a:ext>
                </a:extLst>
              </p:cNvPr>
              <p:cNvSpPr>
                <a:spLocks noChangeShapeType="1"/>
              </p:cNvSpPr>
              <p:nvPr/>
            </p:nvSpPr>
            <p:spPr bwMode="auto">
              <a:xfrm>
                <a:off x="3523" y="-209"/>
                <a:ext cx="4" cy="10"/>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2" name="Line 6">
                <a:extLst>
                  <a:ext uri="{FF2B5EF4-FFF2-40B4-BE49-F238E27FC236}">
                    <a16:creationId xmlns:a16="http://schemas.microsoft.com/office/drawing/2014/main" id="{928DC605-6658-4899-99C9-C8D4A331303C}"/>
                  </a:ext>
                </a:extLst>
              </p:cNvPr>
              <p:cNvSpPr>
                <a:spLocks noChangeShapeType="1"/>
              </p:cNvSpPr>
              <p:nvPr/>
            </p:nvSpPr>
            <p:spPr bwMode="auto">
              <a:xfrm>
                <a:off x="3484" y="-301"/>
                <a:ext cx="5" cy="12"/>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3" name="Line 7">
                <a:extLst>
                  <a:ext uri="{FF2B5EF4-FFF2-40B4-BE49-F238E27FC236}">
                    <a16:creationId xmlns:a16="http://schemas.microsoft.com/office/drawing/2014/main" id="{7ABD2916-175A-4BA3-98B5-0A20737824B4}"/>
                  </a:ext>
                </a:extLst>
              </p:cNvPr>
              <p:cNvSpPr>
                <a:spLocks noChangeShapeType="1"/>
              </p:cNvSpPr>
              <p:nvPr/>
            </p:nvSpPr>
            <p:spPr bwMode="auto">
              <a:xfrm flipH="1">
                <a:off x="3484" y="-209"/>
                <a:ext cx="5" cy="10"/>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4" name="Line 8">
                <a:extLst>
                  <a:ext uri="{FF2B5EF4-FFF2-40B4-BE49-F238E27FC236}">
                    <a16:creationId xmlns:a16="http://schemas.microsoft.com/office/drawing/2014/main" id="{7715E233-24FA-4F0F-B484-0D3C87469A2A}"/>
                  </a:ext>
                </a:extLst>
              </p:cNvPr>
              <p:cNvSpPr>
                <a:spLocks noChangeShapeType="1"/>
              </p:cNvSpPr>
              <p:nvPr/>
            </p:nvSpPr>
            <p:spPr bwMode="auto">
              <a:xfrm flipH="1">
                <a:off x="3523" y="-301"/>
                <a:ext cx="4" cy="12"/>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5" name="Line 9">
                <a:extLst>
                  <a:ext uri="{FF2B5EF4-FFF2-40B4-BE49-F238E27FC236}">
                    <a16:creationId xmlns:a16="http://schemas.microsoft.com/office/drawing/2014/main" id="{BA4260DB-7DCF-4709-849D-9DCFAA75B818}"/>
                  </a:ext>
                </a:extLst>
              </p:cNvPr>
              <p:cNvSpPr>
                <a:spLocks noChangeShapeType="1"/>
              </p:cNvSpPr>
              <p:nvPr/>
            </p:nvSpPr>
            <p:spPr bwMode="auto">
              <a:xfrm>
                <a:off x="3546" y="-233"/>
                <a:ext cx="11" cy="4"/>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6" name="Line 10">
                <a:extLst>
                  <a:ext uri="{FF2B5EF4-FFF2-40B4-BE49-F238E27FC236}">
                    <a16:creationId xmlns:a16="http://schemas.microsoft.com/office/drawing/2014/main" id="{A72FF832-D287-472C-93AC-0E9BD7D2A6A8}"/>
                  </a:ext>
                </a:extLst>
              </p:cNvPr>
              <p:cNvSpPr>
                <a:spLocks noChangeShapeType="1"/>
              </p:cNvSpPr>
              <p:nvPr/>
            </p:nvSpPr>
            <p:spPr bwMode="auto">
              <a:xfrm>
                <a:off x="3454" y="-271"/>
                <a:ext cx="11" cy="6"/>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7" name="Line 11">
                <a:extLst>
                  <a:ext uri="{FF2B5EF4-FFF2-40B4-BE49-F238E27FC236}">
                    <a16:creationId xmlns:a16="http://schemas.microsoft.com/office/drawing/2014/main" id="{CB650A04-7434-4D07-9065-A83ED6E6DD20}"/>
                  </a:ext>
                </a:extLst>
              </p:cNvPr>
              <p:cNvSpPr>
                <a:spLocks noChangeShapeType="1"/>
              </p:cNvSpPr>
              <p:nvPr/>
            </p:nvSpPr>
            <p:spPr bwMode="auto">
              <a:xfrm flipV="1">
                <a:off x="3546" y="-271"/>
                <a:ext cx="11" cy="6"/>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 name="Line 12">
                <a:extLst>
                  <a:ext uri="{FF2B5EF4-FFF2-40B4-BE49-F238E27FC236}">
                    <a16:creationId xmlns:a16="http://schemas.microsoft.com/office/drawing/2014/main" id="{19EDA8A9-37BF-4E56-95BF-D82B43CEF30C}"/>
                  </a:ext>
                </a:extLst>
              </p:cNvPr>
              <p:cNvSpPr>
                <a:spLocks noChangeShapeType="1"/>
              </p:cNvSpPr>
              <p:nvPr/>
            </p:nvSpPr>
            <p:spPr bwMode="auto">
              <a:xfrm flipV="1">
                <a:off x="3454" y="-233"/>
                <a:ext cx="11" cy="4"/>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9" name="Oval 13">
                <a:extLst>
                  <a:ext uri="{FF2B5EF4-FFF2-40B4-BE49-F238E27FC236}">
                    <a16:creationId xmlns:a16="http://schemas.microsoft.com/office/drawing/2014/main" id="{0B5BFC44-BAB9-4D9E-A7C0-449AE719A1BE}"/>
                  </a:ext>
                </a:extLst>
              </p:cNvPr>
              <p:cNvSpPr>
                <a:spLocks noChangeArrowheads="1"/>
              </p:cNvSpPr>
              <p:nvPr/>
            </p:nvSpPr>
            <p:spPr bwMode="auto">
              <a:xfrm>
                <a:off x="3467" y="-289"/>
                <a:ext cx="77" cy="80"/>
              </a:xfrm>
              <a:prstGeom prst="ellipse">
                <a:avLst/>
              </a:prstGeom>
              <a:ln>
                <a:headEnd/>
                <a:tailEnd/>
              </a:ln>
              <a:extLst>
                <a:ext uri="{909E8E84-426E-40DD-AFC4-6F175D3DCCD1}">
                  <a14:hiddenFill xmlns:a14="http://schemas.microsoft.com/office/drawing/2010/main">
                    <a:solidFill>
                      <a:srgbClr val="FFFFFF"/>
                    </a:solidFill>
                  </a14:hiddenFill>
                </a:ext>
              </a:extLst>
            </p:spPr>
            <p:style>
              <a:lnRef idx="0">
                <a:schemeClr val="accent4"/>
              </a:lnRef>
              <a:fillRef idx="3">
                <a:schemeClr val="accent4"/>
              </a:fillRef>
              <a:effectRef idx="3">
                <a:schemeClr val="accent4"/>
              </a:effectRef>
              <a:fontRef idx="minor">
                <a:schemeClr val="lt1"/>
              </a:fontRef>
            </p:style>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0" name="Freeform 14">
                <a:extLst>
                  <a:ext uri="{FF2B5EF4-FFF2-40B4-BE49-F238E27FC236}">
                    <a16:creationId xmlns:a16="http://schemas.microsoft.com/office/drawing/2014/main" id="{2DCBD467-7919-4E3C-9223-855844433412}"/>
                  </a:ext>
                </a:extLst>
              </p:cNvPr>
              <p:cNvSpPr>
                <a:spLocks/>
              </p:cNvSpPr>
              <p:nvPr/>
            </p:nvSpPr>
            <p:spPr bwMode="auto">
              <a:xfrm>
                <a:off x="3412" y="-340"/>
                <a:ext cx="68" cy="182"/>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2698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1" name="Freeform 15">
                <a:extLst>
                  <a:ext uri="{FF2B5EF4-FFF2-40B4-BE49-F238E27FC236}">
                    <a16:creationId xmlns:a16="http://schemas.microsoft.com/office/drawing/2014/main" id="{6A6BC632-634E-4D5C-9849-24CBD002110D}"/>
                  </a:ext>
                </a:extLst>
              </p:cNvPr>
              <p:cNvSpPr>
                <a:spLocks/>
              </p:cNvSpPr>
              <p:nvPr/>
            </p:nvSpPr>
            <p:spPr bwMode="auto">
              <a:xfrm>
                <a:off x="3531" y="-340"/>
                <a:ext cx="69" cy="182"/>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2698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2" name="Freeform 16">
                <a:extLst>
                  <a:ext uri="{FF2B5EF4-FFF2-40B4-BE49-F238E27FC236}">
                    <a16:creationId xmlns:a16="http://schemas.microsoft.com/office/drawing/2014/main" id="{A50D59B4-C43C-4ED0-8259-08C047624C97}"/>
                  </a:ext>
                </a:extLst>
              </p:cNvPr>
              <p:cNvSpPr>
                <a:spLocks/>
              </p:cNvSpPr>
              <p:nvPr/>
            </p:nvSpPr>
            <p:spPr bwMode="auto">
              <a:xfrm>
                <a:off x="3531" y="-353"/>
                <a:ext cx="32" cy="43"/>
              </a:xfrm>
              <a:custGeom>
                <a:avLst/>
                <a:gdLst>
                  <a:gd name="T0" fmla="*/ 9 w 32"/>
                  <a:gd name="T1" fmla="*/ 43 h 43"/>
                  <a:gd name="T2" fmla="*/ 0 w 32"/>
                  <a:gd name="T3" fmla="*/ 9 h 43"/>
                  <a:gd name="T4" fmla="*/ 32 w 32"/>
                  <a:gd name="T5" fmla="*/ 0 h 43"/>
                </a:gdLst>
                <a:ahLst/>
                <a:cxnLst>
                  <a:cxn ang="0">
                    <a:pos x="T0" y="T1"/>
                  </a:cxn>
                  <a:cxn ang="0">
                    <a:pos x="T2" y="T3"/>
                  </a:cxn>
                  <a:cxn ang="0">
                    <a:pos x="T4" y="T5"/>
                  </a:cxn>
                </a:cxnLst>
                <a:rect l="0" t="0" r="r" b="b"/>
                <a:pathLst>
                  <a:path w="32" h="43">
                    <a:moveTo>
                      <a:pt x="9" y="43"/>
                    </a:moveTo>
                    <a:lnTo>
                      <a:pt x="0" y="9"/>
                    </a:lnTo>
                    <a:lnTo>
                      <a:pt x="32" y="0"/>
                    </a:lnTo>
                  </a:path>
                </a:pathLst>
              </a:custGeom>
              <a:noFill/>
              <a:ln w="2698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3" name="Freeform 17">
                <a:extLst>
                  <a:ext uri="{FF2B5EF4-FFF2-40B4-BE49-F238E27FC236}">
                    <a16:creationId xmlns:a16="http://schemas.microsoft.com/office/drawing/2014/main" id="{71818C62-EEE4-4315-9B44-95998B32D4B7}"/>
                  </a:ext>
                </a:extLst>
              </p:cNvPr>
              <p:cNvSpPr>
                <a:spLocks/>
              </p:cNvSpPr>
              <p:nvPr/>
            </p:nvSpPr>
            <p:spPr bwMode="auto">
              <a:xfrm>
                <a:off x="3448" y="-190"/>
                <a:ext cx="32" cy="43"/>
              </a:xfrm>
              <a:custGeom>
                <a:avLst/>
                <a:gdLst>
                  <a:gd name="T0" fmla="*/ 23 w 32"/>
                  <a:gd name="T1" fmla="*/ 0 h 43"/>
                  <a:gd name="T2" fmla="*/ 32 w 32"/>
                  <a:gd name="T3" fmla="*/ 34 h 43"/>
                  <a:gd name="T4" fmla="*/ 0 w 32"/>
                  <a:gd name="T5" fmla="*/ 43 h 43"/>
                </a:gdLst>
                <a:ahLst/>
                <a:cxnLst>
                  <a:cxn ang="0">
                    <a:pos x="T0" y="T1"/>
                  </a:cxn>
                  <a:cxn ang="0">
                    <a:pos x="T2" y="T3"/>
                  </a:cxn>
                  <a:cxn ang="0">
                    <a:pos x="T4" y="T5"/>
                  </a:cxn>
                </a:cxnLst>
                <a:rect l="0" t="0" r="r" b="b"/>
                <a:pathLst>
                  <a:path w="32" h="43">
                    <a:moveTo>
                      <a:pt x="23" y="0"/>
                    </a:moveTo>
                    <a:lnTo>
                      <a:pt x="32" y="34"/>
                    </a:lnTo>
                    <a:lnTo>
                      <a:pt x="0" y="43"/>
                    </a:lnTo>
                  </a:path>
                </a:pathLst>
              </a:custGeom>
              <a:noFill/>
              <a:ln w="2698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sp>
        <p:nvSpPr>
          <p:cNvPr id="25" name="Diamond 24">
            <a:extLst>
              <a:ext uri="{FF2B5EF4-FFF2-40B4-BE49-F238E27FC236}">
                <a16:creationId xmlns:a16="http://schemas.microsoft.com/office/drawing/2014/main" id="{C5519F31-EBEA-402E-A44C-E3358B7205AC}"/>
              </a:ext>
            </a:extLst>
          </p:cNvPr>
          <p:cNvSpPr/>
          <p:nvPr/>
        </p:nvSpPr>
        <p:spPr bwMode="auto">
          <a:xfrm>
            <a:off x="4653209" y="1212528"/>
            <a:ext cx="2936418" cy="2936418"/>
          </a:xfrm>
          <a:prstGeom prst="diamond">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sp>
        <p:nvSpPr>
          <p:cNvPr id="28" name="Diamond 27">
            <a:extLst>
              <a:ext uri="{FF2B5EF4-FFF2-40B4-BE49-F238E27FC236}">
                <a16:creationId xmlns:a16="http://schemas.microsoft.com/office/drawing/2014/main" id="{F56B6A51-88AD-42FA-B79A-340134CCD31D}"/>
              </a:ext>
            </a:extLst>
          </p:cNvPr>
          <p:cNvSpPr/>
          <p:nvPr/>
        </p:nvSpPr>
        <p:spPr bwMode="auto">
          <a:xfrm>
            <a:off x="8312197" y="1212530"/>
            <a:ext cx="2771362" cy="2771360"/>
          </a:xfrm>
          <a:prstGeom prst="diamond">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sp>
        <p:nvSpPr>
          <p:cNvPr id="30" name="Title 29">
            <a:extLst>
              <a:ext uri="{FF2B5EF4-FFF2-40B4-BE49-F238E27FC236}">
                <a16:creationId xmlns:a16="http://schemas.microsoft.com/office/drawing/2014/main" id="{EC315C61-9946-48E4-B75D-3C1B558CDB32}"/>
              </a:ext>
            </a:extLst>
          </p:cNvPr>
          <p:cNvSpPr>
            <a:spLocks noGrp="1"/>
          </p:cNvSpPr>
          <p:nvPr>
            <p:ph type="title" idx="4294967295"/>
          </p:nvPr>
        </p:nvSpPr>
        <p:spPr>
          <a:xfrm>
            <a:off x="268928" y="289512"/>
            <a:ext cx="11655078" cy="899665"/>
          </a:xfrm>
        </p:spPr>
        <p:txBody>
          <a:bodyPr/>
          <a:lstStyle/>
          <a:p>
            <a:r>
              <a:rPr lang="en-US" sz="4800" dirty="0">
                <a:solidFill>
                  <a:schemeClr val="tx1"/>
                </a:solidFill>
              </a:rPr>
              <a:t>Azure Stack</a:t>
            </a:r>
            <a:endParaRPr lang="en-US" dirty="0">
              <a:solidFill>
                <a:schemeClr val="tx1"/>
              </a:solidFill>
            </a:endParaRPr>
          </a:p>
        </p:txBody>
      </p:sp>
      <p:pic>
        <p:nvPicPr>
          <p:cNvPr id="34" name="Graphic 33" descr="Gears">
            <a:extLst>
              <a:ext uri="{FF2B5EF4-FFF2-40B4-BE49-F238E27FC236}">
                <a16:creationId xmlns:a16="http://schemas.microsoft.com/office/drawing/2014/main" id="{7FC53779-C3F4-467E-922A-2648A1F003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28211" y="1945509"/>
            <a:ext cx="1305402" cy="1305402"/>
          </a:xfrm>
          <a:prstGeom prst="rect">
            <a:avLst/>
          </a:prstGeom>
        </p:spPr>
      </p:pic>
      <p:pic>
        <p:nvPicPr>
          <p:cNvPr id="36" name="Graphic 35" descr="Playbook">
            <a:extLst>
              <a:ext uri="{FF2B5EF4-FFF2-40B4-BE49-F238E27FC236}">
                <a16:creationId xmlns:a16="http://schemas.microsoft.com/office/drawing/2014/main" id="{28147B4E-AF2B-43AD-B68B-D5FBD88BBE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79720" y="1984350"/>
            <a:ext cx="1432560" cy="1432560"/>
          </a:xfrm>
          <a:prstGeom prst="rect">
            <a:avLst/>
          </a:prstGeom>
        </p:spPr>
      </p:pic>
    </p:spTree>
    <p:extLst>
      <p:ext uri="{BB962C8B-B14F-4D97-AF65-F5344CB8AC3E}">
        <p14:creationId xmlns:p14="http://schemas.microsoft.com/office/powerpoint/2010/main" val="3324429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B96192FC-F29E-4B0A-861C-8E1603041040}"/>
              </a:ext>
            </a:extLst>
          </p:cNvPr>
          <p:cNvGrpSpPr/>
          <p:nvPr/>
        </p:nvGrpSpPr>
        <p:grpSpPr>
          <a:xfrm>
            <a:off x="3290531" y="3725386"/>
            <a:ext cx="6675120" cy="1581912"/>
            <a:chOff x="3290531" y="3725386"/>
            <a:chExt cx="6675120" cy="1581912"/>
          </a:xfrm>
        </p:grpSpPr>
        <p:sp>
          <p:nvSpPr>
            <p:cNvPr id="19" name="Rectangle 18">
              <a:extLst>
                <a:ext uri="{FF2B5EF4-FFF2-40B4-BE49-F238E27FC236}">
                  <a16:creationId xmlns:a16="http://schemas.microsoft.com/office/drawing/2014/main" id="{7B94D79E-ACEC-45BE-97F6-1D18AF591B3A}"/>
                </a:ext>
              </a:extLst>
            </p:cNvPr>
            <p:cNvSpPr/>
            <p:nvPr/>
          </p:nvSpPr>
          <p:spPr bwMode="auto">
            <a:xfrm>
              <a:off x="3290531" y="3725386"/>
              <a:ext cx="6675120" cy="1581912"/>
            </a:xfrm>
            <a:prstGeom prst="rect">
              <a:avLst/>
            </a:prstGeom>
            <a:solidFill>
              <a:schemeClr val="bg1">
                <a:lumMod val="95000"/>
                <a:alpha val="76000"/>
              </a:schemeClr>
            </a:solidFill>
            <a:ln w="10795" cap="flat" cmpd="sng" algn="ctr">
              <a:noFill/>
              <a:prstDash val="solid"/>
            </a:ln>
            <a:effectLst>
              <a:outerShdw blurRad="190500" dist="38100" dir="2700000" algn="tl" rotWithShape="0">
                <a:prstClr val="black">
                  <a:alpha val="1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noFill/>
                <a:effectLst/>
                <a:uLnTx/>
                <a:uFillTx/>
                <a:latin typeface="Segoe UI Semibold"/>
                <a:ea typeface="+mn-ea"/>
                <a:cs typeface="+mn-cs"/>
              </a:endParaRPr>
            </a:p>
          </p:txBody>
        </p:sp>
        <p:grpSp>
          <p:nvGrpSpPr>
            <p:cNvPr id="10" name="Group 9">
              <a:extLst>
                <a:ext uri="{FF2B5EF4-FFF2-40B4-BE49-F238E27FC236}">
                  <a16:creationId xmlns:a16="http://schemas.microsoft.com/office/drawing/2014/main" id="{6A5FC6C0-C3A7-4731-A6B7-F0FBEE27B06D}"/>
                </a:ext>
              </a:extLst>
            </p:cNvPr>
            <p:cNvGrpSpPr/>
            <p:nvPr/>
          </p:nvGrpSpPr>
          <p:grpSpPr>
            <a:xfrm>
              <a:off x="8292957" y="4389965"/>
              <a:ext cx="261987" cy="303043"/>
              <a:chOff x="7395728" y="4546507"/>
              <a:chExt cx="261987" cy="303043"/>
            </a:xfrm>
          </p:grpSpPr>
          <p:sp>
            <p:nvSpPr>
              <p:cNvPr id="102" name="Freeform 17">
                <a:extLst>
                  <a:ext uri="{FF2B5EF4-FFF2-40B4-BE49-F238E27FC236}">
                    <a16:creationId xmlns:a16="http://schemas.microsoft.com/office/drawing/2014/main" id="{4463598B-2147-43FE-A6D7-114409AB832D}"/>
                  </a:ext>
                </a:extLst>
              </p:cNvPr>
              <p:cNvSpPr>
                <a:spLocks/>
              </p:cNvSpPr>
              <p:nvPr/>
            </p:nvSpPr>
            <p:spPr bwMode="auto">
              <a:xfrm>
                <a:off x="7544262" y="4689818"/>
                <a:ext cx="113453" cy="131368"/>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3" name="Freeform 18">
                <a:extLst>
                  <a:ext uri="{FF2B5EF4-FFF2-40B4-BE49-F238E27FC236}">
                    <a16:creationId xmlns:a16="http://schemas.microsoft.com/office/drawing/2014/main" id="{CAAA3659-8B20-438E-99CC-D2ACF75D507B}"/>
                  </a:ext>
                </a:extLst>
              </p:cNvPr>
              <p:cNvSpPr>
                <a:spLocks/>
              </p:cNvSpPr>
              <p:nvPr/>
            </p:nvSpPr>
            <p:spPr bwMode="auto">
              <a:xfrm>
                <a:off x="7544262" y="4723406"/>
                <a:ext cx="113453" cy="32842"/>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4" name="Line 19">
                <a:extLst>
                  <a:ext uri="{FF2B5EF4-FFF2-40B4-BE49-F238E27FC236}">
                    <a16:creationId xmlns:a16="http://schemas.microsoft.com/office/drawing/2014/main" id="{EDB7F0F9-6F46-4F6D-AF47-81E28ABA6E4D}"/>
                  </a:ext>
                </a:extLst>
              </p:cNvPr>
              <p:cNvSpPr>
                <a:spLocks noChangeShapeType="1"/>
              </p:cNvSpPr>
              <p:nvPr/>
            </p:nvSpPr>
            <p:spPr bwMode="auto">
              <a:xfrm>
                <a:off x="7600988" y="4751770"/>
                <a:ext cx="0" cy="6941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5" name="Freeform 20">
                <a:extLst>
                  <a:ext uri="{FF2B5EF4-FFF2-40B4-BE49-F238E27FC236}">
                    <a16:creationId xmlns:a16="http://schemas.microsoft.com/office/drawing/2014/main" id="{369BF550-F931-4EA9-9D57-17A5B9C08118}"/>
                  </a:ext>
                </a:extLst>
              </p:cNvPr>
              <p:cNvSpPr>
                <a:spLocks/>
              </p:cNvSpPr>
              <p:nvPr/>
            </p:nvSpPr>
            <p:spPr bwMode="auto">
              <a:xfrm>
                <a:off x="7395728" y="4689818"/>
                <a:ext cx="113453" cy="131368"/>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6" name="Freeform 21">
                <a:extLst>
                  <a:ext uri="{FF2B5EF4-FFF2-40B4-BE49-F238E27FC236}">
                    <a16:creationId xmlns:a16="http://schemas.microsoft.com/office/drawing/2014/main" id="{7CFCEA94-AE46-442D-BD50-8F306A3A2BC1}"/>
                  </a:ext>
                </a:extLst>
              </p:cNvPr>
              <p:cNvSpPr>
                <a:spLocks/>
              </p:cNvSpPr>
              <p:nvPr/>
            </p:nvSpPr>
            <p:spPr bwMode="auto">
              <a:xfrm>
                <a:off x="7395728" y="4723406"/>
                <a:ext cx="113453" cy="32842"/>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7" name="Line 22">
                <a:extLst>
                  <a:ext uri="{FF2B5EF4-FFF2-40B4-BE49-F238E27FC236}">
                    <a16:creationId xmlns:a16="http://schemas.microsoft.com/office/drawing/2014/main" id="{A6280063-D732-4043-9168-A9BBF84226E0}"/>
                  </a:ext>
                </a:extLst>
              </p:cNvPr>
              <p:cNvSpPr>
                <a:spLocks noChangeShapeType="1"/>
              </p:cNvSpPr>
              <p:nvPr/>
            </p:nvSpPr>
            <p:spPr bwMode="auto">
              <a:xfrm>
                <a:off x="7452455" y="4751770"/>
                <a:ext cx="0" cy="6941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8" name="Freeform 23">
                <a:extLst>
                  <a:ext uri="{FF2B5EF4-FFF2-40B4-BE49-F238E27FC236}">
                    <a16:creationId xmlns:a16="http://schemas.microsoft.com/office/drawing/2014/main" id="{3E9EF8E2-9F0A-45D9-AAAE-C7313931F194}"/>
                  </a:ext>
                </a:extLst>
              </p:cNvPr>
              <p:cNvSpPr>
                <a:spLocks/>
              </p:cNvSpPr>
              <p:nvPr/>
            </p:nvSpPr>
            <p:spPr bwMode="auto">
              <a:xfrm>
                <a:off x="7465143" y="4812976"/>
                <a:ext cx="121663" cy="36574"/>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9" name="Freeform 24">
                <a:extLst>
                  <a:ext uri="{FF2B5EF4-FFF2-40B4-BE49-F238E27FC236}">
                    <a16:creationId xmlns:a16="http://schemas.microsoft.com/office/drawing/2014/main" id="{BF7E9B21-7BEF-4C38-AB81-2F57DBCC11B0}"/>
                  </a:ext>
                </a:extLst>
              </p:cNvPr>
              <p:cNvSpPr>
                <a:spLocks/>
              </p:cNvSpPr>
              <p:nvPr/>
            </p:nvSpPr>
            <p:spPr bwMode="auto">
              <a:xfrm>
                <a:off x="7470368" y="4546507"/>
                <a:ext cx="113453" cy="131368"/>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0" name="Freeform 25">
                <a:extLst>
                  <a:ext uri="{FF2B5EF4-FFF2-40B4-BE49-F238E27FC236}">
                    <a16:creationId xmlns:a16="http://schemas.microsoft.com/office/drawing/2014/main" id="{7C60BA17-614C-4DC4-9737-D51674F217BD}"/>
                  </a:ext>
                </a:extLst>
              </p:cNvPr>
              <p:cNvSpPr>
                <a:spLocks/>
              </p:cNvSpPr>
              <p:nvPr/>
            </p:nvSpPr>
            <p:spPr bwMode="auto">
              <a:xfrm>
                <a:off x="7470368" y="4580096"/>
                <a:ext cx="113453" cy="32842"/>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1" name="Line 26">
                <a:extLst>
                  <a:ext uri="{FF2B5EF4-FFF2-40B4-BE49-F238E27FC236}">
                    <a16:creationId xmlns:a16="http://schemas.microsoft.com/office/drawing/2014/main" id="{8CBCDFE9-CF7F-4512-872F-0284A126FE29}"/>
                  </a:ext>
                </a:extLst>
              </p:cNvPr>
              <p:cNvSpPr>
                <a:spLocks noChangeShapeType="1"/>
              </p:cNvSpPr>
              <p:nvPr/>
            </p:nvSpPr>
            <p:spPr bwMode="auto">
              <a:xfrm>
                <a:off x="7527095" y="4612938"/>
                <a:ext cx="0" cy="6493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2" name="Freeform 27">
                <a:extLst>
                  <a:ext uri="{FF2B5EF4-FFF2-40B4-BE49-F238E27FC236}">
                    <a16:creationId xmlns:a16="http://schemas.microsoft.com/office/drawing/2014/main" id="{C51E7851-C695-408E-8BD9-146A00D2708A}"/>
                  </a:ext>
                </a:extLst>
              </p:cNvPr>
              <p:cNvSpPr>
                <a:spLocks/>
              </p:cNvSpPr>
              <p:nvPr/>
            </p:nvSpPr>
            <p:spPr bwMode="auto">
              <a:xfrm>
                <a:off x="7583821" y="4609952"/>
                <a:ext cx="61205" cy="105244"/>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3" name="Freeform 28">
                <a:extLst>
                  <a:ext uri="{FF2B5EF4-FFF2-40B4-BE49-F238E27FC236}">
                    <a16:creationId xmlns:a16="http://schemas.microsoft.com/office/drawing/2014/main" id="{1FE29E58-5926-446A-A64C-96B0B1E7BE3D}"/>
                  </a:ext>
                </a:extLst>
              </p:cNvPr>
              <p:cNvSpPr>
                <a:spLocks/>
              </p:cNvSpPr>
              <p:nvPr/>
            </p:nvSpPr>
            <p:spPr bwMode="auto">
              <a:xfrm>
                <a:off x="7408417" y="4609952"/>
                <a:ext cx="61951" cy="105244"/>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80" name="Group 31">
              <a:extLst>
                <a:ext uri="{FF2B5EF4-FFF2-40B4-BE49-F238E27FC236}">
                  <a16:creationId xmlns:a16="http://schemas.microsoft.com/office/drawing/2014/main" id="{BCBAEAED-1067-44C0-8E00-D72B6F1154C5}"/>
                </a:ext>
              </a:extLst>
            </p:cNvPr>
            <p:cNvGrpSpPr>
              <a:grpSpLocks noChangeAspect="1"/>
            </p:cNvGrpSpPr>
            <p:nvPr/>
          </p:nvGrpSpPr>
          <p:grpSpPr bwMode="auto">
            <a:xfrm>
              <a:off x="4702412" y="4411387"/>
              <a:ext cx="259638" cy="260198"/>
              <a:chOff x="12" y="7"/>
              <a:chExt cx="221" cy="231"/>
            </a:xfrm>
          </p:grpSpPr>
          <p:sp>
            <p:nvSpPr>
              <p:cNvPr id="84" name="Rectangle 32">
                <a:extLst>
                  <a:ext uri="{FF2B5EF4-FFF2-40B4-BE49-F238E27FC236}">
                    <a16:creationId xmlns:a16="http://schemas.microsoft.com/office/drawing/2014/main" id="{4A32F778-9904-4604-B4A7-AF1BBCDFA328}"/>
                  </a:ext>
                </a:extLst>
              </p:cNvPr>
              <p:cNvSpPr>
                <a:spLocks noChangeArrowheads="1"/>
              </p:cNvSpPr>
              <p:nvPr/>
            </p:nvSpPr>
            <p:spPr bwMode="auto">
              <a:xfrm>
                <a:off x="12" y="7"/>
                <a:ext cx="221" cy="6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5" name="Line 33">
                <a:extLst>
                  <a:ext uri="{FF2B5EF4-FFF2-40B4-BE49-F238E27FC236}">
                    <a16:creationId xmlns:a16="http://schemas.microsoft.com/office/drawing/2014/main" id="{3BF0DF5D-3D79-491A-A59B-36AFB0EF5F14}"/>
                  </a:ext>
                </a:extLst>
              </p:cNvPr>
              <p:cNvSpPr>
                <a:spLocks noChangeShapeType="1"/>
              </p:cNvSpPr>
              <p:nvPr/>
            </p:nvSpPr>
            <p:spPr bwMode="auto">
              <a:xfrm flipH="1">
                <a:off x="191" y="37"/>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6" name="Line 34">
                <a:extLst>
                  <a:ext uri="{FF2B5EF4-FFF2-40B4-BE49-F238E27FC236}">
                    <a16:creationId xmlns:a16="http://schemas.microsoft.com/office/drawing/2014/main" id="{49DF4448-73FC-40FA-A0A9-FFC891CF1F4B}"/>
                  </a:ext>
                </a:extLst>
              </p:cNvPr>
              <p:cNvSpPr>
                <a:spLocks noChangeShapeType="1"/>
              </p:cNvSpPr>
              <p:nvPr/>
            </p:nvSpPr>
            <p:spPr bwMode="auto">
              <a:xfrm flipH="1">
                <a:off x="157" y="37"/>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7" name="Line 35">
                <a:extLst>
                  <a:ext uri="{FF2B5EF4-FFF2-40B4-BE49-F238E27FC236}">
                    <a16:creationId xmlns:a16="http://schemas.microsoft.com/office/drawing/2014/main" id="{5BD3CF36-CB27-4220-B1EB-38D3CE2CE0D2}"/>
                  </a:ext>
                </a:extLst>
              </p:cNvPr>
              <p:cNvSpPr>
                <a:spLocks noChangeShapeType="1"/>
              </p:cNvSpPr>
              <p:nvPr/>
            </p:nvSpPr>
            <p:spPr bwMode="auto">
              <a:xfrm flipH="1">
                <a:off x="54" y="37"/>
                <a:ext cx="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8" name="Rectangle 36">
                <a:extLst>
                  <a:ext uri="{FF2B5EF4-FFF2-40B4-BE49-F238E27FC236}">
                    <a16:creationId xmlns:a16="http://schemas.microsoft.com/office/drawing/2014/main" id="{900EAA91-5C3E-4096-9C76-457E3BA52F63}"/>
                  </a:ext>
                </a:extLst>
              </p:cNvPr>
              <p:cNvSpPr>
                <a:spLocks noChangeArrowheads="1"/>
              </p:cNvSpPr>
              <p:nvPr/>
            </p:nvSpPr>
            <p:spPr bwMode="auto">
              <a:xfrm>
                <a:off x="12" y="93"/>
                <a:ext cx="221" cy="59"/>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9" name="Line 37">
                <a:extLst>
                  <a:ext uri="{FF2B5EF4-FFF2-40B4-BE49-F238E27FC236}">
                    <a16:creationId xmlns:a16="http://schemas.microsoft.com/office/drawing/2014/main" id="{AF66D4F7-005A-4854-A3EF-0678C8FC0951}"/>
                  </a:ext>
                </a:extLst>
              </p:cNvPr>
              <p:cNvSpPr>
                <a:spLocks noChangeShapeType="1"/>
              </p:cNvSpPr>
              <p:nvPr/>
            </p:nvSpPr>
            <p:spPr bwMode="auto">
              <a:xfrm flipH="1">
                <a:off x="191" y="123"/>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0" name="Line 38">
                <a:extLst>
                  <a:ext uri="{FF2B5EF4-FFF2-40B4-BE49-F238E27FC236}">
                    <a16:creationId xmlns:a16="http://schemas.microsoft.com/office/drawing/2014/main" id="{8D9D42A4-D5CB-4A34-AAF7-AFE41AA5A643}"/>
                  </a:ext>
                </a:extLst>
              </p:cNvPr>
              <p:cNvSpPr>
                <a:spLocks noChangeShapeType="1"/>
              </p:cNvSpPr>
              <p:nvPr/>
            </p:nvSpPr>
            <p:spPr bwMode="auto">
              <a:xfrm flipH="1">
                <a:off x="157" y="123"/>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1" name="Line 39">
                <a:extLst>
                  <a:ext uri="{FF2B5EF4-FFF2-40B4-BE49-F238E27FC236}">
                    <a16:creationId xmlns:a16="http://schemas.microsoft.com/office/drawing/2014/main" id="{22535CF4-723A-4B05-9A7F-7FFC417A8372}"/>
                  </a:ext>
                </a:extLst>
              </p:cNvPr>
              <p:cNvSpPr>
                <a:spLocks noChangeShapeType="1"/>
              </p:cNvSpPr>
              <p:nvPr/>
            </p:nvSpPr>
            <p:spPr bwMode="auto">
              <a:xfrm flipH="1">
                <a:off x="54" y="123"/>
                <a:ext cx="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2" name="Rectangle 40">
                <a:extLst>
                  <a:ext uri="{FF2B5EF4-FFF2-40B4-BE49-F238E27FC236}">
                    <a16:creationId xmlns:a16="http://schemas.microsoft.com/office/drawing/2014/main" id="{D5D9C75D-0DD5-4885-957C-ED04BB072C5D}"/>
                  </a:ext>
                </a:extLst>
              </p:cNvPr>
              <p:cNvSpPr>
                <a:spLocks noChangeArrowheads="1"/>
              </p:cNvSpPr>
              <p:nvPr/>
            </p:nvSpPr>
            <p:spPr bwMode="auto">
              <a:xfrm>
                <a:off x="12" y="178"/>
                <a:ext cx="221" cy="6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3" name="Line 41">
                <a:extLst>
                  <a:ext uri="{FF2B5EF4-FFF2-40B4-BE49-F238E27FC236}">
                    <a16:creationId xmlns:a16="http://schemas.microsoft.com/office/drawing/2014/main" id="{52804D60-8148-4406-9D98-0CBD5C6318B6}"/>
                  </a:ext>
                </a:extLst>
              </p:cNvPr>
              <p:cNvSpPr>
                <a:spLocks noChangeShapeType="1"/>
              </p:cNvSpPr>
              <p:nvPr/>
            </p:nvSpPr>
            <p:spPr bwMode="auto">
              <a:xfrm flipH="1">
                <a:off x="191" y="208"/>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4" name="Line 42">
                <a:extLst>
                  <a:ext uri="{FF2B5EF4-FFF2-40B4-BE49-F238E27FC236}">
                    <a16:creationId xmlns:a16="http://schemas.microsoft.com/office/drawing/2014/main" id="{7A72ED9E-1594-459C-8D16-F2F4D3C5C989}"/>
                  </a:ext>
                </a:extLst>
              </p:cNvPr>
              <p:cNvSpPr>
                <a:spLocks noChangeShapeType="1"/>
              </p:cNvSpPr>
              <p:nvPr/>
            </p:nvSpPr>
            <p:spPr bwMode="auto">
              <a:xfrm flipH="1">
                <a:off x="157" y="208"/>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5" name="Line 43">
                <a:extLst>
                  <a:ext uri="{FF2B5EF4-FFF2-40B4-BE49-F238E27FC236}">
                    <a16:creationId xmlns:a16="http://schemas.microsoft.com/office/drawing/2014/main" id="{AD1907BF-C627-47B2-85E6-308EC509046B}"/>
                  </a:ext>
                </a:extLst>
              </p:cNvPr>
              <p:cNvSpPr>
                <a:spLocks noChangeShapeType="1"/>
              </p:cNvSpPr>
              <p:nvPr/>
            </p:nvSpPr>
            <p:spPr bwMode="auto">
              <a:xfrm flipH="1">
                <a:off x="54" y="208"/>
                <a:ext cx="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6" name="Line 44">
                <a:extLst>
                  <a:ext uri="{FF2B5EF4-FFF2-40B4-BE49-F238E27FC236}">
                    <a16:creationId xmlns:a16="http://schemas.microsoft.com/office/drawing/2014/main" id="{DADCAC7C-21B1-4344-9EAC-A7391C1F7192}"/>
                  </a:ext>
                </a:extLst>
              </p:cNvPr>
              <p:cNvSpPr>
                <a:spLocks noChangeShapeType="1"/>
              </p:cNvSpPr>
              <p:nvPr/>
            </p:nvSpPr>
            <p:spPr bwMode="auto">
              <a:xfrm flipV="1">
                <a:off x="165" y="127"/>
                <a:ext cx="0" cy="2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7" name="Line 45">
                <a:extLst>
                  <a:ext uri="{FF2B5EF4-FFF2-40B4-BE49-F238E27FC236}">
                    <a16:creationId xmlns:a16="http://schemas.microsoft.com/office/drawing/2014/main" id="{3A34FD44-D0B2-4BEE-81E2-F5CCCD408DDD}"/>
                  </a:ext>
                </a:extLst>
              </p:cNvPr>
              <p:cNvSpPr>
                <a:spLocks noChangeShapeType="1"/>
              </p:cNvSpPr>
              <p:nvPr/>
            </p:nvSpPr>
            <p:spPr bwMode="auto">
              <a:xfrm flipV="1">
                <a:off x="165" y="42"/>
                <a:ext cx="0" cy="2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8" name="Line 46">
                <a:extLst>
                  <a:ext uri="{FF2B5EF4-FFF2-40B4-BE49-F238E27FC236}">
                    <a16:creationId xmlns:a16="http://schemas.microsoft.com/office/drawing/2014/main" id="{D6A0EE9A-772B-4290-A676-B80BE3E6F75D}"/>
                  </a:ext>
                </a:extLst>
              </p:cNvPr>
              <p:cNvSpPr>
                <a:spLocks noChangeShapeType="1"/>
              </p:cNvSpPr>
              <p:nvPr/>
            </p:nvSpPr>
            <p:spPr bwMode="auto">
              <a:xfrm flipV="1">
                <a:off x="165" y="212"/>
                <a:ext cx="0" cy="2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grpSp>
        <p:sp>
          <p:nvSpPr>
            <p:cNvPr id="101" name="TextBox 100">
              <a:extLst>
                <a:ext uri="{FF2B5EF4-FFF2-40B4-BE49-F238E27FC236}">
                  <a16:creationId xmlns:a16="http://schemas.microsoft.com/office/drawing/2014/main" id="{C3A970F8-8EB3-4052-B70D-E9DC4A925EE4}"/>
                </a:ext>
              </a:extLst>
            </p:cNvPr>
            <p:cNvSpPr txBox="1"/>
            <p:nvPr/>
          </p:nvSpPr>
          <p:spPr>
            <a:xfrm>
              <a:off x="7592678" y="4793057"/>
              <a:ext cx="1662545" cy="152349"/>
            </a:xfrm>
            <a:prstGeom prst="rect">
              <a:avLst/>
            </a:prstGeom>
            <a:noFill/>
            <a:ln>
              <a:noFill/>
            </a:ln>
          </p:spPr>
          <p:txBody>
            <a:bodyPr wrap="square" lIns="0" tIns="0" rIns="0" bIns="0" rtlCol="0" anchor="t">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gradFill>
                    <a:gsLst>
                      <a:gs pos="80531">
                        <a:srgbClr val="1A1A1A"/>
                      </a:gs>
                      <a:gs pos="60177">
                        <a:srgbClr val="1A1A1A"/>
                      </a:gs>
                    </a:gsLst>
                    <a:lin ang="5400000" scaled="1"/>
                  </a:gradFill>
                  <a:effectLst/>
                  <a:uLnTx/>
                  <a:uFillTx/>
                  <a:latin typeface="Segoe UI"/>
                  <a:ea typeface="+mn-ea"/>
                  <a:cs typeface="+mn-cs"/>
                </a:rPr>
                <a:t>App, Data, &amp; AI Services</a:t>
              </a:r>
              <a:endParaRPr kumimoji="0" lang="en-US" sz="900" b="0" i="0" u="none" strike="noStrike" kern="0" cap="none" spc="0" normalizeH="0" baseline="0" noProof="0" dirty="0">
                <a:ln>
                  <a:noFill/>
                </a:ln>
                <a:gradFill>
                  <a:gsLst>
                    <a:gs pos="80531">
                      <a:srgbClr val="1A1A1A"/>
                    </a:gs>
                    <a:gs pos="60177">
                      <a:srgbClr val="1A1A1A"/>
                    </a:gs>
                  </a:gsLst>
                  <a:lin ang="5400000" scaled="1"/>
                </a:gradFill>
                <a:effectLst/>
                <a:uLnTx/>
                <a:uFillTx/>
                <a:latin typeface="Segoe UI"/>
                <a:ea typeface="+mn-ea"/>
                <a:cs typeface="+mn-cs"/>
              </a:endParaRPr>
            </a:p>
          </p:txBody>
        </p:sp>
        <p:sp>
          <p:nvSpPr>
            <p:cNvPr id="82" name="TextBox 81">
              <a:extLst>
                <a:ext uri="{FF2B5EF4-FFF2-40B4-BE49-F238E27FC236}">
                  <a16:creationId xmlns:a16="http://schemas.microsoft.com/office/drawing/2014/main" id="{471F580B-C9F8-46FB-AB5A-BF83D0ED5FE2}"/>
                </a:ext>
              </a:extLst>
            </p:cNvPr>
            <p:cNvSpPr txBox="1"/>
            <p:nvPr/>
          </p:nvSpPr>
          <p:spPr>
            <a:xfrm>
              <a:off x="4000959" y="4793057"/>
              <a:ext cx="1662545" cy="152349"/>
            </a:xfrm>
            <a:prstGeom prst="rect">
              <a:avLst/>
            </a:prstGeom>
            <a:noFill/>
            <a:ln>
              <a:noFill/>
            </a:ln>
          </p:spPr>
          <p:txBody>
            <a:bodyPr wrap="square" lIns="0" tIns="0" rIns="0" bIns="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gradFill>
                    <a:gsLst>
                      <a:gs pos="80531">
                        <a:srgbClr val="1A1A1A"/>
                      </a:gs>
                      <a:gs pos="60177">
                        <a:srgbClr val="1A1A1A"/>
                      </a:gs>
                    </a:gsLst>
                    <a:lin ang="5400000" scaled="1"/>
                  </a:gradFill>
                  <a:effectLst/>
                  <a:uLnTx/>
                  <a:uFillTx/>
                  <a:latin typeface="Segoe UI"/>
                  <a:ea typeface="+mn-ea"/>
                  <a:cs typeface="+mn-cs"/>
                </a:rPr>
                <a:t>Virtual Machines</a:t>
              </a:r>
            </a:p>
          </p:txBody>
        </p:sp>
        <p:sp>
          <p:nvSpPr>
            <p:cNvPr id="64" name="TextBox 63">
              <a:extLst>
                <a:ext uri="{FF2B5EF4-FFF2-40B4-BE49-F238E27FC236}">
                  <a16:creationId xmlns:a16="http://schemas.microsoft.com/office/drawing/2014/main" id="{69FE0539-332C-49C1-895E-8F223390E3B6}"/>
                </a:ext>
              </a:extLst>
            </p:cNvPr>
            <p:cNvSpPr txBox="1"/>
            <p:nvPr/>
          </p:nvSpPr>
          <p:spPr>
            <a:xfrm>
              <a:off x="5796818" y="4793057"/>
              <a:ext cx="1662545" cy="152349"/>
            </a:xfrm>
            <a:prstGeom prst="rect">
              <a:avLst/>
            </a:prstGeom>
            <a:noFill/>
            <a:ln>
              <a:noFill/>
            </a:ln>
          </p:spPr>
          <p:txBody>
            <a:bodyPr wrap="square" lIns="0" tIns="0" rIns="0" bIns="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gradFill>
                    <a:gsLst>
                      <a:gs pos="80531">
                        <a:srgbClr val="1A1A1A"/>
                      </a:gs>
                      <a:gs pos="60177">
                        <a:srgbClr val="1A1A1A"/>
                      </a:gs>
                    </a:gsLst>
                    <a:lin ang="5400000" scaled="1"/>
                  </a:gradFill>
                  <a:effectLst/>
                  <a:uLnTx/>
                  <a:uFillTx/>
                  <a:latin typeface="Segoe UI"/>
                  <a:ea typeface="+mn-ea"/>
                  <a:cs typeface="+mn-cs"/>
                </a:rPr>
                <a:t>Containers</a:t>
              </a:r>
            </a:p>
          </p:txBody>
        </p:sp>
        <p:grpSp>
          <p:nvGrpSpPr>
            <p:cNvPr id="65" name="Group 64">
              <a:extLst>
                <a:ext uri="{FF2B5EF4-FFF2-40B4-BE49-F238E27FC236}">
                  <a16:creationId xmlns:a16="http://schemas.microsoft.com/office/drawing/2014/main" id="{990EA01B-EA76-416A-9B7E-F0E91BE9DB67}"/>
                </a:ext>
              </a:extLst>
            </p:cNvPr>
            <p:cNvGrpSpPr/>
            <p:nvPr/>
          </p:nvGrpSpPr>
          <p:grpSpPr>
            <a:xfrm>
              <a:off x="6462819" y="4395663"/>
              <a:ext cx="330542" cy="291647"/>
              <a:chOff x="1936408" y="5127116"/>
              <a:chExt cx="630725" cy="556508"/>
            </a:xfrm>
          </p:grpSpPr>
          <p:sp>
            <p:nvSpPr>
              <p:cNvPr id="66" name="Rectangle 65">
                <a:extLst>
                  <a:ext uri="{FF2B5EF4-FFF2-40B4-BE49-F238E27FC236}">
                    <a16:creationId xmlns:a16="http://schemas.microsoft.com/office/drawing/2014/main" id="{9E280659-2C69-4694-8334-180C76443946}"/>
                  </a:ext>
                </a:extLst>
              </p:cNvPr>
              <p:cNvSpPr/>
              <p:nvPr/>
            </p:nvSpPr>
            <p:spPr bwMode="auto">
              <a:xfrm>
                <a:off x="1936408" y="5335601"/>
                <a:ext cx="630725" cy="348023"/>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16200000" scaled="1"/>
                  </a:gradFill>
                  <a:effectLst/>
                  <a:uLnTx/>
                  <a:uFillTx/>
                  <a:latin typeface="Segoe UI Semilight"/>
                  <a:ea typeface="+mn-ea"/>
                  <a:cs typeface="+mn-cs"/>
                </a:endParaRPr>
              </a:p>
            </p:txBody>
          </p:sp>
          <p:grpSp>
            <p:nvGrpSpPr>
              <p:cNvPr id="67" name="Group 66">
                <a:extLst>
                  <a:ext uri="{FF2B5EF4-FFF2-40B4-BE49-F238E27FC236}">
                    <a16:creationId xmlns:a16="http://schemas.microsoft.com/office/drawing/2014/main" id="{054D6223-B18E-43A7-8B28-D75FFBAA205A}"/>
                  </a:ext>
                </a:extLst>
              </p:cNvPr>
              <p:cNvGrpSpPr/>
              <p:nvPr/>
            </p:nvGrpSpPr>
            <p:grpSpPr>
              <a:xfrm>
                <a:off x="2065006" y="5402036"/>
                <a:ext cx="373529" cy="215153"/>
                <a:chOff x="2081328" y="5432612"/>
                <a:chExt cx="373529" cy="173317"/>
              </a:xfrm>
            </p:grpSpPr>
            <p:cxnSp>
              <p:nvCxnSpPr>
                <p:cNvPr id="74" name="Straight Connector 73">
                  <a:extLst>
                    <a:ext uri="{FF2B5EF4-FFF2-40B4-BE49-F238E27FC236}">
                      <a16:creationId xmlns:a16="http://schemas.microsoft.com/office/drawing/2014/main" id="{FE17C6B5-68F9-4B2A-9ABE-ED3A65E66846}"/>
                    </a:ext>
                  </a:extLst>
                </p:cNvPr>
                <p:cNvCxnSpPr/>
                <p:nvPr/>
              </p:nvCxnSpPr>
              <p:spPr>
                <a:xfrm>
                  <a:off x="2081328"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3AEA0F67-06E3-4AC1-A17C-0B5780470768}"/>
                    </a:ext>
                  </a:extLst>
                </p:cNvPr>
                <p:cNvCxnSpPr/>
                <p:nvPr/>
              </p:nvCxnSpPr>
              <p:spPr>
                <a:xfrm>
                  <a:off x="2205838"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CB7505BF-4C8B-484E-B46F-31BC5D1754EB}"/>
                    </a:ext>
                  </a:extLst>
                </p:cNvPr>
                <p:cNvCxnSpPr/>
                <p:nvPr/>
              </p:nvCxnSpPr>
              <p:spPr>
                <a:xfrm>
                  <a:off x="2330348"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918C77A3-7775-48B2-B959-A5769CCF1D16}"/>
                    </a:ext>
                  </a:extLst>
                </p:cNvPr>
                <p:cNvCxnSpPr/>
                <p:nvPr/>
              </p:nvCxnSpPr>
              <p:spPr>
                <a:xfrm>
                  <a:off x="2454857"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68" name="Isosceles Triangle 67">
                <a:extLst>
                  <a:ext uri="{FF2B5EF4-FFF2-40B4-BE49-F238E27FC236}">
                    <a16:creationId xmlns:a16="http://schemas.microsoft.com/office/drawing/2014/main" id="{F5891AEE-8A44-4405-B1B6-7062B8810E80}"/>
                  </a:ext>
                </a:extLst>
              </p:cNvPr>
              <p:cNvSpPr/>
              <p:nvPr/>
            </p:nvSpPr>
            <p:spPr bwMode="auto">
              <a:xfrm>
                <a:off x="2041168" y="5214261"/>
                <a:ext cx="421206" cy="117735"/>
              </a:xfrm>
              <a:prstGeom prst="triangle">
                <a:avLst>
                  <a:gd name="adj" fmla="val 51809"/>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16200000" scaled="1"/>
                  </a:gradFill>
                  <a:effectLst/>
                  <a:uLnTx/>
                  <a:uFillTx/>
                  <a:latin typeface="Segoe UI Semilight"/>
                  <a:ea typeface="+mn-ea"/>
                  <a:cs typeface="+mn-cs"/>
                </a:endParaRPr>
              </a:p>
            </p:txBody>
          </p:sp>
          <p:grpSp>
            <p:nvGrpSpPr>
              <p:cNvPr id="69" name="Group 68">
                <a:extLst>
                  <a:ext uri="{FF2B5EF4-FFF2-40B4-BE49-F238E27FC236}">
                    <a16:creationId xmlns:a16="http://schemas.microsoft.com/office/drawing/2014/main" id="{65977456-98A1-4276-B159-FB6AD30C392E}"/>
                  </a:ext>
                </a:extLst>
              </p:cNvPr>
              <p:cNvGrpSpPr/>
              <p:nvPr/>
            </p:nvGrpSpPr>
            <p:grpSpPr>
              <a:xfrm>
                <a:off x="2203166" y="5127116"/>
                <a:ext cx="105694" cy="128643"/>
                <a:chOff x="899448" y="5121078"/>
                <a:chExt cx="207816" cy="252938"/>
              </a:xfrm>
            </p:grpSpPr>
            <p:sp>
              <p:nvSpPr>
                <p:cNvPr id="70" name="Freeform: Shape 69">
                  <a:extLst>
                    <a:ext uri="{FF2B5EF4-FFF2-40B4-BE49-F238E27FC236}">
                      <a16:creationId xmlns:a16="http://schemas.microsoft.com/office/drawing/2014/main" id="{DC1763CD-910D-4484-9136-ECD1B71C7F66}"/>
                    </a:ext>
                  </a:extLst>
                </p:cNvPr>
                <p:cNvSpPr/>
                <p:nvPr/>
              </p:nvSpPr>
              <p:spPr bwMode="auto">
                <a:xfrm>
                  <a:off x="899448" y="5121078"/>
                  <a:ext cx="207816" cy="100212"/>
                </a:xfrm>
                <a:custGeom>
                  <a:avLst/>
                  <a:gdLst>
                    <a:gd name="connsiteX0" fmla="*/ 0 w 207816"/>
                    <a:gd name="connsiteY0" fmla="*/ 0 h 100212"/>
                    <a:gd name="connsiteX1" fmla="*/ 207816 w 207816"/>
                    <a:gd name="connsiteY1" fmla="*/ 0 h 100212"/>
                    <a:gd name="connsiteX2" fmla="*/ 200512 w 207816"/>
                    <a:gd name="connsiteY2" fmla="*/ 36179 h 100212"/>
                    <a:gd name="connsiteX3" fmla="*/ 103908 w 207816"/>
                    <a:gd name="connsiteY3" fmla="*/ 100212 h 100212"/>
                    <a:gd name="connsiteX4" fmla="*/ 7304 w 207816"/>
                    <a:gd name="connsiteY4" fmla="*/ 36179 h 100212"/>
                    <a:gd name="connsiteX5" fmla="*/ 0 w 207816"/>
                    <a:gd name="connsiteY5" fmla="*/ 0 h 10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16" h="100212">
                      <a:moveTo>
                        <a:pt x="0" y="0"/>
                      </a:moveTo>
                      <a:lnTo>
                        <a:pt x="207816" y="0"/>
                      </a:lnTo>
                      <a:lnTo>
                        <a:pt x="200512" y="36179"/>
                      </a:lnTo>
                      <a:cubicBezTo>
                        <a:pt x="184596" y="73808"/>
                        <a:pt x="147335" y="100212"/>
                        <a:pt x="103908" y="100212"/>
                      </a:cubicBezTo>
                      <a:cubicBezTo>
                        <a:pt x="60481" y="100212"/>
                        <a:pt x="23220" y="73808"/>
                        <a:pt x="7304" y="36179"/>
                      </a:cubicBezTo>
                      <a:lnTo>
                        <a:pt x="0" y="0"/>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16200000" scaled="1"/>
                    </a:gradFill>
                    <a:effectLst/>
                    <a:uLnTx/>
                    <a:uFillTx/>
                    <a:latin typeface="Segoe UI Semilight"/>
                    <a:ea typeface="+mn-ea"/>
                    <a:cs typeface="+mn-cs"/>
                  </a:endParaRPr>
                </a:p>
              </p:txBody>
            </p:sp>
            <p:grpSp>
              <p:nvGrpSpPr>
                <p:cNvPr id="71" name="Group 70">
                  <a:extLst>
                    <a:ext uri="{FF2B5EF4-FFF2-40B4-BE49-F238E27FC236}">
                      <a16:creationId xmlns:a16="http://schemas.microsoft.com/office/drawing/2014/main" id="{5A8C3E83-1C20-4C7F-9F28-8D28B7D4D51A}"/>
                    </a:ext>
                  </a:extLst>
                </p:cNvPr>
                <p:cNvGrpSpPr/>
                <p:nvPr/>
              </p:nvGrpSpPr>
              <p:grpSpPr>
                <a:xfrm>
                  <a:off x="939926" y="5224024"/>
                  <a:ext cx="90345" cy="149992"/>
                  <a:chOff x="962786" y="5658364"/>
                  <a:chExt cx="90345" cy="149992"/>
                </a:xfrm>
              </p:grpSpPr>
              <p:sp>
                <p:nvSpPr>
                  <p:cNvPr id="72" name="Freeform: Shape 71">
                    <a:extLst>
                      <a:ext uri="{FF2B5EF4-FFF2-40B4-BE49-F238E27FC236}">
                        <a16:creationId xmlns:a16="http://schemas.microsoft.com/office/drawing/2014/main" id="{923856CD-94E1-4205-83EA-851DD242287A}"/>
                      </a:ext>
                    </a:extLst>
                  </p:cNvPr>
                  <p:cNvSpPr/>
                  <p:nvPr/>
                </p:nvSpPr>
                <p:spPr bwMode="auto">
                  <a:xfrm>
                    <a:off x="962786" y="5718463"/>
                    <a:ext cx="90345" cy="89893"/>
                  </a:xfrm>
                  <a:custGeom>
                    <a:avLst/>
                    <a:gdLst>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 name="connsiteX6" fmla="*/ 112007 w 207070"/>
                      <a:gd name="connsiteY6" fmla="*/ 105818 h 206030"/>
                      <a:gd name="connsiteX7" fmla="*/ 112007 w 207070"/>
                      <a:gd name="connsiteY7" fmla="*/ 0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7" fmla="*/ 203447 w 207070"/>
                      <a:gd name="connsiteY7" fmla="*/ 197258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70" h="206030">
                        <a:moveTo>
                          <a:pt x="112007" y="0"/>
                        </a:moveTo>
                        <a:lnTo>
                          <a:pt x="143608" y="6380"/>
                        </a:lnTo>
                        <a:cubicBezTo>
                          <a:pt x="180902" y="22154"/>
                          <a:pt x="207070" y="59082"/>
                          <a:pt x="207070" y="102122"/>
                        </a:cubicBezTo>
                        <a:cubicBezTo>
                          <a:pt x="207070" y="159509"/>
                          <a:pt x="160549" y="206030"/>
                          <a:pt x="103162" y="206030"/>
                        </a:cubicBezTo>
                        <a:cubicBezTo>
                          <a:pt x="60122" y="206030"/>
                          <a:pt x="23194" y="179862"/>
                          <a:pt x="7420" y="142568"/>
                        </a:cubicBezTo>
                        <a:lnTo>
                          <a:pt x="0" y="10581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16200000" scaled="1"/>
                      </a:gradFill>
                      <a:effectLst/>
                      <a:uLnTx/>
                      <a:uFillTx/>
                      <a:latin typeface="Segoe UI Semilight"/>
                      <a:ea typeface="+mn-ea"/>
                      <a:cs typeface="+mn-cs"/>
                    </a:endParaRPr>
                  </a:p>
                </p:txBody>
              </p:sp>
              <p:cxnSp>
                <p:nvCxnSpPr>
                  <p:cNvPr id="73" name="Straight Connector 72">
                    <a:extLst>
                      <a:ext uri="{FF2B5EF4-FFF2-40B4-BE49-F238E27FC236}">
                        <a16:creationId xmlns:a16="http://schemas.microsoft.com/office/drawing/2014/main" id="{301E2203-BA7C-4FF6-8131-9D5991322B59}"/>
                      </a:ext>
                    </a:extLst>
                  </p:cNvPr>
                  <p:cNvCxnSpPr/>
                  <p:nvPr/>
                </p:nvCxnSpPr>
                <p:spPr>
                  <a:xfrm flipV="1">
                    <a:off x="1026751" y="5658364"/>
                    <a:ext cx="0" cy="6643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sp>
          <p:nvSpPr>
            <p:cNvPr id="115" name="TextBox 114">
              <a:extLst>
                <a:ext uri="{FF2B5EF4-FFF2-40B4-BE49-F238E27FC236}">
                  <a16:creationId xmlns:a16="http://schemas.microsoft.com/office/drawing/2014/main" id="{44DC1946-2851-4046-A621-AAD53460FD31}"/>
                </a:ext>
              </a:extLst>
            </p:cNvPr>
            <p:cNvSpPr txBox="1"/>
            <p:nvPr/>
          </p:nvSpPr>
          <p:spPr>
            <a:xfrm>
              <a:off x="6200743" y="3983329"/>
              <a:ext cx="854696" cy="193899"/>
            </a:xfrm>
            <a:prstGeom prst="rect">
              <a:avLst/>
            </a:prstGeom>
            <a:noFill/>
            <a:ln>
              <a:noFill/>
            </a:ln>
          </p:spPr>
          <p:txBody>
            <a:bodyPr wrap="square" lIns="0" tIns="0" rIns="0" bIns="0" rtlCol="0" anchor="t">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dirty="0">
                  <a:ln>
                    <a:noFill/>
                  </a:ln>
                  <a:gradFill>
                    <a:gsLst>
                      <a:gs pos="75221">
                        <a:srgbClr val="1A1A1A"/>
                      </a:gs>
                      <a:gs pos="60177">
                        <a:srgbClr val="1A1A1A"/>
                      </a:gs>
                    </a:gsLst>
                    <a:lin ang="5400000" scaled="1"/>
                  </a:gradFill>
                  <a:effectLst/>
                  <a:uLnTx/>
                  <a:uFillTx/>
                  <a:latin typeface="Segoe UI"/>
                  <a:ea typeface="+mn-ea"/>
                  <a:cs typeface="+mn-cs"/>
                </a:rPr>
                <a:t>DevOps</a:t>
              </a:r>
            </a:p>
          </p:txBody>
        </p:sp>
      </p:grpSp>
      <p:sp>
        <p:nvSpPr>
          <p:cNvPr id="8" name="Rectangle 7">
            <a:extLst>
              <a:ext uri="{FF2B5EF4-FFF2-40B4-BE49-F238E27FC236}">
                <a16:creationId xmlns:a16="http://schemas.microsoft.com/office/drawing/2014/main" id="{03001C57-996F-4AB3-83B3-75B4CBD52833}"/>
              </a:ext>
            </a:extLst>
          </p:cNvPr>
          <p:cNvSpPr/>
          <p:nvPr/>
        </p:nvSpPr>
        <p:spPr bwMode="auto">
          <a:xfrm>
            <a:off x="0" y="2142015"/>
            <a:ext cx="12192000" cy="1583371"/>
          </a:xfrm>
          <a:prstGeom prst="rect">
            <a:avLst/>
          </a:prstGeom>
          <a:solidFill>
            <a:schemeClr val="accent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noFill/>
              <a:effectLst/>
              <a:uLnTx/>
              <a:uFillTx/>
              <a:latin typeface="Segoe UI Semibold"/>
              <a:ea typeface="+mn-ea"/>
              <a:cs typeface="+mn-cs"/>
            </a:endParaRPr>
          </a:p>
        </p:txBody>
      </p:sp>
      <p:sp>
        <p:nvSpPr>
          <p:cNvPr id="48" name="TextBox 47">
            <a:extLst>
              <a:ext uri="{FF2B5EF4-FFF2-40B4-BE49-F238E27FC236}">
                <a16:creationId xmlns:a16="http://schemas.microsoft.com/office/drawing/2014/main" id="{08D490B5-1323-4F18-9DB5-7D627B31B6F5}"/>
              </a:ext>
            </a:extLst>
          </p:cNvPr>
          <p:cNvSpPr txBox="1"/>
          <p:nvPr/>
        </p:nvSpPr>
        <p:spPr>
          <a:xfrm>
            <a:off x="878927" y="1574703"/>
            <a:ext cx="1516924" cy="249299"/>
          </a:xfrm>
          <a:prstGeom prst="rect">
            <a:avLst/>
          </a:prstGeom>
          <a:noFill/>
        </p:spPr>
        <p:txBody>
          <a:bodyPr wrap="square" lIns="0" tIns="0" rIns="0" bIns="0"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50" normalizeH="0" baseline="0" noProof="0" dirty="0">
                <a:ln>
                  <a:noFill/>
                </a:ln>
                <a:gradFill>
                  <a:gsLst>
                    <a:gs pos="36283">
                      <a:srgbClr val="0078D4"/>
                    </a:gs>
                    <a:gs pos="61000">
                      <a:srgbClr val="0078D4"/>
                    </a:gs>
                  </a:gsLst>
                  <a:lin ang="5400000" scaled="1"/>
                </a:gradFill>
                <a:effectLst/>
                <a:uLnTx/>
                <a:uFillTx/>
                <a:latin typeface="Segoe UI Semibold"/>
                <a:ea typeface="Segoe UI" pitchFamily="34" charset="0"/>
                <a:cs typeface="Segoe UI Semibold" panose="020B0702040204020203" pitchFamily="34" charset="0"/>
              </a:rPr>
              <a:t>On-premises</a:t>
            </a:r>
          </a:p>
        </p:txBody>
      </p:sp>
      <p:sp>
        <p:nvSpPr>
          <p:cNvPr id="78" name="Rectangle 77">
            <a:extLst>
              <a:ext uri="{FF2B5EF4-FFF2-40B4-BE49-F238E27FC236}">
                <a16:creationId xmlns:a16="http://schemas.microsoft.com/office/drawing/2014/main" id="{A6A899E6-41F2-43BE-89C4-26D4AFB279A5}"/>
              </a:ext>
            </a:extLst>
          </p:cNvPr>
          <p:cNvSpPr/>
          <p:nvPr/>
        </p:nvSpPr>
        <p:spPr bwMode="auto">
          <a:xfrm>
            <a:off x="588263" y="2019300"/>
            <a:ext cx="2098252" cy="1828800"/>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noFill/>
                <a:effectLst/>
                <a:uLnTx/>
                <a:uFillTx/>
                <a:latin typeface="Segoe UI Semibold"/>
                <a:ea typeface="+mn-ea"/>
                <a:cs typeface="+mn-cs"/>
              </a:rPr>
              <a:t>b</a:t>
            </a:r>
          </a:p>
        </p:txBody>
      </p:sp>
      <p:sp>
        <p:nvSpPr>
          <p:cNvPr id="81" name="Oval 23">
            <a:extLst>
              <a:ext uri="{FF2B5EF4-FFF2-40B4-BE49-F238E27FC236}">
                <a16:creationId xmlns:a16="http://schemas.microsoft.com/office/drawing/2014/main" id="{44361B8C-9D84-4827-97AE-A5CD0C5CAA47}"/>
              </a:ext>
            </a:extLst>
          </p:cNvPr>
          <p:cNvSpPr>
            <a:spLocks noChangeArrowheads="1"/>
          </p:cNvSpPr>
          <p:nvPr/>
        </p:nvSpPr>
        <p:spPr bwMode="auto">
          <a:xfrm>
            <a:off x="770344" y="2204523"/>
            <a:ext cx="1734093" cy="199953"/>
          </a:xfrm>
          <a:prstGeom prst="rect">
            <a:avLst/>
          </a:prstGeom>
          <a:noFill/>
          <a:ln w="10795" cap="flat" cmpd="sng" algn="ctr">
            <a:noFill/>
            <a:prstDash val="soli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de-DE" sz="1400" b="0" i="0" u="none" strike="noStrike" kern="0" cap="none" spc="0" normalizeH="0" baseline="0" noProof="0" dirty="0">
                <a:ln>
                  <a:noFill/>
                </a:ln>
                <a:gradFill>
                  <a:gsLst>
                    <a:gs pos="38739">
                      <a:srgbClr val="1A1A1A"/>
                    </a:gs>
                    <a:gs pos="58000">
                      <a:srgbClr val="1A1A1A"/>
                    </a:gs>
                  </a:gsLst>
                  <a:lin ang="5400000" scaled="0"/>
                </a:gradFill>
                <a:effectLst/>
                <a:uLnTx/>
                <a:uFillTx/>
                <a:latin typeface="Segoe UI Semibold"/>
                <a:ea typeface="+mn-ea"/>
                <a:cs typeface="+mn-cs"/>
              </a:rPr>
              <a:t>Applications</a:t>
            </a:r>
          </a:p>
        </p:txBody>
      </p:sp>
      <p:sp>
        <p:nvSpPr>
          <p:cNvPr id="99" name="Oval 23">
            <a:extLst>
              <a:ext uri="{FF2B5EF4-FFF2-40B4-BE49-F238E27FC236}">
                <a16:creationId xmlns:a16="http://schemas.microsoft.com/office/drawing/2014/main" id="{FB62C990-21D7-4A97-9451-79B7C2BC7414}"/>
              </a:ext>
            </a:extLst>
          </p:cNvPr>
          <p:cNvSpPr>
            <a:spLocks noChangeArrowheads="1"/>
          </p:cNvSpPr>
          <p:nvPr/>
        </p:nvSpPr>
        <p:spPr bwMode="auto">
          <a:xfrm>
            <a:off x="770344" y="3462926"/>
            <a:ext cx="1734093" cy="199953"/>
          </a:xfrm>
          <a:prstGeom prst="rect">
            <a:avLst/>
          </a:prstGeom>
          <a:noFill/>
          <a:ln w="10795" cap="flat" cmpd="sng" algn="ctr">
            <a:noFill/>
            <a:prstDash val="soli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de-DE" sz="1400" b="0" i="0" u="none" strike="noStrike" kern="0" cap="none" spc="0" normalizeH="0" baseline="0" noProof="0" dirty="0">
                <a:ln>
                  <a:noFill/>
                </a:ln>
                <a:gradFill>
                  <a:gsLst>
                    <a:gs pos="38739">
                      <a:srgbClr val="1A1A1A"/>
                    </a:gs>
                    <a:gs pos="58000">
                      <a:srgbClr val="1A1A1A"/>
                    </a:gs>
                  </a:gsLst>
                  <a:lin ang="5400000" scaled="0"/>
                </a:gradFill>
                <a:effectLst/>
                <a:uLnTx/>
                <a:uFillTx/>
                <a:latin typeface="Segoe UI Semibold"/>
                <a:ea typeface="+mn-ea"/>
                <a:cs typeface="+mn-cs"/>
              </a:rPr>
              <a:t>Infrastructure</a:t>
            </a:r>
          </a:p>
        </p:txBody>
      </p:sp>
      <p:sp>
        <p:nvSpPr>
          <p:cNvPr id="114" name="Oval 23">
            <a:extLst>
              <a:ext uri="{FF2B5EF4-FFF2-40B4-BE49-F238E27FC236}">
                <a16:creationId xmlns:a16="http://schemas.microsoft.com/office/drawing/2014/main" id="{EA646EDC-A702-42D3-B0AB-76FD0C3E271B}"/>
              </a:ext>
            </a:extLst>
          </p:cNvPr>
          <p:cNvSpPr>
            <a:spLocks noChangeArrowheads="1"/>
          </p:cNvSpPr>
          <p:nvPr/>
        </p:nvSpPr>
        <p:spPr bwMode="auto">
          <a:xfrm>
            <a:off x="770344" y="2833723"/>
            <a:ext cx="1734093" cy="199953"/>
          </a:xfrm>
          <a:prstGeom prst="rect">
            <a:avLst/>
          </a:prstGeom>
          <a:no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de-DE" sz="1400" b="0" i="0" u="none" strike="noStrike" kern="0" cap="none" spc="0" normalizeH="0" baseline="0" noProof="0" dirty="0">
                <a:ln>
                  <a:noFill/>
                </a:ln>
                <a:gradFill>
                  <a:gsLst>
                    <a:gs pos="38739">
                      <a:srgbClr val="1A1A1A"/>
                    </a:gs>
                    <a:gs pos="58000">
                      <a:srgbClr val="1A1A1A"/>
                    </a:gs>
                  </a:gsLst>
                  <a:lin ang="5400000" scaled="0"/>
                </a:gradFill>
                <a:effectLst/>
                <a:uLnTx/>
                <a:uFillTx/>
                <a:latin typeface="Segoe UI Semibold"/>
                <a:ea typeface="+mn-ea"/>
                <a:cs typeface="+mn-cs"/>
              </a:rPr>
              <a:t>Data + intelligence</a:t>
            </a:r>
          </a:p>
        </p:txBody>
      </p:sp>
      <p:sp>
        <p:nvSpPr>
          <p:cNvPr id="116" name="Rectangle 115">
            <a:extLst>
              <a:ext uri="{FF2B5EF4-FFF2-40B4-BE49-F238E27FC236}">
                <a16:creationId xmlns:a16="http://schemas.microsoft.com/office/drawing/2014/main" id="{3644BFDF-FA55-453F-A896-DA8AFDA400AC}"/>
              </a:ext>
            </a:extLst>
          </p:cNvPr>
          <p:cNvSpPr/>
          <p:nvPr/>
        </p:nvSpPr>
        <p:spPr bwMode="auto">
          <a:xfrm>
            <a:off x="588263" y="2612601"/>
            <a:ext cx="2098252" cy="1299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9AC41CCD-AA57-4EBC-B828-9A079A9E4C29}"/>
              </a:ext>
            </a:extLst>
          </p:cNvPr>
          <p:cNvSpPr/>
          <p:nvPr/>
        </p:nvSpPr>
        <p:spPr bwMode="auto">
          <a:xfrm>
            <a:off x="588263" y="3241803"/>
            <a:ext cx="2098252" cy="1299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2EAF512B-23F2-49D5-94D4-1339A0D612B1}"/>
              </a:ext>
            </a:extLst>
          </p:cNvPr>
          <p:cNvCxnSpPr>
            <a:cxnSpLocks/>
          </p:cNvCxnSpPr>
          <p:nvPr/>
        </p:nvCxnSpPr>
        <p:spPr>
          <a:xfrm>
            <a:off x="2686515" y="2933700"/>
            <a:ext cx="9211798" cy="0"/>
          </a:xfrm>
          <a:prstGeom prst="straightConnector1">
            <a:avLst/>
          </a:prstGeom>
          <a:ln w="15875">
            <a:solidFill>
              <a:schemeClr val="bg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039327B-6FAE-4934-909E-54163D146D94}"/>
              </a:ext>
            </a:extLst>
          </p:cNvPr>
          <p:cNvGrpSpPr/>
          <p:nvPr/>
        </p:nvGrpSpPr>
        <p:grpSpPr>
          <a:xfrm>
            <a:off x="3269126" y="-522553"/>
            <a:ext cx="8340262" cy="277481"/>
            <a:chOff x="3269126" y="2637315"/>
            <a:chExt cx="8340262" cy="1583371"/>
          </a:xfrm>
        </p:grpSpPr>
        <p:cxnSp>
          <p:nvCxnSpPr>
            <p:cNvPr id="13" name="Straight Connector 12">
              <a:extLst>
                <a:ext uri="{FF2B5EF4-FFF2-40B4-BE49-F238E27FC236}">
                  <a16:creationId xmlns:a16="http://schemas.microsoft.com/office/drawing/2014/main" id="{A1860CAB-1E3B-40DF-9D8F-187B1D89AB1E}"/>
                </a:ext>
              </a:extLst>
            </p:cNvPr>
            <p:cNvCxnSpPr>
              <a:cxnSpLocks/>
            </p:cNvCxnSpPr>
            <p:nvPr/>
          </p:nvCxnSpPr>
          <p:spPr>
            <a:xfrm>
              <a:off x="8273284"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EB549422-7112-40C6-8B85-0E1951102927}"/>
                </a:ext>
              </a:extLst>
            </p:cNvPr>
            <p:cNvCxnSpPr>
              <a:cxnSpLocks/>
            </p:cNvCxnSpPr>
            <p:nvPr/>
          </p:nvCxnSpPr>
          <p:spPr>
            <a:xfrm>
              <a:off x="9941337"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18921CE-8B67-439E-9DC8-19BEAF614059}"/>
                </a:ext>
              </a:extLst>
            </p:cNvPr>
            <p:cNvCxnSpPr>
              <a:cxnSpLocks/>
            </p:cNvCxnSpPr>
            <p:nvPr/>
          </p:nvCxnSpPr>
          <p:spPr>
            <a:xfrm>
              <a:off x="6605232"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0E71531-60C1-46AB-AC3A-8132ACF98E4B}"/>
                </a:ext>
              </a:extLst>
            </p:cNvPr>
            <p:cNvCxnSpPr>
              <a:cxnSpLocks/>
            </p:cNvCxnSpPr>
            <p:nvPr/>
          </p:nvCxnSpPr>
          <p:spPr>
            <a:xfrm>
              <a:off x="4937179"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E476E5E-8CE4-438F-AE6B-75BF2761031B}"/>
                </a:ext>
              </a:extLst>
            </p:cNvPr>
            <p:cNvCxnSpPr>
              <a:cxnSpLocks/>
            </p:cNvCxnSpPr>
            <p:nvPr/>
          </p:nvCxnSpPr>
          <p:spPr>
            <a:xfrm>
              <a:off x="3269126"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46ECB79-E00C-4C60-A48E-88570215625B}"/>
                </a:ext>
              </a:extLst>
            </p:cNvPr>
            <p:cNvCxnSpPr>
              <a:cxnSpLocks/>
            </p:cNvCxnSpPr>
            <p:nvPr/>
          </p:nvCxnSpPr>
          <p:spPr>
            <a:xfrm>
              <a:off x="11609388"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D282793C-B126-4274-AD70-EC9205FDD3B6}"/>
              </a:ext>
            </a:extLst>
          </p:cNvPr>
          <p:cNvSpPr txBox="1"/>
          <p:nvPr/>
        </p:nvSpPr>
        <p:spPr>
          <a:xfrm>
            <a:off x="10321941" y="2460833"/>
            <a:ext cx="906843" cy="249299"/>
          </a:xfrm>
          <a:prstGeom prst="rect">
            <a:avLst/>
          </a:prstGeom>
          <a:noFill/>
        </p:spPr>
        <p:txBody>
          <a:bodyPr wrap="square" lIns="0" tIns="0" rIns="0" bIns="0"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50" normalizeH="0" baseline="0" noProof="0" dirty="0">
                <a:ln>
                  <a:noFill/>
                </a:ln>
                <a:gradFill>
                  <a:gsLst>
                    <a:gs pos="93805">
                      <a:srgbClr val="FFFFFF"/>
                    </a:gs>
                    <a:gs pos="80531">
                      <a:srgbClr val="FFFFFF"/>
                    </a:gs>
                  </a:gsLst>
                  <a:lin ang="5400000" scaled="1"/>
                </a:gradFill>
                <a:effectLst/>
                <a:uLnTx/>
                <a:uFillTx/>
                <a:latin typeface="Segoe UI Semibold"/>
                <a:cs typeface="Segoe UI Semibold" panose="020B0702040204020203" pitchFamily="34" charset="0"/>
              </a:rPr>
              <a:t>SaaS</a:t>
            </a:r>
          </a:p>
        </p:txBody>
      </p:sp>
      <p:sp>
        <p:nvSpPr>
          <p:cNvPr id="46" name="TextBox 45">
            <a:extLst>
              <a:ext uri="{FF2B5EF4-FFF2-40B4-BE49-F238E27FC236}">
                <a16:creationId xmlns:a16="http://schemas.microsoft.com/office/drawing/2014/main" id="{A35D4827-7213-431C-85C0-416063D88168}"/>
              </a:ext>
            </a:extLst>
          </p:cNvPr>
          <p:cNvSpPr txBox="1"/>
          <p:nvPr/>
        </p:nvSpPr>
        <p:spPr>
          <a:xfrm>
            <a:off x="8366408" y="2460833"/>
            <a:ext cx="1481804" cy="249299"/>
          </a:xfrm>
          <a:prstGeom prst="rect">
            <a:avLst/>
          </a:prstGeom>
          <a:noFill/>
        </p:spPr>
        <p:txBody>
          <a:bodyPr wrap="square" lIns="0" tIns="0" rIns="0" bIns="0"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50" normalizeH="0" baseline="0" noProof="0" dirty="0">
                <a:ln>
                  <a:noFill/>
                </a:ln>
                <a:gradFill>
                  <a:gsLst>
                    <a:gs pos="93805">
                      <a:srgbClr val="FFFFFF"/>
                    </a:gs>
                    <a:gs pos="80531">
                      <a:srgbClr val="FFFFFF"/>
                    </a:gs>
                  </a:gsLst>
                  <a:lin ang="5400000" scaled="1"/>
                </a:gradFill>
                <a:effectLst/>
                <a:uLnTx/>
                <a:uFillTx/>
                <a:latin typeface="Segoe UI Semibold"/>
                <a:cs typeface="Segoe UI Semibold" panose="020B0702040204020203" pitchFamily="34" charset="0"/>
              </a:rPr>
              <a:t>Cloud-native</a:t>
            </a:r>
          </a:p>
        </p:txBody>
      </p:sp>
      <p:sp>
        <p:nvSpPr>
          <p:cNvPr id="47" name="Rectangle 46">
            <a:extLst>
              <a:ext uri="{FF2B5EF4-FFF2-40B4-BE49-F238E27FC236}">
                <a16:creationId xmlns:a16="http://schemas.microsoft.com/office/drawing/2014/main" id="{E7D14F5F-0927-40E2-A5E3-9396B1BED5EE}"/>
              </a:ext>
            </a:extLst>
          </p:cNvPr>
          <p:cNvSpPr/>
          <p:nvPr/>
        </p:nvSpPr>
        <p:spPr>
          <a:xfrm>
            <a:off x="3800812" y="2460833"/>
            <a:ext cx="3940786" cy="249299"/>
          </a:xfrm>
          <a:prstGeom prst="rect">
            <a:avLst/>
          </a:prstGeom>
          <a:noFill/>
        </p:spPr>
        <p:txBody>
          <a:bodyPr wrap="square" lIns="0" tIns="0" rIns="0" bIns="0" anchor="ctr">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50" normalizeH="0" baseline="0" noProof="0" dirty="0">
                <a:ln>
                  <a:noFill/>
                </a:ln>
                <a:gradFill>
                  <a:gsLst>
                    <a:gs pos="93805">
                      <a:srgbClr val="FFFFFF"/>
                    </a:gs>
                    <a:gs pos="80531">
                      <a:srgbClr val="FFFFFF"/>
                    </a:gs>
                  </a:gsLst>
                  <a:lin ang="5400000" scaled="1"/>
                </a:gradFill>
                <a:effectLst/>
                <a:uLnTx/>
                <a:uFillTx/>
                <a:latin typeface="Segoe UI Semibold"/>
                <a:ea typeface="Segoe UI" pitchFamily="34" charset="0"/>
                <a:cs typeface="Segoe UI Semibold" panose="020B0702040204020203" pitchFamily="34" charset="0"/>
              </a:rPr>
              <a:t>Migration &amp; modernization</a:t>
            </a:r>
          </a:p>
        </p:txBody>
      </p:sp>
      <p:sp>
        <p:nvSpPr>
          <p:cNvPr id="52" name="TextBox 51">
            <a:extLst>
              <a:ext uri="{FF2B5EF4-FFF2-40B4-BE49-F238E27FC236}">
                <a16:creationId xmlns:a16="http://schemas.microsoft.com/office/drawing/2014/main" id="{6A3EC533-A30D-4F72-A09E-294DF130BDAF}"/>
              </a:ext>
            </a:extLst>
          </p:cNvPr>
          <p:cNvSpPr txBox="1"/>
          <p:nvPr/>
        </p:nvSpPr>
        <p:spPr>
          <a:xfrm>
            <a:off x="3604389" y="3184969"/>
            <a:ext cx="997527"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host</a:t>
            </a:r>
          </a:p>
        </p:txBody>
      </p:sp>
      <p:sp>
        <p:nvSpPr>
          <p:cNvPr id="53" name="TextBox 52">
            <a:extLst>
              <a:ext uri="{FF2B5EF4-FFF2-40B4-BE49-F238E27FC236}">
                <a16:creationId xmlns:a16="http://schemas.microsoft.com/office/drawing/2014/main" id="{1D784EF4-FD2D-4BA7-9F79-F25DF2899BC2}"/>
              </a:ext>
            </a:extLst>
          </p:cNvPr>
          <p:cNvSpPr txBox="1"/>
          <p:nvPr/>
        </p:nvSpPr>
        <p:spPr>
          <a:xfrm>
            <a:off x="5272442" y="3184969"/>
            <a:ext cx="997527"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factor</a:t>
            </a:r>
          </a:p>
        </p:txBody>
      </p:sp>
      <p:sp>
        <p:nvSpPr>
          <p:cNvPr id="54" name="TextBox 53">
            <a:extLst>
              <a:ext uri="{FF2B5EF4-FFF2-40B4-BE49-F238E27FC236}">
                <a16:creationId xmlns:a16="http://schemas.microsoft.com/office/drawing/2014/main" id="{E4A11415-CB8D-4A6E-9ECD-D9BC948DB247}"/>
              </a:ext>
            </a:extLst>
          </p:cNvPr>
          <p:cNvSpPr txBox="1"/>
          <p:nvPr/>
        </p:nvSpPr>
        <p:spPr>
          <a:xfrm>
            <a:off x="6940495" y="3184969"/>
            <a:ext cx="997527"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architect</a:t>
            </a:r>
          </a:p>
        </p:txBody>
      </p:sp>
      <p:sp>
        <p:nvSpPr>
          <p:cNvPr id="55" name="TextBox 54">
            <a:extLst>
              <a:ext uri="{FF2B5EF4-FFF2-40B4-BE49-F238E27FC236}">
                <a16:creationId xmlns:a16="http://schemas.microsoft.com/office/drawing/2014/main" id="{1221052F-947C-48EF-AD3F-15D1021D37BA}"/>
              </a:ext>
            </a:extLst>
          </p:cNvPr>
          <p:cNvSpPr txBox="1"/>
          <p:nvPr/>
        </p:nvSpPr>
        <p:spPr>
          <a:xfrm>
            <a:off x="8502342" y="3184969"/>
            <a:ext cx="1209936"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build/New</a:t>
            </a:r>
          </a:p>
        </p:txBody>
      </p:sp>
      <p:sp>
        <p:nvSpPr>
          <p:cNvPr id="56" name="TextBox 55">
            <a:extLst>
              <a:ext uri="{FF2B5EF4-FFF2-40B4-BE49-F238E27FC236}">
                <a16:creationId xmlns:a16="http://schemas.microsoft.com/office/drawing/2014/main" id="{11A7C141-DE3B-4B8D-8F62-D6ECA6048010}"/>
              </a:ext>
            </a:extLst>
          </p:cNvPr>
          <p:cNvSpPr txBox="1"/>
          <p:nvPr/>
        </p:nvSpPr>
        <p:spPr>
          <a:xfrm>
            <a:off x="10276599" y="3184969"/>
            <a:ext cx="997527"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place</a:t>
            </a:r>
          </a:p>
        </p:txBody>
      </p:sp>
      <p:sp>
        <p:nvSpPr>
          <p:cNvPr id="133" name="Title 24">
            <a:extLst>
              <a:ext uri="{FF2B5EF4-FFF2-40B4-BE49-F238E27FC236}">
                <a16:creationId xmlns:a16="http://schemas.microsoft.com/office/drawing/2014/main" id="{A5715B2C-40AD-4CCF-B430-2557716FB0F7}"/>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Customer cloud journey</a:t>
            </a:r>
          </a:p>
        </p:txBody>
      </p:sp>
      <p:sp>
        <p:nvSpPr>
          <p:cNvPr id="134" name="Title 1">
            <a:extLst>
              <a:ext uri="{FF2B5EF4-FFF2-40B4-BE49-F238E27FC236}">
                <a16:creationId xmlns:a16="http://schemas.microsoft.com/office/drawing/2014/main" id="{AC4DDD03-EA30-40DE-902E-20ABE92BFC30}"/>
              </a:ext>
            </a:extLst>
          </p:cNvPr>
          <p:cNvSpPr txBox="1">
            <a:spLocks/>
          </p:cNvSpPr>
          <p:nvPr/>
        </p:nvSpPr>
        <p:spPr>
          <a:xfrm>
            <a:off x="541687" y="2837074"/>
            <a:ext cx="1588154" cy="193899"/>
          </a:xfrm>
          <a:prstGeom prst="rect">
            <a:avLst/>
          </a:prstGeom>
          <a:no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72" fontAlgn="base">
              <a:lnSpc>
                <a:spcPct val="90000"/>
              </a:lnSpc>
              <a:spcBef>
                <a:spcPct val="0"/>
              </a:spcBef>
              <a:spcAft>
                <a:spcPct val="0"/>
              </a:spcAft>
              <a:defRPr sz="3600" kern="0">
                <a:gradFill>
                  <a:gsLst>
                    <a:gs pos="38739">
                      <a:srgbClr val="1A1A1A"/>
                    </a:gs>
                    <a:gs pos="58000">
                      <a:srgbClr val="1A1A1A"/>
                    </a:gs>
                  </a:gsLst>
                  <a:lin ang="5400000" scaled="0"/>
                </a:gradFill>
                <a:latin typeface="Segoe UI Semibold"/>
              </a:defRPr>
            </a:lvl1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a:ea typeface="+mn-ea"/>
                <a:cs typeface="+mn-cs"/>
              </a:rPr>
              <a:t>Data reality</a:t>
            </a:r>
          </a:p>
        </p:txBody>
      </p:sp>
    </p:spTree>
    <p:extLst>
      <p:ext uri="{BB962C8B-B14F-4D97-AF65-F5344CB8AC3E}">
        <p14:creationId xmlns:p14="http://schemas.microsoft.com/office/powerpoint/2010/main" val="314388704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med" p14:dur="600">
        <p159:morph option="byObject"/>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par>
                                <p:cTn id="11" presetID="63" presetClass="path" presetSubtype="0" decel="100000" fill="hold" grpId="1" nodeType="withEffect">
                                  <p:stCondLst>
                                    <p:cond delay="0"/>
                                  </p:stCondLst>
                                  <p:childTnLst>
                                    <p:animMotion origin="layout" path="M 2.70833E-6 -1.85185E-6 L 2.70833E-6 0.03866 " pathEditMode="relative" rAng="0" ptsTypes="AA">
                                      <p:cBhvr>
                                        <p:cTn id="12" dur="500" spd="-100000" fill="hold"/>
                                        <p:tgtEl>
                                          <p:spTgt spid="47"/>
                                        </p:tgtEl>
                                        <p:attrNameLst>
                                          <p:attrName>ppt_x</p:attrName>
                                          <p:attrName>ppt_y</p:attrName>
                                        </p:attrNameLst>
                                      </p:cBhvr>
                                      <p:rCtr x="0" y="1921"/>
                                    </p:animMotion>
                                  </p:childTnLst>
                                </p:cTn>
                              </p:par>
                              <p:par>
                                <p:cTn id="13" presetID="10" presetClass="entr" presetSubtype="0" fill="hold" grpId="0" nodeType="withEffect">
                                  <p:stCondLst>
                                    <p:cond delay="1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63" presetClass="path" presetSubtype="0" decel="100000" fill="hold" grpId="1" nodeType="withEffect">
                                  <p:stCondLst>
                                    <p:cond delay="100"/>
                                  </p:stCondLst>
                                  <p:childTnLst>
                                    <p:animMotion origin="layout" path="M 2.70833E-6 -1.85185E-6 L 2.70833E-6 0.03866 " pathEditMode="relative" rAng="0" ptsTypes="AA">
                                      <p:cBhvr>
                                        <p:cTn id="17" dur="500" spd="-100000" fill="hold"/>
                                        <p:tgtEl>
                                          <p:spTgt spid="46"/>
                                        </p:tgtEl>
                                        <p:attrNameLst>
                                          <p:attrName>ppt_x</p:attrName>
                                          <p:attrName>ppt_y</p:attrName>
                                        </p:attrNameLst>
                                      </p:cBhvr>
                                      <p:rCtr x="0" y="1921"/>
                                    </p:animMotion>
                                  </p:childTnLst>
                                </p:cTn>
                              </p:par>
                              <p:par>
                                <p:cTn id="18" presetID="10" presetClass="entr" presetSubtype="0" fill="hold" grpId="0" nodeType="withEffect">
                                  <p:stCondLst>
                                    <p:cond delay="20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500"/>
                                        <p:tgtEl>
                                          <p:spTgt spid="45"/>
                                        </p:tgtEl>
                                      </p:cBhvr>
                                    </p:animEffect>
                                  </p:childTnLst>
                                </p:cTn>
                              </p:par>
                              <p:par>
                                <p:cTn id="21" presetID="63" presetClass="path" presetSubtype="0" decel="100000" fill="hold" grpId="1" nodeType="withEffect">
                                  <p:stCondLst>
                                    <p:cond delay="200"/>
                                  </p:stCondLst>
                                  <p:childTnLst>
                                    <p:animMotion origin="layout" path="M 2.70833E-6 -1.85185E-6 L 2.70833E-6 0.03866 " pathEditMode="relative" rAng="0" ptsTypes="AA">
                                      <p:cBhvr>
                                        <p:cTn id="22" dur="500" spd="-100000" fill="hold"/>
                                        <p:tgtEl>
                                          <p:spTgt spid="45"/>
                                        </p:tgtEl>
                                        <p:attrNameLst>
                                          <p:attrName>ppt_x</p:attrName>
                                          <p:attrName>ppt_y</p:attrName>
                                        </p:attrNameLst>
                                      </p:cBhvr>
                                      <p:rCtr x="0" y="1921"/>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63" presetClass="path" presetSubtype="0" decel="100000" fill="hold" grpId="1" nodeType="withEffect">
                                  <p:stCondLst>
                                    <p:cond delay="0"/>
                                  </p:stCondLst>
                                  <p:childTnLst>
                                    <p:animMotion origin="layout" path="M 1.66667E-6 -2.22222E-6 L 1.66667E-6 -0.03657 " pathEditMode="relative" rAng="0" ptsTypes="AA">
                                      <p:cBhvr>
                                        <p:cTn id="29" dur="500" spd="-100000" fill="hold"/>
                                        <p:tgtEl>
                                          <p:spTgt spid="52"/>
                                        </p:tgtEl>
                                        <p:attrNameLst>
                                          <p:attrName>ppt_x</p:attrName>
                                          <p:attrName>ppt_y</p:attrName>
                                        </p:attrNameLst>
                                      </p:cBhvr>
                                      <p:rCtr x="0" y="-1829"/>
                                    </p:animMotion>
                                  </p:childTnLst>
                                </p:cTn>
                              </p:par>
                              <p:par>
                                <p:cTn id="30" presetID="10" presetClass="entr" presetSubtype="0" fill="hold" grpId="0" nodeType="withEffect">
                                  <p:stCondLst>
                                    <p:cond delay="10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500"/>
                                        <p:tgtEl>
                                          <p:spTgt spid="53"/>
                                        </p:tgtEl>
                                      </p:cBhvr>
                                    </p:animEffect>
                                  </p:childTnLst>
                                </p:cTn>
                              </p:par>
                              <p:par>
                                <p:cTn id="33" presetID="63" presetClass="path" presetSubtype="0" decel="100000" fill="hold" grpId="1" nodeType="withEffect">
                                  <p:stCondLst>
                                    <p:cond delay="100"/>
                                  </p:stCondLst>
                                  <p:childTnLst>
                                    <p:animMotion origin="layout" path="M 1.66667E-6 -2.22222E-6 L 1.66667E-6 -0.03657 " pathEditMode="relative" rAng="0" ptsTypes="AA">
                                      <p:cBhvr>
                                        <p:cTn id="34" dur="500" spd="-100000" fill="hold"/>
                                        <p:tgtEl>
                                          <p:spTgt spid="53"/>
                                        </p:tgtEl>
                                        <p:attrNameLst>
                                          <p:attrName>ppt_x</p:attrName>
                                          <p:attrName>ppt_y</p:attrName>
                                        </p:attrNameLst>
                                      </p:cBhvr>
                                      <p:rCtr x="0" y="-1829"/>
                                    </p:animMotion>
                                  </p:childTnLst>
                                </p:cTn>
                              </p:par>
                              <p:par>
                                <p:cTn id="35" presetID="10" presetClass="entr" presetSubtype="0" fill="hold" grpId="0" nodeType="withEffect">
                                  <p:stCondLst>
                                    <p:cond delay="200"/>
                                  </p:stCondLst>
                                  <p:childTnLst>
                                    <p:set>
                                      <p:cBhvr>
                                        <p:cTn id="36" dur="1" fill="hold">
                                          <p:stCondLst>
                                            <p:cond delay="0"/>
                                          </p:stCondLst>
                                        </p:cTn>
                                        <p:tgtEl>
                                          <p:spTgt spid="54"/>
                                        </p:tgtEl>
                                        <p:attrNameLst>
                                          <p:attrName>style.visibility</p:attrName>
                                        </p:attrNameLst>
                                      </p:cBhvr>
                                      <p:to>
                                        <p:strVal val="visible"/>
                                      </p:to>
                                    </p:set>
                                    <p:animEffect transition="in" filter="fade">
                                      <p:cBhvr>
                                        <p:cTn id="37" dur="500"/>
                                        <p:tgtEl>
                                          <p:spTgt spid="54"/>
                                        </p:tgtEl>
                                      </p:cBhvr>
                                    </p:animEffect>
                                  </p:childTnLst>
                                </p:cTn>
                              </p:par>
                              <p:par>
                                <p:cTn id="38" presetID="63" presetClass="path" presetSubtype="0" decel="100000" fill="hold" grpId="1" nodeType="withEffect">
                                  <p:stCondLst>
                                    <p:cond delay="200"/>
                                  </p:stCondLst>
                                  <p:childTnLst>
                                    <p:animMotion origin="layout" path="M 1.66667E-6 -2.22222E-6 L 1.66667E-6 -0.03657 " pathEditMode="relative" rAng="0" ptsTypes="AA">
                                      <p:cBhvr>
                                        <p:cTn id="39" dur="500" spd="-100000" fill="hold"/>
                                        <p:tgtEl>
                                          <p:spTgt spid="54"/>
                                        </p:tgtEl>
                                        <p:attrNameLst>
                                          <p:attrName>ppt_x</p:attrName>
                                          <p:attrName>ppt_y</p:attrName>
                                        </p:attrNameLst>
                                      </p:cBhvr>
                                      <p:rCtr x="0" y="-1829"/>
                                    </p:animMotion>
                                  </p:childTnLst>
                                </p:cTn>
                              </p:par>
                              <p:par>
                                <p:cTn id="40" presetID="10" presetClass="entr" presetSubtype="0" fill="hold" grpId="0" nodeType="withEffect">
                                  <p:stCondLst>
                                    <p:cond delay="30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par>
                                <p:cTn id="43" presetID="63" presetClass="path" presetSubtype="0" decel="100000" fill="hold" grpId="1" nodeType="withEffect">
                                  <p:stCondLst>
                                    <p:cond delay="300"/>
                                  </p:stCondLst>
                                  <p:childTnLst>
                                    <p:animMotion origin="layout" path="M 1.66667E-6 -2.22222E-6 L 1.66667E-6 -0.03657 " pathEditMode="relative" rAng="0" ptsTypes="AA">
                                      <p:cBhvr>
                                        <p:cTn id="44" dur="500" spd="-100000" fill="hold"/>
                                        <p:tgtEl>
                                          <p:spTgt spid="55"/>
                                        </p:tgtEl>
                                        <p:attrNameLst>
                                          <p:attrName>ppt_x</p:attrName>
                                          <p:attrName>ppt_y</p:attrName>
                                        </p:attrNameLst>
                                      </p:cBhvr>
                                      <p:rCtr x="0" y="-1829"/>
                                    </p:animMotion>
                                  </p:childTnLst>
                                </p:cTn>
                              </p:par>
                              <p:par>
                                <p:cTn id="45" presetID="10" presetClass="entr" presetSubtype="0" fill="hold" grpId="0" nodeType="withEffect">
                                  <p:stCondLst>
                                    <p:cond delay="40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par>
                                <p:cTn id="48" presetID="63" presetClass="path" presetSubtype="0" decel="100000" fill="hold" grpId="1" nodeType="withEffect">
                                  <p:stCondLst>
                                    <p:cond delay="400"/>
                                  </p:stCondLst>
                                  <p:childTnLst>
                                    <p:animMotion origin="layout" path="M 1.66667E-6 -2.22222E-6 L 1.66667E-6 -0.03657 " pathEditMode="relative" rAng="0" ptsTypes="AA">
                                      <p:cBhvr>
                                        <p:cTn id="49" dur="500" spd="-100000" fill="hold"/>
                                        <p:tgtEl>
                                          <p:spTgt spid="56"/>
                                        </p:tgtEl>
                                        <p:attrNameLst>
                                          <p:attrName>ppt_x</p:attrName>
                                          <p:attrName>ppt_y</p:attrName>
                                        </p:attrNameLst>
                                      </p:cBhvr>
                                      <p:rCtr x="0" y="-1829"/>
                                    </p:animMotion>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700"/>
                                        <p:tgtEl>
                                          <p:spTgt spid="29"/>
                                        </p:tgtEl>
                                      </p:cBhvr>
                                    </p:animEffect>
                                  </p:childTnLst>
                                </p:cTn>
                              </p:par>
                              <p:par>
                                <p:cTn id="55" presetID="63" presetClass="path" presetSubtype="0" decel="100000" fill="hold" nodeType="withEffect">
                                  <p:stCondLst>
                                    <p:cond delay="0"/>
                                  </p:stCondLst>
                                  <p:childTnLst>
                                    <p:animMotion origin="layout" path="M 2.08333E-7 -4.81481E-6 L 2.08333E-7 -0.22638 " pathEditMode="relative" rAng="0" ptsTypes="AA">
                                      <p:cBhvr>
                                        <p:cTn id="56" dur="700" spd="-100000" fill="hold"/>
                                        <p:tgtEl>
                                          <p:spTgt spid="29"/>
                                        </p:tgtEl>
                                        <p:attrNameLst>
                                          <p:attrName>ppt_x</p:attrName>
                                          <p:attrName>ppt_y</p:attrName>
                                        </p:attrNameLst>
                                      </p:cBhvr>
                                      <p:rCtr x="0" y="-113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P spid="46" grpId="0"/>
      <p:bldP spid="46" grpId="1"/>
      <p:bldP spid="47" grpId="0"/>
      <p:bldP spid="47" grpId="1"/>
      <p:bldP spid="52" grpId="0"/>
      <p:bldP spid="52" grpId="1"/>
      <p:bldP spid="53" grpId="0"/>
      <p:bldP spid="53" grpId="1"/>
      <p:bldP spid="54" grpId="0"/>
      <p:bldP spid="54" grpId="1"/>
      <p:bldP spid="55" grpId="0"/>
      <p:bldP spid="55" grpId="1"/>
      <p:bldP spid="56" grpId="0"/>
      <p:bldP spid="56"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loud on your Terms</a:t>
            </a:r>
          </a:p>
        </p:txBody>
      </p:sp>
      <p:pic>
        <p:nvPicPr>
          <p:cNvPr id="62469" name="Picture 7"/>
          <p:cNvPicPr>
            <a:picLocks noChangeAspect="1"/>
          </p:cNvPicPr>
          <p:nvPr/>
        </p:nvPicPr>
        <p:blipFill>
          <a:blip r:embed="rId3" cstate="print">
            <a:duotone>
              <a:prstClr val="black"/>
              <a:srgbClr val="0070C0">
                <a:tint val="45000"/>
                <a:satMod val="400000"/>
              </a:srgbClr>
            </a:duotone>
          </a:blip>
          <a:srcRect/>
          <a:stretch>
            <a:fillRect/>
          </a:stretch>
        </p:blipFill>
        <p:spPr bwMode="auto">
          <a:xfrm rot="20442221">
            <a:off x="5954160" y="3355110"/>
            <a:ext cx="537515" cy="561511"/>
          </a:xfrm>
          <a:prstGeom prst="rect">
            <a:avLst/>
          </a:prstGeom>
          <a:noFill/>
          <a:ln w="9525">
            <a:noFill/>
            <a:miter lim="800000"/>
            <a:headEnd/>
            <a:tailEnd/>
          </a:ln>
          <a:effectLst/>
        </p:spPr>
      </p:pic>
      <p:pic>
        <p:nvPicPr>
          <p:cNvPr id="62471" name="Picture 78"/>
          <p:cNvPicPr>
            <a:picLocks noChangeAspect="1"/>
          </p:cNvPicPr>
          <p:nvPr/>
        </p:nvPicPr>
        <p:blipFill>
          <a:blip r:embed="rId3" cstate="print">
            <a:duotone>
              <a:prstClr val="black"/>
              <a:srgbClr val="0070C0">
                <a:tint val="45000"/>
                <a:satMod val="400000"/>
              </a:srgbClr>
            </a:duotone>
          </a:blip>
          <a:srcRect/>
          <a:stretch>
            <a:fillRect/>
          </a:stretch>
        </p:blipFill>
        <p:spPr bwMode="auto">
          <a:xfrm rot="20442221">
            <a:off x="8581118" y="2241651"/>
            <a:ext cx="537515" cy="561511"/>
          </a:xfrm>
          <a:prstGeom prst="rect">
            <a:avLst/>
          </a:prstGeom>
          <a:noFill/>
          <a:ln w="9525">
            <a:noFill/>
            <a:miter lim="800000"/>
            <a:headEnd/>
            <a:tailEnd/>
          </a:ln>
          <a:effectLst/>
        </p:spPr>
      </p:pic>
      <p:pic>
        <p:nvPicPr>
          <p:cNvPr id="62475" name="Picture 15"/>
          <p:cNvPicPr>
            <a:picLocks noChangeAspect="1"/>
          </p:cNvPicPr>
          <p:nvPr/>
        </p:nvPicPr>
        <p:blipFill>
          <a:blip r:embed="rId3" cstate="print">
            <a:duotone>
              <a:prstClr val="black"/>
              <a:srgbClr val="0070C0">
                <a:tint val="45000"/>
                <a:satMod val="400000"/>
              </a:srgbClr>
            </a:duotone>
          </a:blip>
          <a:srcRect/>
          <a:stretch>
            <a:fillRect/>
          </a:stretch>
        </p:blipFill>
        <p:spPr bwMode="auto">
          <a:xfrm rot="20442221">
            <a:off x="2545140" y="4821937"/>
            <a:ext cx="537515" cy="561511"/>
          </a:xfrm>
          <a:prstGeom prst="rect">
            <a:avLst/>
          </a:prstGeom>
          <a:noFill/>
          <a:ln w="9525">
            <a:noFill/>
            <a:miter lim="800000"/>
            <a:headEnd/>
            <a:tailEnd/>
          </a:ln>
          <a:effectLst/>
        </p:spPr>
      </p:pic>
      <p:grpSp>
        <p:nvGrpSpPr>
          <p:cNvPr id="4" name="Group 3"/>
          <p:cNvGrpSpPr/>
          <p:nvPr/>
        </p:nvGrpSpPr>
        <p:grpSpPr>
          <a:xfrm>
            <a:off x="3288448" y="3313830"/>
            <a:ext cx="2664824" cy="2172318"/>
            <a:chOff x="2250913" y="2630491"/>
            <a:chExt cx="2217420" cy="1807602"/>
          </a:xfrm>
        </p:grpSpPr>
        <p:pic>
          <p:nvPicPr>
            <p:cNvPr id="62468" name="Picture 6"/>
            <p:cNvPicPr>
              <a:picLocks noChangeAspect="1"/>
            </p:cNvPicPr>
            <p:nvPr/>
          </p:nvPicPr>
          <p:blipFill>
            <a:blip r:embed="rId4" cstate="print">
              <a:duotone>
                <a:prstClr val="black"/>
                <a:srgbClr val="0070C0">
                  <a:tint val="45000"/>
                  <a:satMod val="400000"/>
                </a:srgbClr>
              </a:duotone>
            </a:blip>
            <a:srcRect/>
            <a:stretch>
              <a:fillRect/>
            </a:stretch>
          </p:blipFill>
          <p:spPr bwMode="auto">
            <a:xfrm>
              <a:off x="2250913" y="2630491"/>
              <a:ext cx="2217420" cy="1485900"/>
            </a:xfrm>
            <a:prstGeom prst="rect">
              <a:avLst/>
            </a:prstGeom>
            <a:noFill/>
            <a:ln w="9525">
              <a:noFill/>
              <a:miter lim="800000"/>
              <a:headEnd/>
              <a:tailEnd/>
            </a:ln>
            <a:effectLst/>
          </p:spPr>
        </p:pic>
        <p:sp>
          <p:nvSpPr>
            <p:cNvPr id="19" name="Rectangle 18"/>
            <p:cNvSpPr>
              <a:spLocks noChangeArrowheads="1"/>
            </p:cNvSpPr>
            <p:nvPr/>
          </p:nvSpPr>
          <p:spPr bwMode="auto">
            <a:xfrm>
              <a:off x="2859332" y="4142818"/>
              <a:ext cx="1000583" cy="295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algn="ctr" defTabSz="914192" fontAlgn="base">
                <a:spcBef>
                  <a:spcPct val="0"/>
                </a:spcBef>
                <a:spcAft>
                  <a:spcPct val="0"/>
                </a:spcAft>
              </a:pPr>
              <a:r>
                <a:rPr lang="en-US" sz="2353" dirty="0">
                  <a:solidFill>
                    <a:srgbClr val="2E002E">
                      <a:alpha val="99000"/>
                    </a:srgbClr>
                  </a:solidFill>
                  <a:latin typeface="Segoe UI" pitchFamily="34" charset="0"/>
                  <a:ea typeface="Segoe UI" pitchFamily="34" charset="0"/>
                  <a:cs typeface="Segoe UI" pitchFamily="34" charset="0"/>
                </a:rPr>
                <a:t>Virtual</a:t>
              </a:r>
            </a:p>
          </p:txBody>
        </p:sp>
      </p:grpSp>
      <p:grpSp>
        <p:nvGrpSpPr>
          <p:cNvPr id="5" name="Group 4"/>
          <p:cNvGrpSpPr/>
          <p:nvPr/>
        </p:nvGrpSpPr>
        <p:grpSpPr>
          <a:xfrm>
            <a:off x="6549021" y="2074641"/>
            <a:ext cx="1767391" cy="2141501"/>
            <a:chOff x="5123403" y="2656133"/>
            <a:chExt cx="1470660" cy="1781960"/>
          </a:xfrm>
        </p:grpSpPr>
        <p:pic>
          <p:nvPicPr>
            <p:cNvPr id="62470" name="Picture 9"/>
            <p:cNvPicPr>
              <a:picLocks noChangeAspect="1"/>
            </p:cNvPicPr>
            <p:nvPr/>
          </p:nvPicPr>
          <p:blipFill>
            <a:blip r:embed="rId5" cstate="print">
              <a:duotone>
                <a:prstClr val="black"/>
                <a:srgbClr val="0070C0">
                  <a:tint val="45000"/>
                  <a:satMod val="400000"/>
                </a:srgbClr>
              </a:duotone>
            </a:blip>
            <a:srcRect/>
            <a:stretch>
              <a:fillRect/>
            </a:stretch>
          </p:blipFill>
          <p:spPr bwMode="auto">
            <a:xfrm>
              <a:off x="5123403" y="2656133"/>
              <a:ext cx="1470660" cy="1493520"/>
            </a:xfrm>
            <a:prstGeom prst="rect">
              <a:avLst/>
            </a:prstGeom>
            <a:noFill/>
            <a:ln w="9525">
              <a:noFill/>
              <a:miter lim="800000"/>
              <a:headEnd/>
              <a:tailEnd/>
            </a:ln>
            <a:effectLst/>
          </p:spPr>
        </p:pic>
        <p:sp>
          <p:nvSpPr>
            <p:cNvPr id="21" name="Rectangle 20"/>
            <p:cNvSpPr>
              <a:spLocks noChangeArrowheads="1"/>
            </p:cNvSpPr>
            <p:nvPr/>
          </p:nvSpPr>
          <p:spPr bwMode="auto">
            <a:xfrm>
              <a:off x="5369887" y="4190442"/>
              <a:ext cx="981608" cy="2476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algn="ctr" defTabSz="914192" fontAlgn="base">
                <a:spcBef>
                  <a:spcPct val="0"/>
                </a:spcBef>
                <a:spcAft>
                  <a:spcPct val="0"/>
                </a:spcAft>
              </a:pPr>
              <a:r>
                <a:rPr lang="en-US" sz="2353" dirty="0">
                  <a:solidFill>
                    <a:srgbClr val="2E002E">
                      <a:alpha val="99000"/>
                    </a:srgbClr>
                  </a:solidFill>
                  <a:latin typeface="Segoe UI" pitchFamily="34" charset="0"/>
                  <a:ea typeface="Segoe UI" pitchFamily="34" charset="0"/>
                  <a:cs typeface="Segoe UI" pitchFamily="34" charset="0"/>
                </a:rPr>
                <a:t>Private</a:t>
              </a:r>
            </a:p>
          </p:txBody>
        </p:sp>
      </p:grpSp>
      <p:grpSp>
        <p:nvGrpSpPr>
          <p:cNvPr id="6" name="Group 5"/>
          <p:cNvGrpSpPr/>
          <p:nvPr/>
        </p:nvGrpSpPr>
        <p:grpSpPr>
          <a:xfrm>
            <a:off x="9242516" y="1195925"/>
            <a:ext cx="1913911" cy="2233075"/>
            <a:chOff x="7240887" y="2579933"/>
            <a:chExt cx="1592580" cy="1858159"/>
          </a:xfrm>
        </p:grpSpPr>
        <p:pic>
          <p:nvPicPr>
            <p:cNvPr id="62472" name="Picture 26"/>
            <p:cNvPicPr>
              <a:picLocks noChangeAspect="1"/>
            </p:cNvPicPr>
            <p:nvPr/>
          </p:nvPicPr>
          <p:blipFill>
            <a:blip r:embed="rId6" cstate="print">
              <a:duotone>
                <a:prstClr val="black"/>
                <a:srgbClr val="0070C0">
                  <a:tint val="45000"/>
                  <a:satMod val="400000"/>
                </a:srgbClr>
              </a:duotone>
            </a:blip>
            <a:srcRect/>
            <a:stretch>
              <a:fillRect/>
            </a:stretch>
          </p:blipFill>
          <p:spPr bwMode="auto">
            <a:xfrm>
              <a:off x="7240887" y="2579933"/>
              <a:ext cx="1592580" cy="1615440"/>
            </a:xfrm>
            <a:prstGeom prst="rect">
              <a:avLst/>
            </a:prstGeom>
            <a:noFill/>
            <a:ln w="9525">
              <a:noFill/>
              <a:miter lim="800000"/>
              <a:headEnd/>
              <a:tailEnd/>
            </a:ln>
            <a:effectLst/>
          </p:spPr>
        </p:pic>
        <p:sp>
          <p:nvSpPr>
            <p:cNvPr id="22" name="Rectangle 21"/>
            <p:cNvSpPr>
              <a:spLocks noChangeArrowheads="1"/>
            </p:cNvSpPr>
            <p:nvPr/>
          </p:nvSpPr>
          <p:spPr bwMode="auto">
            <a:xfrm>
              <a:off x="7561258" y="4190441"/>
              <a:ext cx="959085" cy="2476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algn="ctr" defTabSz="914192" fontAlgn="base">
                <a:spcBef>
                  <a:spcPct val="0"/>
                </a:spcBef>
                <a:spcAft>
                  <a:spcPct val="0"/>
                </a:spcAft>
              </a:pPr>
              <a:r>
                <a:rPr lang="en-US" sz="2353" dirty="0">
                  <a:solidFill>
                    <a:srgbClr val="2E002E">
                      <a:alpha val="99000"/>
                    </a:srgbClr>
                  </a:solidFill>
                  <a:latin typeface="Segoe UI" pitchFamily="34" charset="0"/>
                  <a:ea typeface="Segoe UI" pitchFamily="34" charset="0"/>
                  <a:cs typeface="Segoe UI" pitchFamily="34" charset="0"/>
                </a:rPr>
                <a:t>Public</a:t>
              </a:r>
            </a:p>
          </p:txBody>
        </p:sp>
      </p:grpSp>
      <p:grpSp>
        <p:nvGrpSpPr>
          <p:cNvPr id="3" name="Group 2"/>
          <p:cNvGrpSpPr/>
          <p:nvPr/>
        </p:nvGrpSpPr>
        <p:grpSpPr>
          <a:xfrm>
            <a:off x="1002874" y="4451278"/>
            <a:ext cx="1309519" cy="2206465"/>
            <a:chOff x="533608" y="2671928"/>
            <a:chExt cx="1089661" cy="1836016"/>
          </a:xfrm>
        </p:grpSpPr>
        <p:sp>
          <p:nvSpPr>
            <p:cNvPr id="14" name="Rectangle 13"/>
            <p:cNvSpPr>
              <a:spLocks noChangeArrowheads="1"/>
            </p:cNvSpPr>
            <p:nvPr/>
          </p:nvSpPr>
          <p:spPr bwMode="auto">
            <a:xfrm>
              <a:off x="533609" y="4072969"/>
              <a:ext cx="1089660" cy="434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algn="ctr" defTabSz="914192" fontAlgn="base">
                <a:spcBef>
                  <a:spcPct val="0"/>
                </a:spcBef>
                <a:spcAft>
                  <a:spcPct val="0"/>
                </a:spcAft>
              </a:pPr>
              <a:r>
                <a:rPr lang="en-US" sz="2353" dirty="0">
                  <a:solidFill>
                    <a:srgbClr val="2E002E">
                      <a:alpha val="99000"/>
                    </a:srgbClr>
                  </a:solidFill>
                  <a:latin typeface="Segoe UI" pitchFamily="34" charset="0"/>
                  <a:ea typeface="Segoe UI" pitchFamily="34" charset="0"/>
                  <a:cs typeface="Segoe UI" pitchFamily="34" charset="0"/>
                </a:rPr>
                <a:t>Physical</a:t>
              </a:r>
            </a:p>
          </p:txBody>
        </p:sp>
        <p:pic>
          <p:nvPicPr>
            <p:cNvPr id="25" name="Picture 284"/>
            <p:cNvPicPr>
              <a:picLocks noChangeAspect="1"/>
            </p:cNvPicPr>
            <p:nvPr/>
          </p:nvPicPr>
          <p:blipFill>
            <a:blip r:embed="rId7" cstate="print">
              <a:duotone>
                <a:prstClr val="black"/>
                <a:srgbClr val="0070C0">
                  <a:tint val="45000"/>
                  <a:satMod val="400000"/>
                </a:srgbClr>
              </a:duotone>
              <a:extLst>
                <a:ext uri="{28A0092B-C50C-407E-A947-70E740481C1C}">
                  <a14:useLocalDpi xmlns:a14="http://schemas.microsoft.com/office/drawing/2010/main" val="0"/>
                </a:ext>
              </a:extLst>
            </a:blip>
            <a:stretch>
              <a:fillRect/>
            </a:stretch>
          </p:blipFill>
          <p:spPr bwMode="auto">
            <a:xfrm>
              <a:off x="533608" y="2671928"/>
              <a:ext cx="1089660" cy="1501140"/>
            </a:xfrm>
            <a:prstGeom prst="rect">
              <a:avLst/>
            </a:prstGeom>
            <a:noFill/>
            <a:ln w="9525">
              <a:noFill/>
              <a:miter lim="800000"/>
              <a:headEnd/>
              <a:tailEnd/>
            </a:ln>
            <a:effectLst/>
          </p:spPr>
        </p:pic>
      </p:grpSp>
      <p:sp>
        <p:nvSpPr>
          <p:cNvPr id="23" name="Rectangle 22"/>
          <p:cNvSpPr/>
          <p:nvPr/>
        </p:nvSpPr>
        <p:spPr>
          <a:xfrm>
            <a:off x="527556" y="1049298"/>
            <a:ext cx="9141407" cy="661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defTabSz="914192" fontAlgn="base">
              <a:spcBef>
                <a:spcPct val="0"/>
              </a:spcBef>
              <a:spcAft>
                <a:spcPct val="0"/>
              </a:spcAft>
            </a:pPr>
            <a:r>
              <a:rPr lang="en-US" sz="2400" dirty="0">
                <a:solidFill>
                  <a:srgbClr val="2E002E">
                    <a:alpha val="99000"/>
                  </a:srgbClr>
                </a:solidFill>
                <a:latin typeface="Segoe UI" pitchFamily="34" charset="0"/>
                <a:ea typeface="Segoe UI" pitchFamily="34" charset="0"/>
                <a:cs typeface="Segoe UI" pitchFamily="34" charset="0"/>
              </a:rPr>
              <a:t>Evolution toward highly virtual, and beyond to cloud</a:t>
            </a:r>
          </a:p>
        </p:txBody>
      </p:sp>
    </p:spTree>
    <p:extLst>
      <p:ext uri="{BB962C8B-B14F-4D97-AF65-F5344CB8AC3E}">
        <p14:creationId xmlns:p14="http://schemas.microsoft.com/office/powerpoint/2010/main" val="49539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3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2475"/>
                                        </p:tgtEl>
                                        <p:attrNameLst>
                                          <p:attrName>style.visibility</p:attrName>
                                        </p:attrNameLst>
                                      </p:cBhvr>
                                      <p:to>
                                        <p:strVal val="visible"/>
                                      </p:to>
                                    </p:set>
                                    <p:animEffect transition="in" filter="wipe(left)">
                                      <p:cBhvr>
                                        <p:cTn id="12" dur="250"/>
                                        <p:tgtEl>
                                          <p:spTgt spid="62475"/>
                                        </p:tgtEl>
                                      </p:cBhvr>
                                    </p:animEffect>
                                  </p:childTnLst>
                                </p:cTn>
                              </p:par>
                            </p:childTnLst>
                          </p:cTn>
                        </p:par>
                        <p:par>
                          <p:cTn id="13" fill="hold">
                            <p:stCondLst>
                              <p:cond delay="250"/>
                            </p:stCondLst>
                            <p:childTnLst>
                              <p:par>
                                <p:cTn id="14" presetID="22" presetClass="entr" presetSubtype="8"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2469"/>
                                        </p:tgtEl>
                                        <p:attrNameLst>
                                          <p:attrName>style.visibility</p:attrName>
                                        </p:attrNameLst>
                                      </p:cBhvr>
                                      <p:to>
                                        <p:strVal val="visible"/>
                                      </p:to>
                                    </p:set>
                                    <p:animEffect transition="in" filter="wipe(left)">
                                      <p:cBhvr>
                                        <p:cTn id="21" dur="250"/>
                                        <p:tgtEl>
                                          <p:spTgt spid="62469"/>
                                        </p:tgtEl>
                                      </p:cBhvr>
                                    </p:animEffect>
                                  </p:childTnLst>
                                </p:cTn>
                              </p:par>
                            </p:childTnLst>
                          </p:cTn>
                        </p:par>
                        <p:par>
                          <p:cTn id="22" fill="hold">
                            <p:stCondLst>
                              <p:cond delay="250"/>
                            </p:stCondLst>
                            <p:childTnLst>
                              <p:par>
                                <p:cTn id="23" presetID="22" presetClass="entr" presetSubtype="8"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wipe(left)">
                                      <p:cBhvr>
                                        <p:cTn id="25" dur="400"/>
                                        <p:tgtEl>
                                          <p:spTgt spid="5"/>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62471"/>
                                        </p:tgtEl>
                                        <p:attrNameLst>
                                          <p:attrName>style.visibility</p:attrName>
                                        </p:attrNameLst>
                                      </p:cBhvr>
                                      <p:to>
                                        <p:strVal val="visible"/>
                                      </p:to>
                                    </p:set>
                                    <p:animEffect transition="in" filter="wipe(left)">
                                      <p:cBhvr>
                                        <p:cTn id="30" dur="250"/>
                                        <p:tgtEl>
                                          <p:spTgt spid="62471"/>
                                        </p:tgtEl>
                                      </p:cBhvr>
                                    </p:animEffect>
                                  </p:childTnLst>
                                </p:cTn>
                              </p:par>
                            </p:childTnLst>
                          </p:cTn>
                        </p:par>
                        <p:par>
                          <p:cTn id="31" fill="hold">
                            <p:stCondLst>
                              <p:cond delay="250"/>
                            </p:stCondLst>
                            <p:childTnLst>
                              <p:par>
                                <p:cTn id="32" presetID="22" presetClass="entr" presetSubtype="8" fill="hold" nodeType="after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wipe(left)">
                                      <p:cBhvr>
                                        <p:cTn id="34" dur="4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2" descr="\\server3\InternalBin\ResourceDVD\DVD_ART34\Artwork_Imagery\Shapes\Lines\curved glowing red line 4.png"/>
          <p:cNvPicPr>
            <a:picLocks noChangeAspect="1" noChangeArrowheads="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19292740">
            <a:off x="5102623" y="1692439"/>
            <a:ext cx="2017926" cy="2504529"/>
          </a:xfrm>
          <a:prstGeom prst="rect">
            <a:avLst/>
          </a:prstGeom>
          <a:noFill/>
        </p:spPr>
      </p:pic>
      <p:sp>
        <p:nvSpPr>
          <p:cNvPr id="48" name="TextBox 4"/>
          <p:cNvSpPr txBox="1"/>
          <p:nvPr/>
        </p:nvSpPr>
        <p:spPr>
          <a:xfrm>
            <a:off x="2502000" y="1839633"/>
            <a:ext cx="3319462" cy="628374"/>
          </a:xfrm>
          <a:prstGeom prst="rect">
            <a:avLst/>
          </a:prstGeom>
          <a:noFill/>
        </p:spPr>
        <p:txBody>
          <a:bodyPr wrap="square" lIns="118816" tIns="59407" rIns="118816" bIns="59407" rtlCol="0">
            <a:spAutoFit/>
          </a:bodyPr>
          <a:lstStyle/>
          <a:p>
            <a:pPr algn="ctr" defTabSz="1280712">
              <a:lnSpc>
                <a:spcPct val="90000"/>
              </a:lnSpc>
              <a:spcBef>
                <a:spcPct val="0"/>
              </a:spcBef>
              <a:spcAft>
                <a:spcPct val="35000"/>
              </a:spcAft>
              <a:defRPr/>
            </a:pPr>
            <a:r>
              <a:rPr lang="en-US" b="1" dirty="0">
                <a:ln>
                  <a:solidFill>
                    <a:prstClr val="white">
                      <a:alpha val="0"/>
                    </a:prstClr>
                  </a:solidFill>
                </a:ln>
                <a:solidFill>
                  <a:prstClr val="black"/>
                </a:solidFill>
                <a:latin typeface="Segoe UI"/>
              </a:rPr>
              <a:t>Choose Your Device</a:t>
            </a:r>
            <a:br>
              <a:rPr lang="en-US" b="1" dirty="0">
                <a:ln>
                  <a:solidFill>
                    <a:prstClr val="white">
                      <a:alpha val="0"/>
                    </a:prstClr>
                  </a:solidFill>
                </a:ln>
                <a:solidFill>
                  <a:prstClr val="black"/>
                </a:solidFill>
                <a:latin typeface="Segoe UI"/>
              </a:rPr>
            </a:br>
            <a:r>
              <a:rPr lang="en-US" b="1" dirty="0">
                <a:ln>
                  <a:solidFill>
                    <a:prstClr val="white">
                      <a:alpha val="0"/>
                    </a:prstClr>
                  </a:solidFill>
                </a:ln>
                <a:solidFill>
                  <a:prstClr val="black"/>
                </a:solidFill>
                <a:latin typeface="Segoe UI"/>
              </a:rPr>
              <a:t>(BYOD)</a:t>
            </a:r>
          </a:p>
        </p:txBody>
      </p:sp>
      <p:grpSp>
        <p:nvGrpSpPr>
          <p:cNvPr id="9" name="Group 8"/>
          <p:cNvGrpSpPr/>
          <p:nvPr/>
        </p:nvGrpSpPr>
        <p:grpSpPr>
          <a:xfrm>
            <a:off x="7400816" y="1900575"/>
            <a:ext cx="1649862" cy="2478855"/>
            <a:chOff x="5877186" y="1900140"/>
            <a:chExt cx="1650330" cy="2479557"/>
          </a:xfrm>
        </p:grpSpPr>
        <p:pic>
          <p:nvPicPr>
            <p:cNvPr id="64" name="Picture 2" descr="E:\Clients\Artitudes\z_MS_08-00461_eventsTeam_work\completed_uploaded_ADI\MS_091908_Company_Mtg\Artwork\PNGs\ring-glows-top.png"/>
            <p:cNvPicPr>
              <a:picLocks noChangeAspect="1" noChangeArrowheads="1"/>
            </p:cNvPicPr>
            <p:nvPr/>
          </p:nvPicPr>
          <p:blipFill>
            <a:blip r:embed="rId4" cstate="print"/>
            <a:srcRect/>
            <a:stretch>
              <a:fillRect/>
            </a:stretch>
          </p:blipFill>
          <p:spPr bwMode="auto">
            <a:xfrm rot="573855">
              <a:off x="5920972" y="2451817"/>
              <a:ext cx="1562759" cy="700935"/>
            </a:xfrm>
            <a:prstGeom prst="rect">
              <a:avLst/>
            </a:prstGeom>
            <a:noFill/>
          </p:spPr>
        </p:pic>
        <p:pic>
          <p:nvPicPr>
            <p:cNvPr id="65" name="Picture 3" descr="E:\Clients\Artitudes\z_MS_08-00461_eventsTeam_work\completed_uploaded_ADI\MS_091908_Company_Mtg\Artwork\PNGs\ring-glows-bot.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1196147">
              <a:off x="5934619" y="3745593"/>
              <a:ext cx="1099030" cy="634104"/>
            </a:xfrm>
            <a:prstGeom prst="rect">
              <a:avLst/>
            </a:prstGeom>
            <a:noFill/>
          </p:spPr>
        </p:pic>
        <p:sp>
          <p:nvSpPr>
            <p:cNvPr id="47" name="TextBox 3"/>
            <p:cNvSpPr txBox="1"/>
            <p:nvPr/>
          </p:nvSpPr>
          <p:spPr>
            <a:xfrm>
              <a:off x="5877186" y="1900140"/>
              <a:ext cx="1650330" cy="618626"/>
            </a:xfrm>
            <a:prstGeom prst="rect">
              <a:avLst/>
            </a:prstGeom>
            <a:noFill/>
          </p:spPr>
          <p:txBody>
            <a:bodyPr wrap="square" lIns="118816" tIns="59407" rIns="118816" bIns="59407" rtlCol="0">
              <a:spAutoFit/>
            </a:bodyPr>
            <a:lstStyle>
              <a:defPPr>
                <a:defRPr lang="en-US"/>
              </a:defPPr>
              <a:lvl1pPr algn="ctr" defTabSz="1830383">
                <a:lnSpc>
                  <a:spcPct val="90000"/>
                </a:lnSpc>
                <a:spcBef>
                  <a:spcPct val="0"/>
                </a:spcBef>
                <a:spcAft>
                  <a:spcPct val="35000"/>
                </a:spcAft>
                <a:defRPr sz="2500" b="1">
                  <a:ln>
                    <a:solidFill>
                      <a:schemeClr val="bg1">
                        <a:alpha val="0"/>
                      </a:schemeClr>
                    </a:solidFill>
                  </a:ln>
                </a:defRPr>
              </a:lvl1pPr>
            </a:lstStyle>
            <a:p>
              <a:pPr defTabSz="1793979"/>
              <a:r>
                <a:rPr lang="en-US" sz="1800" dirty="0">
                  <a:ln>
                    <a:solidFill>
                      <a:prstClr val="white">
                        <a:alpha val="0"/>
                      </a:prstClr>
                    </a:solidFill>
                  </a:ln>
                  <a:solidFill>
                    <a:prstClr val="black"/>
                  </a:solidFill>
                  <a:latin typeface="Segoe UI"/>
                </a:rPr>
                <a:t>The cloud on your terms</a:t>
              </a:r>
            </a:p>
          </p:txBody>
        </p:sp>
      </p:grpSp>
      <p:grpSp>
        <p:nvGrpSpPr>
          <p:cNvPr id="2" name="Group 1"/>
          <p:cNvGrpSpPr/>
          <p:nvPr/>
        </p:nvGrpSpPr>
        <p:grpSpPr>
          <a:xfrm>
            <a:off x="1845743" y="5038874"/>
            <a:ext cx="8545211" cy="939891"/>
            <a:chOff x="320536" y="5039329"/>
            <a:chExt cx="8547636" cy="940158"/>
          </a:xfrm>
        </p:grpSpPr>
        <p:sp>
          <p:nvSpPr>
            <p:cNvPr id="144" name="Rounded Rectangle 143"/>
            <p:cNvSpPr/>
            <p:nvPr/>
          </p:nvSpPr>
          <p:spPr bwMode="auto">
            <a:xfrm>
              <a:off x="320536" y="5039329"/>
              <a:ext cx="8547636" cy="940158"/>
            </a:xfrm>
            <a:prstGeom prst="roundRect">
              <a:avLst/>
            </a:prstGeom>
            <a:solidFill>
              <a:schemeClr val="bg1"/>
            </a:solidFill>
            <a:ln w="25400" cap="flat" cmpd="sng" algn="ctr">
              <a:noFill/>
              <a:prstDash val="solid"/>
            </a:ln>
            <a:effectLst>
              <a:outerShdw blurRad="114300" sx="101000" sy="101000" algn="ctr" rotWithShape="0">
                <a:prstClr val="black">
                  <a:alpha val="51000"/>
                </a:prstClr>
              </a:outerShdw>
            </a:effectLst>
          </p:spPr>
          <p:txBody>
            <a:bodyPr lIns="63987" tIns="31993" rIns="63987" bIns="31993" rtlCol="0" anchor="ctr"/>
            <a:lstStyle/>
            <a:p>
              <a:pPr algn="ctr" defTabSz="639803"/>
              <a:endParaRPr lang="en-US" b="1" kern="0" dirty="0">
                <a:ln>
                  <a:solidFill>
                    <a:prstClr val="white">
                      <a:alpha val="0"/>
                    </a:prstClr>
                  </a:solidFill>
                </a:ln>
                <a:solidFill>
                  <a:srgbClr val="F37A1F">
                    <a:alpha val="99000"/>
                  </a:srgbClr>
                </a:solidFill>
                <a:latin typeface="Segoe UI"/>
              </a:endParaRPr>
            </a:p>
          </p:txBody>
        </p:sp>
        <p:sp>
          <p:nvSpPr>
            <p:cNvPr id="145" name="Rectangle 144"/>
            <p:cNvSpPr/>
            <p:nvPr/>
          </p:nvSpPr>
          <p:spPr>
            <a:xfrm>
              <a:off x="2038454" y="5273893"/>
              <a:ext cx="1685925" cy="471032"/>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pPr>
              <a:r>
                <a:rPr lang="en-US" sz="1700" dirty="0">
                  <a:ln>
                    <a:solidFill>
                      <a:prstClr val="white">
                        <a:alpha val="0"/>
                      </a:prstClr>
                    </a:solidFill>
                  </a:ln>
                  <a:solidFill>
                    <a:prstClr val="black"/>
                  </a:solidFill>
                  <a:latin typeface="Segoe UI"/>
                </a:rPr>
                <a:t>Business Intelligence</a:t>
              </a:r>
            </a:p>
          </p:txBody>
        </p:sp>
        <p:sp>
          <p:nvSpPr>
            <p:cNvPr id="146" name="Rectangle 145"/>
            <p:cNvSpPr/>
            <p:nvPr/>
          </p:nvSpPr>
          <p:spPr>
            <a:xfrm>
              <a:off x="3753051" y="5273892"/>
              <a:ext cx="1685925" cy="471032"/>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pPr>
              <a:r>
                <a:rPr lang="en-US" sz="1700" dirty="0">
                  <a:ln>
                    <a:solidFill>
                      <a:prstClr val="white">
                        <a:alpha val="0"/>
                      </a:prstClr>
                    </a:solidFill>
                  </a:ln>
                  <a:solidFill>
                    <a:prstClr val="black"/>
                  </a:solidFill>
                  <a:latin typeface="Segoe UI"/>
                </a:rPr>
                <a:t>Content Management</a:t>
              </a:r>
            </a:p>
          </p:txBody>
        </p:sp>
        <p:sp>
          <p:nvSpPr>
            <p:cNvPr id="147" name="Rectangle 146"/>
            <p:cNvSpPr/>
            <p:nvPr/>
          </p:nvSpPr>
          <p:spPr>
            <a:xfrm>
              <a:off x="5467649" y="5391652"/>
              <a:ext cx="1685925" cy="235516"/>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pPr>
              <a:r>
                <a:rPr lang="en-US" sz="1700" dirty="0">
                  <a:ln>
                    <a:solidFill>
                      <a:prstClr val="white">
                        <a:alpha val="0"/>
                      </a:prstClr>
                    </a:solidFill>
                  </a:ln>
                  <a:solidFill>
                    <a:prstClr val="black"/>
                  </a:solidFill>
                  <a:latin typeface="Segoe UI"/>
                </a:rPr>
                <a:t>Collaboration</a:t>
              </a:r>
            </a:p>
          </p:txBody>
        </p:sp>
        <p:sp>
          <p:nvSpPr>
            <p:cNvPr id="148" name="Round Single Corner Rectangle 12"/>
            <p:cNvSpPr/>
            <p:nvPr/>
          </p:nvSpPr>
          <p:spPr>
            <a:xfrm>
              <a:off x="7182246" y="5391651"/>
              <a:ext cx="1685925" cy="235516"/>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pPr>
              <a:r>
                <a:rPr lang="en-US" sz="1700" dirty="0">
                  <a:ln>
                    <a:solidFill>
                      <a:prstClr val="white">
                        <a:alpha val="0"/>
                      </a:prstClr>
                    </a:solidFill>
                  </a:ln>
                  <a:solidFill>
                    <a:prstClr val="black"/>
                  </a:solidFill>
                  <a:latin typeface="Segoe UI"/>
                </a:rPr>
                <a:t>Search</a:t>
              </a:r>
            </a:p>
          </p:txBody>
        </p:sp>
        <p:sp>
          <p:nvSpPr>
            <p:cNvPr id="149" name="Rectangle 148"/>
            <p:cNvSpPr/>
            <p:nvPr/>
          </p:nvSpPr>
          <p:spPr>
            <a:xfrm>
              <a:off x="323854" y="5273893"/>
              <a:ext cx="1685925" cy="471032"/>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defRPr/>
              </a:pPr>
              <a:r>
                <a:rPr lang="en-US" sz="1700" dirty="0">
                  <a:ln>
                    <a:solidFill>
                      <a:prstClr val="white">
                        <a:alpha val="0"/>
                      </a:prstClr>
                    </a:solidFill>
                  </a:ln>
                  <a:solidFill>
                    <a:prstClr val="black"/>
                  </a:solidFill>
                  <a:latin typeface="Segoe UI"/>
                </a:rPr>
                <a:t>Unified Communications</a:t>
              </a:r>
            </a:p>
          </p:txBody>
        </p:sp>
        <p:cxnSp>
          <p:nvCxnSpPr>
            <p:cNvPr id="150" name="Straight Connector 149"/>
            <p:cNvCxnSpPr/>
            <p:nvPr/>
          </p:nvCxnSpPr>
          <p:spPr>
            <a:xfrm>
              <a:off x="2024116" y="5204607"/>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3738714" y="5204607"/>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5453312" y="5204607"/>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7167910" y="5204607"/>
              <a:ext cx="0" cy="6096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6426769" y="2783055"/>
            <a:ext cx="1665866" cy="1226459"/>
            <a:chOff x="4902862" y="2782872"/>
            <a:chExt cx="1666338" cy="1226808"/>
          </a:xfrm>
        </p:grpSpPr>
        <p:pic>
          <p:nvPicPr>
            <p:cNvPr id="63" name="Picture 5" descr="I:\SHOW_ART\09_shows\TechReady_8_02-02\Speaker Art\Elop\JPGs &amp; PNGs\Server-onpremise.png"/>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5582422" y="2782872"/>
              <a:ext cx="986778" cy="934464"/>
            </a:xfrm>
            <a:prstGeom prst="rect">
              <a:avLst/>
            </a:prstGeom>
            <a:noFill/>
            <a:ln>
              <a:noFill/>
            </a:ln>
          </p:spPr>
        </p:pic>
        <p:sp>
          <p:nvSpPr>
            <p:cNvPr id="68" name="Rectangle 38"/>
            <p:cNvSpPr/>
            <p:nvPr/>
          </p:nvSpPr>
          <p:spPr>
            <a:xfrm>
              <a:off x="4902862" y="3760310"/>
              <a:ext cx="1370058" cy="249370"/>
            </a:xfrm>
            <a:prstGeom prst="rect">
              <a:avLst/>
            </a:prstGeom>
            <a:noFill/>
          </p:spPr>
          <p:txBody>
            <a:bodyPr wrap="none" lIns="0" tIns="0" rIns="0" bIns="0">
              <a:spAutoFit/>
              <a:scene3d>
                <a:camera prst="orthographicFront"/>
                <a:lightRig rig="threePt" dir="t"/>
              </a:scene3d>
              <a:sp3d/>
            </a:bodyPr>
            <a:lstStyle/>
            <a:p>
              <a:pPr algn="ctr" defTabSz="1280712">
                <a:lnSpc>
                  <a:spcPct val="90000"/>
                </a:lnSpc>
                <a:spcBef>
                  <a:spcPct val="0"/>
                </a:spcBef>
                <a:spcAft>
                  <a:spcPct val="35000"/>
                </a:spcAft>
                <a:defRPr/>
              </a:pPr>
              <a:r>
                <a:rPr lang="en-US" b="1" dirty="0">
                  <a:ln>
                    <a:solidFill>
                      <a:prstClr val="white">
                        <a:alpha val="0"/>
                      </a:prstClr>
                    </a:solidFill>
                  </a:ln>
                  <a:solidFill>
                    <a:prstClr val="black"/>
                  </a:solidFill>
                  <a:latin typeface="Segoe UI"/>
                </a:rPr>
                <a:t>On-premises</a:t>
              </a:r>
            </a:p>
          </p:txBody>
        </p:sp>
      </p:grpSp>
      <p:grpSp>
        <p:nvGrpSpPr>
          <p:cNvPr id="11" name="Group 10"/>
          <p:cNvGrpSpPr/>
          <p:nvPr/>
        </p:nvGrpSpPr>
        <p:grpSpPr>
          <a:xfrm>
            <a:off x="7938656" y="3128165"/>
            <a:ext cx="1643440" cy="1698465"/>
            <a:chOff x="6415178" y="3128078"/>
            <a:chExt cx="1643906" cy="1698947"/>
          </a:xfrm>
        </p:grpSpPr>
        <p:pic>
          <p:nvPicPr>
            <p:cNvPr id="60" name="Picture 3" descr="C:\Program Files\Microsoft Resource DVD Artwork\DVD_ART\Artwork_Imagery\Shapes and Graphics\Internet Cloud\cloud 2.png"/>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6415178" y="3340165"/>
              <a:ext cx="1214869" cy="920938"/>
            </a:xfrm>
            <a:prstGeom prst="rect">
              <a:avLst/>
            </a:prstGeom>
            <a:noFill/>
            <a:ln>
              <a:noFill/>
            </a:ln>
          </p:spPr>
        </p:pic>
        <p:pic>
          <p:nvPicPr>
            <p:cNvPr id="62" name="Picture 4" descr="S:\InternalBin\ResourceDVD\DVD_ART34\Artwork_Imagery\Icons - Illustrations\Internet Clouds web\cloud 2.png"/>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6685755" y="3905309"/>
              <a:ext cx="1373329" cy="921716"/>
            </a:xfrm>
            <a:prstGeom prst="rect">
              <a:avLst/>
            </a:prstGeom>
            <a:noFill/>
            <a:ln>
              <a:noFill/>
            </a:ln>
          </p:spPr>
        </p:pic>
        <p:sp>
          <p:nvSpPr>
            <p:cNvPr id="66" name="Rectangle 36"/>
            <p:cNvSpPr/>
            <p:nvPr/>
          </p:nvSpPr>
          <p:spPr>
            <a:xfrm>
              <a:off x="7024925" y="3128078"/>
              <a:ext cx="710332" cy="249370"/>
            </a:xfrm>
            <a:prstGeom prst="rect">
              <a:avLst/>
            </a:prstGeom>
            <a:noFill/>
          </p:spPr>
          <p:txBody>
            <a:bodyPr wrap="none" lIns="0" tIns="0" rIns="0" bIns="0">
              <a:spAutoFit/>
              <a:scene3d>
                <a:camera prst="orthographicFront"/>
                <a:lightRig rig="threePt" dir="t"/>
              </a:scene3d>
              <a:sp3d/>
            </a:bodyPr>
            <a:lstStyle/>
            <a:p>
              <a:pPr algn="ctr" defTabSz="1280712">
                <a:lnSpc>
                  <a:spcPct val="90000"/>
                </a:lnSpc>
                <a:spcBef>
                  <a:spcPct val="0"/>
                </a:spcBef>
                <a:spcAft>
                  <a:spcPct val="35000"/>
                </a:spcAft>
                <a:defRPr/>
              </a:pPr>
              <a:r>
                <a:rPr lang="en-US" b="1" dirty="0">
                  <a:ln>
                    <a:solidFill>
                      <a:prstClr val="white">
                        <a:alpha val="0"/>
                      </a:prstClr>
                    </a:solidFill>
                  </a:ln>
                  <a:solidFill>
                    <a:prstClr val="black"/>
                  </a:solidFill>
                  <a:latin typeface="Segoe UI"/>
                </a:rPr>
                <a:t>Online</a:t>
              </a:r>
            </a:p>
          </p:txBody>
        </p:sp>
        <p:pic>
          <p:nvPicPr>
            <p:cNvPr id="67" name="small EDC" descr="new-data-center-photo.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flipH="1">
              <a:off x="6545499" y="3223604"/>
              <a:ext cx="1218846" cy="1341120"/>
            </a:xfrm>
            <a:prstGeom prst="rect">
              <a:avLst/>
            </a:prstGeom>
            <a:noFill/>
            <a:ln>
              <a:noFill/>
            </a:ln>
          </p:spPr>
        </p:pic>
      </p:grpSp>
      <p:sp>
        <p:nvSpPr>
          <p:cNvPr id="40" name="Devices3_EA6C" title="Icon of a cellphone in front of a monitor">
            <a:hlinkClick r:id="rId10"/>
            <a:extLst>
              <a:ext uri="{FF2B5EF4-FFF2-40B4-BE49-F238E27FC236}">
                <a16:creationId xmlns:a16="http://schemas.microsoft.com/office/drawing/2014/main" id="{6B46E211-AEA8-4DBB-9263-327626837661}"/>
              </a:ext>
            </a:extLst>
          </p:cNvPr>
          <p:cNvSpPr>
            <a:spLocks noChangeAspect="1" noEditPoints="1"/>
          </p:cNvSpPr>
          <p:nvPr/>
        </p:nvSpPr>
        <p:spPr bwMode="auto">
          <a:xfrm>
            <a:off x="2624214" y="2519026"/>
            <a:ext cx="2387990" cy="1654350"/>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900" dirty="0">
                <a:gradFill>
                  <a:gsLst>
                    <a:gs pos="0">
                      <a:srgbClr val="505050"/>
                    </a:gs>
                    <a:gs pos="100000">
                      <a:srgbClr val="505050"/>
                    </a:gs>
                  </a:gsLst>
                </a:gradFill>
              </a:rPr>
              <a:t>`</a:t>
            </a:r>
          </a:p>
        </p:txBody>
      </p:sp>
      <p:grpSp>
        <p:nvGrpSpPr>
          <p:cNvPr id="5" name="Group 4"/>
          <p:cNvGrpSpPr/>
          <p:nvPr/>
        </p:nvGrpSpPr>
        <p:grpSpPr>
          <a:xfrm>
            <a:off x="4623113" y="2761188"/>
            <a:ext cx="1089892" cy="2057976"/>
            <a:chOff x="3098694" y="2760996"/>
            <a:chExt cx="1090202" cy="2058560"/>
          </a:xfrm>
        </p:grpSpPr>
        <p:pic>
          <p:nvPicPr>
            <p:cNvPr id="55" name="Picture 22" descr="ref_screen.png"/>
            <p:cNvPicPr>
              <a:picLocks noChangeAspect="1"/>
            </p:cNvPicPr>
            <p:nvPr/>
          </p:nvPicPr>
          <p:blipFill>
            <a:blip r:embed="rId11" cstate="email">
              <a:alphaModFix amt="25000"/>
              <a:extLst>
                <a:ext uri="{28A0092B-C50C-407E-A947-70E740481C1C}">
                  <a14:useLocalDpi xmlns:a14="http://schemas.microsoft.com/office/drawing/2010/main"/>
                </a:ext>
              </a:extLst>
            </a:blip>
            <a:stretch>
              <a:fillRect/>
            </a:stretch>
          </p:blipFill>
          <p:spPr>
            <a:xfrm>
              <a:off x="3098694" y="3721331"/>
              <a:ext cx="965858" cy="1098225"/>
            </a:xfrm>
            <a:prstGeom prst="rect">
              <a:avLst/>
            </a:prstGeom>
            <a:blipFill dpi="0" rotWithShape="1">
              <a:blip r:embed="rId12" cstate="email">
                <a:alphaModFix amt="25000"/>
                <a:extLst>
                  <a:ext uri="{28A0092B-C50C-407E-A947-70E740481C1C}">
                    <a14:useLocalDpi xmlns:a14="http://schemas.microsoft.com/office/drawing/2010/main"/>
                  </a:ext>
                </a:extLst>
              </a:blip>
              <a:srcRect/>
              <a:stretch>
                <a:fillRect/>
              </a:stretch>
            </a:blipFill>
            <a:ln w="55000" cap="flat" cmpd="thickThin" algn="ctr">
              <a:noFill/>
              <a:prstDash val="solid"/>
              <a:headEnd type="none" w="med" len="med"/>
              <a:tailEnd type="none" w="med" len="med"/>
            </a:ln>
            <a:effectLst/>
          </p:spPr>
        </p:pic>
        <p:pic>
          <p:nvPicPr>
            <p:cNvPr id="58" name="Picture 27" descr="MS_Cloud_Prod_Screenshot.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200401" y="2760996"/>
              <a:ext cx="988495" cy="1123964"/>
            </a:xfrm>
            <a:prstGeom prst="rect">
              <a:avLst/>
            </a:prstGeom>
            <a:noFill/>
            <a:ln>
              <a:noFill/>
            </a:ln>
            <a:effectLst/>
          </p:spPr>
        </p:pic>
      </p:grpSp>
      <p:sp>
        <p:nvSpPr>
          <p:cNvPr id="46" name="Title 1">
            <a:extLst>
              <a:ext uri="{FF2B5EF4-FFF2-40B4-BE49-F238E27FC236}">
                <a16:creationId xmlns:a16="http://schemas.microsoft.com/office/drawing/2014/main" id="{C11C1962-12D7-4687-9A07-7300BE640D38}"/>
              </a:ext>
            </a:extLst>
          </p:cNvPr>
          <p:cNvSpPr txBox="1">
            <a:spLocks/>
          </p:cNvSpPr>
          <p:nvPr/>
        </p:nvSpPr>
        <p:spPr>
          <a:xfrm>
            <a:off x="269240" y="289511"/>
            <a:ext cx="11655840" cy="899665"/>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Cloud on your Terms</a:t>
            </a:r>
          </a:p>
        </p:txBody>
      </p:sp>
    </p:spTree>
    <p:extLst>
      <p:ext uri="{BB962C8B-B14F-4D97-AF65-F5344CB8AC3E}">
        <p14:creationId xmlns:p14="http://schemas.microsoft.com/office/powerpoint/2010/main" val="3303446687"/>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fade">
                                      <p:cBhvr>
                                        <p:cTn id="14" dur="1000"/>
                                        <p:tgtEl>
                                          <p:spTgt spid="48"/>
                                        </p:tgtEl>
                                      </p:cBhvr>
                                    </p:animEffect>
                                  </p:childTnLst>
                                </p:cTn>
                              </p:par>
                              <p:par>
                                <p:cTn id="15" presetID="42" presetClass="entr" presetSubtype="0" fill="hold" nodeType="withEffect">
                                  <p:stCondLst>
                                    <p:cond delay="6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anim calcmode="lin" valueType="num">
                                      <p:cBhvr>
                                        <p:cTn id="18" dur="500" fill="hold"/>
                                        <p:tgtEl>
                                          <p:spTgt spid="5"/>
                                        </p:tgtEl>
                                        <p:attrNameLst>
                                          <p:attrName>ppt_x</p:attrName>
                                        </p:attrNameLst>
                                      </p:cBhvr>
                                      <p:tavLst>
                                        <p:tav tm="0">
                                          <p:val>
                                            <p:strVal val="#ppt_x"/>
                                          </p:val>
                                        </p:tav>
                                        <p:tav tm="100000">
                                          <p:val>
                                            <p:strVal val="#ppt_x"/>
                                          </p:val>
                                        </p:tav>
                                      </p:tavLst>
                                    </p:anim>
                                    <p:anim calcmode="lin" valueType="num">
                                      <p:cBhvr>
                                        <p:cTn id="19"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wipe(left)">
                                      <p:cBhvr>
                                        <p:cTn id="24" dur="500"/>
                                        <p:tgtEl>
                                          <p:spTgt spid="45"/>
                                        </p:tgtEl>
                                      </p:cBhvr>
                                    </p:animEffect>
                                  </p:childTnLst>
                                </p:cTn>
                              </p:par>
                            </p:childTnLst>
                          </p:cTn>
                        </p:par>
                        <p:par>
                          <p:cTn id="25" fill="hold">
                            <p:stCondLst>
                              <p:cond delay="500"/>
                            </p:stCondLst>
                            <p:childTnLst>
                              <p:par>
                                <p:cTn id="26" presetID="53" presetClass="entr" presetSubtype="16"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fltVal val="0"/>
                                          </p:val>
                                        </p:tav>
                                        <p:tav tm="100000">
                                          <p:val>
                                            <p:strVal val="#ppt_w"/>
                                          </p:val>
                                        </p:tav>
                                      </p:tavLst>
                                    </p:anim>
                                    <p:anim calcmode="lin" valueType="num">
                                      <p:cBhvr>
                                        <p:cTn id="29" dur="500" fill="hold"/>
                                        <p:tgtEl>
                                          <p:spTgt spid="7"/>
                                        </p:tgtEl>
                                        <p:attrNameLst>
                                          <p:attrName>ppt_h</p:attrName>
                                        </p:attrNameLst>
                                      </p:cBhvr>
                                      <p:tavLst>
                                        <p:tav tm="0">
                                          <p:val>
                                            <p:fltVal val="0"/>
                                          </p:val>
                                        </p:tav>
                                        <p:tav tm="100000">
                                          <p:val>
                                            <p:strVal val="#ppt_h"/>
                                          </p:val>
                                        </p:tav>
                                      </p:tavLst>
                                    </p:anim>
                                    <p:animEffect transition="in" filter="fade">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nodeType="clickEffect">
                                  <p:stCondLst>
                                    <p:cond delay="0"/>
                                  </p:stCondLst>
                                  <p:childTnLst>
                                    <p:animEffect transition="out" filter="fade">
                                      <p:cBhvr>
                                        <p:cTn id="34" dur="500"/>
                                        <p:tgtEl>
                                          <p:spTgt spid="7"/>
                                        </p:tgtEl>
                                      </p:cBhvr>
                                    </p:animEffect>
                                    <p:set>
                                      <p:cBhvr>
                                        <p:cTn id="35" dur="1" fill="hold">
                                          <p:stCondLst>
                                            <p:cond delay="499"/>
                                          </p:stCondLst>
                                        </p:cTn>
                                        <p:tgtEl>
                                          <p:spTgt spid="7"/>
                                        </p:tgtEl>
                                        <p:attrNameLst>
                                          <p:attrName>style.visibility</p:attrName>
                                        </p:attrNameLst>
                                      </p:cBhvr>
                                      <p:to>
                                        <p:strVal val="hidden"/>
                                      </p:to>
                                    </p:set>
                                  </p:childTnLst>
                                </p:cTn>
                              </p:par>
                              <p:par>
                                <p:cTn id="36" presetID="53" presetClass="entr" presetSubtype="16" fill="hold"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p:cTn id="38" dur="500" fill="hold"/>
                                        <p:tgtEl>
                                          <p:spTgt spid="11"/>
                                        </p:tgtEl>
                                        <p:attrNameLst>
                                          <p:attrName>ppt_w</p:attrName>
                                        </p:attrNameLst>
                                      </p:cBhvr>
                                      <p:tavLst>
                                        <p:tav tm="0">
                                          <p:val>
                                            <p:fltVal val="0"/>
                                          </p:val>
                                        </p:tav>
                                        <p:tav tm="100000">
                                          <p:val>
                                            <p:strVal val="#ppt_w"/>
                                          </p:val>
                                        </p:tav>
                                      </p:tavLst>
                                    </p:anim>
                                    <p:anim calcmode="lin" valueType="num">
                                      <p:cBhvr>
                                        <p:cTn id="39" dur="500" fill="hold"/>
                                        <p:tgtEl>
                                          <p:spTgt spid="11"/>
                                        </p:tgtEl>
                                        <p:attrNameLst>
                                          <p:attrName>ppt_h</p:attrName>
                                        </p:attrNameLst>
                                      </p:cBhvr>
                                      <p:tavLst>
                                        <p:tav tm="0">
                                          <p:val>
                                            <p:fltVal val="0"/>
                                          </p:val>
                                        </p:tav>
                                        <p:tav tm="100000">
                                          <p:val>
                                            <p:strVal val="#ppt_h"/>
                                          </p:val>
                                        </p:tav>
                                      </p:tavLst>
                                    </p:anim>
                                    <p:animEffect transition="in" filter="fade">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nodeType="clickEffect">
                                  <p:stCondLst>
                                    <p:cond delay="0"/>
                                  </p:stCondLst>
                                  <p:childTnLst>
                                    <p:set>
                                      <p:cBhvr>
                                        <p:cTn id="44" dur="1" fill="hold">
                                          <p:stCondLst>
                                            <p:cond delay="0"/>
                                          </p:stCondLst>
                                        </p:cTn>
                                        <p:tgtEl>
                                          <p:spTgt spid="9"/>
                                        </p:tgtEl>
                                        <p:attrNameLst>
                                          <p:attrName>style.visibility</p:attrName>
                                        </p:attrNameLst>
                                      </p:cBhvr>
                                      <p:to>
                                        <p:strVal val="visible"/>
                                      </p:to>
                                    </p:set>
                                    <p:anim calcmode="lin" valueType="num">
                                      <p:cBhvr>
                                        <p:cTn id="45" dur="500" fill="hold"/>
                                        <p:tgtEl>
                                          <p:spTgt spid="9"/>
                                        </p:tgtEl>
                                        <p:attrNameLst>
                                          <p:attrName>ppt_w</p:attrName>
                                        </p:attrNameLst>
                                      </p:cBhvr>
                                      <p:tavLst>
                                        <p:tav tm="0">
                                          <p:val>
                                            <p:fltVal val="0"/>
                                          </p:val>
                                        </p:tav>
                                        <p:tav tm="100000">
                                          <p:val>
                                            <p:strVal val="#ppt_w"/>
                                          </p:val>
                                        </p:tav>
                                      </p:tavLst>
                                    </p:anim>
                                    <p:anim calcmode="lin" valueType="num">
                                      <p:cBhvr>
                                        <p:cTn id="46" dur="500" fill="hold"/>
                                        <p:tgtEl>
                                          <p:spTgt spid="9"/>
                                        </p:tgtEl>
                                        <p:attrNameLst>
                                          <p:attrName>ppt_h</p:attrName>
                                        </p:attrNameLst>
                                      </p:cBhvr>
                                      <p:tavLst>
                                        <p:tav tm="0">
                                          <p:val>
                                            <p:fltVal val="0"/>
                                          </p:val>
                                        </p:tav>
                                        <p:tav tm="100000">
                                          <p:val>
                                            <p:strVal val="#ppt_h"/>
                                          </p:val>
                                        </p:tav>
                                      </p:tavLst>
                                    </p:anim>
                                    <p:animEffect transition="in" filter="fade">
                                      <p:cBhvr>
                                        <p:cTn id="47" dur="500"/>
                                        <p:tgtEl>
                                          <p:spTgt spid="9"/>
                                        </p:tgtEl>
                                      </p:cBhvr>
                                    </p:animEffect>
                                  </p:childTnLst>
                                </p:cTn>
                              </p:par>
                              <p:par>
                                <p:cTn id="48" presetID="53" presetClass="entr" presetSubtype="16" fill="hold" nodeType="withEffect">
                                  <p:stCondLst>
                                    <p:cond delay="0"/>
                                  </p:stCondLst>
                                  <p:childTnLst>
                                    <p:set>
                                      <p:cBhvr>
                                        <p:cTn id="49" dur="1" fill="hold">
                                          <p:stCondLst>
                                            <p:cond delay="0"/>
                                          </p:stCondLst>
                                        </p:cTn>
                                        <p:tgtEl>
                                          <p:spTgt spid="7"/>
                                        </p:tgtEl>
                                        <p:attrNameLst>
                                          <p:attrName>style.visibility</p:attrName>
                                        </p:attrNameLst>
                                      </p:cBhvr>
                                      <p:to>
                                        <p:strVal val="visible"/>
                                      </p:to>
                                    </p:set>
                                    <p:anim calcmode="lin" valueType="num">
                                      <p:cBhvr>
                                        <p:cTn id="50" dur="500" fill="hold"/>
                                        <p:tgtEl>
                                          <p:spTgt spid="7"/>
                                        </p:tgtEl>
                                        <p:attrNameLst>
                                          <p:attrName>ppt_w</p:attrName>
                                        </p:attrNameLst>
                                      </p:cBhvr>
                                      <p:tavLst>
                                        <p:tav tm="0">
                                          <p:val>
                                            <p:fltVal val="0"/>
                                          </p:val>
                                        </p:tav>
                                        <p:tav tm="100000">
                                          <p:val>
                                            <p:strVal val="#ppt_w"/>
                                          </p:val>
                                        </p:tav>
                                      </p:tavLst>
                                    </p:anim>
                                    <p:anim calcmode="lin" valueType="num">
                                      <p:cBhvr>
                                        <p:cTn id="51" dur="500" fill="hold"/>
                                        <p:tgtEl>
                                          <p:spTgt spid="7"/>
                                        </p:tgtEl>
                                        <p:attrNameLst>
                                          <p:attrName>ppt_h</p:attrName>
                                        </p:attrNameLst>
                                      </p:cBhvr>
                                      <p:tavLst>
                                        <p:tav tm="0">
                                          <p:val>
                                            <p:fltVal val="0"/>
                                          </p:val>
                                        </p:tav>
                                        <p:tav tm="100000">
                                          <p:val>
                                            <p:strVal val="#ppt_h"/>
                                          </p:val>
                                        </p:tav>
                                      </p:tavLst>
                                    </p:anim>
                                    <p:animEffect transition="in" filter="fade">
                                      <p:cBhvr>
                                        <p:cTn id="5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55" name="Freeform 154"/>
          <p:cNvSpPr>
            <a:spLocks noChangeAspect="1"/>
          </p:cNvSpPr>
          <p:nvPr/>
        </p:nvSpPr>
        <p:spPr bwMode="auto">
          <a:xfrm>
            <a:off x="2799416" y="1582441"/>
            <a:ext cx="6618680" cy="3673258"/>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blipFill>
            <a:blip r:embed="rId4"/>
            <a:srcRect/>
            <a:stretch>
              <a:fillRect l="-2239" t="-113023" r="-83703" b="-176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56" name="Oval 155"/>
          <p:cNvSpPr/>
          <p:nvPr/>
        </p:nvSpPr>
        <p:spPr bwMode="auto">
          <a:xfrm flipV="1">
            <a:off x="4504006" y="1579379"/>
            <a:ext cx="3135709" cy="3135709"/>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57" name="Oval 156"/>
          <p:cNvSpPr/>
          <p:nvPr/>
        </p:nvSpPr>
        <p:spPr bwMode="auto">
          <a:xfrm rot="6300000">
            <a:off x="2787142" y="3735432"/>
            <a:ext cx="1523058" cy="1523058"/>
          </a:xfrm>
          <a:prstGeom prst="ellipse">
            <a:avLst/>
          </a:prstGeom>
          <a:gradFill>
            <a:gsLst>
              <a:gs pos="0">
                <a:schemeClr val="bg1">
                  <a:alpha val="3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58" name="Oval 157"/>
          <p:cNvSpPr/>
          <p:nvPr/>
        </p:nvSpPr>
        <p:spPr bwMode="auto">
          <a:xfrm rot="7200000">
            <a:off x="3633443" y="2692249"/>
            <a:ext cx="1791834" cy="1791834"/>
          </a:xfrm>
          <a:prstGeom prst="ellipse">
            <a:avLst/>
          </a:prstGeom>
          <a:gradFill>
            <a:gsLst>
              <a:gs pos="0">
                <a:schemeClr val="bg1">
                  <a:alpha val="27000"/>
                </a:schemeClr>
              </a:gs>
              <a:gs pos="35360">
                <a:srgbClr val="FFFFFF">
                  <a:alpha val="8000"/>
                </a:srgbClr>
              </a:gs>
              <a:gs pos="8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59" name="Oval 158"/>
          <p:cNvSpPr/>
          <p:nvPr/>
        </p:nvSpPr>
        <p:spPr bwMode="auto">
          <a:xfrm rot="16200000" flipH="1">
            <a:off x="6679692" y="2471499"/>
            <a:ext cx="2779237" cy="2779237"/>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60" name="Title"/>
          <p:cNvSpPr txBox="1">
            <a:spLocks/>
          </p:cNvSpPr>
          <p:nvPr/>
        </p:nvSpPr>
        <p:spPr>
          <a:xfrm>
            <a:off x="3945803" y="3496009"/>
            <a:ext cx="4300398" cy="899027"/>
          </a:xfrm>
          <a:prstGeom prst="rect">
            <a:avLst/>
          </a:prstGeom>
        </p:spPr>
        <p:txBody>
          <a:bodyPr vert="horz" wrap="square" lIns="143346" tIns="89592" rIns="143346" bIns="8959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5698">
              <a:defRPr/>
            </a:pPr>
            <a:r>
              <a:rPr lang="en-US" sz="4702" kern="0" spc="-10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icrosoft Cloud</a:t>
            </a:r>
          </a:p>
        </p:txBody>
      </p:sp>
      <p:sp>
        <p:nvSpPr>
          <p:cNvPr id="80" name="White Cloud"/>
          <p:cNvSpPr/>
          <p:nvPr/>
        </p:nvSpPr>
        <p:spPr>
          <a:xfrm>
            <a:off x="6501302" y="3469861"/>
            <a:ext cx="1681238" cy="830396"/>
          </a:xfrm>
          <a:prstGeom prst="rect">
            <a:avLst/>
          </a:prstGeom>
        </p:spPr>
        <p:txBody>
          <a:bodyPr wrap="none">
            <a:spAutoFit/>
          </a:bodyPr>
          <a:lstStyle/>
          <a:p>
            <a:pPr defTabSz="895698">
              <a:defRPr/>
            </a:pPr>
            <a:r>
              <a:rPr lang="en-US" sz="4702" kern="0" spc="-100" dirty="0">
                <a:ln w="3175">
                  <a:noFill/>
                </a:ln>
                <a:gradFill>
                  <a:gsLst>
                    <a:gs pos="7080">
                      <a:srgbClr val="FFFFFF"/>
                    </a:gs>
                    <a:gs pos="100000">
                      <a:srgbClr val="FFFFFF"/>
                    </a:gs>
                  </a:gsLst>
                  <a:lin ang="5400000" scaled="0"/>
                </a:gradFill>
                <a:latin typeface="Segoe UI Semilight" panose="020B0402040204020203" pitchFamily="34" charset="0"/>
                <a:cs typeface="Segoe UI Semilight" panose="020B0402040204020203" pitchFamily="34" charset="0"/>
              </a:rPr>
              <a:t>Cloud</a:t>
            </a:r>
          </a:p>
        </p:txBody>
      </p:sp>
      <p:grpSp>
        <p:nvGrpSpPr>
          <p:cNvPr id="91" name="Group 90"/>
          <p:cNvGrpSpPr/>
          <p:nvPr/>
        </p:nvGrpSpPr>
        <p:grpSpPr>
          <a:xfrm>
            <a:off x="3766621" y="5890667"/>
            <a:ext cx="4658765" cy="594019"/>
            <a:chOff x="2956908" y="5516207"/>
            <a:chExt cx="4754880" cy="606274"/>
          </a:xfrm>
        </p:grpSpPr>
        <p:sp>
          <p:nvSpPr>
            <p:cNvPr id="92" name="TextBox 91"/>
            <p:cNvSpPr txBox="1"/>
            <p:nvPr/>
          </p:nvSpPr>
          <p:spPr>
            <a:xfrm>
              <a:off x="2956908" y="5516207"/>
              <a:ext cx="4754880" cy="606274"/>
            </a:xfrm>
            <a:prstGeom prst="rect">
              <a:avLst/>
            </a:prstGeom>
            <a:noFill/>
          </p:spPr>
          <p:txBody>
            <a:bodyPr wrap="square" lIns="179183" tIns="143346" rIns="179183" bIns="143346" rtlCol="0">
              <a:spAutoFit/>
            </a:bodyPr>
            <a:lstStyle/>
            <a:p>
              <a:pPr algn="ctr" defTabSz="895698">
                <a:lnSpc>
                  <a:spcPct val="90000"/>
                </a:lnSpc>
                <a:spcAft>
                  <a:spcPts val="588"/>
                </a:spcAft>
                <a:defRPr/>
              </a:pPr>
              <a:r>
                <a:rPr lang="en-US" sz="2157" kern="0" spc="49" dirty="0">
                  <a:gradFill>
                    <a:gsLst>
                      <a:gs pos="6195">
                        <a:srgbClr val="FFFFFF"/>
                      </a:gs>
                      <a:gs pos="100000">
                        <a:srgbClr val="FFFFFF"/>
                      </a:gs>
                    </a:gsLst>
                    <a:lin ang="5400000" scaled="1"/>
                  </a:gradFill>
                  <a:latin typeface="Segoe UI Semilight" panose="020B0402040204020203" pitchFamily="34" charset="0"/>
                  <a:cs typeface="Segoe UI Semilight" panose="020B0402040204020203" pitchFamily="34" charset="0"/>
                </a:rPr>
                <a:t>Global        Trusted        Hybrid</a:t>
              </a:r>
            </a:p>
          </p:txBody>
        </p:sp>
        <p:sp>
          <p:nvSpPr>
            <p:cNvPr id="98" name="Oval 97"/>
            <p:cNvSpPr/>
            <p:nvPr/>
          </p:nvSpPr>
          <p:spPr bwMode="auto">
            <a:xfrm>
              <a:off x="4484925" y="5782560"/>
              <a:ext cx="62256" cy="622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Oval 104"/>
            <p:cNvSpPr/>
            <p:nvPr/>
          </p:nvSpPr>
          <p:spPr bwMode="auto">
            <a:xfrm>
              <a:off x="6087862" y="5782560"/>
              <a:ext cx="62256" cy="622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06282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50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par>
                                <p:cTn id="8" presetID="42" presetClass="path" presetSubtype="0" accel="50000" decel="50000" fill="hold" grpId="0" nodeType="withEffect">
                                  <p:stCondLst>
                                    <p:cond delay="0"/>
                                  </p:stCondLst>
                                  <p:childTnLst>
                                    <p:animMotion origin="layout" path="M -1.18969E-6 0.07081 L -1.18969E-6 -1.25738E-6 " pathEditMode="relative" rAng="0" ptsTypes="AA">
                                      <p:cBhvr>
                                        <p:cTn id="9" dur="1000" fill="hold"/>
                                        <p:tgtEl>
                                          <p:spTgt spid="155"/>
                                        </p:tgtEl>
                                        <p:attrNameLst>
                                          <p:attrName>ppt_x</p:attrName>
                                          <p:attrName>ppt_y</p:attrName>
                                        </p:attrNameLst>
                                      </p:cBhvr>
                                      <p:rCtr x="0" y="-3541"/>
                                    </p:animMotion>
                                  </p:childTnLst>
                                </p:cTn>
                              </p:par>
                              <p:par>
                                <p:cTn id="10" presetID="10" presetClass="entr" presetSubtype="0" fill="hold" grpId="0" nodeType="withEffect">
                                  <p:stCondLst>
                                    <p:cond delay="750"/>
                                  </p:stCondLst>
                                  <p:childTnLst>
                                    <p:set>
                                      <p:cBhvr>
                                        <p:cTn id="11" dur="1" fill="hold">
                                          <p:stCondLst>
                                            <p:cond delay="0"/>
                                          </p:stCondLst>
                                        </p:cTn>
                                        <p:tgtEl>
                                          <p:spTgt spid="156"/>
                                        </p:tgtEl>
                                        <p:attrNameLst>
                                          <p:attrName>style.visibility</p:attrName>
                                        </p:attrNameLst>
                                      </p:cBhvr>
                                      <p:to>
                                        <p:strVal val="visible"/>
                                      </p:to>
                                    </p:set>
                                    <p:animEffect transition="in" filter="fade">
                                      <p:cBhvr>
                                        <p:cTn id="12" dur="500"/>
                                        <p:tgtEl>
                                          <p:spTgt spid="156"/>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159"/>
                                        </p:tgtEl>
                                        <p:attrNameLst>
                                          <p:attrName>style.visibility</p:attrName>
                                        </p:attrNameLst>
                                      </p:cBhvr>
                                      <p:to>
                                        <p:strVal val="visible"/>
                                      </p:to>
                                    </p:set>
                                    <p:animEffect transition="in" filter="fade">
                                      <p:cBhvr>
                                        <p:cTn id="15" dur="500"/>
                                        <p:tgtEl>
                                          <p:spTgt spid="159"/>
                                        </p:tgtEl>
                                      </p:cBhvr>
                                    </p:animEffect>
                                  </p:childTnLst>
                                </p:cTn>
                              </p:par>
                              <p:par>
                                <p:cTn id="16" presetID="10" presetClass="entr" presetSubtype="0" fill="hold" grpId="0" nodeType="withEffect">
                                  <p:stCondLst>
                                    <p:cond delay="750"/>
                                  </p:stCondLst>
                                  <p:childTnLst>
                                    <p:set>
                                      <p:cBhvr>
                                        <p:cTn id="17" dur="1" fill="hold">
                                          <p:stCondLst>
                                            <p:cond delay="0"/>
                                          </p:stCondLst>
                                        </p:cTn>
                                        <p:tgtEl>
                                          <p:spTgt spid="158"/>
                                        </p:tgtEl>
                                        <p:attrNameLst>
                                          <p:attrName>style.visibility</p:attrName>
                                        </p:attrNameLst>
                                      </p:cBhvr>
                                      <p:to>
                                        <p:strVal val="visible"/>
                                      </p:to>
                                    </p:set>
                                    <p:animEffect transition="in" filter="fade">
                                      <p:cBhvr>
                                        <p:cTn id="18" dur="500"/>
                                        <p:tgtEl>
                                          <p:spTgt spid="158"/>
                                        </p:tgtEl>
                                      </p:cBhvr>
                                    </p:animEffect>
                                  </p:childTnLst>
                                </p:cTn>
                              </p:par>
                              <p:par>
                                <p:cTn id="19" presetID="10" presetClass="entr" presetSubtype="0" fill="hold" grpId="0" nodeType="withEffect">
                                  <p:stCondLst>
                                    <p:cond delay="750"/>
                                  </p:stCondLst>
                                  <p:childTnLst>
                                    <p:set>
                                      <p:cBhvr>
                                        <p:cTn id="20" dur="1" fill="hold">
                                          <p:stCondLst>
                                            <p:cond delay="0"/>
                                          </p:stCondLst>
                                        </p:cTn>
                                        <p:tgtEl>
                                          <p:spTgt spid="157"/>
                                        </p:tgtEl>
                                        <p:attrNameLst>
                                          <p:attrName>style.visibility</p:attrName>
                                        </p:attrNameLst>
                                      </p:cBhvr>
                                      <p:to>
                                        <p:strVal val="visible"/>
                                      </p:to>
                                    </p:set>
                                    <p:animEffect transition="in" filter="fade">
                                      <p:cBhvr>
                                        <p:cTn id="21" dur="500"/>
                                        <p:tgtEl>
                                          <p:spTgt spid="157"/>
                                        </p:tgtEl>
                                      </p:cBhvr>
                                    </p:animEffect>
                                  </p:childTnLst>
                                </p:cTn>
                              </p:par>
                              <p:par>
                                <p:cTn id="22" presetID="8" presetClass="emph" presetSubtype="0" decel="100000" fill="hold" grpId="1" nodeType="withEffect">
                                  <p:stCondLst>
                                    <p:cond delay="750"/>
                                  </p:stCondLst>
                                  <p:childTnLst>
                                    <p:animRot by="10800000">
                                      <p:cBhvr>
                                        <p:cTn id="23" dur="2000" fill="hold"/>
                                        <p:tgtEl>
                                          <p:spTgt spid="156"/>
                                        </p:tgtEl>
                                        <p:attrNameLst>
                                          <p:attrName>r</p:attrName>
                                        </p:attrNameLst>
                                      </p:cBhvr>
                                    </p:animRot>
                                  </p:childTnLst>
                                </p:cTn>
                              </p:par>
                              <p:par>
                                <p:cTn id="24" presetID="8" presetClass="emph" presetSubtype="0" decel="100000" fill="hold" grpId="1" nodeType="withEffect">
                                  <p:stCondLst>
                                    <p:cond delay="750"/>
                                  </p:stCondLst>
                                  <p:childTnLst>
                                    <p:animRot by="10800000">
                                      <p:cBhvr>
                                        <p:cTn id="25" dur="2000" fill="hold"/>
                                        <p:tgtEl>
                                          <p:spTgt spid="159"/>
                                        </p:tgtEl>
                                        <p:attrNameLst>
                                          <p:attrName>r</p:attrName>
                                        </p:attrNameLst>
                                      </p:cBhvr>
                                    </p:animRot>
                                  </p:childTnLst>
                                </p:cTn>
                              </p:par>
                              <p:par>
                                <p:cTn id="26" presetID="8" presetClass="emph" presetSubtype="0" decel="100000" fill="hold" grpId="1" nodeType="withEffect">
                                  <p:stCondLst>
                                    <p:cond delay="750"/>
                                  </p:stCondLst>
                                  <p:childTnLst>
                                    <p:animRot by="10800000">
                                      <p:cBhvr>
                                        <p:cTn id="27" dur="2000" fill="hold"/>
                                        <p:tgtEl>
                                          <p:spTgt spid="158"/>
                                        </p:tgtEl>
                                        <p:attrNameLst>
                                          <p:attrName>r</p:attrName>
                                        </p:attrNameLst>
                                      </p:cBhvr>
                                    </p:animRot>
                                  </p:childTnLst>
                                </p:cTn>
                              </p:par>
                              <p:par>
                                <p:cTn id="28" presetID="8" presetClass="emph" presetSubtype="0" decel="100000" fill="hold" grpId="1" nodeType="withEffect">
                                  <p:stCondLst>
                                    <p:cond delay="750"/>
                                  </p:stCondLst>
                                  <p:childTnLst>
                                    <p:animRot by="10800000">
                                      <p:cBhvr>
                                        <p:cTn id="29" dur="2000" fill="hold"/>
                                        <p:tgtEl>
                                          <p:spTgt spid="157"/>
                                        </p:tgtEl>
                                        <p:attrNameLst>
                                          <p:attrName>r</p:attrName>
                                        </p:attrNameLst>
                                      </p:cBhvr>
                                    </p:animRot>
                                  </p:childTnLst>
                                </p:cTn>
                              </p:par>
                              <p:par>
                                <p:cTn id="30" presetID="10" presetClass="entr" presetSubtype="0" fill="hold" grpId="1" nodeType="withEffect">
                                  <p:stCondLst>
                                    <p:cond delay="500"/>
                                  </p:stCondLst>
                                  <p:childTnLst>
                                    <p:set>
                                      <p:cBhvr>
                                        <p:cTn id="31" dur="1" fill="hold">
                                          <p:stCondLst>
                                            <p:cond delay="0"/>
                                          </p:stCondLst>
                                        </p:cTn>
                                        <p:tgtEl>
                                          <p:spTgt spid="160"/>
                                        </p:tgtEl>
                                        <p:attrNameLst>
                                          <p:attrName>style.visibility</p:attrName>
                                        </p:attrNameLst>
                                      </p:cBhvr>
                                      <p:to>
                                        <p:strVal val="visible"/>
                                      </p:to>
                                    </p:set>
                                    <p:animEffect transition="in" filter="fade">
                                      <p:cBhvr>
                                        <p:cTn id="32" dur="500"/>
                                        <p:tgtEl>
                                          <p:spTgt spid="160"/>
                                        </p:tgtEl>
                                      </p:cBhvr>
                                    </p:animEffect>
                                  </p:childTnLst>
                                </p:cTn>
                              </p:par>
                              <p:par>
                                <p:cTn id="33" presetID="42" presetClass="path" presetSubtype="0" accel="50000" decel="50000" fill="hold" grpId="0" nodeType="withEffect">
                                  <p:stCondLst>
                                    <p:cond delay="0"/>
                                  </p:stCondLst>
                                  <p:childTnLst>
                                    <p:animMotion origin="layout" path="M 0 -1.79301E-6 L 0 -0.42374 " pathEditMode="relative" rAng="0" ptsTypes="AA">
                                      <p:cBhvr>
                                        <p:cTn id="34" dur="1250" spd="-100000" fill="hold"/>
                                        <p:tgtEl>
                                          <p:spTgt spid="160"/>
                                        </p:tgtEl>
                                        <p:attrNameLst>
                                          <p:attrName>ppt_x</p:attrName>
                                          <p:attrName>ppt_y</p:attrName>
                                        </p:attrNameLst>
                                      </p:cBhvr>
                                      <p:rCtr x="0" y="-21198"/>
                                    </p:animMotion>
                                  </p:childTnLst>
                                </p:cTn>
                              </p:par>
                              <p:par>
                                <p:cTn id="35" presetID="10" presetClass="entr" presetSubtype="0" fill="hold" grpId="0" nodeType="withEffect">
                                  <p:stCondLst>
                                    <p:cond delay="500"/>
                                  </p:stCondLst>
                                  <p:childTnLst>
                                    <p:set>
                                      <p:cBhvr>
                                        <p:cTn id="36" dur="1" fill="hold">
                                          <p:stCondLst>
                                            <p:cond delay="0"/>
                                          </p:stCondLst>
                                        </p:cTn>
                                        <p:tgtEl>
                                          <p:spTgt spid="80"/>
                                        </p:tgtEl>
                                        <p:attrNameLst>
                                          <p:attrName>style.visibility</p:attrName>
                                        </p:attrNameLst>
                                      </p:cBhvr>
                                      <p:to>
                                        <p:strVal val="visible"/>
                                      </p:to>
                                    </p:set>
                                    <p:animEffect transition="in" filter="fade">
                                      <p:cBhvr>
                                        <p:cTn id="37" dur="500"/>
                                        <p:tgtEl>
                                          <p:spTgt spid="80"/>
                                        </p:tgtEl>
                                      </p:cBhvr>
                                    </p:animEffect>
                                  </p:childTnLst>
                                </p:cTn>
                              </p:par>
                              <p:par>
                                <p:cTn id="38" presetID="42" presetClass="path" presetSubtype="0" accel="50000" decel="50000" fill="hold" grpId="1" nodeType="withEffect">
                                  <p:stCondLst>
                                    <p:cond delay="0"/>
                                  </p:stCondLst>
                                  <p:childTnLst>
                                    <p:animMotion origin="layout" path="M -1.30202E-7 4.5892E-6 L 0.00013 -0.42351 " pathEditMode="relative" rAng="0" ptsTypes="AA">
                                      <p:cBhvr>
                                        <p:cTn id="39" dur="1250" spd="-100000" fill="hold"/>
                                        <p:tgtEl>
                                          <p:spTgt spid="80"/>
                                        </p:tgtEl>
                                        <p:attrNameLst>
                                          <p:attrName>ppt_x</p:attrName>
                                          <p:attrName>ppt_y</p:attrName>
                                        </p:attrNameLst>
                                      </p:cBhvr>
                                      <p:rCtr x="460" y="-21244"/>
                                    </p:animMotion>
                                  </p:childTnLst>
                                </p:cTn>
                              </p:par>
                              <p:par>
                                <p:cTn id="40" presetID="10" presetClass="entr" presetSubtype="0" fill="hold" nodeType="withEffect">
                                  <p:stCondLst>
                                    <p:cond delay="1300"/>
                                  </p:stCondLst>
                                  <p:childTnLst>
                                    <p:set>
                                      <p:cBhvr>
                                        <p:cTn id="41" dur="1" fill="hold">
                                          <p:stCondLst>
                                            <p:cond delay="0"/>
                                          </p:stCondLst>
                                        </p:cTn>
                                        <p:tgtEl>
                                          <p:spTgt spid="91"/>
                                        </p:tgtEl>
                                        <p:attrNameLst>
                                          <p:attrName>style.visibility</p:attrName>
                                        </p:attrNameLst>
                                      </p:cBhvr>
                                      <p:to>
                                        <p:strVal val="visible"/>
                                      </p:to>
                                    </p:set>
                                    <p:animEffect transition="in" filter="fade">
                                      <p:cBhvr>
                                        <p:cTn id="42" dur="500"/>
                                        <p:tgtEl>
                                          <p:spTgt spid="91"/>
                                        </p:tgtEl>
                                      </p:cBhvr>
                                    </p:animEffect>
                                  </p:childTnLst>
                                </p:cTn>
                              </p:par>
                              <p:par>
                                <p:cTn id="43" presetID="64" presetClass="path" presetSubtype="0" accel="50000" decel="50000" fill="hold" nodeType="withEffect">
                                  <p:stCondLst>
                                    <p:cond delay="1300"/>
                                  </p:stCondLst>
                                  <p:childTnLst>
                                    <p:animMotion origin="layout" path="M 0 4.18974E-6 L 0 -0.06537 " pathEditMode="relative" rAng="0" ptsTypes="AA">
                                      <p:cBhvr>
                                        <p:cTn id="44" dur="1400" fill="hold"/>
                                        <p:tgtEl>
                                          <p:spTgt spid="91"/>
                                        </p:tgtEl>
                                        <p:attrNameLst>
                                          <p:attrName>ppt_x</p:attrName>
                                          <p:attrName>ppt_y</p:attrName>
                                        </p:attrNameLst>
                                      </p:cBhvr>
                                      <p:rCtr x="0" y="-32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5" grpId="1" animBg="1"/>
      <p:bldP spid="156" grpId="0" animBg="1"/>
      <p:bldP spid="156" grpId="1" animBg="1"/>
      <p:bldP spid="157" grpId="0" animBg="1"/>
      <p:bldP spid="157" grpId="1" animBg="1"/>
      <p:bldP spid="158" grpId="0" animBg="1"/>
      <p:bldP spid="158" grpId="1" animBg="1"/>
      <p:bldP spid="159" grpId="0" animBg="1"/>
      <p:bldP spid="159" grpId="1" animBg="1"/>
      <p:bldP spid="160" grpId="0"/>
      <p:bldP spid="160" grpId="1"/>
      <p:bldP spid="80" grpId="0"/>
      <p:bldP spid="80"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ight Questions You Should Ask</a:t>
            </a: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332734820"/>
              </p:ext>
            </p:extLst>
          </p:nvPr>
        </p:nvGraphicFramePr>
        <p:xfrm>
          <a:off x="883665" y="1272354"/>
          <a:ext cx="6816564" cy="5170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8234025" y="6345359"/>
            <a:ext cx="2005677" cy="400110"/>
          </a:xfrm>
          <a:prstGeom prst="rect">
            <a:avLst/>
          </a:prstGeom>
          <a:noFill/>
        </p:spPr>
        <p:txBody>
          <a:bodyPr wrap="none" rtlCol="0">
            <a:spAutoFit/>
          </a:bodyPr>
          <a:lstStyle/>
          <a:p>
            <a:pPr defTabSz="914367" fontAlgn="base">
              <a:spcBef>
                <a:spcPct val="0"/>
              </a:spcBef>
              <a:spcAft>
                <a:spcPct val="0"/>
              </a:spcAft>
            </a:pPr>
            <a:r>
              <a:rPr lang="en-US" sz="2000" dirty="0">
                <a:solidFill>
                  <a:srgbClr val="000000"/>
                </a:solidFill>
                <a:latin typeface="Arial" charset="0"/>
                <a:cs typeface="Arial" charset="0"/>
              </a:rPr>
              <a:t>Source: Gartner</a:t>
            </a:r>
          </a:p>
        </p:txBody>
      </p:sp>
    </p:spTree>
    <p:extLst>
      <p:ext uri="{BB962C8B-B14F-4D97-AF65-F5344CB8AC3E}">
        <p14:creationId xmlns:p14="http://schemas.microsoft.com/office/powerpoint/2010/main" val="414922224"/>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graphicEl>
                                              <a:dgm id="{DF9D8A98-EF7E-4B29-A9CB-82E43FBD5689}"/>
                                            </p:graphicEl>
                                          </p:spTgt>
                                        </p:tgtEl>
                                        <p:attrNameLst>
                                          <p:attrName>style.visibility</p:attrName>
                                        </p:attrNameLst>
                                      </p:cBhvr>
                                      <p:to>
                                        <p:strVal val="visible"/>
                                      </p:to>
                                    </p:set>
                                    <p:animEffect transition="in" filter="fade">
                                      <p:cBhvr>
                                        <p:cTn id="7" dur="1000"/>
                                        <p:tgtEl>
                                          <p:spTgt spid="5">
                                            <p:graphicEl>
                                              <a:dgm id="{DF9D8A98-EF7E-4B29-A9CB-82E43FBD5689}"/>
                                            </p:graphicEl>
                                          </p:spTgt>
                                        </p:tgtEl>
                                      </p:cBhvr>
                                    </p:animEffect>
                                    <p:anim calcmode="lin" valueType="num">
                                      <p:cBhvr>
                                        <p:cTn id="8" dur="1000" fill="hold"/>
                                        <p:tgtEl>
                                          <p:spTgt spid="5">
                                            <p:graphicEl>
                                              <a:dgm id="{DF9D8A98-EF7E-4B29-A9CB-82E43FBD5689}"/>
                                            </p:graphicEl>
                                          </p:spTgt>
                                        </p:tgtEl>
                                        <p:attrNameLst>
                                          <p:attrName>ppt_x</p:attrName>
                                        </p:attrNameLst>
                                      </p:cBhvr>
                                      <p:tavLst>
                                        <p:tav tm="0">
                                          <p:val>
                                            <p:strVal val="#ppt_x"/>
                                          </p:val>
                                        </p:tav>
                                        <p:tav tm="100000">
                                          <p:val>
                                            <p:strVal val="#ppt_x"/>
                                          </p:val>
                                        </p:tav>
                                      </p:tavLst>
                                    </p:anim>
                                    <p:anim calcmode="lin" valueType="num">
                                      <p:cBhvr>
                                        <p:cTn id="9" dur="1000" fill="hold"/>
                                        <p:tgtEl>
                                          <p:spTgt spid="5">
                                            <p:graphicEl>
                                              <a:dgm id="{DF9D8A98-EF7E-4B29-A9CB-82E43FBD5689}"/>
                                            </p:graphic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graphicEl>
                                              <a:dgm id="{1DC707EC-1DB1-46B9-8DEF-4F7F965DAF61}"/>
                                            </p:graphicEl>
                                          </p:spTgt>
                                        </p:tgtEl>
                                        <p:attrNameLst>
                                          <p:attrName>style.visibility</p:attrName>
                                        </p:attrNameLst>
                                      </p:cBhvr>
                                      <p:to>
                                        <p:strVal val="visible"/>
                                      </p:to>
                                    </p:set>
                                    <p:animEffect transition="in" filter="fade">
                                      <p:cBhvr>
                                        <p:cTn id="12" dur="1000"/>
                                        <p:tgtEl>
                                          <p:spTgt spid="5">
                                            <p:graphicEl>
                                              <a:dgm id="{1DC707EC-1DB1-46B9-8DEF-4F7F965DAF61}"/>
                                            </p:graphicEl>
                                          </p:spTgt>
                                        </p:tgtEl>
                                      </p:cBhvr>
                                    </p:animEffect>
                                    <p:anim calcmode="lin" valueType="num">
                                      <p:cBhvr>
                                        <p:cTn id="13" dur="1000" fill="hold"/>
                                        <p:tgtEl>
                                          <p:spTgt spid="5">
                                            <p:graphicEl>
                                              <a:dgm id="{1DC707EC-1DB1-46B9-8DEF-4F7F965DAF61}"/>
                                            </p:graphicEl>
                                          </p:spTgt>
                                        </p:tgtEl>
                                        <p:attrNameLst>
                                          <p:attrName>ppt_x</p:attrName>
                                        </p:attrNameLst>
                                      </p:cBhvr>
                                      <p:tavLst>
                                        <p:tav tm="0">
                                          <p:val>
                                            <p:strVal val="#ppt_x"/>
                                          </p:val>
                                        </p:tav>
                                        <p:tav tm="100000">
                                          <p:val>
                                            <p:strVal val="#ppt_x"/>
                                          </p:val>
                                        </p:tav>
                                      </p:tavLst>
                                    </p:anim>
                                    <p:anim calcmode="lin" valueType="num">
                                      <p:cBhvr>
                                        <p:cTn id="14" dur="1000" fill="hold"/>
                                        <p:tgtEl>
                                          <p:spTgt spid="5">
                                            <p:graphicEl>
                                              <a:dgm id="{1DC707EC-1DB1-46B9-8DEF-4F7F965DAF61}"/>
                                            </p:graphic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
                                            <p:graphicEl>
                                              <a:dgm id="{9E4183E4-099A-4194-B781-6777FED67356}"/>
                                            </p:graphicEl>
                                          </p:spTgt>
                                        </p:tgtEl>
                                        <p:attrNameLst>
                                          <p:attrName>style.visibility</p:attrName>
                                        </p:attrNameLst>
                                      </p:cBhvr>
                                      <p:to>
                                        <p:strVal val="visible"/>
                                      </p:to>
                                    </p:set>
                                    <p:animEffect transition="in" filter="fade">
                                      <p:cBhvr>
                                        <p:cTn id="19" dur="1000"/>
                                        <p:tgtEl>
                                          <p:spTgt spid="5">
                                            <p:graphicEl>
                                              <a:dgm id="{9E4183E4-099A-4194-B781-6777FED67356}"/>
                                            </p:graphicEl>
                                          </p:spTgt>
                                        </p:tgtEl>
                                      </p:cBhvr>
                                    </p:animEffect>
                                    <p:anim calcmode="lin" valueType="num">
                                      <p:cBhvr>
                                        <p:cTn id="20" dur="1000" fill="hold"/>
                                        <p:tgtEl>
                                          <p:spTgt spid="5">
                                            <p:graphicEl>
                                              <a:dgm id="{9E4183E4-099A-4194-B781-6777FED67356}"/>
                                            </p:graphicEl>
                                          </p:spTgt>
                                        </p:tgtEl>
                                        <p:attrNameLst>
                                          <p:attrName>ppt_x</p:attrName>
                                        </p:attrNameLst>
                                      </p:cBhvr>
                                      <p:tavLst>
                                        <p:tav tm="0">
                                          <p:val>
                                            <p:strVal val="#ppt_x"/>
                                          </p:val>
                                        </p:tav>
                                        <p:tav tm="100000">
                                          <p:val>
                                            <p:strVal val="#ppt_x"/>
                                          </p:val>
                                        </p:tav>
                                      </p:tavLst>
                                    </p:anim>
                                    <p:anim calcmode="lin" valueType="num">
                                      <p:cBhvr>
                                        <p:cTn id="21" dur="1000" fill="hold"/>
                                        <p:tgtEl>
                                          <p:spTgt spid="5">
                                            <p:graphicEl>
                                              <a:dgm id="{9E4183E4-099A-4194-B781-6777FED67356}"/>
                                            </p:graphicEl>
                                          </p:spTgt>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5">
                                            <p:graphicEl>
                                              <a:dgm id="{53E3FE6B-8B51-4B70-8C1D-BC402F9199B0}"/>
                                            </p:graphicEl>
                                          </p:spTgt>
                                        </p:tgtEl>
                                        <p:attrNameLst>
                                          <p:attrName>style.visibility</p:attrName>
                                        </p:attrNameLst>
                                      </p:cBhvr>
                                      <p:to>
                                        <p:strVal val="visible"/>
                                      </p:to>
                                    </p:set>
                                    <p:animEffect transition="in" filter="fade">
                                      <p:cBhvr>
                                        <p:cTn id="24" dur="1000"/>
                                        <p:tgtEl>
                                          <p:spTgt spid="5">
                                            <p:graphicEl>
                                              <a:dgm id="{53E3FE6B-8B51-4B70-8C1D-BC402F9199B0}"/>
                                            </p:graphicEl>
                                          </p:spTgt>
                                        </p:tgtEl>
                                      </p:cBhvr>
                                    </p:animEffect>
                                    <p:anim calcmode="lin" valueType="num">
                                      <p:cBhvr>
                                        <p:cTn id="25" dur="1000" fill="hold"/>
                                        <p:tgtEl>
                                          <p:spTgt spid="5">
                                            <p:graphicEl>
                                              <a:dgm id="{53E3FE6B-8B51-4B70-8C1D-BC402F9199B0}"/>
                                            </p:graphicEl>
                                          </p:spTgt>
                                        </p:tgtEl>
                                        <p:attrNameLst>
                                          <p:attrName>ppt_x</p:attrName>
                                        </p:attrNameLst>
                                      </p:cBhvr>
                                      <p:tavLst>
                                        <p:tav tm="0">
                                          <p:val>
                                            <p:strVal val="#ppt_x"/>
                                          </p:val>
                                        </p:tav>
                                        <p:tav tm="100000">
                                          <p:val>
                                            <p:strVal val="#ppt_x"/>
                                          </p:val>
                                        </p:tav>
                                      </p:tavLst>
                                    </p:anim>
                                    <p:anim calcmode="lin" valueType="num">
                                      <p:cBhvr>
                                        <p:cTn id="26" dur="1000" fill="hold"/>
                                        <p:tgtEl>
                                          <p:spTgt spid="5">
                                            <p:graphicEl>
                                              <a:dgm id="{53E3FE6B-8B51-4B70-8C1D-BC402F9199B0}"/>
                                            </p:graphic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5">
                                            <p:graphicEl>
                                              <a:dgm id="{767B5FB3-FFAD-4DFD-BB86-02DA227549A3}"/>
                                            </p:graphicEl>
                                          </p:spTgt>
                                        </p:tgtEl>
                                        <p:attrNameLst>
                                          <p:attrName>style.visibility</p:attrName>
                                        </p:attrNameLst>
                                      </p:cBhvr>
                                      <p:to>
                                        <p:strVal val="visible"/>
                                      </p:to>
                                    </p:set>
                                    <p:animEffect transition="in" filter="fade">
                                      <p:cBhvr>
                                        <p:cTn id="31" dur="1000"/>
                                        <p:tgtEl>
                                          <p:spTgt spid="5">
                                            <p:graphicEl>
                                              <a:dgm id="{767B5FB3-FFAD-4DFD-BB86-02DA227549A3}"/>
                                            </p:graphicEl>
                                          </p:spTgt>
                                        </p:tgtEl>
                                      </p:cBhvr>
                                    </p:animEffect>
                                    <p:anim calcmode="lin" valueType="num">
                                      <p:cBhvr>
                                        <p:cTn id="32" dur="1000" fill="hold"/>
                                        <p:tgtEl>
                                          <p:spTgt spid="5">
                                            <p:graphicEl>
                                              <a:dgm id="{767B5FB3-FFAD-4DFD-BB86-02DA227549A3}"/>
                                            </p:graphicEl>
                                          </p:spTgt>
                                        </p:tgtEl>
                                        <p:attrNameLst>
                                          <p:attrName>ppt_x</p:attrName>
                                        </p:attrNameLst>
                                      </p:cBhvr>
                                      <p:tavLst>
                                        <p:tav tm="0">
                                          <p:val>
                                            <p:strVal val="#ppt_x"/>
                                          </p:val>
                                        </p:tav>
                                        <p:tav tm="100000">
                                          <p:val>
                                            <p:strVal val="#ppt_x"/>
                                          </p:val>
                                        </p:tav>
                                      </p:tavLst>
                                    </p:anim>
                                    <p:anim calcmode="lin" valueType="num">
                                      <p:cBhvr>
                                        <p:cTn id="33" dur="1000" fill="hold"/>
                                        <p:tgtEl>
                                          <p:spTgt spid="5">
                                            <p:graphicEl>
                                              <a:dgm id="{767B5FB3-FFAD-4DFD-BB86-02DA227549A3}"/>
                                            </p:graphic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5">
                                            <p:graphicEl>
                                              <a:dgm id="{1FC07F24-96FA-4976-81D0-7B4C3343B93B}"/>
                                            </p:graphicEl>
                                          </p:spTgt>
                                        </p:tgtEl>
                                        <p:attrNameLst>
                                          <p:attrName>style.visibility</p:attrName>
                                        </p:attrNameLst>
                                      </p:cBhvr>
                                      <p:to>
                                        <p:strVal val="visible"/>
                                      </p:to>
                                    </p:set>
                                    <p:animEffect transition="in" filter="fade">
                                      <p:cBhvr>
                                        <p:cTn id="36" dur="1000"/>
                                        <p:tgtEl>
                                          <p:spTgt spid="5">
                                            <p:graphicEl>
                                              <a:dgm id="{1FC07F24-96FA-4976-81D0-7B4C3343B93B}"/>
                                            </p:graphicEl>
                                          </p:spTgt>
                                        </p:tgtEl>
                                      </p:cBhvr>
                                    </p:animEffect>
                                    <p:anim calcmode="lin" valueType="num">
                                      <p:cBhvr>
                                        <p:cTn id="37" dur="1000" fill="hold"/>
                                        <p:tgtEl>
                                          <p:spTgt spid="5">
                                            <p:graphicEl>
                                              <a:dgm id="{1FC07F24-96FA-4976-81D0-7B4C3343B93B}"/>
                                            </p:graphicEl>
                                          </p:spTgt>
                                        </p:tgtEl>
                                        <p:attrNameLst>
                                          <p:attrName>ppt_x</p:attrName>
                                        </p:attrNameLst>
                                      </p:cBhvr>
                                      <p:tavLst>
                                        <p:tav tm="0">
                                          <p:val>
                                            <p:strVal val="#ppt_x"/>
                                          </p:val>
                                        </p:tav>
                                        <p:tav tm="100000">
                                          <p:val>
                                            <p:strVal val="#ppt_x"/>
                                          </p:val>
                                        </p:tav>
                                      </p:tavLst>
                                    </p:anim>
                                    <p:anim calcmode="lin" valueType="num">
                                      <p:cBhvr>
                                        <p:cTn id="38" dur="1000" fill="hold"/>
                                        <p:tgtEl>
                                          <p:spTgt spid="5">
                                            <p:graphicEl>
                                              <a:dgm id="{1FC07F24-96FA-4976-81D0-7B4C3343B93B}"/>
                                            </p:graphic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5">
                                            <p:graphicEl>
                                              <a:dgm id="{4F0DA7F7-1176-4185-BAAE-527B2C69AD66}"/>
                                            </p:graphicEl>
                                          </p:spTgt>
                                        </p:tgtEl>
                                        <p:attrNameLst>
                                          <p:attrName>style.visibility</p:attrName>
                                        </p:attrNameLst>
                                      </p:cBhvr>
                                      <p:to>
                                        <p:strVal val="visible"/>
                                      </p:to>
                                    </p:set>
                                    <p:animEffect transition="in" filter="fade">
                                      <p:cBhvr>
                                        <p:cTn id="43" dur="1000"/>
                                        <p:tgtEl>
                                          <p:spTgt spid="5">
                                            <p:graphicEl>
                                              <a:dgm id="{4F0DA7F7-1176-4185-BAAE-527B2C69AD66}"/>
                                            </p:graphicEl>
                                          </p:spTgt>
                                        </p:tgtEl>
                                      </p:cBhvr>
                                    </p:animEffect>
                                    <p:anim calcmode="lin" valueType="num">
                                      <p:cBhvr>
                                        <p:cTn id="44" dur="1000" fill="hold"/>
                                        <p:tgtEl>
                                          <p:spTgt spid="5">
                                            <p:graphicEl>
                                              <a:dgm id="{4F0DA7F7-1176-4185-BAAE-527B2C69AD66}"/>
                                            </p:graphicEl>
                                          </p:spTgt>
                                        </p:tgtEl>
                                        <p:attrNameLst>
                                          <p:attrName>ppt_x</p:attrName>
                                        </p:attrNameLst>
                                      </p:cBhvr>
                                      <p:tavLst>
                                        <p:tav tm="0">
                                          <p:val>
                                            <p:strVal val="#ppt_x"/>
                                          </p:val>
                                        </p:tav>
                                        <p:tav tm="100000">
                                          <p:val>
                                            <p:strVal val="#ppt_x"/>
                                          </p:val>
                                        </p:tav>
                                      </p:tavLst>
                                    </p:anim>
                                    <p:anim calcmode="lin" valueType="num">
                                      <p:cBhvr>
                                        <p:cTn id="45" dur="1000" fill="hold"/>
                                        <p:tgtEl>
                                          <p:spTgt spid="5">
                                            <p:graphicEl>
                                              <a:dgm id="{4F0DA7F7-1176-4185-BAAE-527B2C69AD66}"/>
                                            </p:graphicEl>
                                          </p:spTgt>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5">
                                            <p:graphicEl>
                                              <a:dgm id="{5B5E1D02-BE48-48D8-A992-271EB811C5AB}"/>
                                            </p:graphicEl>
                                          </p:spTgt>
                                        </p:tgtEl>
                                        <p:attrNameLst>
                                          <p:attrName>style.visibility</p:attrName>
                                        </p:attrNameLst>
                                      </p:cBhvr>
                                      <p:to>
                                        <p:strVal val="visible"/>
                                      </p:to>
                                    </p:set>
                                    <p:animEffect transition="in" filter="fade">
                                      <p:cBhvr>
                                        <p:cTn id="48" dur="1000"/>
                                        <p:tgtEl>
                                          <p:spTgt spid="5">
                                            <p:graphicEl>
                                              <a:dgm id="{5B5E1D02-BE48-48D8-A992-271EB811C5AB}"/>
                                            </p:graphicEl>
                                          </p:spTgt>
                                        </p:tgtEl>
                                      </p:cBhvr>
                                    </p:animEffect>
                                    <p:anim calcmode="lin" valueType="num">
                                      <p:cBhvr>
                                        <p:cTn id="49" dur="1000" fill="hold"/>
                                        <p:tgtEl>
                                          <p:spTgt spid="5">
                                            <p:graphicEl>
                                              <a:dgm id="{5B5E1D02-BE48-48D8-A992-271EB811C5AB}"/>
                                            </p:graphicEl>
                                          </p:spTgt>
                                        </p:tgtEl>
                                        <p:attrNameLst>
                                          <p:attrName>ppt_x</p:attrName>
                                        </p:attrNameLst>
                                      </p:cBhvr>
                                      <p:tavLst>
                                        <p:tav tm="0">
                                          <p:val>
                                            <p:strVal val="#ppt_x"/>
                                          </p:val>
                                        </p:tav>
                                        <p:tav tm="100000">
                                          <p:val>
                                            <p:strVal val="#ppt_x"/>
                                          </p:val>
                                        </p:tav>
                                      </p:tavLst>
                                    </p:anim>
                                    <p:anim calcmode="lin" valueType="num">
                                      <p:cBhvr>
                                        <p:cTn id="50" dur="1000" fill="hold"/>
                                        <p:tgtEl>
                                          <p:spTgt spid="5">
                                            <p:graphicEl>
                                              <a:dgm id="{5B5E1D02-BE48-48D8-A992-271EB811C5AB}"/>
                                            </p:graphicEl>
                                          </p:spTgt>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5">
                                            <p:graphicEl>
                                              <a:dgm id="{D272A17F-BCEE-4DAA-A3A1-AC0FD7025AFC}"/>
                                            </p:graphicEl>
                                          </p:spTgt>
                                        </p:tgtEl>
                                        <p:attrNameLst>
                                          <p:attrName>style.visibility</p:attrName>
                                        </p:attrNameLst>
                                      </p:cBhvr>
                                      <p:to>
                                        <p:strVal val="visible"/>
                                      </p:to>
                                    </p:set>
                                    <p:animEffect transition="in" filter="fade">
                                      <p:cBhvr>
                                        <p:cTn id="55" dur="1000"/>
                                        <p:tgtEl>
                                          <p:spTgt spid="5">
                                            <p:graphicEl>
                                              <a:dgm id="{D272A17F-BCEE-4DAA-A3A1-AC0FD7025AFC}"/>
                                            </p:graphicEl>
                                          </p:spTgt>
                                        </p:tgtEl>
                                      </p:cBhvr>
                                    </p:animEffect>
                                    <p:anim calcmode="lin" valueType="num">
                                      <p:cBhvr>
                                        <p:cTn id="56" dur="1000" fill="hold"/>
                                        <p:tgtEl>
                                          <p:spTgt spid="5">
                                            <p:graphicEl>
                                              <a:dgm id="{D272A17F-BCEE-4DAA-A3A1-AC0FD7025AFC}"/>
                                            </p:graphicEl>
                                          </p:spTgt>
                                        </p:tgtEl>
                                        <p:attrNameLst>
                                          <p:attrName>ppt_x</p:attrName>
                                        </p:attrNameLst>
                                      </p:cBhvr>
                                      <p:tavLst>
                                        <p:tav tm="0">
                                          <p:val>
                                            <p:strVal val="#ppt_x"/>
                                          </p:val>
                                        </p:tav>
                                        <p:tav tm="100000">
                                          <p:val>
                                            <p:strVal val="#ppt_x"/>
                                          </p:val>
                                        </p:tav>
                                      </p:tavLst>
                                    </p:anim>
                                    <p:anim calcmode="lin" valueType="num">
                                      <p:cBhvr>
                                        <p:cTn id="57" dur="1000" fill="hold"/>
                                        <p:tgtEl>
                                          <p:spTgt spid="5">
                                            <p:graphicEl>
                                              <a:dgm id="{D272A17F-BCEE-4DAA-A3A1-AC0FD7025AFC}"/>
                                            </p:graphicEl>
                                          </p:spTgt>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5">
                                            <p:graphicEl>
                                              <a:dgm id="{31F2C5D0-FB58-4D46-999D-D8F330C4EF26}"/>
                                            </p:graphicEl>
                                          </p:spTgt>
                                        </p:tgtEl>
                                        <p:attrNameLst>
                                          <p:attrName>style.visibility</p:attrName>
                                        </p:attrNameLst>
                                      </p:cBhvr>
                                      <p:to>
                                        <p:strVal val="visible"/>
                                      </p:to>
                                    </p:set>
                                    <p:animEffect transition="in" filter="fade">
                                      <p:cBhvr>
                                        <p:cTn id="60" dur="1000"/>
                                        <p:tgtEl>
                                          <p:spTgt spid="5">
                                            <p:graphicEl>
                                              <a:dgm id="{31F2C5D0-FB58-4D46-999D-D8F330C4EF26}"/>
                                            </p:graphicEl>
                                          </p:spTgt>
                                        </p:tgtEl>
                                      </p:cBhvr>
                                    </p:animEffect>
                                    <p:anim calcmode="lin" valueType="num">
                                      <p:cBhvr>
                                        <p:cTn id="61" dur="1000" fill="hold"/>
                                        <p:tgtEl>
                                          <p:spTgt spid="5">
                                            <p:graphicEl>
                                              <a:dgm id="{31F2C5D0-FB58-4D46-999D-D8F330C4EF26}"/>
                                            </p:graphicEl>
                                          </p:spTgt>
                                        </p:tgtEl>
                                        <p:attrNameLst>
                                          <p:attrName>ppt_x</p:attrName>
                                        </p:attrNameLst>
                                      </p:cBhvr>
                                      <p:tavLst>
                                        <p:tav tm="0">
                                          <p:val>
                                            <p:strVal val="#ppt_x"/>
                                          </p:val>
                                        </p:tav>
                                        <p:tav tm="100000">
                                          <p:val>
                                            <p:strVal val="#ppt_x"/>
                                          </p:val>
                                        </p:tav>
                                      </p:tavLst>
                                    </p:anim>
                                    <p:anim calcmode="lin" valueType="num">
                                      <p:cBhvr>
                                        <p:cTn id="62" dur="1000" fill="hold"/>
                                        <p:tgtEl>
                                          <p:spTgt spid="5">
                                            <p:graphicEl>
                                              <a:dgm id="{31F2C5D0-FB58-4D46-999D-D8F330C4EF26}"/>
                                            </p:graphicEl>
                                          </p:spTgt>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grpId="0" nodeType="clickEffect">
                                  <p:stCondLst>
                                    <p:cond delay="0"/>
                                  </p:stCondLst>
                                  <p:childTnLst>
                                    <p:set>
                                      <p:cBhvr>
                                        <p:cTn id="66" dur="1" fill="hold">
                                          <p:stCondLst>
                                            <p:cond delay="0"/>
                                          </p:stCondLst>
                                        </p:cTn>
                                        <p:tgtEl>
                                          <p:spTgt spid="5">
                                            <p:graphicEl>
                                              <a:dgm id="{E09E30F6-70EC-469B-A4AE-68D542F62EBD}"/>
                                            </p:graphicEl>
                                          </p:spTgt>
                                        </p:tgtEl>
                                        <p:attrNameLst>
                                          <p:attrName>style.visibility</p:attrName>
                                        </p:attrNameLst>
                                      </p:cBhvr>
                                      <p:to>
                                        <p:strVal val="visible"/>
                                      </p:to>
                                    </p:set>
                                    <p:animEffect transition="in" filter="fade">
                                      <p:cBhvr>
                                        <p:cTn id="67" dur="1000"/>
                                        <p:tgtEl>
                                          <p:spTgt spid="5">
                                            <p:graphicEl>
                                              <a:dgm id="{E09E30F6-70EC-469B-A4AE-68D542F62EBD}"/>
                                            </p:graphicEl>
                                          </p:spTgt>
                                        </p:tgtEl>
                                      </p:cBhvr>
                                    </p:animEffect>
                                    <p:anim calcmode="lin" valueType="num">
                                      <p:cBhvr>
                                        <p:cTn id="68" dur="1000" fill="hold"/>
                                        <p:tgtEl>
                                          <p:spTgt spid="5">
                                            <p:graphicEl>
                                              <a:dgm id="{E09E30F6-70EC-469B-A4AE-68D542F62EBD}"/>
                                            </p:graphicEl>
                                          </p:spTgt>
                                        </p:tgtEl>
                                        <p:attrNameLst>
                                          <p:attrName>ppt_x</p:attrName>
                                        </p:attrNameLst>
                                      </p:cBhvr>
                                      <p:tavLst>
                                        <p:tav tm="0">
                                          <p:val>
                                            <p:strVal val="#ppt_x"/>
                                          </p:val>
                                        </p:tav>
                                        <p:tav tm="100000">
                                          <p:val>
                                            <p:strVal val="#ppt_x"/>
                                          </p:val>
                                        </p:tav>
                                      </p:tavLst>
                                    </p:anim>
                                    <p:anim calcmode="lin" valueType="num">
                                      <p:cBhvr>
                                        <p:cTn id="69" dur="1000" fill="hold"/>
                                        <p:tgtEl>
                                          <p:spTgt spid="5">
                                            <p:graphicEl>
                                              <a:dgm id="{E09E30F6-70EC-469B-A4AE-68D542F62EBD}"/>
                                            </p:graphicEl>
                                          </p:spTgt>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5">
                                            <p:graphicEl>
                                              <a:dgm id="{3E2229F2-8999-4753-9798-1303E99B9C3D}"/>
                                            </p:graphicEl>
                                          </p:spTgt>
                                        </p:tgtEl>
                                        <p:attrNameLst>
                                          <p:attrName>style.visibility</p:attrName>
                                        </p:attrNameLst>
                                      </p:cBhvr>
                                      <p:to>
                                        <p:strVal val="visible"/>
                                      </p:to>
                                    </p:set>
                                    <p:animEffect transition="in" filter="fade">
                                      <p:cBhvr>
                                        <p:cTn id="72" dur="1000"/>
                                        <p:tgtEl>
                                          <p:spTgt spid="5">
                                            <p:graphicEl>
                                              <a:dgm id="{3E2229F2-8999-4753-9798-1303E99B9C3D}"/>
                                            </p:graphicEl>
                                          </p:spTgt>
                                        </p:tgtEl>
                                      </p:cBhvr>
                                    </p:animEffect>
                                    <p:anim calcmode="lin" valueType="num">
                                      <p:cBhvr>
                                        <p:cTn id="73" dur="1000" fill="hold"/>
                                        <p:tgtEl>
                                          <p:spTgt spid="5">
                                            <p:graphicEl>
                                              <a:dgm id="{3E2229F2-8999-4753-9798-1303E99B9C3D}"/>
                                            </p:graphicEl>
                                          </p:spTgt>
                                        </p:tgtEl>
                                        <p:attrNameLst>
                                          <p:attrName>ppt_x</p:attrName>
                                        </p:attrNameLst>
                                      </p:cBhvr>
                                      <p:tavLst>
                                        <p:tav tm="0">
                                          <p:val>
                                            <p:strVal val="#ppt_x"/>
                                          </p:val>
                                        </p:tav>
                                        <p:tav tm="100000">
                                          <p:val>
                                            <p:strVal val="#ppt_x"/>
                                          </p:val>
                                        </p:tav>
                                      </p:tavLst>
                                    </p:anim>
                                    <p:anim calcmode="lin" valueType="num">
                                      <p:cBhvr>
                                        <p:cTn id="74" dur="1000" fill="hold"/>
                                        <p:tgtEl>
                                          <p:spTgt spid="5">
                                            <p:graphicEl>
                                              <a:dgm id="{3E2229F2-8999-4753-9798-1303E99B9C3D}"/>
                                            </p:graphicEl>
                                          </p:spTgt>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grpId="0" nodeType="clickEffect">
                                  <p:stCondLst>
                                    <p:cond delay="0"/>
                                  </p:stCondLst>
                                  <p:childTnLst>
                                    <p:set>
                                      <p:cBhvr>
                                        <p:cTn id="78" dur="1" fill="hold">
                                          <p:stCondLst>
                                            <p:cond delay="0"/>
                                          </p:stCondLst>
                                        </p:cTn>
                                        <p:tgtEl>
                                          <p:spTgt spid="5">
                                            <p:graphicEl>
                                              <a:dgm id="{D3E38BC5-FCE9-4F76-92E8-F0D67F9455D4}"/>
                                            </p:graphicEl>
                                          </p:spTgt>
                                        </p:tgtEl>
                                        <p:attrNameLst>
                                          <p:attrName>style.visibility</p:attrName>
                                        </p:attrNameLst>
                                      </p:cBhvr>
                                      <p:to>
                                        <p:strVal val="visible"/>
                                      </p:to>
                                    </p:set>
                                    <p:animEffect transition="in" filter="fade">
                                      <p:cBhvr>
                                        <p:cTn id="79" dur="1000"/>
                                        <p:tgtEl>
                                          <p:spTgt spid="5">
                                            <p:graphicEl>
                                              <a:dgm id="{D3E38BC5-FCE9-4F76-92E8-F0D67F9455D4}"/>
                                            </p:graphicEl>
                                          </p:spTgt>
                                        </p:tgtEl>
                                      </p:cBhvr>
                                    </p:animEffect>
                                    <p:anim calcmode="lin" valueType="num">
                                      <p:cBhvr>
                                        <p:cTn id="80" dur="1000" fill="hold"/>
                                        <p:tgtEl>
                                          <p:spTgt spid="5">
                                            <p:graphicEl>
                                              <a:dgm id="{D3E38BC5-FCE9-4F76-92E8-F0D67F9455D4}"/>
                                            </p:graphicEl>
                                          </p:spTgt>
                                        </p:tgtEl>
                                        <p:attrNameLst>
                                          <p:attrName>ppt_x</p:attrName>
                                        </p:attrNameLst>
                                      </p:cBhvr>
                                      <p:tavLst>
                                        <p:tav tm="0">
                                          <p:val>
                                            <p:strVal val="#ppt_x"/>
                                          </p:val>
                                        </p:tav>
                                        <p:tav tm="100000">
                                          <p:val>
                                            <p:strVal val="#ppt_x"/>
                                          </p:val>
                                        </p:tav>
                                      </p:tavLst>
                                    </p:anim>
                                    <p:anim calcmode="lin" valueType="num">
                                      <p:cBhvr>
                                        <p:cTn id="81" dur="1000" fill="hold"/>
                                        <p:tgtEl>
                                          <p:spTgt spid="5">
                                            <p:graphicEl>
                                              <a:dgm id="{D3E38BC5-FCE9-4F76-92E8-F0D67F9455D4}"/>
                                            </p:graphicEl>
                                          </p:spTgt>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5">
                                            <p:graphicEl>
                                              <a:dgm id="{77DABA8C-66BA-4825-B682-9F082DFB2AA2}"/>
                                            </p:graphicEl>
                                          </p:spTgt>
                                        </p:tgtEl>
                                        <p:attrNameLst>
                                          <p:attrName>style.visibility</p:attrName>
                                        </p:attrNameLst>
                                      </p:cBhvr>
                                      <p:to>
                                        <p:strVal val="visible"/>
                                      </p:to>
                                    </p:set>
                                    <p:animEffect transition="in" filter="fade">
                                      <p:cBhvr>
                                        <p:cTn id="84" dur="1000"/>
                                        <p:tgtEl>
                                          <p:spTgt spid="5">
                                            <p:graphicEl>
                                              <a:dgm id="{77DABA8C-66BA-4825-B682-9F082DFB2AA2}"/>
                                            </p:graphicEl>
                                          </p:spTgt>
                                        </p:tgtEl>
                                      </p:cBhvr>
                                    </p:animEffect>
                                    <p:anim calcmode="lin" valueType="num">
                                      <p:cBhvr>
                                        <p:cTn id="85" dur="1000" fill="hold"/>
                                        <p:tgtEl>
                                          <p:spTgt spid="5">
                                            <p:graphicEl>
                                              <a:dgm id="{77DABA8C-66BA-4825-B682-9F082DFB2AA2}"/>
                                            </p:graphicEl>
                                          </p:spTgt>
                                        </p:tgtEl>
                                        <p:attrNameLst>
                                          <p:attrName>ppt_x</p:attrName>
                                        </p:attrNameLst>
                                      </p:cBhvr>
                                      <p:tavLst>
                                        <p:tav tm="0">
                                          <p:val>
                                            <p:strVal val="#ppt_x"/>
                                          </p:val>
                                        </p:tav>
                                        <p:tav tm="100000">
                                          <p:val>
                                            <p:strVal val="#ppt_x"/>
                                          </p:val>
                                        </p:tav>
                                      </p:tavLst>
                                    </p:anim>
                                    <p:anim calcmode="lin" valueType="num">
                                      <p:cBhvr>
                                        <p:cTn id="86" dur="1000" fill="hold"/>
                                        <p:tgtEl>
                                          <p:spTgt spid="5">
                                            <p:graphicEl>
                                              <a:dgm id="{77DABA8C-66BA-4825-B682-9F082DFB2AA2}"/>
                                            </p:graphicEl>
                                          </p:spTgt>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5">
                                            <p:graphicEl>
                                              <a:dgm id="{619B49FD-2367-4F42-A43B-8279186DF00E}"/>
                                            </p:graphicEl>
                                          </p:spTgt>
                                        </p:tgtEl>
                                        <p:attrNameLst>
                                          <p:attrName>style.visibility</p:attrName>
                                        </p:attrNameLst>
                                      </p:cBhvr>
                                      <p:to>
                                        <p:strVal val="visible"/>
                                      </p:to>
                                    </p:set>
                                    <p:animEffect transition="in" filter="fade">
                                      <p:cBhvr>
                                        <p:cTn id="91" dur="1000"/>
                                        <p:tgtEl>
                                          <p:spTgt spid="5">
                                            <p:graphicEl>
                                              <a:dgm id="{619B49FD-2367-4F42-A43B-8279186DF00E}"/>
                                            </p:graphicEl>
                                          </p:spTgt>
                                        </p:tgtEl>
                                      </p:cBhvr>
                                    </p:animEffect>
                                    <p:anim calcmode="lin" valueType="num">
                                      <p:cBhvr>
                                        <p:cTn id="92" dur="1000" fill="hold"/>
                                        <p:tgtEl>
                                          <p:spTgt spid="5">
                                            <p:graphicEl>
                                              <a:dgm id="{619B49FD-2367-4F42-A43B-8279186DF00E}"/>
                                            </p:graphicEl>
                                          </p:spTgt>
                                        </p:tgtEl>
                                        <p:attrNameLst>
                                          <p:attrName>ppt_x</p:attrName>
                                        </p:attrNameLst>
                                      </p:cBhvr>
                                      <p:tavLst>
                                        <p:tav tm="0">
                                          <p:val>
                                            <p:strVal val="#ppt_x"/>
                                          </p:val>
                                        </p:tav>
                                        <p:tav tm="100000">
                                          <p:val>
                                            <p:strVal val="#ppt_x"/>
                                          </p:val>
                                        </p:tav>
                                      </p:tavLst>
                                    </p:anim>
                                    <p:anim calcmode="lin" valueType="num">
                                      <p:cBhvr>
                                        <p:cTn id="93" dur="1000" fill="hold"/>
                                        <p:tgtEl>
                                          <p:spTgt spid="5">
                                            <p:graphicEl>
                                              <a:dgm id="{619B49FD-2367-4F42-A43B-8279186DF00E}"/>
                                            </p:graphicEl>
                                          </p:spTgt>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5">
                                            <p:graphicEl>
                                              <a:dgm id="{B283759F-5B9F-45F1-816C-EAC89575C332}"/>
                                            </p:graphicEl>
                                          </p:spTgt>
                                        </p:tgtEl>
                                        <p:attrNameLst>
                                          <p:attrName>style.visibility</p:attrName>
                                        </p:attrNameLst>
                                      </p:cBhvr>
                                      <p:to>
                                        <p:strVal val="visible"/>
                                      </p:to>
                                    </p:set>
                                    <p:animEffect transition="in" filter="fade">
                                      <p:cBhvr>
                                        <p:cTn id="96" dur="1000"/>
                                        <p:tgtEl>
                                          <p:spTgt spid="5">
                                            <p:graphicEl>
                                              <a:dgm id="{B283759F-5B9F-45F1-816C-EAC89575C332}"/>
                                            </p:graphicEl>
                                          </p:spTgt>
                                        </p:tgtEl>
                                      </p:cBhvr>
                                    </p:animEffect>
                                    <p:anim calcmode="lin" valueType="num">
                                      <p:cBhvr>
                                        <p:cTn id="97" dur="1000" fill="hold"/>
                                        <p:tgtEl>
                                          <p:spTgt spid="5">
                                            <p:graphicEl>
                                              <a:dgm id="{B283759F-5B9F-45F1-816C-EAC89575C332}"/>
                                            </p:graphicEl>
                                          </p:spTgt>
                                        </p:tgtEl>
                                        <p:attrNameLst>
                                          <p:attrName>ppt_x</p:attrName>
                                        </p:attrNameLst>
                                      </p:cBhvr>
                                      <p:tavLst>
                                        <p:tav tm="0">
                                          <p:val>
                                            <p:strVal val="#ppt_x"/>
                                          </p:val>
                                        </p:tav>
                                        <p:tav tm="100000">
                                          <p:val>
                                            <p:strVal val="#ppt_x"/>
                                          </p:val>
                                        </p:tav>
                                      </p:tavLst>
                                    </p:anim>
                                    <p:anim calcmode="lin" valueType="num">
                                      <p:cBhvr>
                                        <p:cTn id="98" dur="1000" fill="hold"/>
                                        <p:tgtEl>
                                          <p:spTgt spid="5">
                                            <p:graphicEl>
                                              <a:dgm id="{B283759F-5B9F-45F1-816C-EAC89575C332}"/>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4256965" y="1409408"/>
            <a:ext cx="3656376" cy="4262919"/>
            <a:chOff x="3965619" y="1436585"/>
            <a:chExt cx="3730752" cy="4349633"/>
          </a:xfrm>
        </p:grpSpPr>
        <p:sp>
          <p:nvSpPr>
            <p:cNvPr id="21" name="Rectangle 20"/>
            <p:cNvSpPr/>
            <p:nvPr/>
          </p:nvSpPr>
          <p:spPr bwMode="auto">
            <a:xfrm>
              <a:off x="3965619" y="2182384"/>
              <a:ext cx="3730752" cy="3603834"/>
            </a:xfrm>
            <a:prstGeom prst="rect">
              <a:avLst/>
            </a:prstGeom>
            <a:solidFill>
              <a:srgbClr val="27895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2745" dirty="0">
                <a:solidFill>
                  <a:schemeClr val="tx1"/>
                </a:solidFill>
              </a:endParaRPr>
            </a:p>
          </p:txBody>
        </p:sp>
        <p:sp>
          <p:nvSpPr>
            <p:cNvPr id="18" name="TextBox 17"/>
            <p:cNvSpPr txBox="1"/>
            <p:nvPr/>
          </p:nvSpPr>
          <p:spPr>
            <a:xfrm>
              <a:off x="3965619" y="1436585"/>
              <a:ext cx="3730752" cy="923231"/>
            </a:xfrm>
            <a:prstGeom prst="rect">
              <a:avLst/>
            </a:prstGeom>
            <a:noFill/>
          </p:spPr>
          <p:txBody>
            <a:bodyPr wrap="square" lIns="179234" tIns="143387" rIns="179234" bIns="143387" rtlCol="0">
              <a:spAutoFit/>
            </a:bodyPr>
            <a:lstStyle/>
            <a:p>
              <a:pPr defTabSz="913963">
                <a:spcAft>
                  <a:spcPts val="588"/>
                </a:spcAft>
              </a:pPr>
              <a:r>
                <a:rPr lang="en-US" sz="3919" spc="-100" dirty="0">
                  <a:ln w="3175">
                    <a:noFill/>
                  </a:ln>
                  <a:cs typeface="Segoe UI" pitchFamily="34" charset="0"/>
                </a:rPr>
                <a:t>Internet Era</a:t>
              </a:r>
            </a:p>
          </p:txBody>
        </p:sp>
      </p:grpSp>
      <p:sp>
        <p:nvSpPr>
          <p:cNvPr id="30" name="Rectangle 29"/>
          <p:cNvSpPr/>
          <p:nvPr/>
        </p:nvSpPr>
        <p:spPr bwMode="auto">
          <a:xfrm>
            <a:off x="4247297" y="2140336"/>
            <a:ext cx="3656376" cy="1474178"/>
          </a:xfrm>
          <a:prstGeom prst="rect">
            <a:avLst/>
          </a:prstGeom>
          <a:noFill/>
        </p:spPr>
        <p:txBody>
          <a:bodyPr wrap="square" lIns="179234" tIns="143387" rIns="179234" bIns="143387" rtlCol="0">
            <a:spAutoFit/>
          </a:bodyPr>
          <a:lstStyle/>
          <a:p>
            <a:pPr defTabSz="913963">
              <a:spcAft>
                <a:spcPts val="588"/>
              </a:spcAft>
            </a:pPr>
            <a:r>
              <a:rPr lang="en-US" sz="2353" spc="-39" dirty="0">
                <a:solidFill>
                  <a:prstClr val="white"/>
                </a:solidFill>
                <a:latin typeface="Segoe UI Semibold" panose="020B0702040204020203" pitchFamily="34" charset="0"/>
              </a:rPr>
              <a:t>Connecting servers, PCs, and networks</a:t>
            </a:r>
          </a:p>
          <a:p>
            <a:pPr defTabSz="913963">
              <a:spcAft>
                <a:spcPts val="588"/>
              </a:spcAft>
            </a:pPr>
            <a:endParaRPr lang="en-US" sz="2353" spc="-39" dirty="0">
              <a:solidFill>
                <a:prstClr val="white"/>
              </a:solidFill>
              <a:latin typeface="Segoe UI Semibold" panose="020B0702040204020203" pitchFamily="34" charset="0"/>
            </a:endParaRPr>
          </a:p>
        </p:txBody>
      </p:sp>
      <p:sp>
        <p:nvSpPr>
          <p:cNvPr id="28" name="Rectangle 27"/>
          <p:cNvSpPr/>
          <p:nvPr/>
        </p:nvSpPr>
        <p:spPr bwMode="auto">
          <a:xfrm>
            <a:off x="7994017" y="2140338"/>
            <a:ext cx="3656376" cy="3531982"/>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2745" dirty="0">
              <a:gradFill>
                <a:gsLst>
                  <a:gs pos="0">
                    <a:srgbClr val="FFFFFF"/>
                  </a:gs>
                  <a:gs pos="100000">
                    <a:srgbClr val="FFFFFF"/>
                  </a:gs>
                </a:gsLst>
                <a:lin ang="5400000" scaled="0"/>
              </a:gradFill>
              <a:latin typeface="Segoe UI"/>
            </a:endParaRPr>
          </a:p>
        </p:txBody>
      </p:sp>
      <p:sp>
        <p:nvSpPr>
          <p:cNvPr id="29" name="TextBox 28"/>
          <p:cNvSpPr txBox="1"/>
          <p:nvPr/>
        </p:nvSpPr>
        <p:spPr>
          <a:xfrm>
            <a:off x="7994016" y="4627771"/>
            <a:ext cx="3656375" cy="1013717"/>
          </a:xfrm>
          <a:prstGeom prst="rect">
            <a:avLst/>
          </a:prstGeom>
          <a:noFill/>
        </p:spPr>
        <p:txBody>
          <a:bodyPr wrap="square" lIns="179234" tIns="143387" rIns="179234" bIns="143387" rtlCol="0">
            <a:spAutoFit/>
          </a:bodyPr>
          <a:lstStyle/>
          <a:p>
            <a:pPr defTabSz="913963">
              <a:spcAft>
                <a:spcPts val="588"/>
              </a:spcAft>
            </a:pPr>
            <a:r>
              <a:rPr lang="en-US" sz="2353" spc="-39" dirty="0">
                <a:solidFill>
                  <a:prstClr val="white"/>
                </a:solidFill>
                <a:latin typeface="Segoe UI Semibold" panose="020B0702040204020203" pitchFamily="34" charset="0"/>
              </a:rPr>
              <a:t>On-demand productivity and hybrid flexibility</a:t>
            </a:r>
          </a:p>
        </p:txBody>
      </p:sp>
      <p:sp>
        <p:nvSpPr>
          <p:cNvPr id="25" name="TextBox 24"/>
          <p:cNvSpPr txBox="1"/>
          <p:nvPr/>
        </p:nvSpPr>
        <p:spPr>
          <a:xfrm>
            <a:off x="7994015" y="1409409"/>
            <a:ext cx="3656377" cy="904825"/>
          </a:xfrm>
          <a:prstGeom prst="rect">
            <a:avLst/>
          </a:prstGeom>
          <a:noFill/>
        </p:spPr>
        <p:txBody>
          <a:bodyPr wrap="square" lIns="179234" tIns="143387" rIns="179234" bIns="143387" rtlCol="0">
            <a:spAutoFit/>
          </a:bodyPr>
          <a:lstStyle/>
          <a:p>
            <a:pPr defTabSz="913963">
              <a:spcAft>
                <a:spcPts val="588"/>
              </a:spcAft>
            </a:pPr>
            <a:r>
              <a:rPr lang="en-US" sz="3919" spc="-100" dirty="0">
                <a:ln w="3175">
                  <a:noFill/>
                </a:ln>
                <a:cs typeface="Segoe UI" pitchFamily="34" charset="0"/>
              </a:rPr>
              <a:t>Cloud Era</a:t>
            </a:r>
          </a:p>
        </p:txBody>
      </p:sp>
      <p:sp>
        <p:nvSpPr>
          <p:cNvPr id="221" name="Freeform 220"/>
          <p:cNvSpPr/>
          <p:nvPr/>
        </p:nvSpPr>
        <p:spPr>
          <a:xfrm>
            <a:off x="9235595" y="2614968"/>
            <a:ext cx="1420175" cy="83280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bg1"/>
          </a:solidFill>
          <a:ln w="9525" cap="flat" cmpd="sng" algn="ctr">
            <a:noFill/>
            <a:prstDash val="solid"/>
          </a:ln>
          <a:effectLst/>
        </p:spPr>
        <p:txBody>
          <a:bodyPr rtlCol="0" anchor="ctr"/>
          <a:lstStyle/>
          <a:p>
            <a:pPr algn="ctr" defTabSz="895774">
              <a:defRPr/>
            </a:pPr>
            <a:endParaRPr lang="en-US" sz="1764" kern="0" dirty="0">
              <a:solidFill>
                <a:prstClr val="white"/>
              </a:solidFill>
              <a:latin typeface="Segoe UI"/>
            </a:endParaRPr>
          </a:p>
        </p:txBody>
      </p:sp>
      <p:grpSp>
        <p:nvGrpSpPr>
          <p:cNvPr id="17" name="Group 16"/>
          <p:cNvGrpSpPr/>
          <p:nvPr/>
        </p:nvGrpSpPr>
        <p:grpSpPr>
          <a:xfrm>
            <a:off x="8864259" y="3270411"/>
            <a:ext cx="705246" cy="1114343"/>
            <a:chOff x="8920219" y="3445505"/>
            <a:chExt cx="549201" cy="1019769"/>
          </a:xfrm>
        </p:grpSpPr>
        <p:sp>
          <p:nvSpPr>
            <p:cNvPr id="2" name="Rectangle 1"/>
            <p:cNvSpPr/>
            <p:nvPr/>
          </p:nvSpPr>
          <p:spPr>
            <a:xfrm>
              <a:off x="8920219" y="3445505"/>
              <a:ext cx="549201" cy="8240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543987"/>
              <a:endParaRPr lang="en-US" sz="2157" dirty="0">
                <a:solidFill>
                  <a:prstClr val="white"/>
                </a:solidFill>
                <a:latin typeface="Segoe UI"/>
              </a:endParaRPr>
            </a:p>
          </p:txBody>
        </p:sp>
        <p:sp>
          <p:nvSpPr>
            <p:cNvPr id="35" name="Rectangle 34"/>
            <p:cNvSpPr/>
            <p:nvPr/>
          </p:nvSpPr>
          <p:spPr bwMode="auto">
            <a:xfrm>
              <a:off x="9005109" y="3459409"/>
              <a:ext cx="448414" cy="100586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Rectangle 35"/>
            <p:cNvSpPr/>
            <p:nvPr/>
          </p:nvSpPr>
          <p:spPr bwMode="auto">
            <a:xfrm>
              <a:off x="9041544" y="3494501"/>
              <a:ext cx="375546" cy="8977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Rectangle 87"/>
            <p:cNvSpPr/>
            <p:nvPr/>
          </p:nvSpPr>
          <p:spPr bwMode="auto">
            <a:xfrm>
              <a:off x="9059801" y="3512712"/>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9" name="Group 88"/>
            <p:cNvGrpSpPr/>
            <p:nvPr/>
          </p:nvGrpSpPr>
          <p:grpSpPr>
            <a:xfrm>
              <a:off x="9074150" y="3528532"/>
              <a:ext cx="155165" cy="91616"/>
              <a:chOff x="5878465" y="462955"/>
              <a:chExt cx="495026" cy="274179"/>
            </a:xfrm>
            <a:solidFill>
              <a:schemeClr val="accent1"/>
            </a:solidFill>
          </p:grpSpPr>
          <p:sp>
            <p:nvSpPr>
              <p:cNvPr id="91" name="Rectangle 90"/>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91"/>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Rectangle 92"/>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0" name="Oval 89"/>
            <p:cNvSpPr/>
            <p:nvPr/>
          </p:nvSpPr>
          <p:spPr bwMode="auto">
            <a:xfrm>
              <a:off x="9325151" y="3550076"/>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p:cNvSpPr/>
            <p:nvPr/>
          </p:nvSpPr>
          <p:spPr bwMode="auto">
            <a:xfrm>
              <a:off x="9059801" y="3650276"/>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0" name="Group 79"/>
            <p:cNvGrpSpPr/>
            <p:nvPr/>
          </p:nvGrpSpPr>
          <p:grpSpPr>
            <a:xfrm>
              <a:off x="9074150" y="3666095"/>
              <a:ext cx="155165" cy="91616"/>
              <a:chOff x="5878465" y="462955"/>
              <a:chExt cx="495026" cy="274179"/>
            </a:xfrm>
            <a:solidFill>
              <a:schemeClr val="accent1"/>
            </a:solidFill>
          </p:grpSpPr>
          <p:sp>
            <p:nvSpPr>
              <p:cNvPr id="82" name="Rectangle 81"/>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Rectangle 82"/>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Rectangle 83"/>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85"/>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Rectangle 86"/>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1" name="Oval 80"/>
            <p:cNvSpPr/>
            <p:nvPr/>
          </p:nvSpPr>
          <p:spPr bwMode="auto">
            <a:xfrm>
              <a:off x="9325151" y="3687639"/>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p:cNvSpPr/>
            <p:nvPr/>
          </p:nvSpPr>
          <p:spPr bwMode="auto">
            <a:xfrm>
              <a:off x="9059801" y="3787839"/>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 name="Group 70"/>
            <p:cNvGrpSpPr/>
            <p:nvPr/>
          </p:nvGrpSpPr>
          <p:grpSpPr>
            <a:xfrm>
              <a:off x="9074150" y="3803659"/>
              <a:ext cx="155165" cy="91616"/>
              <a:chOff x="5878465" y="462955"/>
              <a:chExt cx="495026" cy="274179"/>
            </a:xfrm>
            <a:solidFill>
              <a:schemeClr val="accent1"/>
            </a:solidFill>
          </p:grpSpPr>
          <p:sp>
            <p:nvSpPr>
              <p:cNvPr id="73" name="Rectangle 72"/>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Rectangle 73"/>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Rectangle 74"/>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Rectangle 75"/>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Rectangle 76"/>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 name="Oval 71"/>
            <p:cNvSpPr/>
            <p:nvPr/>
          </p:nvSpPr>
          <p:spPr bwMode="auto">
            <a:xfrm>
              <a:off x="9325151" y="3825203"/>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Rectangle 60"/>
            <p:cNvSpPr/>
            <p:nvPr/>
          </p:nvSpPr>
          <p:spPr bwMode="auto">
            <a:xfrm>
              <a:off x="9059801" y="3925403"/>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2" name="Group 61"/>
            <p:cNvGrpSpPr/>
            <p:nvPr/>
          </p:nvGrpSpPr>
          <p:grpSpPr>
            <a:xfrm>
              <a:off x="9074150" y="3941223"/>
              <a:ext cx="155165" cy="91616"/>
              <a:chOff x="5878465" y="462955"/>
              <a:chExt cx="495026" cy="274179"/>
            </a:xfrm>
            <a:solidFill>
              <a:schemeClr val="accent1"/>
            </a:solidFill>
          </p:grpSpPr>
          <p:sp>
            <p:nvSpPr>
              <p:cNvPr id="64" name="Rectangle 63"/>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Rectangle 64"/>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3" name="Oval 62"/>
            <p:cNvSpPr/>
            <p:nvPr/>
          </p:nvSpPr>
          <p:spPr bwMode="auto">
            <a:xfrm>
              <a:off x="9325151" y="3962767"/>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p:cNvSpPr/>
            <p:nvPr/>
          </p:nvSpPr>
          <p:spPr bwMode="auto">
            <a:xfrm>
              <a:off x="9059801" y="4062966"/>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3" name="Group 52"/>
            <p:cNvGrpSpPr/>
            <p:nvPr/>
          </p:nvGrpSpPr>
          <p:grpSpPr>
            <a:xfrm>
              <a:off x="9074150" y="4078787"/>
              <a:ext cx="155165" cy="91616"/>
              <a:chOff x="5878465" y="462955"/>
              <a:chExt cx="495026" cy="274179"/>
            </a:xfrm>
            <a:solidFill>
              <a:schemeClr val="accent1"/>
            </a:solidFill>
          </p:grpSpPr>
          <p:sp>
            <p:nvSpPr>
              <p:cNvPr id="55" name="Rectangle 54"/>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56"/>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Rectangle 59"/>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4" name="Oval 53"/>
            <p:cNvSpPr/>
            <p:nvPr/>
          </p:nvSpPr>
          <p:spPr bwMode="auto">
            <a:xfrm>
              <a:off x="9325151" y="4100330"/>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42"/>
            <p:cNvSpPr/>
            <p:nvPr/>
          </p:nvSpPr>
          <p:spPr bwMode="auto">
            <a:xfrm>
              <a:off x="9059801" y="4200531"/>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4" name="Group 43"/>
            <p:cNvGrpSpPr/>
            <p:nvPr/>
          </p:nvGrpSpPr>
          <p:grpSpPr>
            <a:xfrm>
              <a:off x="9074150" y="4216351"/>
              <a:ext cx="155165" cy="91616"/>
              <a:chOff x="5878465" y="462955"/>
              <a:chExt cx="495026" cy="274179"/>
            </a:xfrm>
            <a:solidFill>
              <a:schemeClr val="accent1"/>
            </a:solidFill>
          </p:grpSpPr>
          <p:sp>
            <p:nvSpPr>
              <p:cNvPr id="46" name="Rectangle 45"/>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5" name="Oval 44"/>
            <p:cNvSpPr/>
            <p:nvPr/>
          </p:nvSpPr>
          <p:spPr bwMode="auto">
            <a:xfrm>
              <a:off x="9325151" y="4237894"/>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 name="Rectangle 13"/>
          <p:cNvSpPr/>
          <p:nvPr/>
        </p:nvSpPr>
        <p:spPr bwMode="auto">
          <a:xfrm>
            <a:off x="522610" y="2140336"/>
            <a:ext cx="3658014" cy="3531986"/>
          </a:xfrm>
          <a:prstGeom prst="rect">
            <a:avLst/>
          </a:prstGeom>
          <a:solidFill>
            <a:srgbClr val="C077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2745" dirty="0">
              <a:gradFill>
                <a:gsLst>
                  <a:gs pos="0">
                    <a:srgbClr val="FFFFFF"/>
                  </a:gs>
                  <a:gs pos="100000">
                    <a:srgbClr val="FFFFFF"/>
                  </a:gs>
                </a:gsLst>
                <a:lin ang="5400000" scaled="0"/>
              </a:gradFill>
              <a:latin typeface="Segoe UI"/>
            </a:endParaRPr>
          </a:p>
        </p:txBody>
      </p:sp>
      <p:sp>
        <p:nvSpPr>
          <p:cNvPr id="15" name="TextBox 14"/>
          <p:cNvSpPr txBox="1"/>
          <p:nvPr/>
        </p:nvSpPr>
        <p:spPr>
          <a:xfrm>
            <a:off x="522610" y="4627772"/>
            <a:ext cx="3653681" cy="1028029"/>
          </a:xfrm>
          <a:prstGeom prst="rect">
            <a:avLst/>
          </a:prstGeom>
          <a:noFill/>
        </p:spPr>
        <p:txBody>
          <a:bodyPr wrap="square" lIns="179234" tIns="143387" rIns="179234" bIns="143387" rtlCol="0">
            <a:spAutoFit/>
          </a:bodyPr>
          <a:lstStyle>
            <a:defPPr>
              <a:defRPr lang="en-US"/>
            </a:defPPr>
            <a:lvl1pPr defTabSz="932688">
              <a:spcAft>
                <a:spcPts val="600"/>
              </a:spcAft>
              <a:defRPr sz="2400" spc="-40">
                <a:solidFill>
                  <a:schemeClr val="bg1"/>
                </a:solidFill>
                <a:latin typeface="Segoe UI Semibold" panose="020B0702040204020203" pitchFamily="34" charset="0"/>
              </a:defRPr>
            </a:lvl1pPr>
          </a:lstStyle>
          <a:p>
            <a:pPr defTabSz="914139"/>
            <a:r>
              <a:rPr lang="en-US" sz="2353" dirty="0">
                <a:solidFill>
                  <a:prstClr val="white"/>
                </a:solidFill>
              </a:rPr>
              <a:t>A PC on every </a:t>
            </a:r>
            <a:br>
              <a:rPr lang="en-US" sz="2353" dirty="0">
                <a:solidFill>
                  <a:prstClr val="white"/>
                </a:solidFill>
              </a:rPr>
            </a:br>
            <a:r>
              <a:rPr lang="en-US" sz="2353" dirty="0">
                <a:solidFill>
                  <a:prstClr val="white"/>
                </a:solidFill>
              </a:rPr>
              <a:t>desktop</a:t>
            </a:r>
          </a:p>
        </p:txBody>
      </p:sp>
      <p:sp>
        <p:nvSpPr>
          <p:cNvPr id="8" name="TextBox 7"/>
          <p:cNvSpPr txBox="1"/>
          <p:nvPr/>
        </p:nvSpPr>
        <p:spPr>
          <a:xfrm>
            <a:off x="522610" y="1409409"/>
            <a:ext cx="3658014" cy="904825"/>
          </a:xfrm>
          <a:prstGeom prst="rect">
            <a:avLst/>
          </a:prstGeom>
          <a:noFill/>
        </p:spPr>
        <p:txBody>
          <a:bodyPr wrap="square" lIns="179234" tIns="143387" rIns="179234" bIns="143387" rtlCol="0">
            <a:spAutoFit/>
          </a:bodyPr>
          <a:lstStyle/>
          <a:p>
            <a:pPr defTabSz="913963">
              <a:spcAft>
                <a:spcPts val="588"/>
              </a:spcAft>
            </a:pPr>
            <a:r>
              <a:rPr lang="en-US" sz="3919" spc="-100" dirty="0">
                <a:ln w="3175">
                  <a:noFill/>
                </a:ln>
                <a:cs typeface="Segoe UI" pitchFamily="34" charset="0"/>
              </a:rPr>
              <a:t>PC Era</a:t>
            </a:r>
          </a:p>
        </p:txBody>
      </p:sp>
      <p:sp>
        <p:nvSpPr>
          <p:cNvPr id="10" name="Freeform 128"/>
          <p:cNvSpPr>
            <a:spLocks noEditPoints="1"/>
          </p:cNvSpPr>
          <p:nvPr/>
        </p:nvSpPr>
        <p:spPr bwMode="black">
          <a:xfrm>
            <a:off x="2937001" y="2597866"/>
            <a:ext cx="507489" cy="366521"/>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4" tIns="40332" rIns="80664" bIns="40332" numCol="1" anchor="t" anchorCtr="0" compatLnSpc="1">
            <a:prstTxWarp prst="textNoShape">
              <a:avLst/>
            </a:prstTxWarp>
          </a:bodyPr>
          <a:lstStyle/>
          <a:p>
            <a:pPr defTabSz="913934"/>
            <a:endParaRPr lang="en-US" sz="1567" dirty="0">
              <a:solidFill>
                <a:srgbClr val="FFFFFF"/>
              </a:solidFill>
              <a:latin typeface="Segoe UI"/>
            </a:endParaRPr>
          </a:p>
        </p:txBody>
      </p:sp>
      <p:pic>
        <p:nvPicPr>
          <p:cNvPr id="11" name="Picture 36" descr="C:\Users\sakuu\Documents\Ballmer WPC\AI\work.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black">
          <a:xfrm>
            <a:off x="1246230" y="3658349"/>
            <a:ext cx="424160" cy="67690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7" descr="C:\Users\sakuu\Documents\Ballmer MGX 2011\Tile Icons\Calendar.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black">
          <a:xfrm>
            <a:off x="2972610" y="3866504"/>
            <a:ext cx="436277" cy="39899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screen">
            <a:lum bright="100000"/>
            <a:extLst>
              <a:ext uri="{28A0092B-C50C-407E-A947-70E740481C1C}">
                <a14:useLocalDpi xmlns:a14="http://schemas.microsoft.com/office/drawing/2010/main"/>
              </a:ext>
            </a:extLst>
          </a:blip>
          <a:srcRect/>
          <a:stretch/>
        </p:blipFill>
        <p:spPr>
          <a:xfrm>
            <a:off x="1105598" y="2400166"/>
            <a:ext cx="606061" cy="759922"/>
          </a:xfrm>
          <a:prstGeom prst="rect">
            <a:avLst/>
          </a:prstGeom>
          <a:noFill/>
          <a:ln>
            <a:noFill/>
          </a:ln>
        </p:spPr>
      </p:pic>
      <p:sp>
        <p:nvSpPr>
          <p:cNvPr id="181" name="Freeform 180"/>
          <p:cNvSpPr>
            <a:spLocks noEditPoints="1"/>
          </p:cNvSpPr>
          <p:nvPr/>
        </p:nvSpPr>
        <p:spPr bwMode="black">
          <a:xfrm>
            <a:off x="2653565" y="3177295"/>
            <a:ext cx="274589" cy="55373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endParaRPr lang="en-US" sz="2157" spc="-120" dirty="0">
              <a:solidFill>
                <a:srgbClr val="3F3F3F">
                  <a:lumMod val="50000"/>
                </a:srgbClr>
              </a:solidFill>
              <a:latin typeface="Segoe Light" pitchFamily="34" charset="0"/>
            </a:endParaRPr>
          </a:p>
        </p:txBody>
      </p:sp>
      <p:sp>
        <p:nvSpPr>
          <p:cNvPr id="182" name="Freeform 88"/>
          <p:cNvSpPr>
            <a:spLocks noEditPoints="1"/>
          </p:cNvSpPr>
          <p:nvPr/>
        </p:nvSpPr>
        <p:spPr bwMode="black">
          <a:xfrm>
            <a:off x="1824225" y="3066240"/>
            <a:ext cx="783951" cy="664786"/>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endParaRPr lang="en-US" sz="2157" spc="-120" dirty="0">
              <a:solidFill>
                <a:srgbClr val="3F3F3F">
                  <a:lumMod val="50000"/>
                </a:srgbClr>
              </a:solidFill>
              <a:latin typeface="Segoe Light" pitchFamily="34" charset="0"/>
            </a:endParaRPr>
          </a:p>
        </p:txBody>
      </p:sp>
      <p:pic>
        <p:nvPicPr>
          <p:cNvPr id="161" name="Picture 16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59370" y="3477498"/>
            <a:ext cx="1773522" cy="1837508"/>
          </a:xfrm>
          <a:prstGeom prst="rect">
            <a:avLst/>
          </a:prstGeom>
        </p:spPr>
      </p:pic>
      <p:grpSp>
        <p:nvGrpSpPr>
          <p:cNvPr id="4" name="Group 3"/>
          <p:cNvGrpSpPr/>
          <p:nvPr/>
        </p:nvGrpSpPr>
        <p:grpSpPr>
          <a:xfrm>
            <a:off x="9730522" y="3561515"/>
            <a:ext cx="970656" cy="823239"/>
            <a:chOff x="9926691" y="3632471"/>
            <a:chExt cx="853581" cy="723945"/>
          </a:xfrm>
        </p:grpSpPr>
        <p:sp>
          <p:nvSpPr>
            <p:cNvPr id="177" name="Freeform 88"/>
            <p:cNvSpPr>
              <a:spLocks noEditPoints="1"/>
            </p:cNvSpPr>
            <p:nvPr/>
          </p:nvSpPr>
          <p:spPr bwMode="black">
            <a:xfrm>
              <a:off x="10146225" y="4033899"/>
              <a:ext cx="380329" cy="32251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endParaRPr lang="en-US" sz="2157" spc="-120" dirty="0">
                <a:solidFill>
                  <a:srgbClr val="3F3F3F">
                    <a:lumMod val="50000"/>
                  </a:srgbClr>
                </a:solidFill>
                <a:latin typeface="Segoe Light" pitchFamily="34" charset="0"/>
              </a:endParaRPr>
            </a:p>
          </p:txBody>
        </p:sp>
        <p:sp>
          <p:nvSpPr>
            <p:cNvPr id="98" name="Freeform 20"/>
            <p:cNvSpPr>
              <a:spLocks noEditPoints="1"/>
            </p:cNvSpPr>
            <p:nvPr/>
          </p:nvSpPr>
          <p:spPr bwMode="black">
            <a:xfrm>
              <a:off x="10394701" y="3632471"/>
              <a:ext cx="385571" cy="268064"/>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extLst/>
          </p:spPr>
          <p:txBody>
            <a:bodyPr vert="horz" wrap="square" lIns="80664" tIns="40332" rIns="80664" bIns="40332" numCol="1" anchor="t" anchorCtr="0" compatLnSpc="1">
              <a:prstTxWarp prst="textNoShape">
                <a:avLst/>
              </a:prstTxWarp>
            </a:bodyPr>
            <a:lstStyle/>
            <a:p>
              <a:pPr defTabSz="913598"/>
              <a:endParaRPr lang="en-US" sz="882" dirty="0">
                <a:solidFill>
                  <a:srgbClr val="FFFFFF"/>
                </a:solidFill>
                <a:latin typeface="Segoe UI"/>
              </a:endParaRPr>
            </a:p>
          </p:txBody>
        </p:sp>
        <p:sp>
          <p:nvSpPr>
            <p:cNvPr id="106" name="Rectangle 79"/>
            <p:cNvSpPr/>
            <p:nvPr/>
          </p:nvSpPr>
          <p:spPr>
            <a:xfrm>
              <a:off x="9926691" y="3670002"/>
              <a:ext cx="178056" cy="301808"/>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3598"/>
              <a:endParaRPr lang="en-US" dirty="0">
                <a:solidFill>
                  <a:srgbClr val="FFFFFF"/>
                </a:solidFill>
                <a:latin typeface="Segoe UI"/>
              </a:endParaRPr>
            </a:p>
          </p:txBody>
        </p:sp>
      </p:grpSp>
      <p:sp>
        <p:nvSpPr>
          <p:cNvPr id="99" name="Title 2">
            <a:extLst>
              <a:ext uri="{FF2B5EF4-FFF2-40B4-BE49-F238E27FC236}">
                <a16:creationId xmlns:a16="http://schemas.microsoft.com/office/drawing/2014/main" id="{897430C2-B7F0-4F34-A11C-D56C7DF40A3F}"/>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704"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New era of computing</a:t>
            </a:r>
          </a:p>
        </p:txBody>
      </p:sp>
    </p:spTree>
    <p:extLst>
      <p:ext uri="{BB962C8B-B14F-4D97-AF65-F5344CB8AC3E}">
        <p14:creationId xmlns:p14="http://schemas.microsoft.com/office/powerpoint/2010/main" val="37996964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p:cNvSpPr/>
          <p:nvPr/>
        </p:nvSpPr>
        <p:spPr bwMode="auto">
          <a:xfrm flipH="1">
            <a:off x="-1" y="-1"/>
            <a:ext cx="12213772" cy="6865884"/>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
          <p:cNvSpPr txBox="1">
            <a:spLocks/>
          </p:cNvSpPr>
          <p:nvPr/>
        </p:nvSpPr>
        <p:spPr bwMode="ltGray">
          <a:xfrm>
            <a:off x="6040582" y="2600694"/>
            <a:ext cx="5001492" cy="1298212"/>
          </a:xfrm>
          <a:prstGeom prst="rect">
            <a:avLst/>
          </a:prstGeom>
          <a:noFill/>
        </p:spPr>
        <p:txBody>
          <a:bodyPr lIns="146304" tIns="91440" rIns="146304" bIns="9144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ts val="8440"/>
              </a:lnSpc>
              <a:spcBef>
                <a:spcPct val="0"/>
              </a:spcBef>
              <a:spcAft>
                <a:spcPts val="0"/>
              </a:spcAft>
              <a:buClrTx/>
              <a:buSzTx/>
              <a:buFontTx/>
              <a:buNone/>
              <a:tabLst/>
              <a:defRPr/>
            </a:pPr>
            <a:r>
              <a:rPr kumimoji="0" lang="en-US" sz="3400" b="1" i="0" u="none" strike="noStrike" kern="1200" cap="none" spc="-100" normalizeH="0" baseline="0" noProof="0" dirty="0">
                <a:ln w="3175">
                  <a:noFill/>
                </a:ln>
                <a:solidFill>
                  <a:srgbClr val="FFFFFF"/>
                </a:solidFill>
                <a:effectLst/>
                <a:uLnTx/>
                <a:uFillTx/>
                <a:latin typeface="Segoe UI"/>
                <a:ea typeface="+mn-ea"/>
                <a:cs typeface="Segoe UI" pitchFamily="34" charset="0"/>
              </a:rPr>
              <a:t>Your vision. Your cloud.</a:t>
            </a:r>
          </a:p>
        </p:txBody>
      </p:sp>
      <p:pic>
        <p:nvPicPr>
          <p:cNvPr id="8" name="Picture 7">
            <a:extLst>
              <a:ext uri="{FF2B5EF4-FFF2-40B4-BE49-F238E27FC236}">
                <a16:creationId xmlns:a16="http://schemas.microsoft.com/office/drawing/2014/main" id="{70A795D3-2BC5-4531-BF6F-26CCCE9C2A71}"/>
              </a:ext>
            </a:extLst>
          </p:cNvPr>
          <p:cNvPicPr>
            <a:picLocks noChangeAspect="1"/>
          </p:cNvPicPr>
          <p:nvPr/>
        </p:nvPicPr>
        <p:blipFill>
          <a:blip r:embed="rId4"/>
          <a:stretch>
            <a:fillRect/>
          </a:stretch>
        </p:blipFill>
        <p:spPr>
          <a:xfrm>
            <a:off x="430467" y="2865652"/>
            <a:ext cx="2715346" cy="955974"/>
          </a:xfrm>
          <a:prstGeom prst="rect">
            <a:avLst/>
          </a:prstGeom>
        </p:spPr>
      </p:pic>
      <p:pic>
        <p:nvPicPr>
          <p:cNvPr id="9" name="Picture 8">
            <a:extLst>
              <a:ext uri="{FF2B5EF4-FFF2-40B4-BE49-F238E27FC236}">
                <a16:creationId xmlns:a16="http://schemas.microsoft.com/office/drawing/2014/main" id="{7AC2E7C8-9FF5-4FF8-A89D-68D8EF5F00B0}"/>
              </a:ext>
            </a:extLst>
          </p:cNvPr>
          <p:cNvPicPr>
            <a:picLocks noChangeAspect="1"/>
          </p:cNvPicPr>
          <p:nvPr/>
        </p:nvPicPr>
        <p:blipFill>
          <a:blip r:embed="rId5"/>
          <a:stretch>
            <a:fillRect/>
          </a:stretch>
        </p:blipFill>
        <p:spPr>
          <a:xfrm>
            <a:off x="10499090" y="6013341"/>
            <a:ext cx="1328146" cy="488549"/>
          </a:xfrm>
          <a:prstGeom prst="rect">
            <a:avLst/>
          </a:prstGeom>
        </p:spPr>
      </p:pic>
    </p:spTree>
    <p:extLst>
      <p:ext uri="{BB962C8B-B14F-4D97-AF65-F5344CB8AC3E}">
        <p14:creationId xmlns:p14="http://schemas.microsoft.com/office/powerpoint/2010/main" val="3093308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5" name="Group 244">
            <a:extLst>
              <a:ext uri="{FF2B5EF4-FFF2-40B4-BE49-F238E27FC236}">
                <a16:creationId xmlns:a16="http://schemas.microsoft.com/office/drawing/2014/main" id="{E8A459D3-340F-452F-96FA-F54D9F27F688}"/>
              </a:ext>
            </a:extLst>
          </p:cNvPr>
          <p:cNvGrpSpPr/>
          <p:nvPr/>
        </p:nvGrpSpPr>
        <p:grpSpPr>
          <a:xfrm>
            <a:off x="309548" y="3349150"/>
            <a:ext cx="2644574" cy="2942696"/>
            <a:chOff x="-2088478" y="2674169"/>
            <a:chExt cx="4744912" cy="4404294"/>
          </a:xfrm>
        </p:grpSpPr>
        <p:sp>
          <p:nvSpPr>
            <p:cNvPr id="246" name="TextBox 245">
              <a:extLst>
                <a:ext uri="{FF2B5EF4-FFF2-40B4-BE49-F238E27FC236}">
                  <a16:creationId xmlns:a16="http://schemas.microsoft.com/office/drawing/2014/main" id="{B9F57DCC-447B-4EEE-8C97-8F74681A0636}"/>
                </a:ext>
              </a:extLst>
            </p:cNvPr>
            <p:cNvSpPr txBox="1"/>
            <p:nvPr/>
          </p:nvSpPr>
          <p:spPr>
            <a:xfrm>
              <a:off x="-2088478" y="2674169"/>
              <a:ext cx="3101054" cy="2644018"/>
            </a:xfrm>
            <a:prstGeom prst="rect">
              <a:avLst/>
            </a:prstGeom>
            <a:noFill/>
          </p:spPr>
          <p:txBody>
            <a:bodyPr wrap="none" lIns="189394" tIns="189394" rIns="189394" bIns="18939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23113">
                <a:spcAft>
                  <a:spcPts val="401"/>
                </a:spcAft>
                <a:defRPr/>
              </a:pPr>
              <a:r>
                <a:rPr lang="en-US" sz="9798" spc="-400">
                  <a:gradFill>
                    <a:gsLst>
                      <a:gs pos="9790">
                        <a:srgbClr val="1A1A1A"/>
                      </a:gs>
                      <a:gs pos="17442">
                        <a:srgbClr val="1A1A1A"/>
                      </a:gs>
                    </a:gsLst>
                    <a:lin ang="0" scaled="0"/>
                  </a:gradFill>
                  <a:latin typeface="Segoe UI Semibold"/>
                  <a:cs typeface="Segoe UI Semibold" panose="020B0702040204020203" pitchFamily="34" charset="0"/>
                </a:rPr>
                <a:t>54</a:t>
              </a:r>
            </a:p>
          </p:txBody>
        </p:sp>
        <p:sp>
          <p:nvSpPr>
            <p:cNvPr id="247" name="TextBox 246">
              <a:extLst>
                <a:ext uri="{FF2B5EF4-FFF2-40B4-BE49-F238E27FC236}">
                  <a16:creationId xmlns:a16="http://schemas.microsoft.com/office/drawing/2014/main" id="{1600BEA5-DEC2-47CB-AD5E-CDD0FE204CCA}"/>
                </a:ext>
              </a:extLst>
            </p:cNvPr>
            <p:cNvSpPr txBox="1"/>
            <p:nvPr/>
          </p:nvSpPr>
          <p:spPr>
            <a:xfrm>
              <a:off x="-1967571" y="4576745"/>
              <a:ext cx="4624005" cy="2501718"/>
            </a:xfrm>
            <a:prstGeom prst="rect">
              <a:avLst/>
            </a:prstGeom>
            <a:noFill/>
          </p:spPr>
          <p:txBody>
            <a:bodyPr wrap="square" lIns="189394" tIns="189394" rIns="189394" bIns="18939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23113">
                <a:spcAft>
                  <a:spcPts val="401"/>
                </a:spcAft>
                <a:defRPr/>
              </a:pPr>
              <a:r>
                <a:rPr lang="en-US" sz="240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Azure regions</a:t>
              </a:r>
            </a:p>
            <a:p>
              <a:pPr defTabSz="623113">
                <a:spcAft>
                  <a:spcPts val="401"/>
                </a:spcAft>
                <a:defRPr/>
              </a:pPr>
              <a:endParaRPr lang="en-US" sz="200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endParaRPr>
            </a:p>
            <a:p>
              <a:pPr defTabSz="623113">
                <a:spcAft>
                  <a:spcPts val="401"/>
                </a:spcAft>
                <a:defRPr/>
              </a:pPr>
              <a:r>
                <a:rPr lang="en-US" sz="200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More than AWS &amp; Google combined</a:t>
              </a:r>
            </a:p>
          </p:txBody>
        </p:sp>
      </p:grpSp>
      <p:grpSp>
        <p:nvGrpSpPr>
          <p:cNvPr id="248" name="Group 247">
            <a:extLst>
              <a:ext uri="{FF2B5EF4-FFF2-40B4-BE49-F238E27FC236}">
                <a16:creationId xmlns:a16="http://schemas.microsoft.com/office/drawing/2014/main" id="{FBFB3F9B-1781-4A7A-824B-F5F186E547A2}"/>
              </a:ext>
            </a:extLst>
          </p:cNvPr>
          <p:cNvGrpSpPr/>
          <p:nvPr/>
        </p:nvGrpSpPr>
        <p:grpSpPr>
          <a:xfrm>
            <a:off x="-748578" y="197429"/>
            <a:ext cx="13677292" cy="6444338"/>
            <a:chOff x="-749549" y="216020"/>
            <a:chExt cx="13679232" cy="6445252"/>
          </a:xfrm>
          <a:solidFill>
            <a:schemeClr val="bg1">
              <a:lumMod val="75000"/>
            </a:schemeClr>
          </a:solidFill>
        </p:grpSpPr>
        <p:pic>
          <p:nvPicPr>
            <p:cNvPr id="249" name="Graphic 248">
              <a:extLst>
                <a:ext uri="{FF2B5EF4-FFF2-40B4-BE49-F238E27FC236}">
                  <a16:creationId xmlns:a16="http://schemas.microsoft.com/office/drawing/2014/main" id="{B6223932-504A-4D20-9E0D-C2A5740AC8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9874" y="329728"/>
              <a:ext cx="5943601" cy="2273972"/>
            </a:xfrm>
            <a:prstGeom prst="rect">
              <a:avLst/>
            </a:prstGeom>
          </p:spPr>
        </p:pic>
        <p:grpSp>
          <p:nvGrpSpPr>
            <p:cNvPr id="250" name="Group 249">
              <a:extLst>
                <a:ext uri="{FF2B5EF4-FFF2-40B4-BE49-F238E27FC236}">
                  <a16:creationId xmlns:a16="http://schemas.microsoft.com/office/drawing/2014/main" id="{17A84516-48EE-4FFE-B063-B9A4917E28CF}"/>
                </a:ext>
              </a:extLst>
            </p:cNvPr>
            <p:cNvGrpSpPr/>
            <p:nvPr/>
          </p:nvGrpSpPr>
          <p:grpSpPr>
            <a:xfrm>
              <a:off x="-749549" y="216020"/>
              <a:ext cx="13679232" cy="6445252"/>
              <a:chOff x="-749549" y="216020"/>
              <a:chExt cx="13679232" cy="6445252"/>
            </a:xfrm>
            <a:grpFill/>
          </p:grpSpPr>
          <p:pic>
            <p:nvPicPr>
              <p:cNvPr id="251" name="Graphic 250">
                <a:extLst>
                  <a:ext uri="{FF2B5EF4-FFF2-40B4-BE49-F238E27FC236}">
                    <a16:creationId xmlns:a16="http://schemas.microsoft.com/office/drawing/2014/main" id="{D17B14D1-2581-432C-8566-8838A63C5E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5987" y="825501"/>
                <a:ext cx="3173413" cy="1712760"/>
              </a:xfrm>
              <a:prstGeom prst="rect">
                <a:avLst/>
              </a:prstGeom>
            </p:spPr>
          </p:pic>
          <p:grpSp>
            <p:nvGrpSpPr>
              <p:cNvPr id="253" name="Group 252">
                <a:extLst>
                  <a:ext uri="{FF2B5EF4-FFF2-40B4-BE49-F238E27FC236}">
                    <a16:creationId xmlns:a16="http://schemas.microsoft.com/office/drawing/2014/main" id="{63B66174-5ABA-4524-A39A-1AE433860117}"/>
                  </a:ext>
                </a:extLst>
              </p:cNvPr>
              <p:cNvGrpSpPr/>
              <p:nvPr/>
            </p:nvGrpSpPr>
            <p:grpSpPr>
              <a:xfrm>
                <a:off x="-749549" y="216020"/>
                <a:ext cx="13679232" cy="6445252"/>
                <a:chOff x="-749549" y="216020"/>
                <a:chExt cx="13679232" cy="6445252"/>
              </a:xfrm>
              <a:grpFill/>
            </p:grpSpPr>
            <p:sp>
              <p:nvSpPr>
                <p:cNvPr id="254" name="Freeform: Shape 253">
                  <a:extLst>
                    <a:ext uri="{FF2B5EF4-FFF2-40B4-BE49-F238E27FC236}">
                      <a16:creationId xmlns:a16="http://schemas.microsoft.com/office/drawing/2014/main" id="{AB44DBBA-97E4-40E4-BCFB-25E200305243}"/>
                    </a:ext>
                  </a:extLst>
                </p:cNvPr>
                <p:cNvSpPr/>
                <p:nvPr/>
              </p:nvSpPr>
              <p:spPr>
                <a:xfrm>
                  <a:off x="6764616" y="4872718"/>
                  <a:ext cx="293831" cy="293873"/>
                </a:xfrm>
                <a:custGeom>
                  <a:avLst/>
                  <a:gdLst>
                    <a:gd name="connsiteX0" fmla="*/ 203302 w 293831"/>
                    <a:gd name="connsiteY0" fmla="*/ 9013 h 293873"/>
                    <a:gd name="connsiteX1" fmla="*/ 198781 w 293831"/>
                    <a:gd name="connsiteY1" fmla="*/ 31307 h 293873"/>
                    <a:gd name="connsiteX2" fmla="*/ 215733 w 293831"/>
                    <a:gd name="connsiteY2" fmla="*/ 33334 h 293873"/>
                    <a:gd name="connsiteX3" fmla="*/ 233816 w 293831"/>
                    <a:gd name="connsiteY3" fmla="*/ 41441 h 293873"/>
                    <a:gd name="connsiteX4" fmla="*/ 255287 w 293831"/>
                    <a:gd name="connsiteY4" fmla="*/ 52588 h 293873"/>
                    <a:gd name="connsiteX5" fmla="*/ 276760 w 293831"/>
                    <a:gd name="connsiteY5" fmla="*/ 62721 h 293873"/>
                    <a:gd name="connsiteX6" fmla="*/ 281281 w 293831"/>
                    <a:gd name="connsiteY6" fmla="*/ 78935 h 293873"/>
                    <a:gd name="connsiteX7" fmla="*/ 274500 w 293831"/>
                    <a:gd name="connsiteY7" fmla="*/ 94135 h 293873"/>
                    <a:gd name="connsiteX8" fmla="*/ 275630 w 293831"/>
                    <a:gd name="connsiteY8" fmla="*/ 119469 h 293873"/>
                    <a:gd name="connsiteX9" fmla="*/ 288061 w 293831"/>
                    <a:gd name="connsiteY9" fmla="*/ 135683 h 293873"/>
                    <a:gd name="connsiteX10" fmla="*/ 279020 w 293831"/>
                    <a:gd name="connsiteY10" fmla="*/ 147843 h 293873"/>
                    <a:gd name="connsiteX11" fmla="*/ 272239 w 293831"/>
                    <a:gd name="connsiteY11" fmla="*/ 163044 h 293873"/>
                    <a:gd name="connsiteX12" fmla="*/ 277890 w 293831"/>
                    <a:gd name="connsiteY12" fmla="*/ 176217 h 293873"/>
                    <a:gd name="connsiteX13" fmla="*/ 273370 w 293831"/>
                    <a:gd name="connsiteY13" fmla="*/ 196484 h 293873"/>
                    <a:gd name="connsiteX14" fmla="*/ 276760 w 293831"/>
                    <a:gd name="connsiteY14" fmla="*/ 220805 h 293873"/>
                    <a:gd name="connsiteX15" fmla="*/ 272239 w 293831"/>
                    <a:gd name="connsiteY15" fmla="*/ 232965 h 293873"/>
                    <a:gd name="connsiteX16" fmla="*/ 282411 w 293831"/>
                    <a:gd name="connsiteY16" fmla="*/ 239046 h 293873"/>
                    <a:gd name="connsiteX17" fmla="*/ 264329 w 293831"/>
                    <a:gd name="connsiteY17" fmla="*/ 262353 h 293873"/>
                    <a:gd name="connsiteX18" fmla="*/ 238336 w 293831"/>
                    <a:gd name="connsiteY18" fmla="*/ 291740 h 293873"/>
                    <a:gd name="connsiteX19" fmla="*/ 217994 w 293831"/>
                    <a:gd name="connsiteY19" fmla="*/ 286673 h 293873"/>
                    <a:gd name="connsiteX20" fmla="*/ 203302 w 293831"/>
                    <a:gd name="connsiteY20" fmla="*/ 281606 h 293873"/>
                    <a:gd name="connsiteX21" fmla="*/ 181830 w 293831"/>
                    <a:gd name="connsiteY21" fmla="*/ 284647 h 293873"/>
                    <a:gd name="connsiteX22" fmla="*/ 164878 w 293831"/>
                    <a:gd name="connsiteY22" fmla="*/ 280593 h 293873"/>
                    <a:gd name="connsiteX23" fmla="*/ 149057 w 293831"/>
                    <a:gd name="connsiteY23" fmla="*/ 271473 h 293873"/>
                    <a:gd name="connsiteX24" fmla="*/ 133235 w 293831"/>
                    <a:gd name="connsiteY24" fmla="*/ 267419 h 293873"/>
                    <a:gd name="connsiteX25" fmla="*/ 120804 w 293831"/>
                    <a:gd name="connsiteY25" fmla="*/ 257286 h 293873"/>
                    <a:gd name="connsiteX26" fmla="*/ 121933 w 293831"/>
                    <a:gd name="connsiteY26" fmla="*/ 233979 h 293873"/>
                    <a:gd name="connsiteX27" fmla="*/ 109502 w 293831"/>
                    <a:gd name="connsiteY27" fmla="*/ 223845 h 293873"/>
                    <a:gd name="connsiteX28" fmla="*/ 99331 w 293831"/>
                    <a:gd name="connsiteY28" fmla="*/ 212698 h 293873"/>
                    <a:gd name="connsiteX29" fmla="*/ 95941 w 293831"/>
                    <a:gd name="connsiteY29" fmla="*/ 196484 h 293873"/>
                    <a:gd name="connsiteX30" fmla="*/ 74468 w 293831"/>
                    <a:gd name="connsiteY30" fmla="*/ 182298 h 293873"/>
                    <a:gd name="connsiteX31" fmla="*/ 62037 w 293831"/>
                    <a:gd name="connsiteY31" fmla="*/ 183311 h 293873"/>
                    <a:gd name="connsiteX32" fmla="*/ 51866 w 293831"/>
                    <a:gd name="connsiteY32" fmla="*/ 172164 h 293873"/>
                    <a:gd name="connsiteX33" fmla="*/ 30394 w 293831"/>
                    <a:gd name="connsiteY33" fmla="*/ 147843 h 293873"/>
                    <a:gd name="connsiteX34" fmla="*/ 21353 w 293831"/>
                    <a:gd name="connsiteY34" fmla="*/ 131630 h 293873"/>
                    <a:gd name="connsiteX35" fmla="*/ 10052 w 293831"/>
                    <a:gd name="connsiteY35" fmla="*/ 110349 h 293873"/>
                    <a:gd name="connsiteX36" fmla="*/ 28134 w 293831"/>
                    <a:gd name="connsiteY36" fmla="*/ 111363 h 293873"/>
                    <a:gd name="connsiteX37" fmla="*/ 46215 w 293831"/>
                    <a:gd name="connsiteY37" fmla="*/ 110349 h 293873"/>
                    <a:gd name="connsiteX38" fmla="*/ 68818 w 293831"/>
                    <a:gd name="connsiteY38" fmla="*/ 110349 h 293873"/>
                    <a:gd name="connsiteX39" fmla="*/ 91420 w 293831"/>
                    <a:gd name="connsiteY39" fmla="*/ 102242 h 293873"/>
                    <a:gd name="connsiteX40" fmla="*/ 115153 w 293831"/>
                    <a:gd name="connsiteY40" fmla="*/ 96162 h 293873"/>
                    <a:gd name="connsiteX41" fmla="*/ 123064 w 293831"/>
                    <a:gd name="connsiteY41" fmla="*/ 65761 h 293873"/>
                    <a:gd name="connsiteX42" fmla="*/ 133235 w 293831"/>
                    <a:gd name="connsiteY42" fmla="*/ 55628 h 293873"/>
                    <a:gd name="connsiteX43" fmla="*/ 143406 w 293831"/>
                    <a:gd name="connsiteY43" fmla="*/ 44481 h 293873"/>
                    <a:gd name="connsiteX44" fmla="*/ 153577 w 293831"/>
                    <a:gd name="connsiteY44" fmla="*/ 33334 h 293873"/>
                    <a:gd name="connsiteX45" fmla="*/ 169399 w 293831"/>
                    <a:gd name="connsiteY45" fmla="*/ 23200 h 293873"/>
                    <a:gd name="connsiteX46" fmla="*/ 203302 w 293831"/>
                    <a:gd name="connsiteY46" fmla="*/ 9013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93831" h="293873">
                      <a:moveTo>
                        <a:pt x="203302" y="9013"/>
                      </a:moveTo>
                      <a:lnTo>
                        <a:pt x="198781" y="31307"/>
                      </a:lnTo>
                      <a:cubicBezTo>
                        <a:pt x="198781" y="31307"/>
                        <a:pt x="210083" y="31307"/>
                        <a:pt x="215733" y="33334"/>
                      </a:cubicBezTo>
                      <a:cubicBezTo>
                        <a:pt x="221384" y="35361"/>
                        <a:pt x="228165" y="37387"/>
                        <a:pt x="233816" y="41441"/>
                      </a:cubicBezTo>
                      <a:cubicBezTo>
                        <a:pt x="239466" y="45494"/>
                        <a:pt x="246247" y="50561"/>
                        <a:pt x="255287" y="52588"/>
                      </a:cubicBezTo>
                      <a:cubicBezTo>
                        <a:pt x="264329" y="54614"/>
                        <a:pt x="271109" y="57654"/>
                        <a:pt x="276760" y="62721"/>
                      </a:cubicBezTo>
                      <a:cubicBezTo>
                        <a:pt x="282411" y="67788"/>
                        <a:pt x="281281" y="78935"/>
                        <a:pt x="281281" y="78935"/>
                      </a:cubicBezTo>
                      <a:cubicBezTo>
                        <a:pt x="281281" y="78935"/>
                        <a:pt x="272239" y="85015"/>
                        <a:pt x="274500" y="94135"/>
                      </a:cubicBezTo>
                      <a:cubicBezTo>
                        <a:pt x="276760" y="103255"/>
                        <a:pt x="271109" y="112376"/>
                        <a:pt x="275630" y="119469"/>
                      </a:cubicBezTo>
                      <a:cubicBezTo>
                        <a:pt x="280150" y="126563"/>
                        <a:pt x="288061" y="135683"/>
                        <a:pt x="288061" y="135683"/>
                      </a:cubicBezTo>
                      <a:cubicBezTo>
                        <a:pt x="288061" y="135683"/>
                        <a:pt x="283540" y="142777"/>
                        <a:pt x="279020" y="147843"/>
                      </a:cubicBezTo>
                      <a:cubicBezTo>
                        <a:pt x="274500" y="152910"/>
                        <a:pt x="266589" y="155950"/>
                        <a:pt x="272239" y="163044"/>
                      </a:cubicBezTo>
                      <a:cubicBezTo>
                        <a:pt x="277890" y="170137"/>
                        <a:pt x="282411" y="171151"/>
                        <a:pt x="277890" y="176217"/>
                      </a:cubicBezTo>
                      <a:cubicBezTo>
                        <a:pt x="268849" y="186351"/>
                        <a:pt x="277890" y="185337"/>
                        <a:pt x="273370" y="196484"/>
                      </a:cubicBezTo>
                      <a:cubicBezTo>
                        <a:pt x="268849" y="207631"/>
                        <a:pt x="279020" y="213712"/>
                        <a:pt x="276760" y="220805"/>
                      </a:cubicBezTo>
                      <a:cubicBezTo>
                        <a:pt x="272239" y="239046"/>
                        <a:pt x="269980" y="225872"/>
                        <a:pt x="272239" y="232965"/>
                      </a:cubicBezTo>
                      <a:cubicBezTo>
                        <a:pt x="274500" y="240059"/>
                        <a:pt x="288061" y="231952"/>
                        <a:pt x="282411" y="239046"/>
                      </a:cubicBezTo>
                      <a:cubicBezTo>
                        <a:pt x="276760" y="246139"/>
                        <a:pt x="264329" y="262353"/>
                        <a:pt x="264329" y="262353"/>
                      </a:cubicBezTo>
                      <a:lnTo>
                        <a:pt x="238336" y="291740"/>
                      </a:lnTo>
                      <a:cubicBezTo>
                        <a:pt x="238336" y="291740"/>
                        <a:pt x="229295" y="286673"/>
                        <a:pt x="217994" y="286673"/>
                      </a:cubicBezTo>
                      <a:cubicBezTo>
                        <a:pt x="206692" y="286673"/>
                        <a:pt x="203302" y="281606"/>
                        <a:pt x="203302" y="281606"/>
                      </a:cubicBezTo>
                      <a:cubicBezTo>
                        <a:pt x="203302" y="281606"/>
                        <a:pt x="187480" y="280593"/>
                        <a:pt x="181830" y="284647"/>
                      </a:cubicBezTo>
                      <a:cubicBezTo>
                        <a:pt x="176179" y="288700"/>
                        <a:pt x="164878" y="280593"/>
                        <a:pt x="164878" y="280593"/>
                      </a:cubicBezTo>
                      <a:cubicBezTo>
                        <a:pt x="164878" y="280593"/>
                        <a:pt x="154707" y="279580"/>
                        <a:pt x="149057" y="271473"/>
                      </a:cubicBezTo>
                      <a:cubicBezTo>
                        <a:pt x="143406" y="263366"/>
                        <a:pt x="142275" y="275526"/>
                        <a:pt x="133235" y="267419"/>
                      </a:cubicBezTo>
                      <a:cubicBezTo>
                        <a:pt x="124194" y="259313"/>
                        <a:pt x="120804" y="267419"/>
                        <a:pt x="120804" y="257286"/>
                      </a:cubicBezTo>
                      <a:cubicBezTo>
                        <a:pt x="120804" y="247152"/>
                        <a:pt x="116283" y="241072"/>
                        <a:pt x="121933" y="233979"/>
                      </a:cubicBezTo>
                      <a:cubicBezTo>
                        <a:pt x="127584" y="226885"/>
                        <a:pt x="109502" y="229925"/>
                        <a:pt x="109502" y="223845"/>
                      </a:cubicBezTo>
                      <a:cubicBezTo>
                        <a:pt x="109502" y="217765"/>
                        <a:pt x="102721" y="218778"/>
                        <a:pt x="99331" y="212698"/>
                      </a:cubicBezTo>
                      <a:cubicBezTo>
                        <a:pt x="95941" y="206618"/>
                        <a:pt x="95941" y="196484"/>
                        <a:pt x="95941" y="196484"/>
                      </a:cubicBezTo>
                      <a:cubicBezTo>
                        <a:pt x="95941" y="196484"/>
                        <a:pt x="77859" y="190404"/>
                        <a:pt x="74468" y="182298"/>
                      </a:cubicBezTo>
                      <a:cubicBezTo>
                        <a:pt x="71078" y="174190"/>
                        <a:pt x="73338" y="186351"/>
                        <a:pt x="62037" y="183311"/>
                      </a:cubicBezTo>
                      <a:cubicBezTo>
                        <a:pt x="50736" y="180271"/>
                        <a:pt x="60907" y="174190"/>
                        <a:pt x="51866" y="172164"/>
                      </a:cubicBezTo>
                      <a:cubicBezTo>
                        <a:pt x="42825" y="170137"/>
                        <a:pt x="30394" y="147843"/>
                        <a:pt x="30394" y="147843"/>
                      </a:cubicBezTo>
                      <a:cubicBezTo>
                        <a:pt x="30394" y="147843"/>
                        <a:pt x="30394" y="131630"/>
                        <a:pt x="21353" y="131630"/>
                      </a:cubicBezTo>
                      <a:cubicBezTo>
                        <a:pt x="12312" y="131630"/>
                        <a:pt x="10052" y="110349"/>
                        <a:pt x="10052" y="110349"/>
                      </a:cubicBezTo>
                      <a:cubicBezTo>
                        <a:pt x="10052" y="110349"/>
                        <a:pt x="22483" y="114402"/>
                        <a:pt x="28134" y="111363"/>
                      </a:cubicBezTo>
                      <a:cubicBezTo>
                        <a:pt x="33784" y="108322"/>
                        <a:pt x="42825" y="115416"/>
                        <a:pt x="46215" y="110349"/>
                      </a:cubicBezTo>
                      <a:cubicBezTo>
                        <a:pt x="49606" y="105282"/>
                        <a:pt x="63167" y="110349"/>
                        <a:pt x="68818" y="110349"/>
                      </a:cubicBezTo>
                      <a:cubicBezTo>
                        <a:pt x="74468" y="110349"/>
                        <a:pt x="84640" y="106296"/>
                        <a:pt x="91420" y="102242"/>
                      </a:cubicBezTo>
                      <a:cubicBezTo>
                        <a:pt x="98201" y="98189"/>
                        <a:pt x="111763" y="101229"/>
                        <a:pt x="115153" y="96162"/>
                      </a:cubicBezTo>
                      <a:cubicBezTo>
                        <a:pt x="118543" y="91095"/>
                        <a:pt x="117413" y="66775"/>
                        <a:pt x="123064" y="65761"/>
                      </a:cubicBezTo>
                      <a:cubicBezTo>
                        <a:pt x="128715" y="64748"/>
                        <a:pt x="126454" y="57654"/>
                        <a:pt x="133235" y="55628"/>
                      </a:cubicBezTo>
                      <a:cubicBezTo>
                        <a:pt x="140016" y="53601"/>
                        <a:pt x="143406" y="50561"/>
                        <a:pt x="143406" y="44481"/>
                      </a:cubicBezTo>
                      <a:cubicBezTo>
                        <a:pt x="143406" y="38401"/>
                        <a:pt x="146796" y="34347"/>
                        <a:pt x="153577" y="33334"/>
                      </a:cubicBezTo>
                      <a:cubicBezTo>
                        <a:pt x="160358" y="32321"/>
                        <a:pt x="169399" y="23200"/>
                        <a:pt x="169399" y="23200"/>
                      </a:cubicBezTo>
                      <a:lnTo>
                        <a:pt x="203302"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55" name="Freeform: Shape 254">
                  <a:extLst>
                    <a:ext uri="{FF2B5EF4-FFF2-40B4-BE49-F238E27FC236}">
                      <a16:creationId xmlns:a16="http://schemas.microsoft.com/office/drawing/2014/main" id="{E31F9FB4-4040-40B9-9521-819B95C42A7B}"/>
                    </a:ext>
                  </a:extLst>
                </p:cNvPr>
                <p:cNvSpPr/>
                <p:nvPr/>
              </p:nvSpPr>
              <p:spPr>
                <a:xfrm>
                  <a:off x="6657255" y="4596072"/>
                  <a:ext cx="418144" cy="395209"/>
                </a:xfrm>
                <a:custGeom>
                  <a:avLst/>
                  <a:gdLst>
                    <a:gd name="connsiteX0" fmla="*/ 62037 w 418144"/>
                    <a:gd name="connsiteY0" fmla="*/ 377875 h 395209"/>
                    <a:gd name="connsiteX1" fmla="*/ 99331 w 418144"/>
                    <a:gd name="connsiteY1" fmla="*/ 373822 h 395209"/>
                    <a:gd name="connsiteX2" fmla="*/ 114022 w 418144"/>
                    <a:gd name="connsiteY2" fmla="*/ 377875 h 395209"/>
                    <a:gd name="connsiteX3" fmla="*/ 124194 w 418144"/>
                    <a:gd name="connsiteY3" fmla="*/ 385982 h 395209"/>
                    <a:gd name="connsiteX4" fmla="*/ 142275 w 418144"/>
                    <a:gd name="connsiteY4" fmla="*/ 386995 h 395209"/>
                    <a:gd name="connsiteX5" fmla="*/ 160358 w 418144"/>
                    <a:gd name="connsiteY5" fmla="*/ 385982 h 395209"/>
                    <a:gd name="connsiteX6" fmla="*/ 182960 w 418144"/>
                    <a:gd name="connsiteY6" fmla="*/ 385982 h 395209"/>
                    <a:gd name="connsiteX7" fmla="*/ 205563 w 418144"/>
                    <a:gd name="connsiteY7" fmla="*/ 377875 h 395209"/>
                    <a:gd name="connsiteX8" fmla="*/ 229295 w 418144"/>
                    <a:gd name="connsiteY8" fmla="*/ 371795 h 395209"/>
                    <a:gd name="connsiteX9" fmla="*/ 237206 w 418144"/>
                    <a:gd name="connsiteY9" fmla="*/ 341394 h 395209"/>
                    <a:gd name="connsiteX10" fmla="*/ 247377 w 418144"/>
                    <a:gd name="connsiteY10" fmla="*/ 331261 h 395209"/>
                    <a:gd name="connsiteX11" fmla="*/ 257548 w 418144"/>
                    <a:gd name="connsiteY11" fmla="*/ 320114 h 395209"/>
                    <a:gd name="connsiteX12" fmla="*/ 267719 w 418144"/>
                    <a:gd name="connsiteY12" fmla="*/ 308967 h 395209"/>
                    <a:gd name="connsiteX13" fmla="*/ 283540 w 418144"/>
                    <a:gd name="connsiteY13" fmla="*/ 298833 h 395209"/>
                    <a:gd name="connsiteX14" fmla="*/ 309534 w 418144"/>
                    <a:gd name="connsiteY14" fmla="*/ 288700 h 395209"/>
                    <a:gd name="connsiteX15" fmla="*/ 311793 w 418144"/>
                    <a:gd name="connsiteY15" fmla="*/ 285660 h 395209"/>
                    <a:gd name="connsiteX16" fmla="*/ 301623 w 418144"/>
                    <a:gd name="connsiteY16" fmla="*/ 267419 h 395209"/>
                    <a:gd name="connsiteX17" fmla="*/ 382991 w 418144"/>
                    <a:gd name="connsiteY17" fmla="*/ 244112 h 395209"/>
                    <a:gd name="connsiteX18" fmla="*/ 377341 w 418144"/>
                    <a:gd name="connsiteY18" fmla="*/ 223845 h 395209"/>
                    <a:gd name="connsiteX19" fmla="*/ 382991 w 418144"/>
                    <a:gd name="connsiteY19" fmla="*/ 203578 h 395209"/>
                    <a:gd name="connsiteX20" fmla="*/ 387512 w 418144"/>
                    <a:gd name="connsiteY20" fmla="*/ 177230 h 395209"/>
                    <a:gd name="connsiteX21" fmla="*/ 408984 w 418144"/>
                    <a:gd name="connsiteY21" fmla="*/ 157977 h 395209"/>
                    <a:gd name="connsiteX22" fmla="*/ 397683 w 418144"/>
                    <a:gd name="connsiteY22" fmla="*/ 148857 h 395209"/>
                    <a:gd name="connsiteX23" fmla="*/ 395423 w 418144"/>
                    <a:gd name="connsiteY23" fmla="*/ 125549 h 395209"/>
                    <a:gd name="connsiteX24" fmla="*/ 407854 w 418144"/>
                    <a:gd name="connsiteY24" fmla="*/ 111362 h 395209"/>
                    <a:gd name="connsiteX25" fmla="*/ 415765 w 418144"/>
                    <a:gd name="connsiteY25" fmla="*/ 93122 h 395209"/>
                    <a:gd name="connsiteX26" fmla="*/ 410114 w 418144"/>
                    <a:gd name="connsiteY26" fmla="*/ 68801 h 395209"/>
                    <a:gd name="connsiteX27" fmla="*/ 399943 w 418144"/>
                    <a:gd name="connsiteY27" fmla="*/ 54614 h 395209"/>
                    <a:gd name="connsiteX28" fmla="*/ 379601 w 418144"/>
                    <a:gd name="connsiteY28" fmla="*/ 47521 h 395209"/>
                    <a:gd name="connsiteX29" fmla="*/ 364909 w 418144"/>
                    <a:gd name="connsiteY29" fmla="*/ 38401 h 395209"/>
                    <a:gd name="connsiteX30" fmla="*/ 362649 w 418144"/>
                    <a:gd name="connsiteY30" fmla="*/ 21174 h 395209"/>
                    <a:gd name="connsiteX31" fmla="*/ 361519 w 418144"/>
                    <a:gd name="connsiteY31" fmla="*/ 21174 h 395209"/>
                    <a:gd name="connsiteX32" fmla="*/ 362649 w 418144"/>
                    <a:gd name="connsiteY32" fmla="*/ 25227 h 395209"/>
                    <a:gd name="connsiteX33" fmla="*/ 345697 w 418144"/>
                    <a:gd name="connsiteY33" fmla="*/ 25227 h 395209"/>
                    <a:gd name="connsiteX34" fmla="*/ 333266 w 418144"/>
                    <a:gd name="connsiteY34" fmla="*/ 25227 h 395209"/>
                    <a:gd name="connsiteX35" fmla="*/ 325355 w 418144"/>
                    <a:gd name="connsiteY35" fmla="*/ 27254 h 395209"/>
                    <a:gd name="connsiteX36" fmla="*/ 325355 w 418144"/>
                    <a:gd name="connsiteY36" fmla="*/ 25227 h 395209"/>
                    <a:gd name="connsiteX37" fmla="*/ 325355 w 418144"/>
                    <a:gd name="connsiteY37" fmla="*/ 11040 h 395209"/>
                    <a:gd name="connsiteX38" fmla="*/ 325355 w 418144"/>
                    <a:gd name="connsiteY38" fmla="*/ 9013 h 395209"/>
                    <a:gd name="connsiteX39" fmla="*/ 257548 w 418144"/>
                    <a:gd name="connsiteY39" fmla="*/ 26240 h 395209"/>
                    <a:gd name="connsiteX40" fmla="*/ 253028 w 418144"/>
                    <a:gd name="connsiteY40" fmla="*/ 29281 h 395209"/>
                    <a:gd name="connsiteX41" fmla="*/ 236076 w 418144"/>
                    <a:gd name="connsiteY41" fmla="*/ 47521 h 395209"/>
                    <a:gd name="connsiteX42" fmla="*/ 236076 w 418144"/>
                    <a:gd name="connsiteY42" fmla="*/ 52588 h 395209"/>
                    <a:gd name="connsiteX43" fmla="*/ 228165 w 418144"/>
                    <a:gd name="connsiteY43" fmla="*/ 52588 h 395209"/>
                    <a:gd name="connsiteX44" fmla="*/ 227034 w 418144"/>
                    <a:gd name="connsiteY44" fmla="*/ 49548 h 395209"/>
                    <a:gd name="connsiteX45" fmla="*/ 225905 w 418144"/>
                    <a:gd name="connsiteY45" fmla="*/ 67788 h 395209"/>
                    <a:gd name="connsiteX46" fmla="*/ 229295 w 418144"/>
                    <a:gd name="connsiteY46" fmla="*/ 79948 h 395209"/>
                    <a:gd name="connsiteX47" fmla="*/ 236076 w 418144"/>
                    <a:gd name="connsiteY47" fmla="*/ 101229 h 395209"/>
                    <a:gd name="connsiteX48" fmla="*/ 232685 w 418144"/>
                    <a:gd name="connsiteY48" fmla="*/ 117442 h 395209"/>
                    <a:gd name="connsiteX49" fmla="*/ 247377 w 418144"/>
                    <a:gd name="connsiteY49" fmla="*/ 134670 h 395209"/>
                    <a:gd name="connsiteX50" fmla="*/ 271109 w 418144"/>
                    <a:gd name="connsiteY50" fmla="*/ 148857 h 395209"/>
                    <a:gd name="connsiteX51" fmla="*/ 282411 w 418144"/>
                    <a:gd name="connsiteY51" fmla="*/ 154937 h 395209"/>
                    <a:gd name="connsiteX52" fmla="*/ 302753 w 418144"/>
                    <a:gd name="connsiteY52" fmla="*/ 150883 h 395209"/>
                    <a:gd name="connsiteX53" fmla="*/ 302753 w 418144"/>
                    <a:gd name="connsiteY53" fmla="*/ 189391 h 395209"/>
                    <a:gd name="connsiteX54" fmla="*/ 286931 w 418144"/>
                    <a:gd name="connsiteY54" fmla="*/ 185337 h 395209"/>
                    <a:gd name="connsiteX55" fmla="*/ 275630 w 418144"/>
                    <a:gd name="connsiteY55" fmla="*/ 190404 h 395209"/>
                    <a:gd name="connsiteX56" fmla="*/ 255287 w 418144"/>
                    <a:gd name="connsiteY56" fmla="*/ 187364 h 395209"/>
                    <a:gd name="connsiteX57" fmla="*/ 254158 w 418144"/>
                    <a:gd name="connsiteY57" fmla="*/ 167097 h 395209"/>
                    <a:gd name="connsiteX58" fmla="*/ 228165 w 418144"/>
                    <a:gd name="connsiteY58" fmla="*/ 155950 h 395209"/>
                    <a:gd name="connsiteX59" fmla="*/ 213474 w 418144"/>
                    <a:gd name="connsiteY59" fmla="*/ 140750 h 395209"/>
                    <a:gd name="connsiteX60" fmla="*/ 206692 w 418144"/>
                    <a:gd name="connsiteY60" fmla="*/ 129603 h 395209"/>
                    <a:gd name="connsiteX61" fmla="*/ 192001 w 418144"/>
                    <a:gd name="connsiteY61" fmla="*/ 132643 h 395209"/>
                    <a:gd name="connsiteX62" fmla="*/ 176179 w 418144"/>
                    <a:gd name="connsiteY62" fmla="*/ 140750 h 395209"/>
                    <a:gd name="connsiteX63" fmla="*/ 149057 w 418144"/>
                    <a:gd name="connsiteY63" fmla="*/ 140750 h 395209"/>
                    <a:gd name="connsiteX64" fmla="*/ 137755 w 418144"/>
                    <a:gd name="connsiteY64" fmla="*/ 134670 h 395209"/>
                    <a:gd name="connsiteX65" fmla="*/ 140016 w 418144"/>
                    <a:gd name="connsiteY65" fmla="*/ 123523 h 395209"/>
                    <a:gd name="connsiteX66" fmla="*/ 128715 w 418144"/>
                    <a:gd name="connsiteY66" fmla="*/ 118456 h 395209"/>
                    <a:gd name="connsiteX67" fmla="*/ 112893 w 418144"/>
                    <a:gd name="connsiteY67" fmla="*/ 119469 h 395209"/>
                    <a:gd name="connsiteX68" fmla="*/ 108372 w 418144"/>
                    <a:gd name="connsiteY68" fmla="*/ 100216 h 395209"/>
                    <a:gd name="connsiteX69" fmla="*/ 88030 w 418144"/>
                    <a:gd name="connsiteY69" fmla="*/ 104269 h 395209"/>
                    <a:gd name="connsiteX70" fmla="*/ 94811 w 418144"/>
                    <a:gd name="connsiteY70" fmla="*/ 128589 h 395209"/>
                    <a:gd name="connsiteX71" fmla="*/ 88030 w 418144"/>
                    <a:gd name="connsiteY71" fmla="*/ 147843 h 395209"/>
                    <a:gd name="connsiteX72" fmla="*/ 89160 w 418144"/>
                    <a:gd name="connsiteY72" fmla="*/ 163043 h 395209"/>
                    <a:gd name="connsiteX73" fmla="*/ 88030 w 418144"/>
                    <a:gd name="connsiteY73" fmla="*/ 174190 h 395209"/>
                    <a:gd name="connsiteX74" fmla="*/ 11182 w 418144"/>
                    <a:gd name="connsiteY74" fmla="*/ 174190 h 395209"/>
                    <a:gd name="connsiteX75" fmla="*/ 10052 w 418144"/>
                    <a:gd name="connsiteY75" fmla="*/ 317074 h 395209"/>
                    <a:gd name="connsiteX76" fmla="*/ 19093 w 418144"/>
                    <a:gd name="connsiteY76" fmla="*/ 333288 h 395209"/>
                    <a:gd name="connsiteX77" fmla="*/ 37174 w 418144"/>
                    <a:gd name="connsiteY77" fmla="*/ 356595 h 395209"/>
                    <a:gd name="connsiteX78" fmla="*/ 62037 w 418144"/>
                    <a:gd name="connsiteY78" fmla="*/ 377875 h 39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18144" h="395209">
                      <a:moveTo>
                        <a:pt x="62037" y="377875"/>
                      </a:moveTo>
                      <a:lnTo>
                        <a:pt x="99331" y="373822"/>
                      </a:lnTo>
                      <a:cubicBezTo>
                        <a:pt x="99331" y="373822"/>
                        <a:pt x="109502" y="370782"/>
                        <a:pt x="114022" y="377875"/>
                      </a:cubicBezTo>
                      <a:cubicBezTo>
                        <a:pt x="118543" y="384969"/>
                        <a:pt x="124194" y="385982"/>
                        <a:pt x="124194" y="385982"/>
                      </a:cubicBezTo>
                      <a:cubicBezTo>
                        <a:pt x="124194" y="385982"/>
                        <a:pt x="136625" y="390035"/>
                        <a:pt x="142275" y="386995"/>
                      </a:cubicBezTo>
                      <a:cubicBezTo>
                        <a:pt x="147926" y="383955"/>
                        <a:pt x="156968" y="391049"/>
                        <a:pt x="160358" y="385982"/>
                      </a:cubicBezTo>
                      <a:cubicBezTo>
                        <a:pt x="163748" y="380915"/>
                        <a:pt x="177310" y="385982"/>
                        <a:pt x="182960" y="385982"/>
                      </a:cubicBezTo>
                      <a:cubicBezTo>
                        <a:pt x="188611" y="385982"/>
                        <a:pt x="198781" y="381929"/>
                        <a:pt x="205563" y="377875"/>
                      </a:cubicBezTo>
                      <a:cubicBezTo>
                        <a:pt x="212343" y="373822"/>
                        <a:pt x="225905" y="376862"/>
                        <a:pt x="229295" y="371795"/>
                      </a:cubicBezTo>
                      <a:cubicBezTo>
                        <a:pt x="232685" y="366728"/>
                        <a:pt x="231555" y="342408"/>
                        <a:pt x="237206" y="341394"/>
                      </a:cubicBezTo>
                      <a:cubicBezTo>
                        <a:pt x="242856" y="340381"/>
                        <a:pt x="240596" y="333288"/>
                        <a:pt x="247377" y="331261"/>
                      </a:cubicBezTo>
                      <a:cubicBezTo>
                        <a:pt x="254158" y="329234"/>
                        <a:pt x="257548" y="326194"/>
                        <a:pt x="257548" y="320114"/>
                      </a:cubicBezTo>
                      <a:cubicBezTo>
                        <a:pt x="257548" y="314034"/>
                        <a:pt x="260938" y="309980"/>
                        <a:pt x="267719" y="308967"/>
                      </a:cubicBezTo>
                      <a:cubicBezTo>
                        <a:pt x="274500" y="307954"/>
                        <a:pt x="283540" y="298833"/>
                        <a:pt x="283540" y="298833"/>
                      </a:cubicBezTo>
                      <a:lnTo>
                        <a:pt x="309534" y="288700"/>
                      </a:lnTo>
                      <a:lnTo>
                        <a:pt x="311793" y="285660"/>
                      </a:lnTo>
                      <a:cubicBezTo>
                        <a:pt x="316314" y="279580"/>
                        <a:pt x="301623" y="267419"/>
                        <a:pt x="301623" y="267419"/>
                      </a:cubicBezTo>
                      <a:lnTo>
                        <a:pt x="382991" y="244112"/>
                      </a:lnTo>
                      <a:cubicBezTo>
                        <a:pt x="382991" y="244112"/>
                        <a:pt x="378471" y="229925"/>
                        <a:pt x="377341" y="223845"/>
                      </a:cubicBezTo>
                      <a:cubicBezTo>
                        <a:pt x="376210" y="217765"/>
                        <a:pt x="386382" y="210671"/>
                        <a:pt x="382991" y="203578"/>
                      </a:cubicBezTo>
                      <a:cubicBezTo>
                        <a:pt x="379601" y="196484"/>
                        <a:pt x="379601" y="182297"/>
                        <a:pt x="387512" y="177230"/>
                      </a:cubicBezTo>
                      <a:cubicBezTo>
                        <a:pt x="395423" y="172164"/>
                        <a:pt x="412374" y="168110"/>
                        <a:pt x="408984" y="157977"/>
                      </a:cubicBezTo>
                      <a:cubicBezTo>
                        <a:pt x="405594" y="147843"/>
                        <a:pt x="396552" y="157977"/>
                        <a:pt x="397683" y="148857"/>
                      </a:cubicBezTo>
                      <a:cubicBezTo>
                        <a:pt x="398813" y="139736"/>
                        <a:pt x="398813" y="132643"/>
                        <a:pt x="395423" y="125549"/>
                      </a:cubicBezTo>
                      <a:cubicBezTo>
                        <a:pt x="392032" y="118456"/>
                        <a:pt x="405594" y="117442"/>
                        <a:pt x="407854" y="111362"/>
                      </a:cubicBezTo>
                      <a:cubicBezTo>
                        <a:pt x="411244" y="105282"/>
                        <a:pt x="422546" y="98189"/>
                        <a:pt x="415765" y="93122"/>
                      </a:cubicBezTo>
                      <a:cubicBezTo>
                        <a:pt x="408984" y="88055"/>
                        <a:pt x="415765" y="72855"/>
                        <a:pt x="410114" y="68801"/>
                      </a:cubicBezTo>
                      <a:cubicBezTo>
                        <a:pt x="404463" y="64748"/>
                        <a:pt x="399943" y="54614"/>
                        <a:pt x="399943" y="54614"/>
                      </a:cubicBezTo>
                      <a:cubicBezTo>
                        <a:pt x="399943" y="54614"/>
                        <a:pt x="384121" y="52588"/>
                        <a:pt x="379601" y="47521"/>
                      </a:cubicBezTo>
                      <a:cubicBezTo>
                        <a:pt x="375080" y="42454"/>
                        <a:pt x="370560" y="38401"/>
                        <a:pt x="364909" y="38401"/>
                      </a:cubicBezTo>
                      <a:cubicBezTo>
                        <a:pt x="359259" y="38401"/>
                        <a:pt x="362649" y="21174"/>
                        <a:pt x="362649" y="21174"/>
                      </a:cubicBezTo>
                      <a:cubicBezTo>
                        <a:pt x="362649" y="21174"/>
                        <a:pt x="362649" y="21174"/>
                        <a:pt x="361519" y="21174"/>
                      </a:cubicBezTo>
                      <a:lnTo>
                        <a:pt x="362649" y="25227"/>
                      </a:lnTo>
                      <a:cubicBezTo>
                        <a:pt x="359259" y="25227"/>
                        <a:pt x="352478" y="25227"/>
                        <a:pt x="345697" y="25227"/>
                      </a:cubicBezTo>
                      <a:cubicBezTo>
                        <a:pt x="340046" y="25227"/>
                        <a:pt x="335526" y="25227"/>
                        <a:pt x="333266" y="25227"/>
                      </a:cubicBezTo>
                      <a:cubicBezTo>
                        <a:pt x="329876" y="26240"/>
                        <a:pt x="325355" y="27254"/>
                        <a:pt x="325355" y="27254"/>
                      </a:cubicBezTo>
                      <a:cubicBezTo>
                        <a:pt x="325355" y="26240"/>
                        <a:pt x="325355" y="25227"/>
                        <a:pt x="325355" y="25227"/>
                      </a:cubicBezTo>
                      <a:cubicBezTo>
                        <a:pt x="325355" y="25227"/>
                        <a:pt x="333266" y="11040"/>
                        <a:pt x="325355" y="11040"/>
                      </a:cubicBezTo>
                      <a:lnTo>
                        <a:pt x="325355" y="9013"/>
                      </a:lnTo>
                      <a:lnTo>
                        <a:pt x="257548" y="26240"/>
                      </a:lnTo>
                      <a:cubicBezTo>
                        <a:pt x="257548" y="26240"/>
                        <a:pt x="256418" y="27254"/>
                        <a:pt x="253028" y="29281"/>
                      </a:cubicBezTo>
                      <a:cubicBezTo>
                        <a:pt x="259808" y="33334"/>
                        <a:pt x="236076" y="47521"/>
                        <a:pt x="236076" y="47521"/>
                      </a:cubicBezTo>
                      <a:lnTo>
                        <a:pt x="236076" y="52588"/>
                      </a:lnTo>
                      <a:cubicBezTo>
                        <a:pt x="232685" y="53601"/>
                        <a:pt x="230425" y="50561"/>
                        <a:pt x="228165" y="52588"/>
                      </a:cubicBezTo>
                      <a:lnTo>
                        <a:pt x="227034" y="49548"/>
                      </a:lnTo>
                      <a:cubicBezTo>
                        <a:pt x="223644" y="55628"/>
                        <a:pt x="224775" y="63735"/>
                        <a:pt x="225905" y="67788"/>
                      </a:cubicBezTo>
                      <a:cubicBezTo>
                        <a:pt x="227034" y="72855"/>
                        <a:pt x="229295" y="70828"/>
                        <a:pt x="229295" y="79948"/>
                      </a:cubicBezTo>
                      <a:cubicBezTo>
                        <a:pt x="229295" y="89069"/>
                        <a:pt x="239466" y="95149"/>
                        <a:pt x="236076" y="101229"/>
                      </a:cubicBezTo>
                      <a:cubicBezTo>
                        <a:pt x="232685" y="107309"/>
                        <a:pt x="232685" y="112376"/>
                        <a:pt x="232685" y="117442"/>
                      </a:cubicBezTo>
                      <a:cubicBezTo>
                        <a:pt x="232685" y="122509"/>
                        <a:pt x="239466" y="128589"/>
                        <a:pt x="247377" y="134670"/>
                      </a:cubicBezTo>
                      <a:cubicBezTo>
                        <a:pt x="255287" y="140750"/>
                        <a:pt x="263198" y="137710"/>
                        <a:pt x="271109" y="148857"/>
                      </a:cubicBezTo>
                      <a:cubicBezTo>
                        <a:pt x="279020" y="160004"/>
                        <a:pt x="275630" y="154937"/>
                        <a:pt x="282411" y="154937"/>
                      </a:cubicBezTo>
                      <a:cubicBezTo>
                        <a:pt x="289191" y="154937"/>
                        <a:pt x="302753" y="150883"/>
                        <a:pt x="302753" y="150883"/>
                      </a:cubicBezTo>
                      <a:lnTo>
                        <a:pt x="302753" y="189391"/>
                      </a:lnTo>
                      <a:lnTo>
                        <a:pt x="286931" y="185337"/>
                      </a:lnTo>
                      <a:cubicBezTo>
                        <a:pt x="286931" y="185337"/>
                        <a:pt x="281281" y="186351"/>
                        <a:pt x="275630" y="190404"/>
                      </a:cubicBezTo>
                      <a:cubicBezTo>
                        <a:pt x="269980" y="194458"/>
                        <a:pt x="255287" y="195471"/>
                        <a:pt x="255287" y="187364"/>
                      </a:cubicBezTo>
                      <a:cubicBezTo>
                        <a:pt x="255287" y="179257"/>
                        <a:pt x="259808" y="174190"/>
                        <a:pt x="254158" y="167097"/>
                      </a:cubicBezTo>
                      <a:cubicBezTo>
                        <a:pt x="248507" y="160004"/>
                        <a:pt x="232685" y="164057"/>
                        <a:pt x="228165" y="155950"/>
                      </a:cubicBezTo>
                      <a:cubicBezTo>
                        <a:pt x="223644" y="147843"/>
                        <a:pt x="213474" y="146830"/>
                        <a:pt x="213474" y="140750"/>
                      </a:cubicBezTo>
                      <a:cubicBezTo>
                        <a:pt x="213474" y="134670"/>
                        <a:pt x="213474" y="129603"/>
                        <a:pt x="206692" y="129603"/>
                      </a:cubicBezTo>
                      <a:cubicBezTo>
                        <a:pt x="199912" y="129603"/>
                        <a:pt x="196522" y="124536"/>
                        <a:pt x="192001" y="132643"/>
                      </a:cubicBezTo>
                      <a:cubicBezTo>
                        <a:pt x="187480" y="140750"/>
                        <a:pt x="187480" y="140750"/>
                        <a:pt x="176179" y="140750"/>
                      </a:cubicBezTo>
                      <a:cubicBezTo>
                        <a:pt x="164878" y="140750"/>
                        <a:pt x="155837" y="140750"/>
                        <a:pt x="149057" y="140750"/>
                      </a:cubicBezTo>
                      <a:cubicBezTo>
                        <a:pt x="142275" y="140750"/>
                        <a:pt x="137755" y="134670"/>
                        <a:pt x="137755" y="134670"/>
                      </a:cubicBezTo>
                      <a:cubicBezTo>
                        <a:pt x="137755" y="134670"/>
                        <a:pt x="140016" y="131629"/>
                        <a:pt x="140016" y="123523"/>
                      </a:cubicBezTo>
                      <a:cubicBezTo>
                        <a:pt x="140016" y="115416"/>
                        <a:pt x="134365" y="112376"/>
                        <a:pt x="128715" y="118456"/>
                      </a:cubicBezTo>
                      <a:cubicBezTo>
                        <a:pt x="123064" y="124536"/>
                        <a:pt x="112893" y="126563"/>
                        <a:pt x="112893" y="119469"/>
                      </a:cubicBezTo>
                      <a:cubicBezTo>
                        <a:pt x="112893" y="112376"/>
                        <a:pt x="108372" y="100216"/>
                        <a:pt x="108372" y="100216"/>
                      </a:cubicBezTo>
                      <a:lnTo>
                        <a:pt x="88030" y="104269"/>
                      </a:lnTo>
                      <a:cubicBezTo>
                        <a:pt x="88030" y="104269"/>
                        <a:pt x="94811" y="120483"/>
                        <a:pt x="94811" y="128589"/>
                      </a:cubicBezTo>
                      <a:cubicBezTo>
                        <a:pt x="94811" y="136696"/>
                        <a:pt x="85769" y="141763"/>
                        <a:pt x="88030" y="147843"/>
                      </a:cubicBezTo>
                      <a:cubicBezTo>
                        <a:pt x="90290" y="153923"/>
                        <a:pt x="89160" y="156963"/>
                        <a:pt x="89160" y="163043"/>
                      </a:cubicBezTo>
                      <a:cubicBezTo>
                        <a:pt x="89160" y="169124"/>
                        <a:pt x="88030" y="174190"/>
                        <a:pt x="88030" y="174190"/>
                      </a:cubicBezTo>
                      <a:lnTo>
                        <a:pt x="11182" y="174190"/>
                      </a:lnTo>
                      <a:lnTo>
                        <a:pt x="10052" y="317074"/>
                      </a:lnTo>
                      <a:cubicBezTo>
                        <a:pt x="10052" y="317074"/>
                        <a:pt x="14572" y="318087"/>
                        <a:pt x="19093" y="333288"/>
                      </a:cubicBezTo>
                      <a:cubicBezTo>
                        <a:pt x="23613" y="348488"/>
                        <a:pt x="22483" y="343421"/>
                        <a:pt x="37174" y="356595"/>
                      </a:cubicBezTo>
                      <a:cubicBezTo>
                        <a:pt x="51866" y="369768"/>
                        <a:pt x="42825" y="378889"/>
                        <a:pt x="62037" y="37787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56" name="Freeform: Shape 255">
                  <a:extLst>
                    <a:ext uri="{FF2B5EF4-FFF2-40B4-BE49-F238E27FC236}">
                      <a16:creationId xmlns:a16="http://schemas.microsoft.com/office/drawing/2014/main" id="{8D256F1A-C4F3-49F7-A7C1-C4335ACE7CC5}"/>
                    </a:ext>
                  </a:extLst>
                </p:cNvPr>
                <p:cNvSpPr/>
                <p:nvPr/>
              </p:nvSpPr>
              <p:spPr>
                <a:xfrm>
                  <a:off x="6312470" y="4040752"/>
                  <a:ext cx="711975" cy="749884"/>
                </a:xfrm>
                <a:custGeom>
                  <a:avLst/>
                  <a:gdLst>
                    <a:gd name="connsiteX0" fmla="*/ 15801 w 711975"/>
                    <a:gd name="connsiteY0" fmla="*/ 426517 h 749884"/>
                    <a:gd name="connsiteX1" fmla="*/ 10150 w 711975"/>
                    <a:gd name="connsiteY1" fmla="*/ 443743 h 749884"/>
                    <a:gd name="connsiteX2" fmla="*/ 23711 w 711975"/>
                    <a:gd name="connsiteY2" fmla="*/ 455904 h 749884"/>
                    <a:gd name="connsiteX3" fmla="*/ 24842 w 711975"/>
                    <a:gd name="connsiteY3" fmla="*/ 468064 h 749884"/>
                    <a:gd name="connsiteX4" fmla="*/ 44054 w 711975"/>
                    <a:gd name="connsiteY4" fmla="*/ 458944 h 749884"/>
                    <a:gd name="connsiteX5" fmla="*/ 81348 w 711975"/>
                    <a:gd name="connsiteY5" fmla="*/ 448810 h 749884"/>
                    <a:gd name="connsiteX6" fmla="*/ 127682 w 711975"/>
                    <a:gd name="connsiteY6" fmla="*/ 451850 h 749884"/>
                    <a:gd name="connsiteX7" fmla="*/ 196620 w 711975"/>
                    <a:gd name="connsiteY7" fmla="*/ 450837 h 749884"/>
                    <a:gd name="connsiteX8" fmla="*/ 205661 w 711975"/>
                    <a:gd name="connsiteY8" fmla="*/ 472118 h 749884"/>
                    <a:gd name="connsiteX9" fmla="*/ 206791 w 711975"/>
                    <a:gd name="connsiteY9" fmla="*/ 491371 h 749884"/>
                    <a:gd name="connsiteX10" fmla="*/ 211311 w 711975"/>
                    <a:gd name="connsiteY10" fmla="*/ 516705 h 749884"/>
                    <a:gd name="connsiteX11" fmla="*/ 222613 w 711975"/>
                    <a:gd name="connsiteY11" fmla="*/ 532919 h 749884"/>
                    <a:gd name="connsiteX12" fmla="*/ 245215 w 711975"/>
                    <a:gd name="connsiteY12" fmla="*/ 537986 h 749884"/>
                    <a:gd name="connsiteX13" fmla="*/ 265557 w 711975"/>
                    <a:gd name="connsiteY13" fmla="*/ 529879 h 749884"/>
                    <a:gd name="connsiteX14" fmla="*/ 277988 w 711975"/>
                    <a:gd name="connsiteY14" fmla="*/ 524812 h 749884"/>
                    <a:gd name="connsiteX15" fmla="*/ 276858 w 711975"/>
                    <a:gd name="connsiteY15" fmla="*/ 500491 h 749884"/>
                    <a:gd name="connsiteX16" fmla="*/ 299461 w 711975"/>
                    <a:gd name="connsiteY16" fmla="*/ 499478 h 749884"/>
                    <a:gd name="connsiteX17" fmla="*/ 320933 w 711975"/>
                    <a:gd name="connsiteY17" fmla="*/ 502518 h 749884"/>
                    <a:gd name="connsiteX18" fmla="*/ 320933 w 711975"/>
                    <a:gd name="connsiteY18" fmla="*/ 511638 h 749884"/>
                    <a:gd name="connsiteX19" fmla="*/ 353706 w 711975"/>
                    <a:gd name="connsiteY19" fmla="*/ 519745 h 749884"/>
                    <a:gd name="connsiteX20" fmla="*/ 357096 w 711975"/>
                    <a:gd name="connsiteY20" fmla="*/ 541026 h 749884"/>
                    <a:gd name="connsiteX21" fmla="*/ 360487 w 711975"/>
                    <a:gd name="connsiteY21" fmla="*/ 561293 h 749884"/>
                    <a:gd name="connsiteX22" fmla="*/ 367268 w 711975"/>
                    <a:gd name="connsiteY22" fmla="*/ 581560 h 749884"/>
                    <a:gd name="connsiteX23" fmla="*/ 372918 w 711975"/>
                    <a:gd name="connsiteY23" fmla="*/ 600814 h 749884"/>
                    <a:gd name="connsiteX24" fmla="*/ 377439 w 711975"/>
                    <a:gd name="connsiteY24" fmla="*/ 620068 h 749884"/>
                    <a:gd name="connsiteX25" fmla="*/ 376309 w 711975"/>
                    <a:gd name="connsiteY25" fmla="*/ 638308 h 749884"/>
                    <a:gd name="connsiteX26" fmla="*/ 381959 w 711975"/>
                    <a:gd name="connsiteY26" fmla="*/ 659589 h 749884"/>
                    <a:gd name="connsiteX27" fmla="*/ 398911 w 711975"/>
                    <a:gd name="connsiteY27" fmla="*/ 660602 h 749884"/>
                    <a:gd name="connsiteX28" fmla="*/ 414733 w 711975"/>
                    <a:gd name="connsiteY28" fmla="*/ 657562 h 749884"/>
                    <a:gd name="connsiteX29" fmla="*/ 438465 w 711975"/>
                    <a:gd name="connsiteY29" fmla="*/ 657562 h 749884"/>
                    <a:gd name="connsiteX30" fmla="*/ 458807 w 711975"/>
                    <a:gd name="connsiteY30" fmla="*/ 653508 h 749884"/>
                    <a:gd name="connsiteX31" fmla="*/ 463328 w 711975"/>
                    <a:gd name="connsiteY31" fmla="*/ 672762 h 749884"/>
                    <a:gd name="connsiteX32" fmla="*/ 479150 w 711975"/>
                    <a:gd name="connsiteY32" fmla="*/ 671749 h 749884"/>
                    <a:gd name="connsiteX33" fmla="*/ 490451 w 711975"/>
                    <a:gd name="connsiteY33" fmla="*/ 676816 h 749884"/>
                    <a:gd name="connsiteX34" fmla="*/ 488191 w 711975"/>
                    <a:gd name="connsiteY34" fmla="*/ 687963 h 749884"/>
                    <a:gd name="connsiteX35" fmla="*/ 499492 w 711975"/>
                    <a:gd name="connsiteY35" fmla="*/ 694043 h 749884"/>
                    <a:gd name="connsiteX36" fmla="*/ 526614 w 711975"/>
                    <a:gd name="connsiteY36" fmla="*/ 694043 h 749884"/>
                    <a:gd name="connsiteX37" fmla="*/ 542436 w 711975"/>
                    <a:gd name="connsiteY37" fmla="*/ 685936 h 749884"/>
                    <a:gd name="connsiteX38" fmla="*/ 557128 w 711975"/>
                    <a:gd name="connsiteY38" fmla="*/ 682896 h 749884"/>
                    <a:gd name="connsiteX39" fmla="*/ 563909 w 711975"/>
                    <a:gd name="connsiteY39" fmla="*/ 694043 h 749884"/>
                    <a:gd name="connsiteX40" fmla="*/ 578600 w 711975"/>
                    <a:gd name="connsiteY40" fmla="*/ 709243 h 749884"/>
                    <a:gd name="connsiteX41" fmla="*/ 604593 w 711975"/>
                    <a:gd name="connsiteY41" fmla="*/ 720390 h 749884"/>
                    <a:gd name="connsiteX42" fmla="*/ 605723 w 711975"/>
                    <a:gd name="connsiteY42" fmla="*/ 740657 h 749884"/>
                    <a:gd name="connsiteX43" fmla="*/ 626065 w 711975"/>
                    <a:gd name="connsiteY43" fmla="*/ 743697 h 749884"/>
                    <a:gd name="connsiteX44" fmla="*/ 637367 w 711975"/>
                    <a:gd name="connsiteY44" fmla="*/ 738630 h 749884"/>
                    <a:gd name="connsiteX45" fmla="*/ 653188 w 711975"/>
                    <a:gd name="connsiteY45" fmla="*/ 742684 h 749884"/>
                    <a:gd name="connsiteX46" fmla="*/ 653188 w 711975"/>
                    <a:gd name="connsiteY46" fmla="*/ 704176 h 749884"/>
                    <a:gd name="connsiteX47" fmla="*/ 632846 w 711975"/>
                    <a:gd name="connsiteY47" fmla="*/ 708230 h 749884"/>
                    <a:gd name="connsiteX48" fmla="*/ 621545 w 711975"/>
                    <a:gd name="connsiteY48" fmla="*/ 702149 h 749884"/>
                    <a:gd name="connsiteX49" fmla="*/ 597813 w 711975"/>
                    <a:gd name="connsiteY49" fmla="*/ 687963 h 749884"/>
                    <a:gd name="connsiteX50" fmla="*/ 583120 w 711975"/>
                    <a:gd name="connsiteY50" fmla="*/ 670736 h 749884"/>
                    <a:gd name="connsiteX51" fmla="*/ 586511 w 711975"/>
                    <a:gd name="connsiteY51" fmla="*/ 654522 h 749884"/>
                    <a:gd name="connsiteX52" fmla="*/ 579730 w 711975"/>
                    <a:gd name="connsiteY52" fmla="*/ 633241 h 749884"/>
                    <a:gd name="connsiteX53" fmla="*/ 576340 w 711975"/>
                    <a:gd name="connsiteY53" fmla="*/ 621081 h 749884"/>
                    <a:gd name="connsiteX54" fmla="*/ 577470 w 711975"/>
                    <a:gd name="connsiteY54" fmla="*/ 602841 h 749884"/>
                    <a:gd name="connsiteX55" fmla="*/ 575210 w 711975"/>
                    <a:gd name="connsiteY55" fmla="*/ 590680 h 749884"/>
                    <a:gd name="connsiteX56" fmla="*/ 596682 w 711975"/>
                    <a:gd name="connsiteY56" fmla="*/ 580547 h 749884"/>
                    <a:gd name="connsiteX57" fmla="*/ 602333 w 711975"/>
                    <a:gd name="connsiteY57" fmla="*/ 581560 h 749884"/>
                    <a:gd name="connsiteX58" fmla="*/ 606853 w 711975"/>
                    <a:gd name="connsiteY58" fmla="*/ 578520 h 749884"/>
                    <a:gd name="connsiteX59" fmla="*/ 674661 w 711975"/>
                    <a:gd name="connsiteY59" fmla="*/ 561293 h 749884"/>
                    <a:gd name="connsiteX60" fmla="*/ 672400 w 711975"/>
                    <a:gd name="connsiteY60" fmla="*/ 546093 h 749884"/>
                    <a:gd name="connsiteX61" fmla="*/ 664489 w 711975"/>
                    <a:gd name="connsiteY61" fmla="*/ 535959 h 749884"/>
                    <a:gd name="connsiteX62" fmla="*/ 664489 w 711975"/>
                    <a:gd name="connsiteY62" fmla="*/ 528866 h 749884"/>
                    <a:gd name="connsiteX63" fmla="*/ 650928 w 711975"/>
                    <a:gd name="connsiteY63" fmla="*/ 518732 h 749884"/>
                    <a:gd name="connsiteX64" fmla="*/ 648668 w 711975"/>
                    <a:gd name="connsiteY64" fmla="*/ 513665 h 749884"/>
                    <a:gd name="connsiteX65" fmla="*/ 635106 w 711975"/>
                    <a:gd name="connsiteY65" fmla="*/ 506572 h 749884"/>
                    <a:gd name="connsiteX66" fmla="*/ 619284 w 711975"/>
                    <a:gd name="connsiteY66" fmla="*/ 457931 h 749884"/>
                    <a:gd name="connsiteX67" fmla="*/ 624935 w 711975"/>
                    <a:gd name="connsiteY67" fmla="*/ 438677 h 749884"/>
                    <a:gd name="connsiteX68" fmla="*/ 617024 w 711975"/>
                    <a:gd name="connsiteY68" fmla="*/ 426517 h 749884"/>
                    <a:gd name="connsiteX69" fmla="*/ 619284 w 711975"/>
                    <a:gd name="connsiteY69" fmla="*/ 407263 h 749884"/>
                    <a:gd name="connsiteX70" fmla="*/ 611373 w 711975"/>
                    <a:gd name="connsiteY70" fmla="*/ 400169 h 749884"/>
                    <a:gd name="connsiteX71" fmla="*/ 617024 w 711975"/>
                    <a:gd name="connsiteY71" fmla="*/ 370782 h 749884"/>
                    <a:gd name="connsiteX72" fmla="*/ 621545 w 711975"/>
                    <a:gd name="connsiteY72" fmla="*/ 368755 h 749884"/>
                    <a:gd name="connsiteX73" fmla="*/ 617024 w 711975"/>
                    <a:gd name="connsiteY73" fmla="*/ 354568 h 749884"/>
                    <a:gd name="connsiteX74" fmla="*/ 600072 w 711975"/>
                    <a:gd name="connsiteY74" fmla="*/ 345448 h 749884"/>
                    <a:gd name="connsiteX75" fmla="*/ 604593 w 711975"/>
                    <a:gd name="connsiteY75" fmla="*/ 334301 h 749884"/>
                    <a:gd name="connsiteX76" fmla="*/ 609114 w 711975"/>
                    <a:gd name="connsiteY76" fmla="*/ 332274 h 749884"/>
                    <a:gd name="connsiteX77" fmla="*/ 604593 w 711975"/>
                    <a:gd name="connsiteY77" fmla="*/ 333288 h 749884"/>
                    <a:gd name="connsiteX78" fmla="*/ 604593 w 711975"/>
                    <a:gd name="connsiteY78" fmla="*/ 303900 h 749884"/>
                    <a:gd name="connsiteX79" fmla="*/ 610244 w 711975"/>
                    <a:gd name="connsiteY79" fmla="*/ 301873 h 749884"/>
                    <a:gd name="connsiteX80" fmla="*/ 619284 w 711975"/>
                    <a:gd name="connsiteY80" fmla="*/ 307954 h 749884"/>
                    <a:gd name="connsiteX81" fmla="*/ 620415 w 711975"/>
                    <a:gd name="connsiteY81" fmla="*/ 300860 h 749884"/>
                    <a:gd name="connsiteX82" fmla="*/ 619284 w 711975"/>
                    <a:gd name="connsiteY82" fmla="*/ 279580 h 749884"/>
                    <a:gd name="connsiteX83" fmla="*/ 621545 w 711975"/>
                    <a:gd name="connsiteY83" fmla="*/ 276540 h 749884"/>
                    <a:gd name="connsiteX84" fmla="*/ 618155 w 711975"/>
                    <a:gd name="connsiteY84" fmla="*/ 278566 h 749884"/>
                    <a:gd name="connsiteX85" fmla="*/ 612504 w 711975"/>
                    <a:gd name="connsiteY85" fmla="*/ 268433 h 749884"/>
                    <a:gd name="connsiteX86" fmla="*/ 620415 w 711975"/>
                    <a:gd name="connsiteY86" fmla="*/ 266406 h 749884"/>
                    <a:gd name="connsiteX87" fmla="*/ 622675 w 711975"/>
                    <a:gd name="connsiteY87" fmla="*/ 254246 h 749884"/>
                    <a:gd name="connsiteX88" fmla="*/ 628325 w 711975"/>
                    <a:gd name="connsiteY88" fmla="*/ 252219 h 749884"/>
                    <a:gd name="connsiteX89" fmla="*/ 630586 w 711975"/>
                    <a:gd name="connsiteY89" fmla="*/ 252219 h 749884"/>
                    <a:gd name="connsiteX90" fmla="*/ 637367 w 711975"/>
                    <a:gd name="connsiteY90" fmla="*/ 226885 h 749884"/>
                    <a:gd name="connsiteX91" fmla="*/ 647537 w 711975"/>
                    <a:gd name="connsiteY91" fmla="*/ 208645 h 749884"/>
                    <a:gd name="connsiteX92" fmla="*/ 663359 w 711975"/>
                    <a:gd name="connsiteY92" fmla="*/ 200538 h 749884"/>
                    <a:gd name="connsiteX93" fmla="*/ 671270 w 711975"/>
                    <a:gd name="connsiteY93" fmla="*/ 193444 h 749884"/>
                    <a:gd name="connsiteX94" fmla="*/ 682571 w 711975"/>
                    <a:gd name="connsiteY94" fmla="*/ 181284 h 749884"/>
                    <a:gd name="connsiteX95" fmla="*/ 689352 w 711975"/>
                    <a:gd name="connsiteY95" fmla="*/ 174191 h 749884"/>
                    <a:gd name="connsiteX96" fmla="*/ 697263 w 711975"/>
                    <a:gd name="connsiteY96" fmla="*/ 164057 h 749884"/>
                    <a:gd name="connsiteX97" fmla="*/ 691612 w 711975"/>
                    <a:gd name="connsiteY97" fmla="*/ 154937 h 749884"/>
                    <a:gd name="connsiteX98" fmla="*/ 691612 w 711975"/>
                    <a:gd name="connsiteY98" fmla="*/ 133657 h 749884"/>
                    <a:gd name="connsiteX99" fmla="*/ 696132 w 711975"/>
                    <a:gd name="connsiteY99" fmla="*/ 119469 h 749884"/>
                    <a:gd name="connsiteX100" fmla="*/ 708564 w 711975"/>
                    <a:gd name="connsiteY100" fmla="*/ 99202 h 749884"/>
                    <a:gd name="connsiteX101" fmla="*/ 707434 w 711975"/>
                    <a:gd name="connsiteY101" fmla="*/ 85015 h 749884"/>
                    <a:gd name="connsiteX102" fmla="*/ 688222 w 711975"/>
                    <a:gd name="connsiteY102" fmla="*/ 74882 h 749884"/>
                    <a:gd name="connsiteX103" fmla="*/ 675790 w 711975"/>
                    <a:gd name="connsiteY103" fmla="*/ 74882 h 749884"/>
                    <a:gd name="connsiteX104" fmla="*/ 653188 w 711975"/>
                    <a:gd name="connsiteY104" fmla="*/ 63735 h 749884"/>
                    <a:gd name="connsiteX105" fmla="*/ 638497 w 711975"/>
                    <a:gd name="connsiteY105" fmla="*/ 43468 h 749884"/>
                    <a:gd name="connsiteX106" fmla="*/ 620415 w 711975"/>
                    <a:gd name="connsiteY106" fmla="*/ 38401 h 749884"/>
                    <a:gd name="connsiteX107" fmla="*/ 605723 w 711975"/>
                    <a:gd name="connsiteY107" fmla="*/ 43468 h 749884"/>
                    <a:gd name="connsiteX108" fmla="*/ 584251 w 711975"/>
                    <a:gd name="connsiteY108" fmla="*/ 35361 h 749884"/>
                    <a:gd name="connsiteX109" fmla="*/ 569560 w 711975"/>
                    <a:gd name="connsiteY109" fmla="*/ 43468 h 749884"/>
                    <a:gd name="connsiteX110" fmla="*/ 560518 w 711975"/>
                    <a:gd name="connsiteY110" fmla="*/ 28267 h 749884"/>
                    <a:gd name="connsiteX111" fmla="*/ 549217 w 711975"/>
                    <a:gd name="connsiteY111" fmla="*/ 13067 h 749884"/>
                    <a:gd name="connsiteX112" fmla="*/ 528875 w 711975"/>
                    <a:gd name="connsiteY112" fmla="*/ 14080 h 749884"/>
                    <a:gd name="connsiteX113" fmla="*/ 517574 w 711975"/>
                    <a:gd name="connsiteY113" fmla="*/ 9013 h 749884"/>
                    <a:gd name="connsiteX114" fmla="*/ 489321 w 711975"/>
                    <a:gd name="connsiteY114" fmla="*/ 9013 h 749884"/>
                    <a:gd name="connsiteX115" fmla="*/ 472369 w 711975"/>
                    <a:gd name="connsiteY115" fmla="*/ 20160 h 749884"/>
                    <a:gd name="connsiteX116" fmla="*/ 457677 w 711975"/>
                    <a:gd name="connsiteY116" fmla="*/ 17120 h 749884"/>
                    <a:gd name="connsiteX117" fmla="*/ 450897 w 711975"/>
                    <a:gd name="connsiteY117" fmla="*/ 28267 h 749884"/>
                    <a:gd name="connsiteX118" fmla="*/ 430554 w 711975"/>
                    <a:gd name="connsiteY118" fmla="*/ 32321 h 749884"/>
                    <a:gd name="connsiteX119" fmla="*/ 407952 w 711975"/>
                    <a:gd name="connsiteY119" fmla="*/ 24214 h 749884"/>
                    <a:gd name="connsiteX120" fmla="*/ 395521 w 711975"/>
                    <a:gd name="connsiteY120" fmla="*/ 45494 h 749884"/>
                    <a:gd name="connsiteX121" fmla="*/ 374048 w 711975"/>
                    <a:gd name="connsiteY121" fmla="*/ 41441 h 749884"/>
                    <a:gd name="connsiteX122" fmla="*/ 351446 w 711975"/>
                    <a:gd name="connsiteY122" fmla="*/ 37388 h 749884"/>
                    <a:gd name="connsiteX123" fmla="*/ 319803 w 711975"/>
                    <a:gd name="connsiteY123" fmla="*/ 33334 h 749884"/>
                    <a:gd name="connsiteX124" fmla="*/ 297200 w 711975"/>
                    <a:gd name="connsiteY124" fmla="*/ 15094 h 749884"/>
                    <a:gd name="connsiteX125" fmla="*/ 270078 w 711975"/>
                    <a:gd name="connsiteY125" fmla="*/ 14080 h 749884"/>
                    <a:gd name="connsiteX126" fmla="*/ 255386 w 711975"/>
                    <a:gd name="connsiteY126" fmla="*/ 32321 h 749884"/>
                    <a:gd name="connsiteX127" fmla="*/ 237304 w 711975"/>
                    <a:gd name="connsiteY127" fmla="*/ 48534 h 749884"/>
                    <a:gd name="connsiteX128" fmla="*/ 233914 w 711975"/>
                    <a:gd name="connsiteY128" fmla="*/ 79948 h 749884"/>
                    <a:gd name="connsiteX129" fmla="*/ 232783 w 711975"/>
                    <a:gd name="connsiteY129" fmla="*/ 99202 h 749884"/>
                    <a:gd name="connsiteX130" fmla="*/ 228263 w 711975"/>
                    <a:gd name="connsiteY130" fmla="*/ 114402 h 749884"/>
                    <a:gd name="connsiteX131" fmla="*/ 219222 w 711975"/>
                    <a:gd name="connsiteY131" fmla="*/ 123523 h 749884"/>
                    <a:gd name="connsiteX132" fmla="*/ 214702 w 711975"/>
                    <a:gd name="connsiteY132" fmla="*/ 136696 h 749884"/>
                    <a:gd name="connsiteX133" fmla="*/ 213572 w 711975"/>
                    <a:gd name="connsiteY133" fmla="*/ 149870 h 749884"/>
                    <a:gd name="connsiteX134" fmla="*/ 210181 w 711975"/>
                    <a:gd name="connsiteY134" fmla="*/ 165070 h 749884"/>
                    <a:gd name="connsiteX135" fmla="*/ 211311 w 711975"/>
                    <a:gd name="connsiteY135" fmla="*/ 176217 h 749884"/>
                    <a:gd name="connsiteX136" fmla="*/ 212441 w 711975"/>
                    <a:gd name="connsiteY136" fmla="*/ 194458 h 749884"/>
                    <a:gd name="connsiteX137" fmla="*/ 212441 w 711975"/>
                    <a:gd name="connsiteY137" fmla="*/ 210671 h 749884"/>
                    <a:gd name="connsiteX138" fmla="*/ 206791 w 711975"/>
                    <a:gd name="connsiteY138" fmla="*/ 226885 h 749884"/>
                    <a:gd name="connsiteX139" fmla="*/ 195489 w 711975"/>
                    <a:gd name="connsiteY139" fmla="*/ 241072 h 749884"/>
                    <a:gd name="connsiteX140" fmla="*/ 194360 w 711975"/>
                    <a:gd name="connsiteY140" fmla="*/ 254246 h 749884"/>
                    <a:gd name="connsiteX141" fmla="*/ 189839 w 711975"/>
                    <a:gd name="connsiteY141" fmla="*/ 270460 h 749884"/>
                    <a:gd name="connsiteX142" fmla="*/ 190969 w 711975"/>
                    <a:gd name="connsiteY142" fmla="*/ 267419 h 749884"/>
                    <a:gd name="connsiteX143" fmla="*/ 180798 w 711975"/>
                    <a:gd name="connsiteY143" fmla="*/ 277553 h 749884"/>
                    <a:gd name="connsiteX144" fmla="*/ 176277 w 711975"/>
                    <a:gd name="connsiteY144" fmla="*/ 291740 h 749884"/>
                    <a:gd name="connsiteX145" fmla="*/ 172887 w 711975"/>
                    <a:gd name="connsiteY145" fmla="*/ 303900 h 749884"/>
                    <a:gd name="connsiteX146" fmla="*/ 169497 w 711975"/>
                    <a:gd name="connsiteY146" fmla="*/ 315047 h 749884"/>
                    <a:gd name="connsiteX147" fmla="*/ 170627 w 711975"/>
                    <a:gd name="connsiteY147" fmla="*/ 328221 h 749884"/>
                    <a:gd name="connsiteX148" fmla="*/ 169497 w 711975"/>
                    <a:gd name="connsiteY148" fmla="*/ 338354 h 749884"/>
                    <a:gd name="connsiteX149" fmla="*/ 164976 w 711975"/>
                    <a:gd name="connsiteY149" fmla="*/ 348488 h 749884"/>
                    <a:gd name="connsiteX150" fmla="*/ 162716 w 711975"/>
                    <a:gd name="connsiteY150" fmla="*/ 360648 h 749884"/>
                    <a:gd name="connsiteX151" fmla="*/ 153675 w 711975"/>
                    <a:gd name="connsiteY151" fmla="*/ 373822 h 749884"/>
                    <a:gd name="connsiteX152" fmla="*/ 149155 w 711975"/>
                    <a:gd name="connsiteY152" fmla="*/ 385982 h 749884"/>
                    <a:gd name="connsiteX153" fmla="*/ 134463 w 711975"/>
                    <a:gd name="connsiteY153" fmla="*/ 399156 h 749884"/>
                    <a:gd name="connsiteX154" fmla="*/ 115251 w 711975"/>
                    <a:gd name="connsiteY154" fmla="*/ 404223 h 749884"/>
                    <a:gd name="connsiteX155" fmla="*/ 101690 w 711975"/>
                    <a:gd name="connsiteY155" fmla="*/ 408276 h 749884"/>
                    <a:gd name="connsiteX156" fmla="*/ 98299 w 711975"/>
                    <a:gd name="connsiteY156" fmla="*/ 399156 h 749884"/>
                    <a:gd name="connsiteX157" fmla="*/ 99429 w 711975"/>
                    <a:gd name="connsiteY157" fmla="*/ 377875 h 749884"/>
                    <a:gd name="connsiteX158" fmla="*/ 82478 w 711975"/>
                    <a:gd name="connsiteY158" fmla="*/ 381929 h 749884"/>
                    <a:gd name="connsiteX159" fmla="*/ 70046 w 711975"/>
                    <a:gd name="connsiteY159" fmla="*/ 378889 h 749884"/>
                    <a:gd name="connsiteX160" fmla="*/ 66656 w 711975"/>
                    <a:gd name="connsiteY160" fmla="*/ 394089 h 749884"/>
                    <a:gd name="connsiteX161" fmla="*/ 44054 w 711975"/>
                    <a:gd name="connsiteY161" fmla="*/ 394089 h 749884"/>
                    <a:gd name="connsiteX162" fmla="*/ 33883 w 711975"/>
                    <a:gd name="connsiteY162" fmla="*/ 395102 h 749884"/>
                    <a:gd name="connsiteX163" fmla="*/ 22581 w 711975"/>
                    <a:gd name="connsiteY163" fmla="*/ 411316 h 749884"/>
                    <a:gd name="connsiteX164" fmla="*/ 21451 w 711975"/>
                    <a:gd name="connsiteY164" fmla="*/ 421450 h 749884"/>
                    <a:gd name="connsiteX165" fmla="*/ 15801 w 711975"/>
                    <a:gd name="connsiteY165" fmla="*/ 426517 h 74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711975" h="749884">
                      <a:moveTo>
                        <a:pt x="15801" y="426517"/>
                      </a:moveTo>
                      <a:cubicBezTo>
                        <a:pt x="18061" y="435637"/>
                        <a:pt x="9020" y="433610"/>
                        <a:pt x="10150" y="443743"/>
                      </a:cubicBezTo>
                      <a:cubicBezTo>
                        <a:pt x="11280" y="448810"/>
                        <a:pt x="21451" y="451850"/>
                        <a:pt x="23711" y="455904"/>
                      </a:cubicBezTo>
                      <a:cubicBezTo>
                        <a:pt x="23711" y="456917"/>
                        <a:pt x="23711" y="461984"/>
                        <a:pt x="24842" y="468064"/>
                      </a:cubicBezTo>
                      <a:cubicBezTo>
                        <a:pt x="24842" y="468064"/>
                        <a:pt x="37273" y="465024"/>
                        <a:pt x="44054" y="458944"/>
                      </a:cubicBezTo>
                      <a:cubicBezTo>
                        <a:pt x="50834" y="452864"/>
                        <a:pt x="64396" y="445770"/>
                        <a:pt x="81348" y="448810"/>
                      </a:cubicBezTo>
                      <a:cubicBezTo>
                        <a:pt x="98299" y="451850"/>
                        <a:pt x="127682" y="451850"/>
                        <a:pt x="127682" y="451850"/>
                      </a:cubicBezTo>
                      <a:lnTo>
                        <a:pt x="196620" y="450837"/>
                      </a:lnTo>
                      <a:cubicBezTo>
                        <a:pt x="196620" y="450837"/>
                        <a:pt x="202271" y="466037"/>
                        <a:pt x="205661" y="472118"/>
                      </a:cubicBezTo>
                      <a:cubicBezTo>
                        <a:pt x="209051" y="478198"/>
                        <a:pt x="202271" y="482251"/>
                        <a:pt x="206791" y="491371"/>
                      </a:cubicBezTo>
                      <a:cubicBezTo>
                        <a:pt x="211311" y="500491"/>
                        <a:pt x="207921" y="504545"/>
                        <a:pt x="211311" y="516705"/>
                      </a:cubicBezTo>
                      <a:cubicBezTo>
                        <a:pt x="214702" y="528866"/>
                        <a:pt x="215832" y="525825"/>
                        <a:pt x="222613" y="532919"/>
                      </a:cubicBezTo>
                      <a:cubicBezTo>
                        <a:pt x="229393" y="540012"/>
                        <a:pt x="235044" y="537986"/>
                        <a:pt x="245215" y="537986"/>
                      </a:cubicBezTo>
                      <a:cubicBezTo>
                        <a:pt x="255386" y="537986"/>
                        <a:pt x="259906" y="524812"/>
                        <a:pt x="265557" y="529879"/>
                      </a:cubicBezTo>
                      <a:cubicBezTo>
                        <a:pt x="271208" y="534946"/>
                        <a:pt x="281379" y="529879"/>
                        <a:pt x="277988" y="524812"/>
                      </a:cubicBezTo>
                      <a:cubicBezTo>
                        <a:pt x="274598" y="519745"/>
                        <a:pt x="271208" y="506572"/>
                        <a:pt x="276858" y="500491"/>
                      </a:cubicBezTo>
                      <a:cubicBezTo>
                        <a:pt x="282509" y="494411"/>
                        <a:pt x="285899" y="497452"/>
                        <a:pt x="299461" y="499478"/>
                      </a:cubicBezTo>
                      <a:cubicBezTo>
                        <a:pt x="313022" y="501505"/>
                        <a:pt x="320933" y="493398"/>
                        <a:pt x="320933" y="502518"/>
                      </a:cubicBezTo>
                      <a:cubicBezTo>
                        <a:pt x="320933" y="511638"/>
                        <a:pt x="320933" y="511638"/>
                        <a:pt x="320933" y="511638"/>
                      </a:cubicBezTo>
                      <a:cubicBezTo>
                        <a:pt x="320933" y="511638"/>
                        <a:pt x="349186" y="505558"/>
                        <a:pt x="353706" y="519745"/>
                      </a:cubicBezTo>
                      <a:cubicBezTo>
                        <a:pt x="355967" y="527852"/>
                        <a:pt x="348056" y="538999"/>
                        <a:pt x="357096" y="541026"/>
                      </a:cubicBezTo>
                      <a:cubicBezTo>
                        <a:pt x="366138" y="543053"/>
                        <a:pt x="358227" y="551159"/>
                        <a:pt x="360487" y="561293"/>
                      </a:cubicBezTo>
                      <a:cubicBezTo>
                        <a:pt x="362747" y="571426"/>
                        <a:pt x="361617" y="572440"/>
                        <a:pt x="367268" y="581560"/>
                      </a:cubicBezTo>
                      <a:cubicBezTo>
                        <a:pt x="372918" y="590680"/>
                        <a:pt x="363878" y="595747"/>
                        <a:pt x="372918" y="600814"/>
                      </a:cubicBezTo>
                      <a:cubicBezTo>
                        <a:pt x="381959" y="605881"/>
                        <a:pt x="379699" y="613988"/>
                        <a:pt x="377439" y="620068"/>
                      </a:cubicBezTo>
                      <a:cubicBezTo>
                        <a:pt x="375179" y="626148"/>
                        <a:pt x="372918" y="628175"/>
                        <a:pt x="376309" y="638308"/>
                      </a:cubicBezTo>
                      <a:cubicBezTo>
                        <a:pt x="379699" y="648442"/>
                        <a:pt x="375179" y="653508"/>
                        <a:pt x="381959" y="659589"/>
                      </a:cubicBezTo>
                      <a:cubicBezTo>
                        <a:pt x="388740" y="665669"/>
                        <a:pt x="394391" y="667695"/>
                        <a:pt x="398911" y="660602"/>
                      </a:cubicBezTo>
                      <a:cubicBezTo>
                        <a:pt x="403432" y="653508"/>
                        <a:pt x="409082" y="656548"/>
                        <a:pt x="414733" y="657562"/>
                      </a:cubicBezTo>
                      <a:cubicBezTo>
                        <a:pt x="420384" y="658575"/>
                        <a:pt x="438465" y="657562"/>
                        <a:pt x="438465" y="657562"/>
                      </a:cubicBezTo>
                      <a:lnTo>
                        <a:pt x="458807" y="653508"/>
                      </a:lnTo>
                      <a:cubicBezTo>
                        <a:pt x="458807" y="653508"/>
                        <a:pt x="463328" y="664655"/>
                        <a:pt x="463328" y="672762"/>
                      </a:cubicBezTo>
                      <a:cubicBezTo>
                        <a:pt x="463328" y="680869"/>
                        <a:pt x="473499" y="678842"/>
                        <a:pt x="479150" y="671749"/>
                      </a:cubicBezTo>
                      <a:cubicBezTo>
                        <a:pt x="484801" y="665669"/>
                        <a:pt x="490451" y="668709"/>
                        <a:pt x="490451" y="676816"/>
                      </a:cubicBezTo>
                      <a:cubicBezTo>
                        <a:pt x="490451" y="684923"/>
                        <a:pt x="488191" y="687963"/>
                        <a:pt x="488191" y="687963"/>
                      </a:cubicBezTo>
                      <a:cubicBezTo>
                        <a:pt x="488191" y="687963"/>
                        <a:pt x="492711" y="694043"/>
                        <a:pt x="499492" y="694043"/>
                      </a:cubicBezTo>
                      <a:cubicBezTo>
                        <a:pt x="506272" y="694043"/>
                        <a:pt x="515313" y="694043"/>
                        <a:pt x="526614" y="694043"/>
                      </a:cubicBezTo>
                      <a:cubicBezTo>
                        <a:pt x="537916" y="694043"/>
                        <a:pt x="537916" y="693029"/>
                        <a:pt x="542436" y="685936"/>
                      </a:cubicBezTo>
                      <a:cubicBezTo>
                        <a:pt x="546957" y="678842"/>
                        <a:pt x="549217" y="682896"/>
                        <a:pt x="557128" y="682896"/>
                      </a:cubicBezTo>
                      <a:cubicBezTo>
                        <a:pt x="565039" y="682896"/>
                        <a:pt x="563909" y="686949"/>
                        <a:pt x="563909" y="694043"/>
                      </a:cubicBezTo>
                      <a:cubicBezTo>
                        <a:pt x="563909" y="701136"/>
                        <a:pt x="574080" y="700123"/>
                        <a:pt x="578600" y="709243"/>
                      </a:cubicBezTo>
                      <a:cubicBezTo>
                        <a:pt x="583120" y="718363"/>
                        <a:pt x="598942" y="713296"/>
                        <a:pt x="604593" y="720390"/>
                      </a:cubicBezTo>
                      <a:cubicBezTo>
                        <a:pt x="610244" y="727483"/>
                        <a:pt x="605723" y="733564"/>
                        <a:pt x="605723" y="740657"/>
                      </a:cubicBezTo>
                      <a:cubicBezTo>
                        <a:pt x="605723" y="747750"/>
                        <a:pt x="620415" y="746737"/>
                        <a:pt x="626065" y="743697"/>
                      </a:cubicBezTo>
                      <a:cubicBezTo>
                        <a:pt x="631716" y="740657"/>
                        <a:pt x="637367" y="738630"/>
                        <a:pt x="637367" y="738630"/>
                      </a:cubicBezTo>
                      <a:lnTo>
                        <a:pt x="653188" y="742684"/>
                      </a:lnTo>
                      <a:lnTo>
                        <a:pt x="653188" y="704176"/>
                      </a:lnTo>
                      <a:cubicBezTo>
                        <a:pt x="653188" y="704176"/>
                        <a:pt x="640757" y="708230"/>
                        <a:pt x="632846" y="708230"/>
                      </a:cubicBezTo>
                      <a:cubicBezTo>
                        <a:pt x="624935" y="708230"/>
                        <a:pt x="629456" y="713296"/>
                        <a:pt x="621545" y="702149"/>
                      </a:cubicBezTo>
                      <a:cubicBezTo>
                        <a:pt x="613634" y="691003"/>
                        <a:pt x="605723" y="694043"/>
                        <a:pt x="597813" y="687963"/>
                      </a:cubicBezTo>
                      <a:cubicBezTo>
                        <a:pt x="589902" y="681882"/>
                        <a:pt x="583120" y="675802"/>
                        <a:pt x="583120" y="670736"/>
                      </a:cubicBezTo>
                      <a:cubicBezTo>
                        <a:pt x="583120" y="665669"/>
                        <a:pt x="584251" y="661615"/>
                        <a:pt x="586511" y="654522"/>
                      </a:cubicBezTo>
                      <a:cubicBezTo>
                        <a:pt x="588771" y="647428"/>
                        <a:pt x="579730" y="641348"/>
                        <a:pt x="579730" y="633241"/>
                      </a:cubicBezTo>
                      <a:cubicBezTo>
                        <a:pt x="579730" y="625135"/>
                        <a:pt x="577470" y="626148"/>
                        <a:pt x="576340" y="621081"/>
                      </a:cubicBezTo>
                      <a:cubicBezTo>
                        <a:pt x="575210" y="617028"/>
                        <a:pt x="574080" y="607907"/>
                        <a:pt x="577470" y="602841"/>
                      </a:cubicBezTo>
                      <a:cubicBezTo>
                        <a:pt x="576340" y="598787"/>
                        <a:pt x="575210" y="592707"/>
                        <a:pt x="575210" y="590680"/>
                      </a:cubicBezTo>
                      <a:cubicBezTo>
                        <a:pt x="579730" y="588654"/>
                        <a:pt x="592162" y="580547"/>
                        <a:pt x="596682" y="580547"/>
                      </a:cubicBezTo>
                      <a:cubicBezTo>
                        <a:pt x="596682" y="580547"/>
                        <a:pt x="602333" y="580547"/>
                        <a:pt x="602333" y="581560"/>
                      </a:cubicBezTo>
                      <a:cubicBezTo>
                        <a:pt x="604593" y="579534"/>
                        <a:pt x="606853" y="578520"/>
                        <a:pt x="606853" y="578520"/>
                      </a:cubicBezTo>
                      <a:lnTo>
                        <a:pt x="674661" y="561293"/>
                      </a:lnTo>
                      <a:cubicBezTo>
                        <a:pt x="673530" y="556226"/>
                        <a:pt x="674661" y="552173"/>
                        <a:pt x="672400" y="546093"/>
                      </a:cubicBezTo>
                      <a:cubicBezTo>
                        <a:pt x="671270" y="544066"/>
                        <a:pt x="664489" y="537986"/>
                        <a:pt x="664489" y="535959"/>
                      </a:cubicBezTo>
                      <a:cubicBezTo>
                        <a:pt x="664489" y="533932"/>
                        <a:pt x="665620" y="530892"/>
                        <a:pt x="664489" y="528866"/>
                      </a:cubicBezTo>
                      <a:cubicBezTo>
                        <a:pt x="662229" y="524812"/>
                        <a:pt x="654318" y="521772"/>
                        <a:pt x="650928" y="518732"/>
                      </a:cubicBezTo>
                      <a:lnTo>
                        <a:pt x="648668" y="513665"/>
                      </a:lnTo>
                      <a:cubicBezTo>
                        <a:pt x="645277" y="510625"/>
                        <a:pt x="637367" y="509612"/>
                        <a:pt x="635106" y="506572"/>
                      </a:cubicBezTo>
                      <a:cubicBezTo>
                        <a:pt x="631716" y="502518"/>
                        <a:pt x="618155" y="462997"/>
                        <a:pt x="619284" y="457931"/>
                      </a:cubicBezTo>
                      <a:cubicBezTo>
                        <a:pt x="619284" y="453877"/>
                        <a:pt x="626065" y="447797"/>
                        <a:pt x="624935" y="438677"/>
                      </a:cubicBezTo>
                      <a:cubicBezTo>
                        <a:pt x="624935" y="435637"/>
                        <a:pt x="617024" y="428543"/>
                        <a:pt x="617024" y="426517"/>
                      </a:cubicBezTo>
                      <a:cubicBezTo>
                        <a:pt x="615894" y="418410"/>
                        <a:pt x="618155" y="414356"/>
                        <a:pt x="619284" y="407263"/>
                      </a:cubicBezTo>
                      <a:cubicBezTo>
                        <a:pt x="614764" y="404223"/>
                        <a:pt x="611373" y="406249"/>
                        <a:pt x="611373" y="400169"/>
                      </a:cubicBezTo>
                      <a:cubicBezTo>
                        <a:pt x="611373" y="400169"/>
                        <a:pt x="615894" y="380916"/>
                        <a:pt x="617024" y="370782"/>
                      </a:cubicBezTo>
                      <a:cubicBezTo>
                        <a:pt x="617024" y="370782"/>
                        <a:pt x="621545" y="368755"/>
                        <a:pt x="621545" y="368755"/>
                      </a:cubicBezTo>
                      <a:lnTo>
                        <a:pt x="617024" y="354568"/>
                      </a:lnTo>
                      <a:cubicBezTo>
                        <a:pt x="617024" y="354568"/>
                        <a:pt x="601203" y="351528"/>
                        <a:pt x="600072" y="345448"/>
                      </a:cubicBezTo>
                      <a:cubicBezTo>
                        <a:pt x="598942" y="339368"/>
                        <a:pt x="604593" y="334301"/>
                        <a:pt x="604593" y="334301"/>
                      </a:cubicBezTo>
                      <a:cubicBezTo>
                        <a:pt x="604593" y="334301"/>
                        <a:pt x="606853" y="333288"/>
                        <a:pt x="609114" y="332274"/>
                      </a:cubicBezTo>
                      <a:lnTo>
                        <a:pt x="604593" y="333288"/>
                      </a:lnTo>
                      <a:cubicBezTo>
                        <a:pt x="604593" y="324167"/>
                        <a:pt x="604593" y="313020"/>
                        <a:pt x="604593" y="303900"/>
                      </a:cubicBezTo>
                      <a:cubicBezTo>
                        <a:pt x="604593" y="303900"/>
                        <a:pt x="610244" y="301873"/>
                        <a:pt x="610244" y="301873"/>
                      </a:cubicBezTo>
                      <a:cubicBezTo>
                        <a:pt x="614764" y="304914"/>
                        <a:pt x="617024" y="305927"/>
                        <a:pt x="619284" y="307954"/>
                      </a:cubicBezTo>
                      <a:cubicBezTo>
                        <a:pt x="620415" y="303900"/>
                        <a:pt x="620415" y="300860"/>
                        <a:pt x="620415" y="300860"/>
                      </a:cubicBezTo>
                      <a:cubicBezTo>
                        <a:pt x="620415" y="300860"/>
                        <a:pt x="604593" y="292753"/>
                        <a:pt x="619284" y="279580"/>
                      </a:cubicBezTo>
                      <a:cubicBezTo>
                        <a:pt x="620415" y="278566"/>
                        <a:pt x="620415" y="277553"/>
                        <a:pt x="621545" y="276540"/>
                      </a:cubicBezTo>
                      <a:lnTo>
                        <a:pt x="618155" y="278566"/>
                      </a:lnTo>
                      <a:cubicBezTo>
                        <a:pt x="618155" y="277553"/>
                        <a:pt x="612504" y="268433"/>
                        <a:pt x="612504" y="268433"/>
                      </a:cubicBezTo>
                      <a:cubicBezTo>
                        <a:pt x="613634" y="266406"/>
                        <a:pt x="618155" y="267419"/>
                        <a:pt x="620415" y="266406"/>
                      </a:cubicBezTo>
                      <a:cubicBezTo>
                        <a:pt x="622675" y="264379"/>
                        <a:pt x="621545" y="257286"/>
                        <a:pt x="622675" y="254246"/>
                      </a:cubicBezTo>
                      <a:lnTo>
                        <a:pt x="628325" y="252219"/>
                      </a:lnTo>
                      <a:lnTo>
                        <a:pt x="630586" y="252219"/>
                      </a:lnTo>
                      <a:cubicBezTo>
                        <a:pt x="633976" y="243099"/>
                        <a:pt x="637367" y="230939"/>
                        <a:pt x="637367" y="226885"/>
                      </a:cubicBezTo>
                      <a:cubicBezTo>
                        <a:pt x="637367" y="220805"/>
                        <a:pt x="647537" y="208645"/>
                        <a:pt x="647537" y="208645"/>
                      </a:cubicBezTo>
                      <a:lnTo>
                        <a:pt x="663359" y="200538"/>
                      </a:lnTo>
                      <a:cubicBezTo>
                        <a:pt x="663359" y="200538"/>
                        <a:pt x="666750" y="197498"/>
                        <a:pt x="671270" y="193444"/>
                      </a:cubicBezTo>
                      <a:cubicBezTo>
                        <a:pt x="669010" y="189391"/>
                        <a:pt x="676921" y="185337"/>
                        <a:pt x="682571" y="181284"/>
                      </a:cubicBezTo>
                      <a:cubicBezTo>
                        <a:pt x="684831" y="178244"/>
                        <a:pt x="687092" y="176217"/>
                        <a:pt x="689352" y="174191"/>
                      </a:cubicBezTo>
                      <a:cubicBezTo>
                        <a:pt x="691612" y="170137"/>
                        <a:pt x="692742" y="165070"/>
                        <a:pt x="697263" y="164057"/>
                      </a:cubicBezTo>
                      <a:cubicBezTo>
                        <a:pt x="698393" y="158990"/>
                        <a:pt x="696132" y="154937"/>
                        <a:pt x="691612" y="154937"/>
                      </a:cubicBezTo>
                      <a:cubicBezTo>
                        <a:pt x="685962" y="154937"/>
                        <a:pt x="689352" y="138723"/>
                        <a:pt x="691612" y="133657"/>
                      </a:cubicBezTo>
                      <a:cubicBezTo>
                        <a:pt x="693873" y="128590"/>
                        <a:pt x="704043" y="119469"/>
                        <a:pt x="696132" y="119469"/>
                      </a:cubicBezTo>
                      <a:cubicBezTo>
                        <a:pt x="687092" y="119469"/>
                        <a:pt x="706304" y="106296"/>
                        <a:pt x="708564" y="99202"/>
                      </a:cubicBezTo>
                      <a:cubicBezTo>
                        <a:pt x="710824" y="92109"/>
                        <a:pt x="707434" y="85015"/>
                        <a:pt x="707434" y="85015"/>
                      </a:cubicBezTo>
                      <a:lnTo>
                        <a:pt x="688222" y="74882"/>
                      </a:lnTo>
                      <a:cubicBezTo>
                        <a:pt x="688222" y="74882"/>
                        <a:pt x="681441" y="79948"/>
                        <a:pt x="675790" y="74882"/>
                      </a:cubicBezTo>
                      <a:cubicBezTo>
                        <a:pt x="670140" y="69815"/>
                        <a:pt x="658839" y="68801"/>
                        <a:pt x="653188" y="63735"/>
                      </a:cubicBezTo>
                      <a:cubicBezTo>
                        <a:pt x="647537" y="58668"/>
                        <a:pt x="643017" y="50561"/>
                        <a:pt x="638497" y="43468"/>
                      </a:cubicBezTo>
                      <a:cubicBezTo>
                        <a:pt x="633976" y="36374"/>
                        <a:pt x="626065" y="32321"/>
                        <a:pt x="620415" y="38401"/>
                      </a:cubicBezTo>
                      <a:cubicBezTo>
                        <a:pt x="614764" y="44481"/>
                        <a:pt x="614764" y="47521"/>
                        <a:pt x="605723" y="43468"/>
                      </a:cubicBezTo>
                      <a:cubicBezTo>
                        <a:pt x="596682" y="39414"/>
                        <a:pt x="585381" y="27254"/>
                        <a:pt x="584251" y="35361"/>
                      </a:cubicBezTo>
                      <a:cubicBezTo>
                        <a:pt x="583120" y="43468"/>
                        <a:pt x="575210" y="46508"/>
                        <a:pt x="569560" y="43468"/>
                      </a:cubicBezTo>
                      <a:cubicBezTo>
                        <a:pt x="563909" y="39414"/>
                        <a:pt x="560518" y="28267"/>
                        <a:pt x="560518" y="28267"/>
                      </a:cubicBezTo>
                      <a:lnTo>
                        <a:pt x="549217" y="13067"/>
                      </a:lnTo>
                      <a:cubicBezTo>
                        <a:pt x="549217" y="13067"/>
                        <a:pt x="534525" y="14080"/>
                        <a:pt x="528875" y="14080"/>
                      </a:cubicBezTo>
                      <a:cubicBezTo>
                        <a:pt x="523224" y="14080"/>
                        <a:pt x="528875" y="9013"/>
                        <a:pt x="517574" y="9013"/>
                      </a:cubicBezTo>
                      <a:cubicBezTo>
                        <a:pt x="506272" y="9013"/>
                        <a:pt x="499492" y="9013"/>
                        <a:pt x="489321" y="9013"/>
                      </a:cubicBezTo>
                      <a:cubicBezTo>
                        <a:pt x="479150" y="9013"/>
                        <a:pt x="483670" y="10027"/>
                        <a:pt x="472369" y="20160"/>
                      </a:cubicBezTo>
                      <a:cubicBezTo>
                        <a:pt x="461068" y="30294"/>
                        <a:pt x="467849" y="16107"/>
                        <a:pt x="457677" y="17120"/>
                      </a:cubicBezTo>
                      <a:cubicBezTo>
                        <a:pt x="447506" y="18134"/>
                        <a:pt x="450897" y="28267"/>
                        <a:pt x="450897" y="28267"/>
                      </a:cubicBezTo>
                      <a:cubicBezTo>
                        <a:pt x="450897" y="28267"/>
                        <a:pt x="444116" y="28267"/>
                        <a:pt x="430554" y="32321"/>
                      </a:cubicBezTo>
                      <a:cubicBezTo>
                        <a:pt x="418123" y="36374"/>
                        <a:pt x="418123" y="24214"/>
                        <a:pt x="407952" y="24214"/>
                      </a:cubicBezTo>
                      <a:cubicBezTo>
                        <a:pt x="397781" y="24214"/>
                        <a:pt x="395521" y="45494"/>
                        <a:pt x="395521" y="45494"/>
                      </a:cubicBezTo>
                      <a:cubicBezTo>
                        <a:pt x="395521" y="45494"/>
                        <a:pt x="385349" y="44481"/>
                        <a:pt x="374048" y="41441"/>
                      </a:cubicBezTo>
                      <a:cubicBezTo>
                        <a:pt x="362747" y="38401"/>
                        <a:pt x="359357" y="37388"/>
                        <a:pt x="351446" y="37388"/>
                      </a:cubicBezTo>
                      <a:cubicBezTo>
                        <a:pt x="342405" y="37388"/>
                        <a:pt x="327714" y="37388"/>
                        <a:pt x="319803" y="33334"/>
                      </a:cubicBezTo>
                      <a:cubicBezTo>
                        <a:pt x="313022" y="29281"/>
                        <a:pt x="308501" y="20160"/>
                        <a:pt x="297200" y="15094"/>
                      </a:cubicBezTo>
                      <a:cubicBezTo>
                        <a:pt x="285899" y="10027"/>
                        <a:pt x="276858" y="14080"/>
                        <a:pt x="270078" y="14080"/>
                      </a:cubicBezTo>
                      <a:cubicBezTo>
                        <a:pt x="263297" y="14080"/>
                        <a:pt x="255386" y="22187"/>
                        <a:pt x="255386" y="32321"/>
                      </a:cubicBezTo>
                      <a:cubicBezTo>
                        <a:pt x="255386" y="42454"/>
                        <a:pt x="237304" y="48534"/>
                        <a:pt x="237304" y="48534"/>
                      </a:cubicBezTo>
                      <a:lnTo>
                        <a:pt x="233914" y="79948"/>
                      </a:lnTo>
                      <a:lnTo>
                        <a:pt x="232783" y="99202"/>
                      </a:lnTo>
                      <a:lnTo>
                        <a:pt x="228263" y="114402"/>
                      </a:lnTo>
                      <a:lnTo>
                        <a:pt x="219222" y="123523"/>
                      </a:lnTo>
                      <a:lnTo>
                        <a:pt x="214702" y="136696"/>
                      </a:lnTo>
                      <a:lnTo>
                        <a:pt x="213572" y="149870"/>
                      </a:lnTo>
                      <a:lnTo>
                        <a:pt x="210181" y="165070"/>
                      </a:lnTo>
                      <a:lnTo>
                        <a:pt x="211311" y="176217"/>
                      </a:lnTo>
                      <a:lnTo>
                        <a:pt x="212441" y="194458"/>
                      </a:lnTo>
                      <a:lnTo>
                        <a:pt x="212441" y="210671"/>
                      </a:lnTo>
                      <a:lnTo>
                        <a:pt x="206791" y="226885"/>
                      </a:lnTo>
                      <a:lnTo>
                        <a:pt x="195489" y="241072"/>
                      </a:lnTo>
                      <a:lnTo>
                        <a:pt x="194360" y="254246"/>
                      </a:lnTo>
                      <a:lnTo>
                        <a:pt x="189839" y="270460"/>
                      </a:lnTo>
                      <a:lnTo>
                        <a:pt x="190969" y="267419"/>
                      </a:lnTo>
                      <a:lnTo>
                        <a:pt x="180798" y="277553"/>
                      </a:lnTo>
                      <a:lnTo>
                        <a:pt x="176277" y="291740"/>
                      </a:lnTo>
                      <a:lnTo>
                        <a:pt x="172887" y="303900"/>
                      </a:lnTo>
                      <a:lnTo>
                        <a:pt x="169497" y="315047"/>
                      </a:lnTo>
                      <a:lnTo>
                        <a:pt x="170627" y="328221"/>
                      </a:lnTo>
                      <a:lnTo>
                        <a:pt x="169497" y="338354"/>
                      </a:lnTo>
                      <a:lnTo>
                        <a:pt x="164976" y="348488"/>
                      </a:lnTo>
                      <a:lnTo>
                        <a:pt x="162716" y="360648"/>
                      </a:lnTo>
                      <a:lnTo>
                        <a:pt x="153675" y="373822"/>
                      </a:lnTo>
                      <a:lnTo>
                        <a:pt x="149155" y="385982"/>
                      </a:lnTo>
                      <a:lnTo>
                        <a:pt x="134463" y="399156"/>
                      </a:lnTo>
                      <a:lnTo>
                        <a:pt x="115251" y="404223"/>
                      </a:lnTo>
                      <a:lnTo>
                        <a:pt x="101690" y="408276"/>
                      </a:lnTo>
                      <a:lnTo>
                        <a:pt x="98299" y="399156"/>
                      </a:lnTo>
                      <a:lnTo>
                        <a:pt x="99429" y="377875"/>
                      </a:lnTo>
                      <a:cubicBezTo>
                        <a:pt x="99429" y="377875"/>
                        <a:pt x="90389" y="382942"/>
                        <a:pt x="82478" y="381929"/>
                      </a:cubicBezTo>
                      <a:cubicBezTo>
                        <a:pt x="73437" y="380916"/>
                        <a:pt x="70046" y="378889"/>
                        <a:pt x="70046" y="378889"/>
                      </a:cubicBezTo>
                      <a:cubicBezTo>
                        <a:pt x="70046" y="378889"/>
                        <a:pt x="75697" y="394089"/>
                        <a:pt x="66656" y="394089"/>
                      </a:cubicBezTo>
                      <a:cubicBezTo>
                        <a:pt x="57615" y="394089"/>
                        <a:pt x="48574" y="389022"/>
                        <a:pt x="44054" y="394089"/>
                      </a:cubicBezTo>
                      <a:cubicBezTo>
                        <a:pt x="39533" y="399156"/>
                        <a:pt x="33883" y="395102"/>
                        <a:pt x="33883" y="395102"/>
                      </a:cubicBezTo>
                      <a:cubicBezTo>
                        <a:pt x="33883" y="395102"/>
                        <a:pt x="16931" y="401183"/>
                        <a:pt x="22581" y="411316"/>
                      </a:cubicBezTo>
                      <a:cubicBezTo>
                        <a:pt x="28232" y="421450"/>
                        <a:pt x="21451" y="421450"/>
                        <a:pt x="21451" y="421450"/>
                      </a:cubicBezTo>
                      <a:lnTo>
                        <a:pt x="15801" y="42651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57" name="Freeform: Shape 256">
                  <a:extLst>
                    <a:ext uri="{FF2B5EF4-FFF2-40B4-BE49-F238E27FC236}">
                      <a16:creationId xmlns:a16="http://schemas.microsoft.com/office/drawing/2014/main" id="{FF3B8A18-24F1-42E0-AA94-70EC77E1C4A6}"/>
                    </a:ext>
                  </a:extLst>
                </p:cNvPr>
                <p:cNvSpPr/>
                <p:nvPr/>
              </p:nvSpPr>
              <p:spPr>
                <a:xfrm>
                  <a:off x="6536108" y="2379860"/>
                  <a:ext cx="192120" cy="202671"/>
                </a:xfrm>
                <a:custGeom>
                  <a:avLst/>
                  <a:gdLst>
                    <a:gd name="connsiteX0" fmla="*/ 192226 w 192120"/>
                    <a:gd name="connsiteY0" fmla="*/ 77922 h 202671"/>
                    <a:gd name="connsiteX1" fmla="*/ 174144 w 192120"/>
                    <a:gd name="connsiteY1" fmla="*/ 69815 h 202671"/>
                    <a:gd name="connsiteX2" fmla="*/ 178664 w 192120"/>
                    <a:gd name="connsiteY2" fmla="*/ 58668 h 202671"/>
                    <a:gd name="connsiteX3" fmla="*/ 182055 w 192120"/>
                    <a:gd name="connsiteY3" fmla="*/ 52588 h 202671"/>
                    <a:gd name="connsiteX4" fmla="*/ 158322 w 192120"/>
                    <a:gd name="connsiteY4" fmla="*/ 47521 h 202671"/>
                    <a:gd name="connsiteX5" fmla="*/ 145891 w 192120"/>
                    <a:gd name="connsiteY5" fmla="*/ 52588 h 202671"/>
                    <a:gd name="connsiteX6" fmla="*/ 131200 w 192120"/>
                    <a:gd name="connsiteY6" fmla="*/ 44481 h 202671"/>
                    <a:gd name="connsiteX7" fmla="*/ 126679 w 192120"/>
                    <a:gd name="connsiteY7" fmla="*/ 33334 h 202671"/>
                    <a:gd name="connsiteX8" fmla="*/ 108597 w 192120"/>
                    <a:gd name="connsiteY8" fmla="*/ 9013 h 202671"/>
                    <a:gd name="connsiteX9" fmla="*/ 91645 w 192120"/>
                    <a:gd name="connsiteY9" fmla="*/ 9013 h 202671"/>
                    <a:gd name="connsiteX10" fmla="*/ 65652 w 192120"/>
                    <a:gd name="connsiteY10" fmla="*/ 19147 h 202671"/>
                    <a:gd name="connsiteX11" fmla="*/ 49831 w 192120"/>
                    <a:gd name="connsiteY11" fmla="*/ 27254 h 202671"/>
                    <a:gd name="connsiteX12" fmla="*/ 45310 w 192120"/>
                    <a:gd name="connsiteY12" fmla="*/ 44481 h 202671"/>
                    <a:gd name="connsiteX13" fmla="*/ 45310 w 192120"/>
                    <a:gd name="connsiteY13" fmla="*/ 61708 h 202671"/>
                    <a:gd name="connsiteX14" fmla="*/ 44180 w 192120"/>
                    <a:gd name="connsiteY14" fmla="*/ 72855 h 202671"/>
                    <a:gd name="connsiteX15" fmla="*/ 54351 w 192120"/>
                    <a:gd name="connsiteY15" fmla="*/ 87042 h 202671"/>
                    <a:gd name="connsiteX16" fmla="*/ 39659 w 192120"/>
                    <a:gd name="connsiteY16" fmla="*/ 93122 h 202671"/>
                    <a:gd name="connsiteX17" fmla="*/ 56611 w 192120"/>
                    <a:gd name="connsiteY17" fmla="*/ 107309 h 202671"/>
                    <a:gd name="connsiteX18" fmla="*/ 40790 w 192120"/>
                    <a:gd name="connsiteY18" fmla="*/ 113389 h 202671"/>
                    <a:gd name="connsiteX19" fmla="*/ 31748 w 192120"/>
                    <a:gd name="connsiteY19" fmla="*/ 124536 h 202671"/>
                    <a:gd name="connsiteX20" fmla="*/ 19317 w 192120"/>
                    <a:gd name="connsiteY20" fmla="*/ 129603 h 202671"/>
                    <a:gd name="connsiteX21" fmla="*/ 10277 w 192120"/>
                    <a:gd name="connsiteY21" fmla="*/ 147843 h 202671"/>
                    <a:gd name="connsiteX22" fmla="*/ 14797 w 192120"/>
                    <a:gd name="connsiteY22" fmla="*/ 167097 h 202671"/>
                    <a:gd name="connsiteX23" fmla="*/ 23838 w 192120"/>
                    <a:gd name="connsiteY23" fmla="*/ 168110 h 202671"/>
                    <a:gd name="connsiteX24" fmla="*/ 34009 w 192120"/>
                    <a:gd name="connsiteY24" fmla="*/ 179257 h 202671"/>
                    <a:gd name="connsiteX25" fmla="*/ 36269 w 192120"/>
                    <a:gd name="connsiteY25" fmla="*/ 181284 h 202671"/>
                    <a:gd name="connsiteX26" fmla="*/ 40790 w 192120"/>
                    <a:gd name="connsiteY26" fmla="*/ 169124 h 202671"/>
                    <a:gd name="connsiteX27" fmla="*/ 62262 w 192120"/>
                    <a:gd name="connsiteY27" fmla="*/ 157977 h 202671"/>
                    <a:gd name="connsiteX28" fmla="*/ 67912 w 192120"/>
                    <a:gd name="connsiteY28" fmla="*/ 171151 h 202671"/>
                    <a:gd name="connsiteX29" fmla="*/ 76953 w 192120"/>
                    <a:gd name="connsiteY29" fmla="*/ 163044 h 202671"/>
                    <a:gd name="connsiteX30" fmla="*/ 92775 w 192120"/>
                    <a:gd name="connsiteY30" fmla="*/ 177231 h 202671"/>
                    <a:gd name="connsiteX31" fmla="*/ 98426 w 192120"/>
                    <a:gd name="connsiteY31" fmla="*/ 193444 h 202671"/>
                    <a:gd name="connsiteX32" fmla="*/ 98426 w 192120"/>
                    <a:gd name="connsiteY32" fmla="*/ 195471 h 202671"/>
                    <a:gd name="connsiteX33" fmla="*/ 109727 w 192120"/>
                    <a:gd name="connsiteY33" fmla="*/ 181284 h 202671"/>
                    <a:gd name="connsiteX34" fmla="*/ 119898 w 192120"/>
                    <a:gd name="connsiteY34" fmla="*/ 176217 h 202671"/>
                    <a:gd name="connsiteX35" fmla="*/ 125549 w 192120"/>
                    <a:gd name="connsiteY35" fmla="*/ 185337 h 202671"/>
                    <a:gd name="connsiteX36" fmla="*/ 135720 w 192120"/>
                    <a:gd name="connsiteY36" fmla="*/ 172164 h 202671"/>
                    <a:gd name="connsiteX37" fmla="*/ 145891 w 192120"/>
                    <a:gd name="connsiteY37" fmla="*/ 171151 h 202671"/>
                    <a:gd name="connsiteX38" fmla="*/ 156062 w 192120"/>
                    <a:gd name="connsiteY38" fmla="*/ 170137 h 202671"/>
                    <a:gd name="connsiteX39" fmla="*/ 168493 w 192120"/>
                    <a:gd name="connsiteY39" fmla="*/ 166084 h 202671"/>
                    <a:gd name="connsiteX40" fmla="*/ 174144 w 192120"/>
                    <a:gd name="connsiteY40" fmla="*/ 163044 h 202671"/>
                    <a:gd name="connsiteX41" fmla="*/ 182055 w 192120"/>
                    <a:gd name="connsiteY41" fmla="*/ 149870 h 202671"/>
                    <a:gd name="connsiteX42" fmla="*/ 188835 w 192120"/>
                    <a:gd name="connsiteY42" fmla="*/ 131630 h 202671"/>
                    <a:gd name="connsiteX43" fmla="*/ 168493 w 192120"/>
                    <a:gd name="connsiteY43" fmla="*/ 122509 h 202671"/>
                    <a:gd name="connsiteX44" fmla="*/ 167363 w 192120"/>
                    <a:gd name="connsiteY44" fmla="*/ 104269 h 202671"/>
                    <a:gd name="connsiteX45" fmla="*/ 178664 w 192120"/>
                    <a:gd name="connsiteY45" fmla="*/ 91095 h 202671"/>
                    <a:gd name="connsiteX46" fmla="*/ 192226 w 192120"/>
                    <a:gd name="connsiteY46" fmla="*/ 77922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2120" h="202671">
                      <a:moveTo>
                        <a:pt x="192226" y="77922"/>
                      </a:moveTo>
                      <a:cubicBezTo>
                        <a:pt x="192226" y="77922"/>
                        <a:pt x="179795" y="74882"/>
                        <a:pt x="174144" y="69815"/>
                      </a:cubicBezTo>
                      <a:cubicBezTo>
                        <a:pt x="168493" y="64748"/>
                        <a:pt x="167363" y="58668"/>
                        <a:pt x="178664" y="58668"/>
                      </a:cubicBezTo>
                      <a:cubicBezTo>
                        <a:pt x="186575" y="58668"/>
                        <a:pt x="191096" y="57655"/>
                        <a:pt x="182055" y="52588"/>
                      </a:cubicBezTo>
                      <a:cubicBezTo>
                        <a:pt x="173013" y="47521"/>
                        <a:pt x="161712" y="42454"/>
                        <a:pt x="158322" y="47521"/>
                      </a:cubicBezTo>
                      <a:cubicBezTo>
                        <a:pt x="154932" y="52588"/>
                        <a:pt x="152671" y="61708"/>
                        <a:pt x="145891" y="52588"/>
                      </a:cubicBezTo>
                      <a:cubicBezTo>
                        <a:pt x="139110" y="43468"/>
                        <a:pt x="140240" y="44481"/>
                        <a:pt x="131200" y="44481"/>
                      </a:cubicBezTo>
                      <a:cubicBezTo>
                        <a:pt x="122158" y="44481"/>
                        <a:pt x="125549" y="40428"/>
                        <a:pt x="126679" y="33334"/>
                      </a:cubicBezTo>
                      <a:cubicBezTo>
                        <a:pt x="127809" y="26240"/>
                        <a:pt x="108597" y="9013"/>
                        <a:pt x="108597" y="9013"/>
                      </a:cubicBezTo>
                      <a:cubicBezTo>
                        <a:pt x="102947" y="9013"/>
                        <a:pt x="97296" y="9013"/>
                        <a:pt x="91645" y="9013"/>
                      </a:cubicBezTo>
                      <a:cubicBezTo>
                        <a:pt x="79214" y="9013"/>
                        <a:pt x="70173" y="12054"/>
                        <a:pt x="65652" y="19147"/>
                      </a:cubicBezTo>
                      <a:cubicBezTo>
                        <a:pt x="63392" y="23200"/>
                        <a:pt x="55481" y="26240"/>
                        <a:pt x="49831" y="27254"/>
                      </a:cubicBezTo>
                      <a:cubicBezTo>
                        <a:pt x="49831" y="27254"/>
                        <a:pt x="37399" y="40428"/>
                        <a:pt x="45310" y="44481"/>
                      </a:cubicBezTo>
                      <a:cubicBezTo>
                        <a:pt x="57742" y="51574"/>
                        <a:pt x="48700" y="58668"/>
                        <a:pt x="45310" y="61708"/>
                      </a:cubicBezTo>
                      <a:cubicBezTo>
                        <a:pt x="45310" y="65761"/>
                        <a:pt x="44180" y="68801"/>
                        <a:pt x="44180" y="72855"/>
                      </a:cubicBezTo>
                      <a:cubicBezTo>
                        <a:pt x="45310" y="78935"/>
                        <a:pt x="56611" y="80962"/>
                        <a:pt x="54351" y="87042"/>
                      </a:cubicBezTo>
                      <a:cubicBezTo>
                        <a:pt x="52091" y="92109"/>
                        <a:pt x="43050" y="88055"/>
                        <a:pt x="39659" y="93122"/>
                      </a:cubicBezTo>
                      <a:cubicBezTo>
                        <a:pt x="36269" y="100216"/>
                        <a:pt x="60001" y="99202"/>
                        <a:pt x="56611" y="107309"/>
                      </a:cubicBezTo>
                      <a:cubicBezTo>
                        <a:pt x="54351" y="112376"/>
                        <a:pt x="46441" y="109336"/>
                        <a:pt x="40790" y="113389"/>
                      </a:cubicBezTo>
                      <a:cubicBezTo>
                        <a:pt x="36269" y="116429"/>
                        <a:pt x="37399" y="121496"/>
                        <a:pt x="31748" y="124536"/>
                      </a:cubicBezTo>
                      <a:cubicBezTo>
                        <a:pt x="27228" y="127576"/>
                        <a:pt x="22708" y="126563"/>
                        <a:pt x="19317" y="129603"/>
                      </a:cubicBezTo>
                      <a:cubicBezTo>
                        <a:pt x="12537" y="134670"/>
                        <a:pt x="11406" y="139736"/>
                        <a:pt x="10277" y="147843"/>
                      </a:cubicBezTo>
                      <a:cubicBezTo>
                        <a:pt x="9146" y="155950"/>
                        <a:pt x="12537" y="160004"/>
                        <a:pt x="14797" y="167097"/>
                      </a:cubicBezTo>
                      <a:cubicBezTo>
                        <a:pt x="18188" y="167097"/>
                        <a:pt x="21578" y="167097"/>
                        <a:pt x="23838" y="168110"/>
                      </a:cubicBezTo>
                      <a:cubicBezTo>
                        <a:pt x="27228" y="169124"/>
                        <a:pt x="31748" y="174191"/>
                        <a:pt x="34009" y="179257"/>
                      </a:cubicBezTo>
                      <a:lnTo>
                        <a:pt x="36269" y="181284"/>
                      </a:lnTo>
                      <a:lnTo>
                        <a:pt x="40790" y="169124"/>
                      </a:lnTo>
                      <a:lnTo>
                        <a:pt x="62262" y="157977"/>
                      </a:lnTo>
                      <a:lnTo>
                        <a:pt x="67912" y="171151"/>
                      </a:lnTo>
                      <a:lnTo>
                        <a:pt x="76953" y="163044"/>
                      </a:lnTo>
                      <a:lnTo>
                        <a:pt x="92775" y="177231"/>
                      </a:lnTo>
                      <a:lnTo>
                        <a:pt x="98426" y="193444"/>
                      </a:lnTo>
                      <a:lnTo>
                        <a:pt x="98426" y="195471"/>
                      </a:lnTo>
                      <a:lnTo>
                        <a:pt x="109727" y="181284"/>
                      </a:lnTo>
                      <a:lnTo>
                        <a:pt x="119898" y="176217"/>
                      </a:lnTo>
                      <a:lnTo>
                        <a:pt x="125549" y="185337"/>
                      </a:lnTo>
                      <a:lnTo>
                        <a:pt x="135720" y="172164"/>
                      </a:lnTo>
                      <a:lnTo>
                        <a:pt x="145891" y="171151"/>
                      </a:lnTo>
                      <a:lnTo>
                        <a:pt x="156062" y="170137"/>
                      </a:lnTo>
                      <a:lnTo>
                        <a:pt x="168493" y="166084"/>
                      </a:lnTo>
                      <a:lnTo>
                        <a:pt x="174144" y="163044"/>
                      </a:lnTo>
                      <a:cubicBezTo>
                        <a:pt x="174144" y="163044"/>
                        <a:pt x="180924" y="157977"/>
                        <a:pt x="182055" y="149870"/>
                      </a:cubicBezTo>
                      <a:cubicBezTo>
                        <a:pt x="183185" y="141763"/>
                        <a:pt x="197876" y="133656"/>
                        <a:pt x="188835" y="131630"/>
                      </a:cubicBezTo>
                      <a:cubicBezTo>
                        <a:pt x="179795" y="129603"/>
                        <a:pt x="173013" y="128590"/>
                        <a:pt x="168493" y="122509"/>
                      </a:cubicBezTo>
                      <a:cubicBezTo>
                        <a:pt x="163973" y="116429"/>
                        <a:pt x="161712" y="109336"/>
                        <a:pt x="167363" y="104269"/>
                      </a:cubicBezTo>
                      <a:cubicBezTo>
                        <a:pt x="173013" y="99202"/>
                        <a:pt x="170754" y="96162"/>
                        <a:pt x="178664" y="91095"/>
                      </a:cubicBezTo>
                      <a:cubicBezTo>
                        <a:pt x="186575" y="86029"/>
                        <a:pt x="192226" y="77922"/>
                        <a:pt x="192226" y="779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58" name="Freeform: Shape 257">
                  <a:extLst>
                    <a:ext uri="{FF2B5EF4-FFF2-40B4-BE49-F238E27FC236}">
                      <a16:creationId xmlns:a16="http://schemas.microsoft.com/office/drawing/2014/main" id="{3C24D4A4-A2DC-4993-96F4-17EE40D65F78}"/>
                    </a:ext>
                  </a:extLst>
                </p:cNvPr>
                <p:cNvSpPr/>
                <p:nvPr/>
              </p:nvSpPr>
              <p:spPr>
                <a:xfrm>
                  <a:off x="7391721" y="3517860"/>
                  <a:ext cx="418144" cy="283740"/>
                </a:xfrm>
                <a:custGeom>
                  <a:avLst/>
                  <a:gdLst>
                    <a:gd name="connsiteX0" fmla="*/ 11294 w 418144"/>
                    <a:gd name="connsiteY0" fmla="*/ 93122 h 283739"/>
                    <a:gd name="connsiteX1" fmla="*/ 20335 w 418144"/>
                    <a:gd name="connsiteY1" fmla="*/ 82989 h 283739"/>
                    <a:gd name="connsiteX2" fmla="*/ 27116 w 418144"/>
                    <a:gd name="connsiteY2" fmla="*/ 73869 h 283739"/>
                    <a:gd name="connsiteX3" fmla="*/ 31636 w 418144"/>
                    <a:gd name="connsiteY3" fmla="*/ 64748 h 283739"/>
                    <a:gd name="connsiteX4" fmla="*/ 40677 w 418144"/>
                    <a:gd name="connsiteY4" fmla="*/ 56641 h 283739"/>
                    <a:gd name="connsiteX5" fmla="*/ 53108 w 418144"/>
                    <a:gd name="connsiteY5" fmla="*/ 66775 h 283739"/>
                    <a:gd name="connsiteX6" fmla="*/ 74580 w 418144"/>
                    <a:gd name="connsiteY6" fmla="*/ 66775 h 283739"/>
                    <a:gd name="connsiteX7" fmla="*/ 135607 w 418144"/>
                    <a:gd name="connsiteY7" fmla="*/ 80962 h 283739"/>
                    <a:gd name="connsiteX8" fmla="*/ 142387 w 418144"/>
                    <a:gd name="connsiteY8" fmla="*/ 121496 h 283739"/>
                    <a:gd name="connsiteX9" fmla="*/ 161600 w 418144"/>
                    <a:gd name="connsiteY9" fmla="*/ 101229 h 283739"/>
                    <a:gd name="connsiteX10" fmla="*/ 207935 w 418144"/>
                    <a:gd name="connsiteY10" fmla="*/ 48535 h 283739"/>
                    <a:gd name="connsiteX11" fmla="*/ 332248 w 418144"/>
                    <a:gd name="connsiteY11" fmla="*/ 9013 h 283739"/>
                    <a:gd name="connsiteX12" fmla="*/ 331118 w 418144"/>
                    <a:gd name="connsiteY12" fmla="*/ 19147 h 283739"/>
                    <a:gd name="connsiteX13" fmla="*/ 375192 w 418144"/>
                    <a:gd name="connsiteY13" fmla="*/ 85015 h 283739"/>
                    <a:gd name="connsiteX14" fmla="*/ 392144 w 418144"/>
                    <a:gd name="connsiteY14" fmla="*/ 96162 h 283739"/>
                    <a:gd name="connsiteX15" fmla="*/ 381973 w 418144"/>
                    <a:gd name="connsiteY15" fmla="*/ 97176 h 283739"/>
                    <a:gd name="connsiteX16" fmla="*/ 376322 w 418144"/>
                    <a:gd name="connsiteY16" fmla="*/ 104269 h 283739"/>
                    <a:gd name="connsiteX17" fmla="*/ 360501 w 418144"/>
                    <a:gd name="connsiteY17" fmla="*/ 106296 h 283739"/>
                    <a:gd name="connsiteX18" fmla="*/ 352590 w 418144"/>
                    <a:gd name="connsiteY18" fmla="*/ 132643 h 283739"/>
                    <a:gd name="connsiteX19" fmla="*/ 341289 w 418144"/>
                    <a:gd name="connsiteY19" fmla="*/ 134670 h 283739"/>
                    <a:gd name="connsiteX20" fmla="*/ 325467 w 418144"/>
                    <a:gd name="connsiteY20" fmla="*/ 153924 h 283739"/>
                    <a:gd name="connsiteX21" fmla="*/ 276872 w 418144"/>
                    <a:gd name="connsiteY21" fmla="*/ 173177 h 283739"/>
                    <a:gd name="connsiteX22" fmla="*/ 261050 w 418144"/>
                    <a:gd name="connsiteY22" fmla="*/ 183311 h 283739"/>
                    <a:gd name="connsiteX23" fmla="*/ 249749 w 418144"/>
                    <a:gd name="connsiteY23" fmla="*/ 183311 h 283739"/>
                    <a:gd name="connsiteX24" fmla="*/ 222626 w 418144"/>
                    <a:gd name="connsiteY24" fmla="*/ 202565 h 283739"/>
                    <a:gd name="connsiteX25" fmla="*/ 222626 w 418144"/>
                    <a:gd name="connsiteY25" fmla="*/ 207631 h 283739"/>
                    <a:gd name="connsiteX26" fmla="*/ 193243 w 418144"/>
                    <a:gd name="connsiteY26" fmla="*/ 207631 h 283739"/>
                    <a:gd name="connsiteX27" fmla="*/ 187592 w 418144"/>
                    <a:gd name="connsiteY27" fmla="*/ 214725 h 283739"/>
                    <a:gd name="connsiteX28" fmla="*/ 158209 w 418144"/>
                    <a:gd name="connsiteY28" fmla="*/ 231952 h 283739"/>
                    <a:gd name="connsiteX29" fmla="*/ 111875 w 418144"/>
                    <a:gd name="connsiteY29" fmla="*/ 233979 h 283739"/>
                    <a:gd name="connsiteX30" fmla="*/ 100574 w 418144"/>
                    <a:gd name="connsiteY30" fmla="*/ 251206 h 283739"/>
                    <a:gd name="connsiteX31" fmla="*/ 79101 w 418144"/>
                    <a:gd name="connsiteY31" fmla="*/ 253232 h 283739"/>
                    <a:gd name="connsiteX32" fmla="*/ 76841 w 418144"/>
                    <a:gd name="connsiteY32" fmla="*/ 258299 h 283739"/>
                    <a:gd name="connsiteX33" fmla="*/ 36157 w 418144"/>
                    <a:gd name="connsiteY33" fmla="*/ 251206 h 283739"/>
                    <a:gd name="connsiteX34" fmla="*/ 30506 w 418144"/>
                    <a:gd name="connsiteY34" fmla="*/ 224859 h 283739"/>
                    <a:gd name="connsiteX35" fmla="*/ 32766 w 418144"/>
                    <a:gd name="connsiteY35" fmla="*/ 212698 h 283739"/>
                    <a:gd name="connsiteX36" fmla="*/ 19205 w 418144"/>
                    <a:gd name="connsiteY36" fmla="*/ 200538 h 283739"/>
                    <a:gd name="connsiteX37" fmla="*/ 11294 w 418144"/>
                    <a:gd name="connsiteY37" fmla="*/ 164057 h 283739"/>
                    <a:gd name="connsiteX38" fmla="*/ 13554 w 418144"/>
                    <a:gd name="connsiteY38" fmla="*/ 158990 h 283739"/>
                    <a:gd name="connsiteX39" fmla="*/ 15815 w 418144"/>
                    <a:gd name="connsiteY39" fmla="*/ 136696 h 283739"/>
                    <a:gd name="connsiteX40" fmla="*/ 10164 w 418144"/>
                    <a:gd name="connsiteY40" fmla="*/ 134670 h 283739"/>
                    <a:gd name="connsiteX41" fmla="*/ 12424 w 418144"/>
                    <a:gd name="connsiteY41" fmla="*/ 93122 h 283739"/>
                    <a:gd name="connsiteX42" fmla="*/ 11294 w 418144"/>
                    <a:gd name="connsiteY42" fmla="*/ 93122 h 283739"/>
                    <a:gd name="connsiteX43" fmla="*/ 386494 w 418144"/>
                    <a:gd name="connsiteY43" fmla="*/ 273500 h 283739"/>
                    <a:gd name="connsiteX44" fmla="*/ 397795 w 418144"/>
                    <a:gd name="connsiteY44" fmla="*/ 280593 h 283739"/>
                    <a:gd name="connsiteX45" fmla="*/ 413616 w 418144"/>
                    <a:gd name="connsiteY45" fmla="*/ 275526 h 283739"/>
                    <a:gd name="connsiteX46" fmla="*/ 386494 w 418144"/>
                    <a:gd name="connsiteY46" fmla="*/ 273500 h 28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18144" h="283739">
                      <a:moveTo>
                        <a:pt x="11294" y="93122"/>
                      </a:moveTo>
                      <a:cubicBezTo>
                        <a:pt x="11294" y="93122"/>
                        <a:pt x="20335" y="89069"/>
                        <a:pt x="20335" y="82989"/>
                      </a:cubicBezTo>
                      <a:cubicBezTo>
                        <a:pt x="20335" y="76908"/>
                        <a:pt x="27116" y="81975"/>
                        <a:pt x="27116" y="73869"/>
                      </a:cubicBezTo>
                      <a:cubicBezTo>
                        <a:pt x="27116" y="65761"/>
                        <a:pt x="27116" y="68802"/>
                        <a:pt x="31636" y="64748"/>
                      </a:cubicBezTo>
                      <a:cubicBezTo>
                        <a:pt x="36157" y="60695"/>
                        <a:pt x="32766" y="58668"/>
                        <a:pt x="40677" y="56641"/>
                      </a:cubicBezTo>
                      <a:cubicBezTo>
                        <a:pt x="56499" y="52588"/>
                        <a:pt x="45197" y="62722"/>
                        <a:pt x="53108" y="66775"/>
                      </a:cubicBezTo>
                      <a:cubicBezTo>
                        <a:pt x="62149" y="70828"/>
                        <a:pt x="63279" y="67788"/>
                        <a:pt x="74580" y="66775"/>
                      </a:cubicBezTo>
                      <a:cubicBezTo>
                        <a:pt x="85881" y="65761"/>
                        <a:pt x="135607" y="80962"/>
                        <a:pt x="135607" y="80962"/>
                      </a:cubicBezTo>
                      <a:lnTo>
                        <a:pt x="142387" y="121496"/>
                      </a:lnTo>
                      <a:cubicBezTo>
                        <a:pt x="140128" y="121496"/>
                        <a:pt x="161600" y="101229"/>
                        <a:pt x="161600" y="101229"/>
                      </a:cubicBezTo>
                      <a:lnTo>
                        <a:pt x="207935" y="48535"/>
                      </a:lnTo>
                      <a:lnTo>
                        <a:pt x="332248" y="9013"/>
                      </a:lnTo>
                      <a:lnTo>
                        <a:pt x="331118" y="19147"/>
                      </a:lnTo>
                      <a:lnTo>
                        <a:pt x="375192" y="85015"/>
                      </a:lnTo>
                      <a:lnTo>
                        <a:pt x="392144" y="96162"/>
                      </a:lnTo>
                      <a:cubicBezTo>
                        <a:pt x="388754" y="96162"/>
                        <a:pt x="385363" y="96162"/>
                        <a:pt x="381973" y="97176"/>
                      </a:cubicBezTo>
                      <a:cubicBezTo>
                        <a:pt x="379713" y="98189"/>
                        <a:pt x="378583" y="103256"/>
                        <a:pt x="376322" y="104269"/>
                      </a:cubicBezTo>
                      <a:cubicBezTo>
                        <a:pt x="369542" y="107309"/>
                        <a:pt x="365021" y="104269"/>
                        <a:pt x="360501" y="106296"/>
                      </a:cubicBezTo>
                      <a:cubicBezTo>
                        <a:pt x="342419" y="115416"/>
                        <a:pt x="350330" y="121496"/>
                        <a:pt x="352590" y="132643"/>
                      </a:cubicBezTo>
                      <a:cubicBezTo>
                        <a:pt x="350330" y="133657"/>
                        <a:pt x="344679" y="133657"/>
                        <a:pt x="341289" y="134670"/>
                      </a:cubicBezTo>
                      <a:cubicBezTo>
                        <a:pt x="340158" y="135683"/>
                        <a:pt x="328857" y="151897"/>
                        <a:pt x="325467" y="153924"/>
                      </a:cubicBezTo>
                      <a:cubicBezTo>
                        <a:pt x="309646" y="164057"/>
                        <a:pt x="294954" y="166084"/>
                        <a:pt x="276872" y="173177"/>
                      </a:cubicBezTo>
                      <a:cubicBezTo>
                        <a:pt x="272351" y="175204"/>
                        <a:pt x="265571" y="181284"/>
                        <a:pt x="261050" y="183311"/>
                      </a:cubicBezTo>
                      <a:cubicBezTo>
                        <a:pt x="257660" y="184324"/>
                        <a:pt x="253140" y="182298"/>
                        <a:pt x="249749" y="183311"/>
                      </a:cubicBezTo>
                      <a:cubicBezTo>
                        <a:pt x="247489" y="184324"/>
                        <a:pt x="223756" y="201551"/>
                        <a:pt x="222626" y="202565"/>
                      </a:cubicBezTo>
                      <a:lnTo>
                        <a:pt x="222626" y="207631"/>
                      </a:lnTo>
                      <a:cubicBezTo>
                        <a:pt x="209065" y="213712"/>
                        <a:pt x="204544" y="204591"/>
                        <a:pt x="193243" y="207631"/>
                      </a:cubicBezTo>
                      <a:cubicBezTo>
                        <a:pt x="189853" y="208645"/>
                        <a:pt x="189853" y="213712"/>
                        <a:pt x="187592" y="214725"/>
                      </a:cubicBezTo>
                      <a:cubicBezTo>
                        <a:pt x="181942" y="218778"/>
                        <a:pt x="163860" y="230939"/>
                        <a:pt x="158209" y="231952"/>
                      </a:cubicBezTo>
                      <a:cubicBezTo>
                        <a:pt x="144648" y="233979"/>
                        <a:pt x="126566" y="226885"/>
                        <a:pt x="111875" y="233979"/>
                      </a:cubicBezTo>
                      <a:cubicBezTo>
                        <a:pt x="106224" y="237019"/>
                        <a:pt x="106224" y="248166"/>
                        <a:pt x="100574" y="251206"/>
                      </a:cubicBezTo>
                      <a:cubicBezTo>
                        <a:pt x="93792" y="254246"/>
                        <a:pt x="87012" y="251206"/>
                        <a:pt x="79101" y="253232"/>
                      </a:cubicBezTo>
                      <a:cubicBezTo>
                        <a:pt x="79101" y="253232"/>
                        <a:pt x="76841" y="258299"/>
                        <a:pt x="76841" y="258299"/>
                      </a:cubicBezTo>
                      <a:cubicBezTo>
                        <a:pt x="66670" y="259313"/>
                        <a:pt x="47458" y="252219"/>
                        <a:pt x="36157" y="251206"/>
                      </a:cubicBezTo>
                      <a:cubicBezTo>
                        <a:pt x="32766" y="241072"/>
                        <a:pt x="29375" y="236006"/>
                        <a:pt x="30506" y="224859"/>
                      </a:cubicBezTo>
                      <a:cubicBezTo>
                        <a:pt x="30506" y="223845"/>
                        <a:pt x="35026" y="217765"/>
                        <a:pt x="32766" y="212698"/>
                      </a:cubicBezTo>
                      <a:cubicBezTo>
                        <a:pt x="31636" y="209658"/>
                        <a:pt x="21465" y="203578"/>
                        <a:pt x="19205" y="200538"/>
                      </a:cubicBezTo>
                      <a:cubicBezTo>
                        <a:pt x="24855" y="197498"/>
                        <a:pt x="14684" y="167097"/>
                        <a:pt x="11294" y="164057"/>
                      </a:cubicBezTo>
                      <a:cubicBezTo>
                        <a:pt x="7904" y="162030"/>
                        <a:pt x="13554" y="158990"/>
                        <a:pt x="13554" y="158990"/>
                      </a:cubicBezTo>
                      <a:cubicBezTo>
                        <a:pt x="16944" y="153924"/>
                        <a:pt x="15815" y="145817"/>
                        <a:pt x="15815" y="136696"/>
                      </a:cubicBezTo>
                      <a:lnTo>
                        <a:pt x="10164" y="134670"/>
                      </a:lnTo>
                      <a:cubicBezTo>
                        <a:pt x="9033" y="125549"/>
                        <a:pt x="16944" y="106296"/>
                        <a:pt x="12424" y="93122"/>
                      </a:cubicBezTo>
                      <a:lnTo>
                        <a:pt x="11294" y="93122"/>
                      </a:lnTo>
                      <a:close/>
                      <a:moveTo>
                        <a:pt x="386494" y="273500"/>
                      </a:moveTo>
                      <a:cubicBezTo>
                        <a:pt x="387623" y="274513"/>
                        <a:pt x="394405" y="280593"/>
                        <a:pt x="397795" y="280593"/>
                      </a:cubicBezTo>
                      <a:cubicBezTo>
                        <a:pt x="410226" y="282620"/>
                        <a:pt x="428308" y="277553"/>
                        <a:pt x="413616" y="275526"/>
                      </a:cubicBezTo>
                      <a:cubicBezTo>
                        <a:pt x="402315" y="274513"/>
                        <a:pt x="400055" y="274513"/>
                        <a:pt x="386494" y="27350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0" name="Freeform: Shape 259">
                  <a:extLst>
                    <a:ext uri="{FF2B5EF4-FFF2-40B4-BE49-F238E27FC236}">
                      <a16:creationId xmlns:a16="http://schemas.microsoft.com/office/drawing/2014/main" id="{0F25A5C2-C896-4C03-9DEE-0BC8BEF0FA0A}"/>
                    </a:ext>
                  </a:extLst>
                </p:cNvPr>
                <p:cNvSpPr/>
                <p:nvPr/>
              </p:nvSpPr>
              <p:spPr>
                <a:xfrm>
                  <a:off x="5284058" y="3161158"/>
                  <a:ext cx="339036" cy="283740"/>
                </a:xfrm>
                <a:custGeom>
                  <a:avLst/>
                  <a:gdLst>
                    <a:gd name="connsiteX0" fmla="*/ 12414 w 339035"/>
                    <a:gd name="connsiteY0" fmla="*/ 277553 h 283739"/>
                    <a:gd name="connsiteX1" fmla="*/ 21455 w 339035"/>
                    <a:gd name="connsiteY1" fmla="*/ 269446 h 283739"/>
                    <a:gd name="connsiteX2" fmla="*/ 154809 w 339035"/>
                    <a:gd name="connsiteY2" fmla="*/ 265393 h 283739"/>
                    <a:gd name="connsiteX3" fmla="*/ 151419 w 339035"/>
                    <a:gd name="connsiteY3" fmla="*/ 203578 h 283739"/>
                    <a:gd name="connsiteX4" fmla="*/ 194364 w 339035"/>
                    <a:gd name="connsiteY4" fmla="*/ 180271 h 283739"/>
                    <a:gd name="connsiteX5" fmla="*/ 196624 w 339035"/>
                    <a:gd name="connsiteY5" fmla="*/ 95149 h 283739"/>
                    <a:gd name="connsiteX6" fmla="*/ 329978 w 339035"/>
                    <a:gd name="connsiteY6" fmla="*/ 92109 h 283739"/>
                    <a:gd name="connsiteX7" fmla="*/ 328847 w 339035"/>
                    <a:gd name="connsiteY7" fmla="*/ 33334 h 283739"/>
                    <a:gd name="connsiteX8" fmla="*/ 328847 w 339035"/>
                    <a:gd name="connsiteY8" fmla="*/ 9013 h 283739"/>
                    <a:gd name="connsiteX9" fmla="*/ 177412 w 339035"/>
                    <a:gd name="connsiteY9" fmla="*/ 12053 h 283739"/>
                    <a:gd name="connsiteX10" fmla="*/ 168371 w 339035"/>
                    <a:gd name="connsiteY10" fmla="*/ 22187 h 283739"/>
                    <a:gd name="connsiteX11" fmla="*/ 149159 w 339035"/>
                    <a:gd name="connsiteY11" fmla="*/ 20160 h 283739"/>
                    <a:gd name="connsiteX12" fmla="*/ 149159 w 339035"/>
                    <a:gd name="connsiteY12" fmla="*/ 27254 h 283739"/>
                    <a:gd name="connsiteX13" fmla="*/ 141248 w 339035"/>
                    <a:gd name="connsiteY13" fmla="*/ 32321 h 283739"/>
                    <a:gd name="connsiteX14" fmla="*/ 138987 w 339035"/>
                    <a:gd name="connsiteY14" fmla="*/ 46507 h 283739"/>
                    <a:gd name="connsiteX15" fmla="*/ 133337 w 339035"/>
                    <a:gd name="connsiteY15" fmla="*/ 48534 h 283739"/>
                    <a:gd name="connsiteX16" fmla="*/ 133337 w 339035"/>
                    <a:gd name="connsiteY16" fmla="*/ 55628 h 283739"/>
                    <a:gd name="connsiteX17" fmla="*/ 125426 w 339035"/>
                    <a:gd name="connsiteY17" fmla="*/ 57654 h 283739"/>
                    <a:gd name="connsiteX18" fmla="*/ 100564 w 339035"/>
                    <a:gd name="connsiteY18" fmla="*/ 84002 h 283739"/>
                    <a:gd name="connsiteX19" fmla="*/ 98303 w 339035"/>
                    <a:gd name="connsiteY19" fmla="*/ 108322 h 283739"/>
                    <a:gd name="connsiteX20" fmla="*/ 87002 w 339035"/>
                    <a:gd name="connsiteY20" fmla="*/ 118456 h 283739"/>
                    <a:gd name="connsiteX21" fmla="*/ 71180 w 339035"/>
                    <a:gd name="connsiteY21" fmla="*/ 156964 h 283739"/>
                    <a:gd name="connsiteX22" fmla="*/ 57619 w 339035"/>
                    <a:gd name="connsiteY22" fmla="*/ 164057 h 283739"/>
                    <a:gd name="connsiteX23" fmla="*/ 57619 w 339035"/>
                    <a:gd name="connsiteY23" fmla="*/ 176217 h 283739"/>
                    <a:gd name="connsiteX24" fmla="*/ 49708 w 339035"/>
                    <a:gd name="connsiteY24" fmla="*/ 183311 h 283739"/>
                    <a:gd name="connsiteX25" fmla="*/ 49708 w 339035"/>
                    <a:gd name="connsiteY25" fmla="*/ 193444 h 283739"/>
                    <a:gd name="connsiteX26" fmla="*/ 41797 w 339035"/>
                    <a:gd name="connsiteY26" fmla="*/ 200538 h 283739"/>
                    <a:gd name="connsiteX27" fmla="*/ 41797 w 339035"/>
                    <a:gd name="connsiteY27" fmla="*/ 210671 h 283739"/>
                    <a:gd name="connsiteX28" fmla="*/ 36147 w 339035"/>
                    <a:gd name="connsiteY28" fmla="*/ 212698 h 283739"/>
                    <a:gd name="connsiteX29" fmla="*/ 33886 w 339035"/>
                    <a:gd name="connsiteY29" fmla="*/ 224858 h 283739"/>
                    <a:gd name="connsiteX30" fmla="*/ 14674 w 339035"/>
                    <a:gd name="connsiteY30" fmla="*/ 239045 h 283739"/>
                    <a:gd name="connsiteX31" fmla="*/ 14674 w 339035"/>
                    <a:gd name="connsiteY31" fmla="*/ 246139 h 283739"/>
                    <a:gd name="connsiteX32" fmla="*/ 16935 w 339035"/>
                    <a:gd name="connsiteY32" fmla="*/ 253232 h 283739"/>
                    <a:gd name="connsiteX33" fmla="*/ 11284 w 339035"/>
                    <a:gd name="connsiteY33" fmla="*/ 258299 h 283739"/>
                    <a:gd name="connsiteX34" fmla="*/ 12414 w 339035"/>
                    <a:gd name="connsiteY34" fmla="*/ 277553 h 28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9035" h="283739">
                      <a:moveTo>
                        <a:pt x="12414" y="277553"/>
                      </a:moveTo>
                      <a:cubicBezTo>
                        <a:pt x="22585" y="263366"/>
                        <a:pt x="21455" y="269446"/>
                        <a:pt x="21455" y="269446"/>
                      </a:cubicBezTo>
                      <a:lnTo>
                        <a:pt x="154809" y="265393"/>
                      </a:lnTo>
                      <a:cubicBezTo>
                        <a:pt x="154809" y="265393"/>
                        <a:pt x="151419" y="224858"/>
                        <a:pt x="151419" y="203578"/>
                      </a:cubicBezTo>
                      <a:cubicBezTo>
                        <a:pt x="151419" y="177231"/>
                        <a:pt x="194364" y="180271"/>
                        <a:pt x="194364" y="180271"/>
                      </a:cubicBezTo>
                      <a:lnTo>
                        <a:pt x="196624" y="95149"/>
                      </a:lnTo>
                      <a:lnTo>
                        <a:pt x="329978" y="92109"/>
                      </a:lnTo>
                      <a:lnTo>
                        <a:pt x="328847" y="33334"/>
                      </a:lnTo>
                      <a:lnTo>
                        <a:pt x="328847" y="9013"/>
                      </a:lnTo>
                      <a:lnTo>
                        <a:pt x="177412" y="12053"/>
                      </a:lnTo>
                      <a:cubicBezTo>
                        <a:pt x="172891" y="17120"/>
                        <a:pt x="169501" y="22187"/>
                        <a:pt x="168371" y="22187"/>
                      </a:cubicBezTo>
                      <a:cubicBezTo>
                        <a:pt x="164980" y="23200"/>
                        <a:pt x="155939" y="20160"/>
                        <a:pt x="149159" y="20160"/>
                      </a:cubicBezTo>
                      <a:cubicBezTo>
                        <a:pt x="148028" y="23200"/>
                        <a:pt x="150289" y="24214"/>
                        <a:pt x="149159" y="27254"/>
                      </a:cubicBezTo>
                      <a:cubicBezTo>
                        <a:pt x="148028" y="28267"/>
                        <a:pt x="142378" y="30294"/>
                        <a:pt x="141248" y="32321"/>
                      </a:cubicBezTo>
                      <a:cubicBezTo>
                        <a:pt x="137858" y="37387"/>
                        <a:pt x="141248" y="40428"/>
                        <a:pt x="138987" y="46507"/>
                      </a:cubicBezTo>
                      <a:cubicBezTo>
                        <a:pt x="137858" y="47521"/>
                        <a:pt x="134467" y="47521"/>
                        <a:pt x="133337" y="48534"/>
                      </a:cubicBezTo>
                      <a:cubicBezTo>
                        <a:pt x="132207" y="51574"/>
                        <a:pt x="134467" y="53601"/>
                        <a:pt x="133337" y="55628"/>
                      </a:cubicBezTo>
                      <a:cubicBezTo>
                        <a:pt x="131076" y="58668"/>
                        <a:pt x="128817" y="56641"/>
                        <a:pt x="125426" y="57654"/>
                      </a:cubicBezTo>
                      <a:cubicBezTo>
                        <a:pt x="124296" y="58668"/>
                        <a:pt x="101694" y="82988"/>
                        <a:pt x="100564" y="84002"/>
                      </a:cubicBezTo>
                      <a:cubicBezTo>
                        <a:pt x="97173" y="91095"/>
                        <a:pt x="98303" y="107309"/>
                        <a:pt x="98303" y="108322"/>
                      </a:cubicBezTo>
                      <a:cubicBezTo>
                        <a:pt x="97173" y="110349"/>
                        <a:pt x="89263" y="115416"/>
                        <a:pt x="87002" y="118456"/>
                      </a:cubicBezTo>
                      <a:cubicBezTo>
                        <a:pt x="80221" y="131630"/>
                        <a:pt x="80221" y="146830"/>
                        <a:pt x="71180" y="156964"/>
                      </a:cubicBezTo>
                      <a:cubicBezTo>
                        <a:pt x="67790" y="160004"/>
                        <a:pt x="59879" y="161017"/>
                        <a:pt x="57619" y="164057"/>
                      </a:cubicBezTo>
                      <a:cubicBezTo>
                        <a:pt x="53099" y="170137"/>
                        <a:pt x="58749" y="173177"/>
                        <a:pt x="57619" y="176217"/>
                      </a:cubicBezTo>
                      <a:cubicBezTo>
                        <a:pt x="57619" y="177231"/>
                        <a:pt x="49708" y="182298"/>
                        <a:pt x="49708" y="183311"/>
                      </a:cubicBezTo>
                      <a:cubicBezTo>
                        <a:pt x="48578" y="186351"/>
                        <a:pt x="50838" y="190404"/>
                        <a:pt x="49708" y="193444"/>
                      </a:cubicBezTo>
                      <a:cubicBezTo>
                        <a:pt x="49708" y="194458"/>
                        <a:pt x="41797" y="199524"/>
                        <a:pt x="41797" y="200538"/>
                      </a:cubicBezTo>
                      <a:cubicBezTo>
                        <a:pt x="40667" y="203578"/>
                        <a:pt x="42927" y="207631"/>
                        <a:pt x="41797" y="210671"/>
                      </a:cubicBezTo>
                      <a:cubicBezTo>
                        <a:pt x="41797" y="210671"/>
                        <a:pt x="36147" y="212698"/>
                        <a:pt x="36147" y="212698"/>
                      </a:cubicBezTo>
                      <a:cubicBezTo>
                        <a:pt x="32757" y="217765"/>
                        <a:pt x="36147" y="219792"/>
                        <a:pt x="33886" y="224858"/>
                      </a:cubicBezTo>
                      <a:cubicBezTo>
                        <a:pt x="30496" y="230939"/>
                        <a:pt x="20325" y="236005"/>
                        <a:pt x="14674" y="239045"/>
                      </a:cubicBezTo>
                      <a:cubicBezTo>
                        <a:pt x="14674" y="239045"/>
                        <a:pt x="14674" y="246139"/>
                        <a:pt x="14674" y="246139"/>
                      </a:cubicBezTo>
                      <a:cubicBezTo>
                        <a:pt x="15805" y="243099"/>
                        <a:pt x="18064" y="252219"/>
                        <a:pt x="16935" y="253232"/>
                      </a:cubicBezTo>
                      <a:lnTo>
                        <a:pt x="11284" y="258299"/>
                      </a:lnTo>
                      <a:cubicBezTo>
                        <a:pt x="9024" y="268433"/>
                        <a:pt x="10154" y="273500"/>
                        <a:pt x="12414" y="27755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1" name="Freeform: Shape 260">
                  <a:extLst>
                    <a:ext uri="{FF2B5EF4-FFF2-40B4-BE49-F238E27FC236}">
                      <a16:creationId xmlns:a16="http://schemas.microsoft.com/office/drawing/2014/main" id="{05C10516-80BA-4427-8707-227396AC0BE2}"/>
                    </a:ext>
                  </a:extLst>
                </p:cNvPr>
                <p:cNvSpPr/>
                <p:nvPr/>
              </p:nvSpPr>
              <p:spPr>
                <a:xfrm>
                  <a:off x="9489334" y="3359776"/>
                  <a:ext cx="271229" cy="597881"/>
                </a:xfrm>
                <a:custGeom>
                  <a:avLst/>
                  <a:gdLst>
                    <a:gd name="connsiteX0" fmla="*/ 214603 w 271228"/>
                    <a:gd name="connsiteY0" fmla="*/ 75895 h 597880"/>
                    <a:gd name="connsiteX1" fmla="*/ 197652 w 271228"/>
                    <a:gd name="connsiteY1" fmla="*/ 68801 h 597880"/>
                    <a:gd name="connsiteX2" fmla="*/ 185221 w 271228"/>
                    <a:gd name="connsiteY2" fmla="*/ 70828 h 597880"/>
                    <a:gd name="connsiteX3" fmla="*/ 169399 w 271228"/>
                    <a:gd name="connsiteY3" fmla="*/ 64748 h 597880"/>
                    <a:gd name="connsiteX4" fmla="*/ 160358 w 271228"/>
                    <a:gd name="connsiteY4" fmla="*/ 55628 h 597880"/>
                    <a:gd name="connsiteX5" fmla="*/ 151317 w 271228"/>
                    <a:gd name="connsiteY5" fmla="*/ 40427 h 597880"/>
                    <a:gd name="connsiteX6" fmla="*/ 152447 w 271228"/>
                    <a:gd name="connsiteY6" fmla="*/ 22187 h 597880"/>
                    <a:gd name="connsiteX7" fmla="*/ 140016 w 271228"/>
                    <a:gd name="connsiteY7" fmla="*/ 18134 h 597880"/>
                    <a:gd name="connsiteX8" fmla="*/ 125324 w 271228"/>
                    <a:gd name="connsiteY8" fmla="*/ 13067 h 597880"/>
                    <a:gd name="connsiteX9" fmla="*/ 112893 w 271228"/>
                    <a:gd name="connsiteY9" fmla="*/ 9013 h 597880"/>
                    <a:gd name="connsiteX10" fmla="*/ 95941 w 271228"/>
                    <a:gd name="connsiteY10" fmla="*/ 21174 h 597880"/>
                    <a:gd name="connsiteX11" fmla="*/ 72209 w 271228"/>
                    <a:gd name="connsiteY11" fmla="*/ 22187 h 597880"/>
                    <a:gd name="connsiteX12" fmla="*/ 48476 w 271228"/>
                    <a:gd name="connsiteY12" fmla="*/ 29281 h 597880"/>
                    <a:gd name="connsiteX13" fmla="*/ 28134 w 271228"/>
                    <a:gd name="connsiteY13" fmla="*/ 20160 h 597880"/>
                    <a:gd name="connsiteX14" fmla="*/ 10052 w 271228"/>
                    <a:gd name="connsiteY14" fmla="*/ 31307 h 597880"/>
                    <a:gd name="connsiteX15" fmla="*/ 25874 w 271228"/>
                    <a:gd name="connsiteY15" fmla="*/ 54614 h 597880"/>
                    <a:gd name="connsiteX16" fmla="*/ 23614 w 271228"/>
                    <a:gd name="connsiteY16" fmla="*/ 65761 h 597880"/>
                    <a:gd name="connsiteX17" fmla="*/ 32654 w 271228"/>
                    <a:gd name="connsiteY17" fmla="*/ 76908 h 597880"/>
                    <a:gd name="connsiteX18" fmla="*/ 48476 w 271228"/>
                    <a:gd name="connsiteY18" fmla="*/ 85015 h 597880"/>
                    <a:gd name="connsiteX19" fmla="*/ 52996 w 271228"/>
                    <a:gd name="connsiteY19" fmla="*/ 93122 h 597880"/>
                    <a:gd name="connsiteX20" fmla="*/ 67688 w 271228"/>
                    <a:gd name="connsiteY20" fmla="*/ 98189 h 597880"/>
                    <a:gd name="connsiteX21" fmla="*/ 78989 w 271228"/>
                    <a:gd name="connsiteY21" fmla="*/ 88055 h 597880"/>
                    <a:gd name="connsiteX22" fmla="*/ 94811 w 271228"/>
                    <a:gd name="connsiteY22" fmla="*/ 96162 h 597880"/>
                    <a:gd name="connsiteX23" fmla="*/ 107242 w 271228"/>
                    <a:gd name="connsiteY23" fmla="*/ 106295 h 597880"/>
                    <a:gd name="connsiteX24" fmla="*/ 107242 w 271228"/>
                    <a:gd name="connsiteY24" fmla="*/ 124536 h 597880"/>
                    <a:gd name="connsiteX25" fmla="*/ 97071 w 271228"/>
                    <a:gd name="connsiteY25" fmla="*/ 129603 h 597880"/>
                    <a:gd name="connsiteX26" fmla="*/ 84640 w 271228"/>
                    <a:gd name="connsiteY26" fmla="*/ 136696 h 597880"/>
                    <a:gd name="connsiteX27" fmla="*/ 74469 w 271228"/>
                    <a:gd name="connsiteY27" fmla="*/ 144803 h 597880"/>
                    <a:gd name="connsiteX28" fmla="*/ 69948 w 271228"/>
                    <a:gd name="connsiteY28" fmla="*/ 161017 h 597880"/>
                    <a:gd name="connsiteX29" fmla="*/ 92551 w 271228"/>
                    <a:gd name="connsiteY29" fmla="*/ 172164 h 597880"/>
                    <a:gd name="connsiteX30" fmla="*/ 101591 w 271228"/>
                    <a:gd name="connsiteY30" fmla="*/ 196484 h 597880"/>
                    <a:gd name="connsiteX31" fmla="*/ 116284 w 271228"/>
                    <a:gd name="connsiteY31" fmla="*/ 215738 h 597880"/>
                    <a:gd name="connsiteX32" fmla="*/ 127585 w 271228"/>
                    <a:gd name="connsiteY32" fmla="*/ 224858 h 597880"/>
                    <a:gd name="connsiteX33" fmla="*/ 130975 w 271228"/>
                    <a:gd name="connsiteY33" fmla="*/ 236005 h 597880"/>
                    <a:gd name="connsiteX34" fmla="*/ 142276 w 271228"/>
                    <a:gd name="connsiteY34" fmla="*/ 250192 h 597880"/>
                    <a:gd name="connsiteX35" fmla="*/ 158097 w 271228"/>
                    <a:gd name="connsiteY35" fmla="*/ 259312 h 597880"/>
                    <a:gd name="connsiteX36" fmla="*/ 164879 w 271228"/>
                    <a:gd name="connsiteY36" fmla="*/ 273499 h 597880"/>
                    <a:gd name="connsiteX37" fmla="*/ 171659 w 271228"/>
                    <a:gd name="connsiteY37" fmla="*/ 288700 h 597880"/>
                    <a:gd name="connsiteX38" fmla="*/ 184091 w 271228"/>
                    <a:gd name="connsiteY38" fmla="*/ 296807 h 597880"/>
                    <a:gd name="connsiteX39" fmla="*/ 187481 w 271228"/>
                    <a:gd name="connsiteY39" fmla="*/ 312007 h 597880"/>
                    <a:gd name="connsiteX40" fmla="*/ 190871 w 271228"/>
                    <a:gd name="connsiteY40" fmla="*/ 333288 h 597880"/>
                    <a:gd name="connsiteX41" fmla="*/ 187481 w 271228"/>
                    <a:gd name="connsiteY41" fmla="*/ 344434 h 597880"/>
                    <a:gd name="connsiteX42" fmla="*/ 188611 w 271228"/>
                    <a:gd name="connsiteY42" fmla="*/ 362675 h 597880"/>
                    <a:gd name="connsiteX43" fmla="*/ 195392 w 271228"/>
                    <a:gd name="connsiteY43" fmla="*/ 377875 h 597880"/>
                    <a:gd name="connsiteX44" fmla="*/ 199912 w 271228"/>
                    <a:gd name="connsiteY44" fmla="*/ 396116 h 597880"/>
                    <a:gd name="connsiteX45" fmla="*/ 202172 w 271228"/>
                    <a:gd name="connsiteY45" fmla="*/ 412329 h 597880"/>
                    <a:gd name="connsiteX46" fmla="*/ 196522 w 271228"/>
                    <a:gd name="connsiteY46" fmla="*/ 428543 h 597880"/>
                    <a:gd name="connsiteX47" fmla="*/ 193132 w 271228"/>
                    <a:gd name="connsiteY47" fmla="*/ 448810 h 597880"/>
                    <a:gd name="connsiteX48" fmla="*/ 192001 w 271228"/>
                    <a:gd name="connsiteY48" fmla="*/ 461984 h 597880"/>
                    <a:gd name="connsiteX49" fmla="*/ 181830 w 271228"/>
                    <a:gd name="connsiteY49" fmla="*/ 471104 h 597880"/>
                    <a:gd name="connsiteX50" fmla="*/ 163748 w 271228"/>
                    <a:gd name="connsiteY50" fmla="*/ 477184 h 597880"/>
                    <a:gd name="connsiteX51" fmla="*/ 155838 w 271228"/>
                    <a:gd name="connsiteY51" fmla="*/ 483264 h 597880"/>
                    <a:gd name="connsiteX52" fmla="*/ 152447 w 271228"/>
                    <a:gd name="connsiteY52" fmla="*/ 496438 h 597880"/>
                    <a:gd name="connsiteX53" fmla="*/ 138886 w 271228"/>
                    <a:gd name="connsiteY53" fmla="*/ 488331 h 597880"/>
                    <a:gd name="connsiteX54" fmla="*/ 114023 w 271228"/>
                    <a:gd name="connsiteY54" fmla="*/ 491371 h 597880"/>
                    <a:gd name="connsiteX55" fmla="*/ 110633 w 271228"/>
                    <a:gd name="connsiteY55" fmla="*/ 499478 h 597880"/>
                    <a:gd name="connsiteX56" fmla="*/ 98201 w 271228"/>
                    <a:gd name="connsiteY56" fmla="*/ 502518 h 597880"/>
                    <a:gd name="connsiteX57" fmla="*/ 82380 w 271228"/>
                    <a:gd name="connsiteY57" fmla="*/ 521772 h 597880"/>
                    <a:gd name="connsiteX58" fmla="*/ 94811 w 271228"/>
                    <a:gd name="connsiteY58" fmla="*/ 537986 h 597880"/>
                    <a:gd name="connsiteX59" fmla="*/ 94811 w 271228"/>
                    <a:gd name="connsiteY59" fmla="*/ 569400 h 597880"/>
                    <a:gd name="connsiteX60" fmla="*/ 94811 w 271228"/>
                    <a:gd name="connsiteY60" fmla="*/ 581560 h 597880"/>
                    <a:gd name="connsiteX61" fmla="*/ 102722 w 271228"/>
                    <a:gd name="connsiteY61" fmla="*/ 583587 h 597880"/>
                    <a:gd name="connsiteX62" fmla="*/ 102722 w 271228"/>
                    <a:gd name="connsiteY62" fmla="*/ 595747 h 597880"/>
                    <a:gd name="connsiteX63" fmla="*/ 121934 w 271228"/>
                    <a:gd name="connsiteY63" fmla="*/ 576493 h 597880"/>
                    <a:gd name="connsiteX64" fmla="*/ 135495 w 271228"/>
                    <a:gd name="connsiteY64" fmla="*/ 574466 h 597880"/>
                    <a:gd name="connsiteX65" fmla="*/ 129844 w 271228"/>
                    <a:gd name="connsiteY65" fmla="*/ 552172 h 597880"/>
                    <a:gd name="connsiteX66" fmla="*/ 124194 w 271228"/>
                    <a:gd name="connsiteY66" fmla="*/ 534946 h 597880"/>
                    <a:gd name="connsiteX67" fmla="*/ 143406 w 271228"/>
                    <a:gd name="connsiteY67" fmla="*/ 557239 h 597880"/>
                    <a:gd name="connsiteX68" fmla="*/ 151317 w 271228"/>
                    <a:gd name="connsiteY68" fmla="*/ 557239 h 597880"/>
                    <a:gd name="connsiteX69" fmla="*/ 151317 w 271228"/>
                    <a:gd name="connsiteY69" fmla="*/ 552172 h 597880"/>
                    <a:gd name="connsiteX70" fmla="*/ 153577 w 271228"/>
                    <a:gd name="connsiteY70" fmla="*/ 552172 h 597880"/>
                    <a:gd name="connsiteX71" fmla="*/ 153577 w 271228"/>
                    <a:gd name="connsiteY71" fmla="*/ 547106 h 597880"/>
                    <a:gd name="connsiteX72" fmla="*/ 134365 w 271228"/>
                    <a:gd name="connsiteY72" fmla="*/ 534946 h 597880"/>
                    <a:gd name="connsiteX73" fmla="*/ 134365 w 271228"/>
                    <a:gd name="connsiteY73" fmla="*/ 529879 h 597880"/>
                    <a:gd name="connsiteX74" fmla="*/ 123064 w 271228"/>
                    <a:gd name="connsiteY74" fmla="*/ 519745 h 597880"/>
                    <a:gd name="connsiteX75" fmla="*/ 163748 w 271228"/>
                    <a:gd name="connsiteY75" fmla="*/ 529879 h 597880"/>
                    <a:gd name="connsiteX76" fmla="*/ 166008 w 271228"/>
                    <a:gd name="connsiteY76" fmla="*/ 524812 h 597880"/>
                    <a:gd name="connsiteX77" fmla="*/ 177310 w 271228"/>
                    <a:gd name="connsiteY77" fmla="*/ 526839 h 597880"/>
                    <a:gd name="connsiteX78" fmla="*/ 175049 w 271228"/>
                    <a:gd name="connsiteY78" fmla="*/ 519745 h 597880"/>
                    <a:gd name="connsiteX79" fmla="*/ 188611 w 271228"/>
                    <a:gd name="connsiteY79" fmla="*/ 524812 h 597880"/>
                    <a:gd name="connsiteX80" fmla="*/ 202172 w 271228"/>
                    <a:gd name="connsiteY80" fmla="*/ 510625 h 597880"/>
                    <a:gd name="connsiteX81" fmla="*/ 215734 w 271228"/>
                    <a:gd name="connsiteY81" fmla="*/ 508598 h 597880"/>
                    <a:gd name="connsiteX82" fmla="*/ 248507 w 271228"/>
                    <a:gd name="connsiteY82" fmla="*/ 482251 h 597880"/>
                    <a:gd name="connsiteX83" fmla="*/ 250767 w 271228"/>
                    <a:gd name="connsiteY83" fmla="*/ 470091 h 597880"/>
                    <a:gd name="connsiteX84" fmla="*/ 258678 w 271228"/>
                    <a:gd name="connsiteY84" fmla="*/ 465024 h 597880"/>
                    <a:gd name="connsiteX85" fmla="*/ 253028 w 271228"/>
                    <a:gd name="connsiteY85" fmla="*/ 438677 h 597880"/>
                    <a:gd name="connsiteX86" fmla="*/ 264329 w 271228"/>
                    <a:gd name="connsiteY86" fmla="*/ 433610 h 597880"/>
                    <a:gd name="connsiteX87" fmla="*/ 264329 w 271228"/>
                    <a:gd name="connsiteY87" fmla="*/ 423476 h 597880"/>
                    <a:gd name="connsiteX88" fmla="*/ 258678 w 271228"/>
                    <a:gd name="connsiteY88" fmla="*/ 421449 h 597880"/>
                    <a:gd name="connsiteX89" fmla="*/ 250767 w 271228"/>
                    <a:gd name="connsiteY89" fmla="*/ 399156 h 597880"/>
                    <a:gd name="connsiteX90" fmla="*/ 250767 w 271228"/>
                    <a:gd name="connsiteY90" fmla="*/ 376862 h 597880"/>
                    <a:gd name="connsiteX91" fmla="*/ 242856 w 271228"/>
                    <a:gd name="connsiteY91" fmla="*/ 369768 h 597880"/>
                    <a:gd name="connsiteX92" fmla="*/ 242856 w 271228"/>
                    <a:gd name="connsiteY92" fmla="*/ 357608 h 597880"/>
                    <a:gd name="connsiteX93" fmla="*/ 237206 w 271228"/>
                    <a:gd name="connsiteY93" fmla="*/ 355581 h 597880"/>
                    <a:gd name="connsiteX94" fmla="*/ 237206 w 271228"/>
                    <a:gd name="connsiteY94" fmla="*/ 336328 h 597880"/>
                    <a:gd name="connsiteX95" fmla="*/ 215734 w 271228"/>
                    <a:gd name="connsiteY95" fmla="*/ 317074 h 597880"/>
                    <a:gd name="connsiteX96" fmla="*/ 213474 w 271228"/>
                    <a:gd name="connsiteY96" fmla="*/ 297820 h 597880"/>
                    <a:gd name="connsiteX97" fmla="*/ 194261 w 271228"/>
                    <a:gd name="connsiteY97" fmla="*/ 287687 h 597880"/>
                    <a:gd name="connsiteX98" fmla="*/ 180700 w 271228"/>
                    <a:gd name="connsiteY98" fmla="*/ 265393 h 597880"/>
                    <a:gd name="connsiteX99" fmla="*/ 180700 w 271228"/>
                    <a:gd name="connsiteY99" fmla="*/ 258299 h 597880"/>
                    <a:gd name="connsiteX100" fmla="*/ 147927 w 271228"/>
                    <a:gd name="connsiteY100" fmla="*/ 236005 h 597880"/>
                    <a:gd name="connsiteX101" fmla="*/ 145666 w 271228"/>
                    <a:gd name="connsiteY101" fmla="*/ 223845 h 597880"/>
                    <a:gd name="connsiteX102" fmla="*/ 120804 w 271228"/>
                    <a:gd name="connsiteY102" fmla="*/ 180271 h 597880"/>
                    <a:gd name="connsiteX103" fmla="*/ 126454 w 271228"/>
                    <a:gd name="connsiteY103" fmla="*/ 173177 h 597880"/>
                    <a:gd name="connsiteX104" fmla="*/ 126454 w 271228"/>
                    <a:gd name="connsiteY104" fmla="*/ 150883 h 597880"/>
                    <a:gd name="connsiteX105" fmla="*/ 145666 w 271228"/>
                    <a:gd name="connsiteY105" fmla="*/ 140750 h 597880"/>
                    <a:gd name="connsiteX106" fmla="*/ 170529 w 271228"/>
                    <a:gd name="connsiteY106" fmla="*/ 111362 h 597880"/>
                    <a:gd name="connsiteX107" fmla="*/ 170529 w 271228"/>
                    <a:gd name="connsiteY107" fmla="*/ 104269 h 597880"/>
                    <a:gd name="connsiteX108" fmla="*/ 189741 w 271228"/>
                    <a:gd name="connsiteY108" fmla="*/ 99202 h 597880"/>
                    <a:gd name="connsiteX109" fmla="*/ 197652 w 271228"/>
                    <a:gd name="connsiteY109" fmla="*/ 87042 h 597880"/>
                    <a:gd name="connsiteX110" fmla="*/ 213474 w 271228"/>
                    <a:gd name="connsiteY110" fmla="*/ 81975 h 597880"/>
                    <a:gd name="connsiteX111" fmla="*/ 214603 w 271228"/>
                    <a:gd name="connsiteY111" fmla="*/ 75895 h 597880"/>
                    <a:gd name="connsiteX112" fmla="*/ 111763 w 271228"/>
                    <a:gd name="connsiteY112" fmla="*/ 504545 h 597880"/>
                    <a:gd name="connsiteX113" fmla="*/ 111763 w 271228"/>
                    <a:gd name="connsiteY113" fmla="*/ 518732 h 597880"/>
                    <a:gd name="connsiteX114" fmla="*/ 111763 w 271228"/>
                    <a:gd name="connsiteY114" fmla="*/ 504545 h 59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71228" h="597880">
                      <a:moveTo>
                        <a:pt x="214603" y="75895"/>
                      </a:moveTo>
                      <a:lnTo>
                        <a:pt x="197652" y="68801"/>
                      </a:lnTo>
                      <a:lnTo>
                        <a:pt x="185221" y="70828"/>
                      </a:lnTo>
                      <a:lnTo>
                        <a:pt x="169399" y="64748"/>
                      </a:lnTo>
                      <a:lnTo>
                        <a:pt x="160358" y="55628"/>
                      </a:lnTo>
                      <a:lnTo>
                        <a:pt x="151317" y="40427"/>
                      </a:lnTo>
                      <a:lnTo>
                        <a:pt x="152447" y="22187"/>
                      </a:lnTo>
                      <a:lnTo>
                        <a:pt x="140016" y="18134"/>
                      </a:lnTo>
                      <a:lnTo>
                        <a:pt x="125324" y="13067"/>
                      </a:lnTo>
                      <a:lnTo>
                        <a:pt x="112893" y="9013"/>
                      </a:lnTo>
                      <a:lnTo>
                        <a:pt x="95941" y="21174"/>
                      </a:lnTo>
                      <a:lnTo>
                        <a:pt x="72209" y="22187"/>
                      </a:lnTo>
                      <a:lnTo>
                        <a:pt x="48476" y="29281"/>
                      </a:lnTo>
                      <a:lnTo>
                        <a:pt x="28134" y="20160"/>
                      </a:lnTo>
                      <a:lnTo>
                        <a:pt x="10052" y="31307"/>
                      </a:lnTo>
                      <a:lnTo>
                        <a:pt x="25874" y="54614"/>
                      </a:lnTo>
                      <a:lnTo>
                        <a:pt x="23614" y="65761"/>
                      </a:lnTo>
                      <a:lnTo>
                        <a:pt x="32654" y="76908"/>
                      </a:lnTo>
                      <a:lnTo>
                        <a:pt x="48476" y="85015"/>
                      </a:lnTo>
                      <a:lnTo>
                        <a:pt x="52996" y="93122"/>
                      </a:lnTo>
                      <a:lnTo>
                        <a:pt x="67688" y="98189"/>
                      </a:lnTo>
                      <a:lnTo>
                        <a:pt x="78989" y="88055"/>
                      </a:lnTo>
                      <a:lnTo>
                        <a:pt x="94811" y="96162"/>
                      </a:lnTo>
                      <a:lnTo>
                        <a:pt x="107242" y="106295"/>
                      </a:lnTo>
                      <a:lnTo>
                        <a:pt x="107242" y="124536"/>
                      </a:lnTo>
                      <a:lnTo>
                        <a:pt x="97071" y="129603"/>
                      </a:lnTo>
                      <a:lnTo>
                        <a:pt x="84640" y="136696"/>
                      </a:lnTo>
                      <a:lnTo>
                        <a:pt x="74469" y="144803"/>
                      </a:lnTo>
                      <a:lnTo>
                        <a:pt x="69948" y="161017"/>
                      </a:lnTo>
                      <a:lnTo>
                        <a:pt x="92551" y="172164"/>
                      </a:lnTo>
                      <a:lnTo>
                        <a:pt x="101591" y="196484"/>
                      </a:lnTo>
                      <a:lnTo>
                        <a:pt x="116284" y="215738"/>
                      </a:lnTo>
                      <a:lnTo>
                        <a:pt x="127585" y="224858"/>
                      </a:lnTo>
                      <a:lnTo>
                        <a:pt x="130975" y="236005"/>
                      </a:lnTo>
                      <a:lnTo>
                        <a:pt x="142276" y="250192"/>
                      </a:lnTo>
                      <a:lnTo>
                        <a:pt x="158097" y="259312"/>
                      </a:lnTo>
                      <a:lnTo>
                        <a:pt x="164879" y="273499"/>
                      </a:lnTo>
                      <a:lnTo>
                        <a:pt x="171659" y="288700"/>
                      </a:lnTo>
                      <a:lnTo>
                        <a:pt x="184091" y="296807"/>
                      </a:lnTo>
                      <a:lnTo>
                        <a:pt x="187481" y="312007"/>
                      </a:lnTo>
                      <a:lnTo>
                        <a:pt x="190871" y="333288"/>
                      </a:lnTo>
                      <a:lnTo>
                        <a:pt x="187481" y="344434"/>
                      </a:lnTo>
                      <a:lnTo>
                        <a:pt x="188611" y="362675"/>
                      </a:lnTo>
                      <a:lnTo>
                        <a:pt x="195392" y="377875"/>
                      </a:lnTo>
                      <a:lnTo>
                        <a:pt x="199912" y="396116"/>
                      </a:lnTo>
                      <a:lnTo>
                        <a:pt x="202172" y="412329"/>
                      </a:lnTo>
                      <a:lnTo>
                        <a:pt x="196522" y="428543"/>
                      </a:lnTo>
                      <a:lnTo>
                        <a:pt x="193132" y="448810"/>
                      </a:lnTo>
                      <a:lnTo>
                        <a:pt x="192001" y="461984"/>
                      </a:lnTo>
                      <a:lnTo>
                        <a:pt x="181830" y="471104"/>
                      </a:lnTo>
                      <a:lnTo>
                        <a:pt x="163748" y="477184"/>
                      </a:lnTo>
                      <a:lnTo>
                        <a:pt x="155838" y="483264"/>
                      </a:lnTo>
                      <a:lnTo>
                        <a:pt x="152447" y="496438"/>
                      </a:lnTo>
                      <a:lnTo>
                        <a:pt x="138886" y="488331"/>
                      </a:lnTo>
                      <a:lnTo>
                        <a:pt x="114023" y="491371"/>
                      </a:lnTo>
                      <a:lnTo>
                        <a:pt x="110633" y="499478"/>
                      </a:lnTo>
                      <a:lnTo>
                        <a:pt x="98201" y="502518"/>
                      </a:lnTo>
                      <a:lnTo>
                        <a:pt x="82380" y="521772"/>
                      </a:lnTo>
                      <a:cubicBezTo>
                        <a:pt x="86900" y="524812"/>
                        <a:pt x="88031" y="527852"/>
                        <a:pt x="94811" y="537986"/>
                      </a:cubicBezTo>
                      <a:cubicBezTo>
                        <a:pt x="95941" y="530892"/>
                        <a:pt x="93681" y="577506"/>
                        <a:pt x="94811" y="569400"/>
                      </a:cubicBezTo>
                      <a:cubicBezTo>
                        <a:pt x="95941" y="572440"/>
                        <a:pt x="94811" y="578520"/>
                        <a:pt x="94811" y="581560"/>
                      </a:cubicBezTo>
                      <a:lnTo>
                        <a:pt x="102722" y="583587"/>
                      </a:lnTo>
                      <a:cubicBezTo>
                        <a:pt x="103852" y="587640"/>
                        <a:pt x="90290" y="597774"/>
                        <a:pt x="102722" y="595747"/>
                      </a:cubicBezTo>
                      <a:cubicBezTo>
                        <a:pt x="115153" y="593720"/>
                        <a:pt x="118543" y="578520"/>
                        <a:pt x="121934" y="576493"/>
                      </a:cubicBezTo>
                      <a:cubicBezTo>
                        <a:pt x="126454" y="574466"/>
                        <a:pt x="132105" y="575480"/>
                        <a:pt x="135495" y="574466"/>
                      </a:cubicBezTo>
                      <a:cubicBezTo>
                        <a:pt x="133235" y="566360"/>
                        <a:pt x="133235" y="562306"/>
                        <a:pt x="129844" y="552172"/>
                      </a:cubicBezTo>
                      <a:cubicBezTo>
                        <a:pt x="128715" y="548119"/>
                        <a:pt x="118543" y="529879"/>
                        <a:pt x="124194" y="534946"/>
                      </a:cubicBezTo>
                      <a:cubicBezTo>
                        <a:pt x="130975" y="541026"/>
                        <a:pt x="136626" y="549133"/>
                        <a:pt x="143406" y="557239"/>
                      </a:cubicBezTo>
                      <a:cubicBezTo>
                        <a:pt x="144537" y="556226"/>
                        <a:pt x="150187" y="557239"/>
                        <a:pt x="151317" y="557239"/>
                      </a:cubicBezTo>
                      <a:lnTo>
                        <a:pt x="151317" y="552172"/>
                      </a:lnTo>
                      <a:lnTo>
                        <a:pt x="153577" y="552172"/>
                      </a:lnTo>
                      <a:lnTo>
                        <a:pt x="153577" y="547106"/>
                      </a:lnTo>
                      <a:cubicBezTo>
                        <a:pt x="151317" y="542039"/>
                        <a:pt x="136626" y="541026"/>
                        <a:pt x="134365" y="534946"/>
                      </a:cubicBezTo>
                      <a:lnTo>
                        <a:pt x="134365" y="529879"/>
                      </a:lnTo>
                      <a:cubicBezTo>
                        <a:pt x="132105" y="526839"/>
                        <a:pt x="126454" y="521772"/>
                        <a:pt x="123064" y="519745"/>
                      </a:cubicBezTo>
                      <a:cubicBezTo>
                        <a:pt x="137755" y="525825"/>
                        <a:pt x="147927" y="529879"/>
                        <a:pt x="163748" y="529879"/>
                      </a:cubicBezTo>
                      <a:lnTo>
                        <a:pt x="166008" y="524812"/>
                      </a:lnTo>
                      <a:cubicBezTo>
                        <a:pt x="169399" y="524812"/>
                        <a:pt x="170529" y="527852"/>
                        <a:pt x="177310" y="526839"/>
                      </a:cubicBezTo>
                      <a:cubicBezTo>
                        <a:pt x="177310" y="526839"/>
                        <a:pt x="172789" y="519745"/>
                        <a:pt x="175049" y="519745"/>
                      </a:cubicBezTo>
                      <a:cubicBezTo>
                        <a:pt x="180700" y="518732"/>
                        <a:pt x="184091" y="525825"/>
                        <a:pt x="188611" y="524812"/>
                      </a:cubicBezTo>
                      <a:cubicBezTo>
                        <a:pt x="195392" y="522785"/>
                        <a:pt x="197652" y="513665"/>
                        <a:pt x="202172" y="510625"/>
                      </a:cubicBezTo>
                      <a:cubicBezTo>
                        <a:pt x="206693" y="507585"/>
                        <a:pt x="211213" y="510625"/>
                        <a:pt x="215734" y="508598"/>
                      </a:cubicBezTo>
                      <a:cubicBezTo>
                        <a:pt x="221385" y="505558"/>
                        <a:pt x="245117" y="486304"/>
                        <a:pt x="248507" y="482251"/>
                      </a:cubicBezTo>
                      <a:cubicBezTo>
                        <a:pt x="251898" y="477184"/>
                        <a:pt x="248507" y="475158"/>
                        <a:pt x="250767" y="470091"/>
                      </a:cubicBezTo>
                      <a:cubicBezTo>
                        <a:pt x="250767" y="469077"/>
                        <a:pt x="258678" y="465024"/>
                        <a:pt x="258678" y="465024"/>
                      </a:cubicBezTo>
                      <a:cubicBezTo>
                        <a:pt x="262069" y="451850"/>
                        <a:pt x="250767" y="449824"/>
                        <a:pt x="253028" y="438677"/>
                      </a:cubicBezTo>
                      <a:cubicBezTo>
                        <a:pt x="253028" y="437663"/>
                        <a:pt x="262069" y="434623"/>
                        <a:pt x="264329" y="433610"/>
                      </a:cubicBezTo>
                      <a:cubicBezTo>
                        <a:pt x="263199" y="430570"/>
                        <a:pt x="265459" y="426516"/>
                        <a:pt x="264329" y="423476"/>
                      </a:cubicBezTo>
                      <a:lnTo>
                        <a:pt x="258678" y="421449"/>
                      </a:lnTo>
                      <a:cubicBezTo>
                        <a:pt x="255288" y="414356"/>
                        <a:pt x="251898" y="405236"/>
                        <a:pt x="250767" y="399156"/>
                      </a:cubicBezTo>
                      <a:cubicBezTo>
                        <a:pt x="249637" y="392062"/>
                        <a:pt x="253028" y="383955"/>
                        <a:pt x="250767" y="376862"/>
                      </a:cubicBezTo>
                      <a:cubicBezTo>
                        <a:pt x="250767" y="375848"/>
                        <a:pt x="242856" y="370782"/>
                        <a:pt x="242856" y="369768"/>
                      </a:cubicBezTo>
                      <a:cubicBezTo>
                        <a:pt x="241727" y="365715"/>
                        <a:pt x="243987" y="361661"/>
                        <a:pt x="242856" y="357608"/>
                      </a:cubicBezTo>
                      <a:cubicBezTo>
                        <a:pt x="242856" y="357608"/>
                        <a:pt x="237206" y="355581"/>
                        <a:pt x="237206" y="355581"/>
                      </a:cubicBezTo>
                      <a:cubicBezTo>
                        <a:pt x="236076" y="349501"/>
                        <a:pt x="239466" y="341394"/>
                        <a:pt x="237206" y="336328"/>
                      </a:cubicBezTo>
                      <a:cubicBezTo>
                        <a:pt x="237206" y="336328"/>
                        <a:pt x="216864" y="321127"/>
                        <a:pt x="215734" y="317074"/>
                      </a:cubicBezTo>
                      <a:cubicBezTo>
                        <a:pt x="213474" y="309980"/>
                        <a:pt x="216864" y="302887"/>
                        <a:pt x="213474" y="297820"/>
                      </a:cubicBezTo>
                      <a:cubicBezTo>
                        <a:pt x="212344" y="295793"/>
                        <a:pt x="196522" y="290727"/>
                        <a:pt x="194261" y="287687"/>
                      </a:cubicBezTo>
                      <a:cubicBezTo>
                        <a:pt x="194261" y="287687"/>
                        <a:pt x="180700" y="265393"/>
                        <a:pt x="180700" y="265393"/>
                      </a:cubicBezTo>
                      <a:cubicBezTo>
                        <a:pt x="180700" y="263366"/>
                        <a:pt x="181830" y="259312"/>
                        <a:pt x="180700" y="258299"/>
                      </a:cubicBezTo>
                      <a:cubicBezTo>
                        <a:pt x="173919" y="249179"/>
                        <a:pt x="154707" y="246139"/>
                        <a:pt x="147927" y="236005"/>
                      </a:cubicBezTo>
                      <a:cubicBezTo>
                        <a:pt x="145666" y="231952"/>
                        <a:pt x="147927" y="227898"/>
                        <a:pt x="145666" y="223845"/>
                      </a:cubicBezTo>
                      <a:cubicBezTo>
                        <a:pt x="137755" y="212698"/>
                        <a:pt x="116284" y="200538"/>
                        <a:pt x="120804" y="180271"/>
                      </a:cubicBezTo>
                      <a:lnTo>
                        <a:pt x="126454" y="173177"/>
                      </a:lnTo>
                      <a:cubicBezTo>
                        <a:pt x="127585" y="167097"/>
                        <a:pt x="124194" y="156963"/>
                        <a:pt x="126454" y="150883"/>
                      </a:cubicBezTo>
                      <a:cubicBezTo>
                        <a:pt x="128715" y="144803"/>
                        <a:pt x="140016" y="145817"/>
                        <a:pt x="145666" y="140750"/>
                      </a:cubicBezTo>
                      <a:lnTo>
                        <a:pt x="170529" y="111362"/>
                      </a:lnTo>
                      <a:cubicBezTo>
                        <a:pt x="171659" y="109336"/>
                        <a:pt x="169399" y="105282"/>
                        <a:pt x="170529" y="104269"/>
                      </a:cubicBezTo>
                      <a:cubicBezTo>
                        <a:pt x="175049" y="100216"/>
                        <a:pt x="182960" y="103255"/>
                        <a:pt x="189741" y="99202"/>
                      </a:cubicBezTo>
                      <a:cubicBezTo>
                        <a:pt x="193132" y="97175"/>
                        <a:pt x="194261" y="89069"/>
                        <a:pt x="197652" y="87042"/>
                      </a:cubicBezTo>
                      <a:cubicBezTo>
                        <a:pt x="202172" y="84002"/>
                        <a:pt x="210083" y="85015"/>
                        <a:pt x="213474" y="81975"/>
                      </a:cubicBezTo>
                      <a:cubicBezTo>
                        <a:pt x="212344" y="78935"/>
                        <a:pt x="214603" y="76908"/>
                        <a:pt x="214603" y="75895"/>
                      </a:cubicBezTo>
                      <a:close/>
                      <a:moveTo>
                        <a:pt x="111763" y="504545"/>
                      </a:moveTo>
                      <a:cubicBezTo>
                        <a:pt x="118543" y="506571"/>
                        <a:pt x="121934" y="522785"/>
                        <a:pt x="111763" y="518732"/>
                      </a:cubicBezTo>
                      <a:cubicBezTo>
                        <a:pt x="108373" y="517718"/>
                        <a:pt x="102722" y="501505"/>
                        <a:pt x="111763" y="50454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2" name="Freeform: Shape 261">
                  <a:extLst>
                    <a:ext uri="{FF2B5EF4-FFF2-40B4-BE49-F238E27FC236}">
                      <a16:creationId xmlns:a16="http://schemas.microsoft.com/office/drawing/2014/main" id="{B409DC84-5DD5-4CE6-9734-DB5F93389189}"/>
                    </a:ext>
                  </a:extLst>
                </p:cNvPr>
                <p:cNvSpPr/>
                <p:nvPr/>
              </p:nvSpPr>
              <p:spPr>
                <a:xfrm>
                  <a:off x="3286391" y="3792480"/>
                  <a:ext cx="497253" cy="476278"/>
                </a:xfrm>
                <a:custGeom>
                  <a:avLst/>
                  <a:gdLst>
                    <a:gd name="connsiteX0" fmla="*/ 475379 w 497252"/>
                    <a:gd name="connsiteY0" fmla="*/ 129603 h 476277"/>
                    <a:gd name="connsiteX1" fmla="*/ 475379 w 497252"/>
                    <a:gd name="connsiteY1" fmla="*/ 134670 h 476277"/>
                    <a:gd name="connsiteX2" fmla="*/ 475379 w 497252"/>
                    <a:gd name="connsiteY2" fmla="*/ 129603 h 476277"/>
                    <a:gd name="connsiteX3" fmla="*/ 87748 w 497252"/>
                    <a:gd name="connsiteY3" fmla="*/ 20160 h 476277"/>
                    <a:gd name="connsiteX4" fmla="*/ 67406 w 497252"/>
                    <a:gd name="connsiteY4" fmla="*/ 24214 h 476277"/>
                    <a:gd name="connsiteX5" fmla="*/ 47063 w 497252"/>
                    <a:gd name="connsiteY5" fmla="*/ 47521 h 476277"/>
                    <a:gd name="connsiteX6" fmla="*/ 34632 w 497252"/>
                    <a:gd name="connsiteY6" fmla="*/ 78935 h 476277"/>
                    <a:gd name="connsiteX7" fmla="*/ 18810 w 497252"/>
                    <a:gd name="connsiteY7" fmla="*/ 84002 h 476277"/>
                    <a:gd name="connsiteX8" fmla="*/ 18810 w 497252"/>
                    <a:gd name="connsiteY8" fmla="*/ 107309 h 476277"/>
                    <a:gd name="connsiteX9" fmla="*/ 13160 w 497252"/>
                    <a:gd name="connsiteY9" fmla="*/ 133657 h 476277"/>
                    <a:gd name="connsiteX10" fmla="*/ 17680 w 497252"/>
                    <a:gd name="connsiteY10" fmla="*/ 146830 h 476277"/>
                    <a:gd name="connsiteX11" fmla="*/ 32372 w 497252"/>
                    <a:gd name="connsiteY11" fmla="*/ 143790 h 476277"/>
                    <a:gd name="connsiteX12" fmla="*/ 48194 w 497252"/>
                    <a:gd name="connsiteY12" fmla="*/ 173177 h 476277"/>
                    <a:gd name="connsiteX13" fmla="*/ 41413 w 497252"/>
                    <a:gd name="connsiteY13" fmla="*/ 182298 h 476277"/>
                    <a:gd name="connsiteX14" fmla="*/ 56105 w 497252"/>
                    <a:gd name="connsiteY14" fmla="*/ 203578 h 476277"/>
                    <a:gd name="connsiteX15" fmla="*/ 61755 w 497252"/>
                    <a:gd name="connsiteY15" fmla="*/ 222832 h 476277"/>
                    <a:gd name="connsiteX16" fmla="*/ 87748 w 497252"/>
                    <a:gd name="connsiteY16" fmla="*/ 227899 h 476277"/>
                    <a:gd name="connsiteX17" fmla="*/ 117131 w 497252"/>
                    <a:gd name="connsiteY17" fmla="*/ 227899 h 476277"/>
                    <a:gd name="connsiteX18" fmla="*/ 139733 w 497252"/>
                    <a:gd name="connsiteY18" fmla="*/ 233979 h 476277"/>
                    <a:gd name="connsiteX19" fmla="*/ 156685 w 497252"/>
                    <a:gd name="connsiteY19" fmla="*/ 259313 h 476277"/>
                    <a:gd name="connsiteX20" fmla="*/ 183808 w 497252"/>
                    <a:gd name="connsiteY20" fmla="*/ 258299 h 476277"/>
                    <a:gd name="connsiteX21" fmla="*/ 206410 w 497252"/>
                    <a:gd name="connsiteY21" fmla="*/ 262353 h 476277"/>
                    <a:gd name="connsiteX22" fmla="*/ 203020 w 497252"/>
                    <a:gd name="connsiteY22" fmla="*/ 281606 h 476277"/>
                    <a:gd name="connsiteX23" fmla="*/ 196239 w 497252"/>
                    <a:gd name="connsiteY23" fmla="*/ 299847 h 476277"/>
                    <a:gd name="connsiteX24" fmla="*/ 216581 w 497252"/>
                    <a:gd name="connsiteY24" fmla="*/ 324167 h 476277"/>
                    <a:gd name="connsiteX25" fmla="*/ 234663 w 497252"/>
                    <a:gd name="connsiteY25" fmla="*/ 344435 h 476277"/>
                    <a:gd name="connsiteX26" fmla="*/ 268567 w 497252"/>
                    <a:gd name="connsiteY26" fmla="*/ 363688 h 476277"/>
                    <a:gd name="connsiteX27" fmla="*/ 259526 w 497252"/>
                    <a:gd name="connsiteY27" fmla="*/ 388009 h 476277"/>
                    <a:gd name="connsiteX28" fmla="*/ 243704 w 497252"/>
                    <a:gd name="connsiteY28" fmla="*/ 403209 h 476277"/>
                    <a:gd name="connsiteX29" fmla="*/ 249355 w 497252"/>
                    <a:gd name="connsiteY29" fmla="*/ 417396 h 476277"/>
                    <a:gd name="connsiteX30" fmla="*/ 258396 w 497252"/>
                    <a:gd name="connsiteY30" fmla="*/ 426517 h 476277"/>
                    <a:gd name="connsiteX31" fmla="*/ 267437 w 497252"/>
                    <a:gd name="connsiteY31" fmla="*/ 440703 h 476277"/>
                    <a:gd name="connsiteX32" fmla="*/ 264046 w 497252"/>
                    <a:gd name="connsiteY32" fmla="*/ 459957 h 476277"/>
                    <a:gd name="connsiteX33" fmla="*/ 282128 w 497252"/>
                    <a:gd name="connsiteY33" fmla="*/ 471104 h 476277"/>
                    <a:gd name="connsiteX34" fmla="*/ 304731 w 497252"/>
                    <a:gd name="connsiteY34" fmla="*/ 460971 h 476277"/>
                    <a:gd name="connsiteX35" fmla="*/ 325073 w 497252"/>
                    <a:gd name="connsiteY35" fmla="*/ 445770 h 476277"/>
                    <a:gd name="connsiteX36" fmla="*/ 343155 w 497252"/>
                    <a:gd name="connsiteY36" fmla="*/ 437664 h 476277"/>
                    <a:gd name="connsiteX37" fmla="*/ 363497 w 497252"/>
                    <a:gd name="connsiteY37" fmla="*/ 417396 h 476277"/>
                    <a:gd name="connsiteX38" fmla="*/ 375928 w 497252"/>
                    <a:gd name="connsiteY38" fmla="*/ 412330 h 476277"/>
                    <a:gd name="connsiteX39" fmla="*/ 363497 w 497252"/>
                    <a:gd name="connsiteY39" fmla="*/ 402196 h 476277"/>
                    <a:gd name="connsiteX40" fmla="*/ 337504 w 497252"/>
                    <a:gd name="connsiteY40" fmla="*/ 406249 h 476277"/>
                    <a:gd name="connsiteX41" fmla="*/ 322812 w 497252"/>
                    <a:gd name="connsiteY41" fmla="*/ 393076 h 476277"/>
                    <a:gd name="connsiteX42" fmla="*/ 327333 w 497252"/>
                    <a:gd name="connsiteY42" fmla="*/ 366729 h 476277"/>
                    <a:gd name="connsiteX43" fmla="*/ 317162 w 497252"/>
                    <a:gd name="connsiteY43" fmla="*/ 350515 h 476277"/>
                    <a:gd name="connsiteX44" fmla="*/ 310381 w 497252"/>
                    <a:gd name="connsiteY44" fmla="*/ 332274 h 476277"/>
                    <a:gd name="connsiteX45" fmla="*/ 314902 w 497252"/>
                    <a:gd name="connsiteY45" fmla="*/ 327207 h 476277"/>
                    <a:gd name="connsiteX46" fmla="*/ 340894 w 497252"/>
                    <a:gd name="connsiteY46" fmla="*/ 335314 h 476277"/>
                    <a:gd name="connsiteX47" fmla="*/ 363497 w 497252"/>
                    <a:gd name="connsiteY47" fmla="*/ 340381 h 476277"/>
                    <a:gd name="connsiteX48" fmla="*/ 386099 w 497252"/>
                    <a:gd name="connsiteY48" fmla="*/ 345448 h 476277"/>
                    <a:gd name="connsiteX49" fmla="*/ 381579 w 497252"/>
                    <a:gd name="connsiteY49" fmla="*/ 336328 h 476277"/>
                    <a:gd name="connsiteX50" fmla="*/ 392880 w 497252"/>
                    <a:gd name="connsiteY50" fmla="*/ 331261 h 476277"/>
                    <a:gd name="connsiteX51" fmla="*/ 413222 w 497252"/>
                    <a:gd name="connsiteY51" fmla="*/ 334301 h 476277"/>
                    <a:gd name="connsiteX52" fmla="*/ 429044 w 497252"/>
                    <a:gd name="connsiteY52" fmla="*/ 325181 h 476277"/>
                    <a:gd name="connsiteX53" fmla="*/ 444866 w 497252"/>
                    <a:gd name="connsiteY53" fmla="*/ 310994 h 476277"/>
                    <a:gd name="connsiteX54" fmla="*/ 461817 w 497252"/>
                    <a:gd name="connsiteY54" fmla="*/ 307954 h 476277"/>
                    <a:gd name="connsiteX55" fmla="*/ 466338 w 497252"/>
                    <a:gd name="connsiteY55" fmla="*/ 297820 h 476277"/>
                    <a:gd name="connsiteX56" fmla="*/ 465208 w 497252"/>
                    <a:gd name="connsiteY56" fmla="*/ 287687 h 476277"/>
                    <a:gd name="connsiteX57" fmla="*/ 433564 w 497252"/>
                    <a:gd name="connsiteY57" fmla="*/ 244112 h 476277"/>
                    <a:gd name="connsiteX58" fmla="*/ 448256 w 497252"/>
                    <a:gd name="connsiteY58" fmla="*/ 238032 h 476277"/>
                    <a:gd name="connsiteX59" fmla="*/ 449386 w 497252"/>
                    <a:gd name="connsiteY59" fmla="*/ 223845 h 476277"/>
                    <a:gd name="connsiteX60" fmla="*/ 481029 w 497252"/>
                    <a:gd name="connsiteY60" fmla="*/ 213712 h 476277"/>
                    <a:gd name="connsiteX61" fmla="*/ 468598 w 497252"/>
                    <a:gd name="connsiteY61" fmla="*/ 204591 h 476277"/>
                    <a:gd name="connsiteX62" fmla="*/ 459557 w 497252"/>
                    <a:gd name="connsiteY62" fmla="*/ 189391 h 476277"/>
                    <a:gd name="connsiteX63" fmla="*/ 458427 w 497252"/>
                    <a:gd name="connsiteY63" fmla="*/ 176217 h 476277"/>
                    <a:gd name="connsiteX64" fmla="*/ 485550 w 497252"/>
                    <a:gd name="connsiteY64" fmla="*/ 168111 h 476277"/>
                    <a:gd name="connsiteX65" fmla="*/ 492330 w 497252"/>
                    <a:gd name="connsiteY65" fmla="*/ 160004 h 476277"/>
                    <a:gd name="connsiteX66" fmla="*/ 493461 w 497252"/>
                    <a:gd name="connsiteY66" fmla="*/ 144803 h 476277"/>
                    <a:gd name="connsiteX67" fmla="*/ 487810 w 497252"/>
                    <a:gd name="connsiteY67" fmla="*/ 139736 h 476277"/>
                    <a:gd name="connsiteX68" fmla="*/ 471988 w 497252"/>
                    <a:gd name="connsiteY68" fmla="*/ 144803 h 476277"/>
                    <a:gd name="connsiteX69" fmla="*/ 452776 w 497252"/>
                    <a:gd name="connsiteY69" fmla="*/ 142777 h 476277"/>
                    <a:gd name="connsiteX70" fmla="*/ 447126 w 497252"/>
                    <a:gd name="connsiteY70" fmla="*/ 147843 h 476277"/>
                    <a:gd name="connsiteX71" fmla="*/ 412092 w 497252"/>
                    <a:gd name="connsiteY71" fmla="*/ 154937 h 476277"/>
                    <a:gd name="connsiteX72" fmla="*/ 417743 w 497252"/>
                    <a:gd name="connsiteY72" fmla="*/ 142777 h 476277"/>
                    <a:gd name="connsiteX73" fmla="*/ 458427 w 497252"/>
                    <a:gd name="connsiteY73" fmla="*/ 135683 h 476277"/>
                    <a:gd name="connsiteX74" fmla="*/ 458427 w 497252"/>
                    <a:gd name="connsiteY74" fmla="*/ 121496 h 476277"/>
                    <a:gd name="connsiteX75" fmla="*/ 466338 w 497252"/>
                    <a:gd name="connsiteY75" fmla="*/ 111363 h 476277"/>
                    <a:gd name="connsiteX76" fmla="*/ 464077 w 497252"/>
                    <a:gd name="connsiteY76" fmla="*/ 104269 h 476277"/>
                    <a:gd name="connsiteX77" fmla="*/ 464077 w 497252"/>
                    <a:gd name="connsiteY77" fmla="*/ 101229 h 476277"/>
                    <a:gd name="connsiteX78" fmla="*/ 444866 w 497252"/>
                    <a:gd name="connsiteY78" fmla="*/ 99202 h 476277"/>
                    <a:gd name="connsiteX79" fmla="*/ 447126 w 497252"/>
                    <a:gd name="connsiteY79" fmla="*/ 104269 h 476277"/>
                    <a:gd name="connsiteX80" fmla="*/ 435824 w 497252"/>
                    <a:gd name="connsiteY80" fmla="*/ 99202 h 476277"/>
                    <a:gd name="connsiteX81" fmla="*/ 427914 w 497252"/>
                    <a:gd name="connsiteY81" fmla="*/ 92109 h 476277"/>
                    <a:gd name="connsiteX82" fmla="*/ 420003 w 497252"/>
                    <a:gd name="connsiteY82" fmla="*/ 99202 h 476277"/>
                    <a:gd name="connsiteX83" fmla="*/ 414352 w 497252"/>
                    <a:gd name="connsiteY83" fmla="*/ 99202 h 476277"/>
                    <a:gd name="connsiteX84" fmla="*/ 400791 w 497252"/>
                    <a:gd name="connsiteY84" fmla="*/ 74882 h 476277"/>
                    <a:gd name="connsiteX85" fmla="*/ 420003 w 497252"/>
                    <a:gd name="connsiteY85" fmla="*/ 72855 h 476277"/>
                    <a:gd name="connsiteX86" fmla="*/ 420003 w 497252"/>
                    <a:gd name="connsiteY86" fmla="*/ 62722 h 476277"/>
                    <a:gd name="connsiteX87" fmla="*/ 368017 w 497252"/>
                    <a:gd name="connsiteY87" fmla="*/ 64748 h 476277"/>
                    <a:gd name="connsiteX88" fmla="*/ 375928 w 497252"/>
                    <a:gd name="connsiteY88" fmla="*/ 71842 h 476277"/>
                    <a:gd name="connsiteX89" fmla="*/ 356716 w 497252"/>
                    <a:gd name="connsiteY89" fmla="*/ 69815 h 476277"/>
                    <a:gd name="connsiteX90" fmla="*/ 356716 w 497252"/>
                    <a:gd name="connsiteY90" fmla="*/ 71842 h 476277"/>
                    <a:gd name="connsiteX91" fmla="*/ 340894 w 497252"/>
                    <a:gd name="connsiteY91" fmla="*/ 76908 h 476277"/>
                    <a:gd name="connsiteX92" fmla="*/ 340894 w 497252"/>
                    <a:gd name="connsiteY92" fmla="*/ 81975 h 476277"/>
                    <a:gd name="connsiteX93" fmla="*/ 321683 w 497252"/>
                    <a:gd name="connsiteY93" fmla="*/ 84002 h 476277"/>
                    <a:gd name="connsiteX94" fmla="*/ 283258 w 497252"/>
                    <a:gd name="connsiteY94" fmla="*/ 78935 h 476277"/>
                    <a:gd name="connsiteX95" fmla="*/ 267437 w 497252"/>
                    <a:gd name="connsiteY95" fmla="*/ 64748 h 476277"/>
                    <a:gd name="connsiteX96" fmla="*/ 224492 w 497252"/>
                    <a:gd name="connsiteY96" fmla="*/ 66775 h 476277"/>
                    <a:gd name="connsiteX97" fmla="*/ 213191 w 497252"/>
                    <a:gd name="connsiteY97" fmla="*/ 71842 h 476277"/>
                    <a:gd name="connsiteX98" fmla="*/ 213191 w 497252"/>
                    <a:gd name="connsiteY98" fmla="*/ 57655 h 476277"/>
                    <a:gd name="connsiteX99" fmla="*/ 201890 w 497252"/>
                    <a:gd name="connsiteY99" fmla="*/ 40428 h 476277"/>
                    <a:gd name="connsiteX100" fmla="*/ 193979 w 497252"/>
                    <a:gd name="connsiteY100" fmla="*/ 40428 h 476277"/>
                    <a:gd name="connsiteX101" fmla="*/ 188328 w 497252"/>
                    <a:gd name="connsiteY101" fmla="*/ 33334 h 476277"/>
                    <a:gd name="connsiteX102" fmla="*/ 158945 w 497252"/>
                    <a:gd name="connsiteY102" fmla="*/ 31307 h 476277"/>
                    <a:gd name="connsiteX103" fmla="*/ 147644 w 497252"/>
                    <a:gd name="connsiteY103" fmla="*/ 9013 h 476277"/>
                    <a:gd name="connsiteX104" fmla="*/ 136343 w 497252"/>
                    <a:gd name="connsiteY104" fmla="*/ 11040 h 476277"/>
                    <a:gd name="connsiteX105" fmla="*/ 134083 w 497252"/>
                    <a:gd name="connsiteY105" fmla="*/ 23200 h 476277"/>
                    <a:gd name="connsiteX106" fmla="*/ 149904 w 497252"/>
                    <a:gd name="connsiteY106" fmla="*/ 28267 h 476277"/>
                    <a:gd name="connsiteX107" fmla="*/ 155555 w 497252"/>
                    <a:gd name="connsiteY107" fmla="*/ 38401 h 476277"/>
                    <a:gd name="connsiteX108" fmla="*/ 101309 w 497252"/>
                    <a:gd name="connsiteY108" fmla="*/ 50561 h 476277"/>
                    <a:gd name="connsiteX109" fmla="*/ 99049 w 497252"/>
                    <a:gd name="connsiteY109" fmla="*/ 76908 h 476277"/>
                    <a:gd name="connsiteX110" fmla="*/ 106960 w 497252"/>
                    <a:gd name="connsiteY110" fmla="*/ 81975 h 476277"/>
                    <a:gd name="connsiteX111" fmla="*/ 114871 w 497252"/>
                    <a:gd name="connsiteY111" fmla="*/ 89069 h 476277"/>
                    <a:gd name="connsiteX112" fmla="*/ 112611 w 497252"/>
                    <a:gd name="connsiteY112" fmla="*/ 96162 h 476277"/>
                    <a:gd name="connsiteX113" fmla="*/ 118261 w 497252"/>
                    <a:gd name="connsiteY113" fmla="*/ 118456 h 476277"/>
                    <a:gd name="connsiteX114" fmla="*/ 91138 w 497252"/>
                    <a:gd name="connsiteY114" fmla="*/ 130616 h 476277"/>
                    <a:gd name="connsiteX115" fmla="*/ 91138 w 497252"/>
                    <a:gd name="connsiteY115" fmla="*/ 120483 h 476277"/>
                    <a:gd name="connsiteX116" fmla="*/ 85487 w 497252"/>
                    <a:gd name="connsiteY116" fmla="*/ 120483 h 476277"/>
                    <a:gd name="connsiteX117" fmla="*/ 74186 w 497252"/>
                    <a:gd name="connsiteY117" fmla="*/ 86029 h 476277"/>
                    <a:gd name="connsiteX118" fmla="*/ 93398 w 497252"/>
                    <a:gd name="connsiteY118" fmla="*/ 71842 h 476277"/>
                    <a:gd name="connsiteX119" fmla="*/ 93398 w 497252"/>
                    <a:gd name="connsiteY119" fmla="*/ 61708 h 476277"/>
                    <a:gd name="connsiteX120" fmla="*/ 85487 w 497252"/>
                    <a:gd name="connsiteY120" fmla="*/ 59681 h 476277"/>
                    <a:gd name="connsiteX121" fmla="*/ 87748 w 497252"/>
                    <a:gd name="connsiteY121" fmla="*/ 49548 h 476277"/>
                    <a:gd name="connsiteX122" fmla="*/ 82097 w 497252"/>
                    <a:gd name="connsiteY122" fmla="*/ 44481 h 476277"/>
                    <a:gd name="connsiteX123" fmla="*/ 70796 w 497252"/>
                    <a:gd name="connsiteY123" fmla="*/ 44481 h 476277"/>
                    <a:gd name="connsiteX124" fmla="*/ 70796 w 497252"/>
                    <a:gd name="connsiteY124" fmla="*/ 37388 h 476277"/>
                    <a:gd name="connsiteX125" fmla="*/ 86618 w 497252"/>
                    <a:gd name="connsiteY125" fmla="*/ 27254 h 476277"/>
                    <a:gd name="connsiteX126" fmla="*/ 88878 w 497252"/>
                    <a:gd name="connsiteY126" fmla="*/ 27254 h 476277"/>
                    <a:gd name="connsiteX127" fmla="*/ 87748 w 497252"/>
                    <a:gd name="connsiteY127" fmla="*/ 20160 h 476277"/>
                    <a:gd name="connsiteX128" fmla="*/ 364627 w 497252"/>
                    <a:gd name="connsiteY128" fmla="*/ 47521 h 476277"/>
                    <a:gd name="connsiteX129" fmla="*/ 370278 w 497252"/>
                    <a:gd name="connsiteY129" fmla="*/ 52588 h 476277"/>
                    <a:gd name="connsiteX130" fmla="*/ 364627 w 497252"/>
                    <a:gd name="connsiteY130" fmla="*/ 47521 h 47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497252" h="476277">
                      <a:moveTo>
                        <a:pt x="475379" y="129603"/>
                      </a:moveTo>
                      <a:lnTo>
                        <a:pt x="475379" y="134670"/>
                      </a:lnTo>
                      <a:cubicBezTo>
                        <a:pt x="490070" y="135683"/>
                        <a:pt x="487810" y="130616"/>
                        <a:pt x="475379" y="129603"/>
                      </a:cubicBezTo>
                      <a:close/>
                      <a:moveTo>
                        <a:pt x="87748" y="20160"/>
                      </a:moveTo>
                      <a:cubicBezTo>
                        <a:pt x="80967" y="21174"/>
                        <a:pt x="67406" y="24214"/>
                        <a:pt x="67406" y="24214"/>
                      </a:cubicBezTo>
                      <a:lnTo>
                        <a:pt x="47063" y="47521"/>
                      </a:lnTo>
                      <a:lnTo>
                        <a:pt x="34632" y="78935"/>
                      </a:lnTo>
                      <a:lnTo>
                        <a:pt x="18810" y="84002"/>
                      </a:lnTo>
                      <a:cubicBezTo>
                        <a:pt x="18810" y="84002"/>
                        <a:pt x="24461" y="97176"/>
                        <a:pt x="18810" y="107309"/>
                      </a:cubicBezTo>
                      <a:cubicBezTo>
                        <a:pt x="13160" y="117443"/>
                        <a:pt x="22201" y="117443"/>
                        <a:pt x="13160" y="133657"/>
                      </a:cubicBezTo>
                      <a:cubicBezTo>
                        <a:pt x="4119" y="149870"/>
                        <a:pt x="17680" y="146830"/>
                        <a:pt x="17680" y="146830"/>
                      </a:cubicBezTo>
                      <a:lnTo>
                        <a:pt x="32372" y="143790"/>
                      </a:lnTo>
                      <a:lnTo>
                        <a:pt x="48194" y="173177"/>
                      </a:lnTo>
                      <a:cubicBezTo>
                        <a:pt x="48194" y="173177"/>
                        <a:pt x="39153" y="173177"/>
                        <a:pt x="41413" y="182298"/>
                      </a:cubicBezTo>
                      <a:cubicBezTo>
                        <a:pt x="43673" y="191418"/>
                        <a:pt x="48194" y="193444"/>
                        <a:pt x="56105" y="203578"/>
                      </a:cubicBezTo>
                      <a:cubicBezTo>
                        <a:pt x="62885" y="213712"/>
                        <a:pt x="61755" y="222832"/>
                        <a:pt x="61755" y="222832"/>
                      </a:cubicBezTo>
                      <a:lnTo>
                        <a:pt x="87748" y="227899"/>
                      </a:lnTo>
                      <a:cubicBezTo>
                        <a:pt x="87748" y="227899"/>
                        <a:pt x="108090" y="230939"/>
                        <a:pt x="117131" y="227899"/>
                      </a:cubicBezTo>
                      <a:cubicBezTo>
                        <a:pt x="127302" y="224859"/>
                        <a:pt x="135213" y="226885"/>
                        <a:pt x="139733" y="233979"/>
                      </a:cubicBezTo>
                      <a:cubicBezTo>
                        <a:pt x="144254" y="241072"/>
                        <a:pt x="156685" y="259313"/>
                        <a:pt x="156685" y="259313"/>
                      </a:cubicBezTo>
                      <a:cubicBezTo>
                        <a:pt x="156685" y="259313"/>
                        <a:pt x="173637" y="258299"/>
                        <a:pt x="183808" y="258299"/>
                      </a:cubicBezTo>
                      <a:cubicBezTo>
                        <a:pt x="193979" y="258299"/>
                        <a:pt x="206410" y="262353"/>
                        <a:pt x="206410" y="262353"/>
                      </a:cubicBezTo>
                      <a:lnTo>
                        <a:pt x="203020" y="281606"/>
                      </a:lnTo>
                      <a:cubicBezTo>
                        <a:pt x="203020" y="281606"/>
                        <a:pt x="192849" y="286673"/>
                        <a:pt x="196239" y="299847"/>
                      </a:cubicBezTo>
                      <a:cubicBezTo>
                        <a:pt x="199630" y="313020"/>
                        <a:pt x="214321" y="318087"/>
                        <a:pt x="216581" y="324167"/>
                      </a:cubicBezTo>
                      <a:cubicBezTo>
                        <a:pt x="218842" y="330248"/>
                        <a:pt x="229013" y="338354"/>
                        <a:pt x="234663" y="344435"/>
                      </a:cubicBezTo>
                      <a:cubicBezTo>
                        <a:pt x="240314" y="350515"/>
                        <a:pt x="268567" y="363688"/>
                        <a:pt x="268567" y="363688"/>
                      </a:cubicBezTo>
                      <a:cubicBezTo>
                        <a:pt x="268567" y="363688"/>
                        <a:pt x="261786" y="379902"/>
                        <a:pt x="259526" y="388009"/>
                      </a:cubicBezTo>
                      <a:cubicBezTo>
                        <a:pt x="257266" y="396116"/>
                        <a:pt x="243704" y="403209"/>
                        <a:pt x="243704" y="403209"/>
                      </a:cubicBezTo>
                      <a:cubicBezTo>
                        <a:pt x="243704" y="403209"/>
                        <a:pt x="239184" y="423476"/>
                        <a:pt x="249355" y="417396"/>
                      </a:cubicBezTo>
                      <a:cubicBezTo>
                        <a:pt x="259526" y="411316"/>
                        <a:pt x="255005" y="418410"/>
                        <a:pt x="258396" y="426517"/>
                      </a:cubicBezTo>
                      <a:cubicBezTo>
                        <a:pt x="261786" y="434623"/>
                        <a:pt x="267437" y="440703"/>
                        <a:pt x="267437" y="440703"/>
                      </a:cubicBezTo>
                      <a:lnTo>
                        <a:pt x="264046" y="459957"/>
                      </a:lnTo>
                      <a:lnTo>
                        <a:pt x="282128" y="471104"/>
                      </a:lnTo>
                      <a:cubicBezTo>
                        <a:pt x="282128" y="471104"/>
                        <a:pt x="294559" y="460971"/>
                        <a:pt x="304731" y="460971"/>
                      </a:cubicBezTo>
                      <a:cubicBezTo>
                        <a:pt x="314902" y="460971"/>
                        <a:pt x="316032" y="445770"/>
                        <a:pt x="325073" y="445770"/>
                      </a:cubicBezTo>
                      <a:cubicBezTo>
                        <a:pt x="334114" y="445770"/>
                        <a:pt x="336374" y="437664"/>
                        <a:pt x="343155" y="437664"/>
                      </a:cubicBezTo>
                      <a:cubicBezTo>
                        <a:pt x="349936" y="437664"/>
                        <a:pt x="354456" y="417396"/>
                        <a:pt x="363497" y="417396"/>
                      </a:cubicBezTo>
                      <a:cubicBezTo>
                        <a:pt x="372538" y="417396"/>
                        <a:pt x="375928" y="412330"/>
                        <a:pt x="375928" y="412330"/>
                      </a:cubicBezTo>
                      <a:cubicBezTo>
                        <a:pt x="375928" y="412330"/>
                        <a:pt x="372538" y="399156"/>
                        <a:pt x="363497" y="402196"/>
                      </a:cubicBezTo>
                      <a:cubicBezTo>
                        <a:pt x="353326" y="405236"/>
                        <a:pt x="343155" y="410303"/>
                        <a:pt x="337504" y="406249"/>
                      </a:cubicBezTo>
                      <a:cubicBezTo>
                        <a:pt x="331854" y="402196"/>
                        <a:pt x="326203" y="401183"/>
                        <a:pt x="322812" y="393076"/>
                      </a:cubicBezTo>
                      <a:cubicBezTo>
                        <a:pt x="319422" y="384969"/>
                        <a:pt x="328463" y="371795"/>
                        <a:pt x="327333" y="366729"/>
                      </a:cubicBezTo>
                      <a:cubicBezTo>
                        <a:pt x="326203" y="361662"/>
                        <a:pt x="323943" y="358622"/>
                        <a:pt x="317162" y="350515"/>
                      </a:cubicBezTo>
                      <a:cubicBezTo>
                        <a:pt x="310381" y="342408"/>
                        <a:pt x="317162" y="335314"/>
                        <a:pt x="310381" y="332274"/>
                      </a:cubicBezTo>
                      <a:cubicBezTo>
                        <a:pt x="303601" y="329234"/>
                        <a:pt x="300210" y="326194"/>
                        <a:pt x="314902" y="327207"/>
                      </a:cubicBezTo>
                      <a:cubicBezTo>
                        <a:pt x="329593" y="328221"/>
                        <a:pt x="340894" y="335314"/>
                        <a:pt x="340894" y="335314"/>
                      </a:cubicBezTo>
                      <a:cubicBezTo>
                        <a:pt x="340894" y="335314"/>
                        <a:pt x="357846" y="335314"/>
                        <a:pt x="363497" y="340381"/>
                      </a:cubicBezTo>
                      <a:cubicBezTo>
                        <a:pt x="369147" y="345448"/>
                        <a:pt x="386099" y="345448"/>
                        <a:pt x="386099" y="345448"/>
                      </a:cubicBezTo>
                      <a:cubicBezTo>
                        <a:pt x="386099" y="345448"/>
                        <a:pt x="377058" y="342408"/>
                        <a:pt x="381579" y="336328"/>
                      </a:cubicBezTo>
                      <a:cubicBezTo>
                        <a:pt x="386099" y="330248"/>
                        <a:pt x="392880" y="331261"/>
                        <a:pt x="392880" y="331261"/>
                      </a:cubicBezTo>
                      <a:cubicBezTo>
                        <a:pt x="392880" y="331261"/>
                        <a:pt x="403051" y="334301"/>
                        <a:pt x="413222" y="334301"/>
                      </a:cubicBezTo>
                      <a:cubicBezTo>
                        <a:pt x="423393" y="334301"/>
                        <a:pt x="420003" y="326194"/>
                        <a:pt x="429044" y="325181"/>
                      </a:cubicBezTo>
                      <a:cubicBezTo>
                        <a:pt x="438085" y="324167"/>
                        <a:pt x="438085" y="310994"/>
                        <a:pt x="444866" y="310994"/>
                      </a:cubicBezTo>
                      <a:cubicBezTo>
                        <a:pt x="451646" y="310994"/>
                        <a:pt x="461817" y="307954"/>
                        <a:pt x="461817" y="307954"/>
                      </a:cubicBezTo>
                      <a:lnTo>
                        <a:pt x="466338" y="297820"/>
                      </a:lnTo>
                      <a:lnTo>
                        <a:pt x="465208" y="287687"/>
                      </a:lnTo>
                      <a:lnTo>
                        <a:pt x="433564" y="244112"/>
                      </a:lnTo>
                      <a:lnTo>
                        <a:pt x="448256" y="238032"/>
                      </a:lnTo>
                      <a:cubicBezTo>
                        <a:pt x="448256" y="238032"/>
                        <a:pt x="441475" y="223845"/>
                        <a:pt x="449386" y="223845"/>
                      </a:cubicBezTo>
                      <a:cubicBezTo>
                        <a:pt x="458427" y="223845"/>
                        <a:pt x="481029" y="220805"/>
                        <a:pt x="481029" y="213712"/>
                      </a:cubicBezTo>
                      <a:cubicBezTo>
                        <a:pt x="481029" y="206618"/>
                        <a:pt x="468598" y="204591"/>
                        <a:pt x="468598" y="204591"/>
                      </a:cubicBezTo>
                      <a:cubicBezTo>
                        <a:pt x="468598" y="204591"/>
                        <a:pt x="465208" y="190404"/>
                        <a:pt x="459557" y="189391"/>
                      </a:cubicBezTo>
                      <a:cubicBezTo>
                        <a:pt x="453906" y="188378"/>
                        <a:pt x="450516" y="176217"/>
                        <a:pt x="458427" y="176217"/>
                      </a:cubicBezTo>
                      <a:cubicBezTo>
                        <a:pt x="466338" y="176217"/>
                        <a:pt x="476509" y="173177"/>
                        <a:pt x="485550" y="168111"/>
                      </a:cubicBezTo>
                      <a:cubicBezTo>
                        <a:pt x="494591" y="163044"/>
                        <a:pt x="492330" y="160004"/>
                        <a:pt x="492330" y="160004"/>
                      </a:cubicBezTo>
                      <a:lnTo>
                        <a:pt x="493461" y="144803"/>
                      </a:lnTo>
                      <a:cubicBezTo>
                        <a:pt x="492330" y="143790"/>
                        <a:pt x="487810" y="139736"/>
                        <a:pt x="487810" y="139736"/>
                      </a:cubicBezTo>
                      <a:cubicBezTo>
                        <a:pt x="477639" y="138723"/>
                        <a:pt x="471988" y="144803"/>
                        <a:pt x="471988" y="144803"/>
                      </a:cubicBezTo>
                      <a:cubicBezTo>
                        <a:pt x="464077" y="145817"/>
                        <a:pt x="461817" y="141763"/>
                        <a:pt x="452776" y="142777"/>
                      </a:cubicBezTo>
                      <a:lnTo>
                        <a:pt x="447126" y="147843"/>
                      </a:lnTo>
                      <a:cubicBezTo>
                        <a:pt x="431304" y="151897"/>
                        <a:pt x="424523" y="150883"/>
                        <a:pt x="412092" y="154937"/>
                      </a:cubicBezTo>
                      <a:cubicBezTo>
                        <a:pt x="414352" y="150883"/>
                        <a:pt x="415482" y="147843"/>
                        <a:pt x="417743" y="142777"/>
                      </a:cubicBezTo>
                      <a:cubicBezTo>
                        <a:pt x="430174" y="141763"/>
                        <a:pt x="448256" y="137710"/>
                        <a:pt x="458427" y="135683"/>
                      </a:cubicBezTo>
                      <a:cubicBezTo>
                        <a:pt x="458427" y="131630"/>
                        <a:pt x="457297" y="124536"/>
                        <a:pt x="458427" y="121496"/>
                      </a:cubicBezTo>
                      <a:cubicBezTo>
                        <a:pt x="459557" y="119469"/>
                        <a:pt x="466338" y="114402"/>
                        <a:pt x="466338" y="111363"/>
                      </a:cubicBezTo>
                      <a:cubicBezTo>
                        <a:pt x="466338" y="110349"/>
                        <a:pt x="464077" y="101229"/>
                        <a:pt x="464077" y="104269"/>
                      </a:cubicBezTo>
                      <a:lnTo>
                        <a:pt x="464077" y="101229"/>
                      </a:lnTo>
                      <a:cubicBezTo>
                        <a:pt x="461817" y="101229"/>
                        <a:pt x="451646" y="99202"/>
                        <a:pt x="444866" y="99202"/>
                      </a:cubicBezTo>
                      <a:cubicBezTo>
                        <a:pt x="444866" y="99202"/>
                        <a:pt x="448256" y="104269"/>
                        <a:pt x="447126" y="104269"/>
                      </a:cubicBezTo>
                      <a:cubicBezTo>
                        <a:pt x="441475" y="104269"/>
                        <a:pt x="439215" y="101229"/>
                        <a:pt x="435824" y="99202"/>
                      </a:cubicBezTo>
                      <a:cubicBezTo>
                        <a:pt x="433564" y="98189"/>
                        <a:pt x="430174" y="93122"/>
                        <a:pt x="427914" y="92109"/>
                      </a:cubicBezTo>
                      <a:cubicBezTo>
                        <a:pt x="425653" y="93122"/>
                        <a:pt x="422263" y="98189"/>
                        <a:pt x="420003" y="99202"/>
                      </a:cubicBezTo>
                      <a:lnTo>
                        <a:pt x="414352" y="99202"/>
                      </a:lnTo>
                      <a:cubicBezTo>
                        <a:pt x="409832" y="89069"/>
                        <a:pt x="407571" y="82989"/>
                        <a:pt x="400791" y="74882"/>
                      </a:cubicBezTo>
                      <a:cubicBezTo>
                        <a:pt x="407571" y="73868"/>
                        <a:pt x="414352" y="74882"/>
                        <a:pt x="420003" y="72855"/>
                      </a:cubicBezTo>
                      <a:cubicBezTo>
                        <a:pt x="423393" y="70828"/>
                        <a:pt x="420003" y="62722"/>
                        <a:pt x="420003" y="62722"/>
                      </a:cubicBezTo>
                      <a:cubicBezTo>
                        <a:pt x="400791" y="63735"/>
                        <a:pt x="388360" y="64748"/>
                        <a:pt x="368017" y="64748"/>
                      </a:cubicBezTo>
                      <a:cubicBezTo>
                        <a:pt x="368017" y="64748"/>
                        <a:pt x="374798" y="71842"/>
                        <a:pt x="375928" y="71842"/>
                      </a:cubicBezTo>
                      <a:cubicBezTo>
                        <a:pt x="368017" y="70828"/>
                        <a:pt x="361237" y="68801"/>
                        <a:pt x="356716" y="69815"/>
                      </a:cubicBezTo>
                      <a:lnTo>
                        <a:pt x="356716" y="71842"/>
                      </a:lnTo>
                      <a:cubicBezTo>
                        <a:pt x="349936" y="73868"/>
                        <a:pt x="347675" y="73868"/>
                        <a:pt x="340894" y="76908"/>
                      </a:cubicBezTo>
                      <a:lnTo>
                        <a:pt x="340894" y="81975"/>
                      </a:lnTo>
                      <a:cubicBezTo>
                        <a:pt x="337504" y="82989"/>
                        <a:pt x="321683" y="84002"/>
                        <a:pt x="321683" y="84002"/>
                      </a:cubicBezTo>
                      <a:cubicBezTo>
                        <a:pt x="310381" y="85015"/>
                        <a:pt x="288909" y="82989"/>
                        <a:pt x="283258" y="78935"/>
                      </a:cubicBezTo>
                      <a:cubicBezTo>
                        <a:pt x="275348" y="73868"/>
                        <a:pt x="295690" y="67788"/>
                        <a:pt x="267437" y="64748"/>
                      </a:cubicBezTo>
                      <a:cubicBezTo>
                        <a:pt x="252745" y="62722"/>
                        <a:pt x="235793" y="63735"/>
                        <a:pt x="224492" y="66775"/>
                      </a:cubicBezTo>
                      <a:cubicBezTo>
                        <a:pt x="221102" y="67788"/>
                        <a:pt x="219972" y="71842"/>
                        <a:pt x="213191" y="71842"/>
                      </a:cubicBezTo>
                      <a:cubicBezTo>
                        <a:pt x="200760" y="70828"/>
                        <a:pt x="207540" y="60695"/>
                        <a:pt x="213191" y="57655"/>
                      </a:cubicBezTo>
                      <a:cubicBezTo>
                        <a:pt x="210931" y="52588"/>
                        <a:pt x="206410" y="44481"/>
                        <a:pt x="201890" y="40428"/>
                      </a:cubicBezTo>
                      <a:cubicBezTo>
                        <a:pt x="200760" y="39414"/>
                        <a:pt x="196239" y="41441"/>
                        <a:pt x="193979" y="40428"/>
                      </a:cubicBezTo>
                      <a:cubicBezTo>
                        <a:pt x="191719" y="39414"/>
                        <a:pt x="190589" y="33334"/>
                        <a:pt x="188328" y="33334"/>
                      </a:cubicBezTo>
                      <a:cubicBezTo>
                        <a:pt x="177027" y="30294"/>
                        <a:pt x="167986" y="35361"/>
                        <a:pt x="158945" y="31307"/>
                      </a:cubicBezTo>
                      <a:cubicBezTo>
                        <a:pt x="153295" y="28267"/>
                        <a:pt x="149904" y="16107"/>
                        <a:pt x="147644" y="9013"/>
                      </a:cubicBezTo>
                      <a:cubicBezTo>
                        <a:pt x="143124" y="10027"/>
                        <a:pt x="140864" y="13067"/>
                        <a:pt x="136343" y="11040"/>
                      </a:cubicBezTo>
                      <a:cubicBezTo>
                        <a:pt x="136343" y="12054"/>
                        <a:pt x="134083" y="19147"/>
                        <a:pt x="134083" y="23200"/>
                      </a:cubicBezTo>
                      <a:cubicBezTo>
                        <a:pt x="138603" y="24214"/>
                        <a:pt x="145384" y="25227"/>
                        <a:pt x="149904" y="28267"/>
                      </a:cubicBezTo>
                      <a:cubicBezTo>
                        <a:pt x="152165" y="29281"/>
                        <a:pt x="153295" y="37388"/>
                        <a:pt x="155555" y="38401"/>
                      </a:cubicBezTo>
                      <a:cubicBezTo>
                        <a:pt x="130692" y="40428"/>
                        <a:pt x="120521" y="44481"/>
                        <a:pt x="101309" y="50561"/>
                      </a:cubicBezTo>
                      <a:cubicBezTo>
                        <a:pt x="100179" y="61708"/>
                        <a:pt x="100179" y="66775"/>
                        <a:pt x="99049" y="76908"/>
                      </a:cubicBezTo>
                      <a:cubicBezTo>
                        <a:pt x="102439" y="78935"/>
                        <a:pt x="104700" y="77922"/>
                        <a:pt x="106960" y="81975"/>
                      </a:cubicBezTo>
                      <a:cubicBezTo>
                        <a:pt x="108090" y="82989"/>
                        <a:pt x="114871" y="89069"/>
                        <a:pt x="114871" y="89069"/>
                      </a:cubicBezTo>
                      <a:cubicBezTo>
                        <a:pt x="116001" y="92109"/>
                        <a:pt x="112611" y="96162"/>
                        <a:pt x="112611" y="96162"/>
                      </a:cubicBezTo>
                      <a:cubicBezTo>
                        <a:pt x="111480" y="102242"/>
                        <a:pt x="116001" y="110349"/>
                        <a:pt x="118261" y="118456"/>
                      </a:cubicBezTo>
                      <a:cubicBezTo>
                        <a:pt x="105830" y="123523"/>
                        <a:pt x="100179" y="124536"/>
                        <a:pt x="91138" y="130616"/>
                      </a:cubicBezTo>
                      <a:cubicBezTo>
                        <a:pt x="90008" y="127576"/>
                        <a:pt x="92268" y="123523"/>
                        <a:pt x="91138" y="120483"/>
                      </a:cubicBezTo>
                      <a:lnTo>
                        <a:pt x="85487" y="120483"/>
                      </a:lnTo>
                      <a:cubicBezTo>
                        <a:pt x="80967" y="109336"/>
                        <a:pt x="70796" y="99202"/>
                        <a:pt x="74186" y="86029"/>
                      </a:cubicBezTo>
                      <a:cubicBezTo>
                        <a:pt x="76447" y="76908"/>
                        <a:pt x="85487" y="75895"/>
                        <a:pt x="93398" y="71842"/>
                      </a:cubicBezTo>
                      <a:cubicBezTo>
                        <a:pt x="92268" y="68801"/>
                        <a:pt x="94529" y="64748"/>
                        <a:pt x="93398" y="61708"/>
                      </a:cubicBezTo>
                      <a:cubicBezTo>
                        <a:pt x="92268" y="58668"/>
                        <a:pt x="88878" y="60695"/>
                        <a:pt x="85487" y="59681"/>
                      </a:cubicBezTo>
                      <a:cubicBezTo>
                        <a:pt x="84358" y="53601"/>
                        <a:pt x="86618" y="53601"/>
                        <a:pt x="87748" y="49548"/>
                      </a:cubicBezTo>
                      <a:cubicBezTo>
                        <a:pt x="85487" y="47521"/>
                        <a:pt x="83227" y="47521"/>
                        <a:pt x="82097" y="44481"/>
                      </a:cubicBezTo>
                      <a:cubicBezTo>
                        <a:pt x="79837" y="44481"/>
                        <a:pt x="73056" y="45494"/>
                        <a:pt x="70796" y="44481"/>
                      </a:cubicBezTo>
                      <a:cubicBezTo>
                        <a:pt x="70796" y="44481"/>
                        <a:pt x="70796" y="37388"/>
                        <a:pt x="70796" y="37388"/>
                      </a:cubicBezTo>
                      <a:cubicBezTo>
                        <a:pt x="74186" y="35361"/>
                        <a:pt x="80967" y="27254"/>
                        <a:pt x="86618" y="27254"/>
                      </a:cubicBezTo>
                      <a:lnTo>
                        <a:pt x="88878" y="27254"/>
                      </a:lnTo>
                      <a:cubicBezTo>
                        <a:pt x="88878" y="26241"/>
                        <a:pt x="86618" y="21174"/>
                        <a:pt x="87748" y="20160"/>
                      </a:cubicBezTo>
                      <a:close/>
                      <a:moveTo>
                        <a:pt x="364627" y="47521"/>
                      </a:moveTo>
                      <a:cubicBezTo>
                        <a:pt x="357846" y="48534"/>
                        <a:pt x="370278" y="52588"/>
                        <a:pt x="370278" y="52588"/>
                      </a:cubicBezTo>
                      <a:cubicBezTo>
                        <a:pt x="370278" y="52588"/>
                        <a:pt x="375928" y="45494"/>
                        <a:pt x="364627" y="4752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3" name="Freeform: Shape 262">
                  <a:extLst>
                    <a:ext uri="{FF2B5EF4-FFF2-40B4-BE49-F238E27FC236}">
                      <a16:creationId xmlns:a16="http://schemas.microsoft.com/office/drawing/2014/main" id="{2C2A31DD-016F-4CD5-B61D-9CA541FC08F6}"/>
                    </a:ext>
                  </a:extLst>
                </p:cNvPr>
                <p:cNvSpPr/>
                <p:nvPr/>
              </p:nvSpPr>
              <p:spPr>
                <a:xfrm>
                  <a:off x="11780862" y="4908185"/>
                  <a:ext cx="56506" cy="91202"/>
                </a:xfrm>
                <a:custGeom>
                  <a:avLst/>
                  <a:gdLst>
                    <a:gd name="connsiteX0" fmla="*/ 27359 w 56505"/>
                    <a:gd name="connsiteY0" fmla="*/ 57654 h 91202"/>
                    <a:gd name="connsiteX1" fmla="*/ 35270 w 56505"/>
                    <a:gd name="connsiteY1" fmla="*/ 84002 h 91202"/>
                    <a:gd name="connsiteX2" fmla="*/ 46571 w 56505"/>
                    <a:gd name="connsiteY2" fmla="*/ 84002 h 91202"/>
                    <a:gd name="connsiteX3" fmla="*/ 46571 w 56505"/>
                    <a:gd name="connsiteY3" fmla="*/ 76908 h 91202"/>
                    <a:gd name="connsiteX4" fmla="*/ 35270 w 56505"/>
                    <a:gd name="connsiteY4" fmla="*/ 69815 h 91202"/>
                    <a:gd name="connsiteX5" fmla="*/ 33010 w 56505"/>
                    <a:gd name="connsiteY5" fmla="*/ 57654 h 91202"/>
                    <a:gd name="connsiteX6" fmla="*/ 27359 w 56505"/>
                    <a:gd name="connsiteY6" fmla="*/ 57654 h 91202"/>
                    <a:gd name="connsiteX7" fmla="*/ 11537 w 56505"/>
                    <a:gd name="connsiteY7" fmla="*/ 9013 h 91202"/>
                    <a:gd name="connsiteX8" fmla="*/ 13797 w 56505"/>
                    <a:gd name="connsiteY8" fmla="*/ 47521 h 91202"/>
                    <a:gd name="connsiteX9" fmla="*/ 27359 w 56505"/>
                    <a:gd name="connsiteY9" fmla="*/ 45494 h 91202"/>
                    <a:gd name="connsiteX10" fmla="*/ 33010 w 56505"/>
                    <a:gd name="connsiteY10" fmla="*/ 47521 h 91202"/>
                    <a:gd name="connsiteX11" fmla="*/ 30749 w 56505"/>
                    <a:gd name="connsiteY11" fmla="*/ 30294 h 91202"/>
                    <a:gd name="connsiteX12" fmla="*/ 33010 w 56505"/>
                    <a:gd name="connsiteY12" fmla="*/ 25227 h 91202"/>
                    <a:gd name="connsiteX13" fmla="*/ 33010 w 56505"/>
                    <a:gd name="connsiteY13" fmla="*/ 15094 h 91202"/>
                    <a:gd name="connsiteX14" fmla="*/ 19448 w 56505"/>
                    <a:gd name="connsiteY14" fmla="*/ 22187 h 91202"/>
                    <a:gd name="connsiteX15" fmla="*/ 19448 w 56505"/>
                    <a:gd name="connsiteY15" fmla="*/ 12053 h 91202"/>
                    <a:gd name="connsiteX16" fmla="*/ 11537 w 56505"/>
                    <a:gd name="connsiteY16" fmla="*/ 9013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505" h="91202">
                      <a:moveTo>
                        <a:pt x="27359" y="57654"/>
                      </a:moveTo>
                      <a:cubicBezTo>
                        <a:pt x="30749" y="70828"/>
                        <a:pt x="30749" y="74882"/>
                        <a:pt x="35270" y="84002"/>
                      </a:cubicBezTo>
                      <a:cubicBezTo>
                        <a:pt x="37529" y="84002"/>
                        <a:pt x="44311" y="82988"/>
                        <a:pt x="46571" y="84002"/>
                      </a:cubicBezTo>
                      <a:cubicBezTo>
                        <a:pt x="46571" y="84002"/>
                        <a:pt x="46571" y="76908"/>
                        <a:pt x="46571" y="76908"/>
                      </a:cubicBezTo>
                      <a:cubicBezTo>
                        <a:pt x="44311" y="74882"/>
                        <a:pt x="37529" y="71842"/>
                        <a:pt x="35270" y="69815"/>
                      </a:cubicBezTo>
                      <a:cubicBezTo>
                        <a:pt x="31879" y="64748"/>
                        <a:pt x="35270" y="62721"/>
                        <a:pt x="33010" y="57654"/>
                      </a:cubicBezTo>
                      <a:lnTo>
                        <a:pt x="27359" y="57654"/>
                      </a:lnTo>
                      <a:close/>
                      <a:moveTo>
                        <a:pt x="11537" y="9013"/>
                      </a:moveTo>
                      <a:cubicBezTo>
                        <a:pt x="9276" y="22187"/>
                        <a:pt x="9276" y="32321"/>
                        <a:pt x="13797" y="47521"/>
                      </a:cubicBezTo>
                      <a:cubicBezTo>
                        <a:pt x="19448" y="46508"/>
                        <a:pt x="20577" y="43468"/>
                        <a:pt x="27359" y="45494"/>
                      </a:cubicBezTo>
                      <a:cubicBezTo>
                        <a:pt x="22838" y="47521"/>
                        <a:pt x="31879" y="47521"/>
                        <a:pt x="33010" y="47521"/>
                      </a:cubicBezTo>
                      <a:cubicBezTo>
                        <a:pt x="38660" y="45494"/>
                        <a:pt x="31879" y="31307"/>
                        <a:pt x="30749" y="30294"/>
                      </a:cubicBezTo>
                      <a:cubicBezTo>
                        <a:pt x="27359" y="27254"/>
                        <a:pt x="33010" y="24214"/>
                        <a:pt x="33010" y="25227"/>
                      </a:cubicBezTo>
                      <a:cubicBezTo>
                        <a:pt x="33010" y="24214"/>
                        <a:pt x="33010" y="16107"/>
                        <a:pt x="33010" y="15094"/>
                      </a:cubicBezTo>
                      <a:cubicBezTo>
                        <a:pt x="29619" y="14080"/>
                        <a:pt x="21709" y="20160"/>
                        <a:pt x="19448" y="22187"/>
                      </a:cubicBezTo>
                      <a:cubicBezTo>
                        <a:pt x="19448" y="20160"/>
                        <a:pt x="20577" y="14080"/>
                        <a:pt x="19448" y="12053"/>
                      </a:cubicBezTo>
                      <a:cubicBezTo>
                        <a:pt x="19448" y="13067"/>
                        <a:pt x="11537" y="9013"/>
                        <a:pt x="11537"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4" name="Freeform: Shape 263">
                  <a:extLst>
                    <a:ext uri="{FF2B5EF4-FFF2-40B4-BE49-F238E27FC236}">
                      <a16:creationId xmlns:a16="http://schemas.microsoft.com/office/drawing/2014/main" id="{335848B7-6250-4A7B-95E0-BFB862CF2785}"/>
                    </a:ext>
                  </a:extLst>
                </p:cNvPr>
                <p:cNvSpPr/>
                <p:nvPr/>
              </p:nvSpPr>
              <p:spPr>
                <a:xfrm>
                  <a:off x="7863092" y="2392920"/>
                  <a:ext cx="598963" cy="385076"/>
                </a:xfrm>
                <a:custGeom>
                  <a:avLst/>
                  <a:gdLst>
                    <a:gd name="connsiteX0" fmla="*/ 531038 w 598963"/>
                    <a:gd name="connsiteY0" fmla="*/ 145931 h 385075"/>
                    <a:gd name="connsiteX1" fmla="*/ 515216 w 598963"/>
                    <a:gd name="connsiteY1" fmla="*/ 150997 h 385075"/>
                    <a:gd name="connsiteX2" fmla="*/ 494874 w 598963"/>
                    <a:gd name="connsiteY2" fmla="*/ 156064 h 385075"/>
                    <a:gd name="connsiteX3" fmla="*/ 473401 w 598963"/>
                    <a:gd name="connsiteY3" fmla="*/ 164171 h 385075"/>
                    <a:gd name="connsiteX4" fmla="*/ 454190 w 598963"/>
                    <a:gd name="connsiteY4" fmla="*/ 171264 h 385075"/>
                    <a:gd name="connsiteX5" fmla="*/ 442888 w 598963"/>
                    <a:gd name="connsiteY5" fmla="*/ 192545 h 385075"/>
                    <a:gd name="connsiteX6" fmla="*/ 421416 w 598963"/>
                    <a:gd name="connsiteY6" fmla="*/ 195585 h 385075"/>
                    <a:gd name="connsiteX7" fmla="*/ 420286 w 598963"/>
                    <a:gd name="connsiteY7" fmla="*/ 208759 h 385075"/>
                    <a:gd name="connsiteX8" fmla="*/ 407854 w 598963"/>
                    <a:gd name="connsiteY8" fmla="*/ 212812 h 385075"/>
                    <a:gd name="connsiteX9" fmla="*/ 406724 w 598963"/>
                    <a:gd name="connsiteY9" fmla="*/ 194572 h 385075"/>
                    <a:gd name="connsiteX10" fmla="*/ 379601 w 598963"/>
                    <a:gd name="connsiteY10" fmla="*/ 188491 h 385075"/>
                    <a:gd name="connsiteX11" fmla="*/ 346828 w 598963"/>
                    <a:gd name="connsiteY11" fmla="*/ 183425 h 385075"/>
                    <a:gd name="connsiteX12" fmla="*/ 346828 w 598963"/>
                    <a:gd name="connsiteY12" fmla="*/ 169238 h 385075"/>
                    <a:gd name="connsiteX13" fmla="*/ 340047 w 598963"/>
                    <a:gd name="connsiteY13" fmla="*/ 161131 h 385075"/>
                    <a:gd name="connsiteX14" fmla="*/ 327616 w 598963"/>
                    <a:gd name="connsiteY14" fmla="*/ 155051 h 385075"/>
                    <a:gd name="connsiteX15" fmla="*/ 309534 w 598963"/>
                    <a:gd name="connsiteY15" fmla="*/ 148971 h 385075"/>
                    <a:gd name="connsiteX16" fmla="*/ 297103 w 598963"/>
                    <a:gd name="connsiteY16" fmla="*/ 130730 h 385075"/>
                    <a:gd name="connsiteX17" fmla="*/ 291452 w 598963"/>
                    <a:gd name="connsiteY17" fmla="*/ 138837 h 385075"/>
                    <a:gd name="connsiteX18" fmla="*/ 248508 w 598963"/>
                    <a:gd name="connsiteY18" fmla="*/ 130730 h 385075"/>
                    <a:gd name="connsiteX19" fmla="*/ 211214 w 598963"/>
                    <a:gd name="connsiteY19" fmla="*/ 129717 h 385075"/>
                    <a:gd name="connsiteX20" fmla="*/ 206693 w 598963"/>
                    <a:gd name="connsiteY20" fmla="*/ 94249 h 385075"/>
                    <a:gd name="connsiteX21" fmla="*/ 199913 w 598963"/>
                    <a:gd name="connsiteY21" fmla="*/ 74996 h 385075"/>
                    <a:gd name="connsiteX22" fmla="*/ 194262 w 598963"/>
                    <a:gd name="connsiteY22" fmla="*/ 70942 h 385075"/>
                    <a:gd name="connsiteX23" fmla="*/ 171660 w 598963"/>
                    <a:gd name="connsiteY23" fmla="*/ 101343 h 385075"/>
                    <a:gd name="connsiteX24" fmla="*/ 142276 w 598963"/>
                    <a:gd name="connsiteY24" fmla="*/ 106410 h 385075"/>
                    <a:gd name="connsiteX25" fmla="*/ 140016 w 598963"/>
                    <a:gd name="connsiteY25" fmla="*/ 89182 h 385075"/>
                    <a:gd name="connsiteX26" fmla="*/ 124194 w 598963"/>
                    <a:gd name="connsiteY26" fmla="*/ 118570 h 385075"/>
                    <a:gd name="connsiteX27" fmla="*/ 116284 w 598963"/>
                    <a:gd name="connsiteY27" fmla="*/ 111476 h 385075"/>
                    <a:gd name="connsiteX28" fmla="*/ 124194 w 598963"/>
                    <a:gd name="connsiteY28" fmla="*/ 109450 h 385075"/>
                    <a:gd name="connsiteX29" fmla="*/ 124194 w 598963"/>
                    <a:gd name="connsiteY29" fmla="*/ 104383 h 385075"/>
                    <a:gd name="connsiteX30" fmla="*/ 124194 w 598963"/>
                    <a:gd name="connsiteY30" fmla="*/ 87156 h 385075"/>
                    <a:gd name="connsiteX31" fmla="*/ 116284 w 598963"/>
                    <a:gd name="connsiteY31" fmla="*/ 82089 h 385075"/>
                    <a:gd name="connsiteX32" fmla="*/ 86901 w 598963"/>
                    <a:gd name="connsiteY32" fmla="*/ 94249 h 385075"/>
                    <a:gd name="connsiteX33" fmla="*/ 89160 w 598963"/>
                    <a:gd name="connsiteY33" fmla="*/ 80062 h 385075"/>
                    <a:gd name="connsiteX34" fmla="*/ 83510 w 598963"/>
                    <a:gd name="connsiteY34" fmla="*/ 72969 h 385075"/>
                    <a:gd name="connsiteX35" fmla="*/ 85770 w 598963"/>
                    <a:gd name="connsiteY35" fmla="*/ 67902 h 385075"/>
                    <a:gd name="connsiteX36" fmla="*/ 80120 w 598963"/>
                    <a:gd name="connsiteY36" fmla="*/ 55742 h 385075"/>
                    <a:gd name="connsiteX37" fmla="*/ 88031 w 598963"/>
                    <a:gd name="connsiteY37" fmla="*/ 43581 h 385075"/>
                    <a:gd name="connsiteX38" fmla="*/ 85770 w 598963"/>
                    <a:gd name="connsiteY38" fmla="*/ 21288 h 385075"/>
                    <a:gd name="connsiteX39" fmla="*/ 98202 w 598963"/>
                    <a:gd name="connsiteY39" fmla="*/ 11154 h 385075"/>
                    <a:gd name="connsiteX40" fmla="*/ 80120 w 598963"/>
                    <a:gd name="connsiteY40" fmla="*/ 9127 h 385075"/>
                    <a:gd name="connsiteX41" fmla="*/ 51867 w 598963"/>
                    <a:gd name="connsiteY41" fmla="*/ 14194 h 385075"/>
                    <a:gd name="connsiteX42" fmla="*/ 14573 w 598963"/>
                    <a:gd name="connsiteY42" fmla="*/ 28381 h 385075"/>
                    <a:gd name="connsiteX43" fmla="*/ 10052 w 598963"/>
                    <a:gd name="connsiteY43" fmla="*/ 179371 h 385075"/>
                    <a:gd name="connsiteX44" fmla="*/ 46216 w 598963"/>
                    <a:gd name="connsiteY44" fmla="*/ 183425 h 385075"/>
                    <a:gd name="connsiteX45" fmla="*/ 47346 w 598963"/>
                    <a:gd name="connsiteY45" fmla="*/ 175318 h 385075"/>
                    <a:gd name="connsiteX46" fmla="*/ 38305 w 598963"/>
                    <a:gd name="connsiteY46" fmla="*/ 169238 h 385075"/>
                    <a:gd name="connsiteX47" fmla="*/ 37175 w 598963"/>
                    <a:gd name="connsiteY47" fmla="*/ 156064 h 385075"/>
                    <a:gd name="connsiteX48" fmla="*/ 46216 w 598963"/>
                    <a:gd name="connsiteY48" fmla="*/ 149984 h 385075"/>
                    <a:gd name="connsiteX49" fmla="*/ 64298 w 598963"/>
                    <a:gd name="connsiteY49" fmla="*/ 150997 h 385075"/>
                    <a:gd name="connsiteX50" fmla="*/ 73339 w 598963"/>
                    <a:gd name="connsiteY50" fmla="*/ 139850 h 385075"/>
                    <a:gd name="connsiteX51" fmla="*/ 84640 w 598963"/>
                    <a:gd name="connsiteY51" fmla="*/ 128704 h 385075"/>
                    <a:gd name="connsiteX52" fmla="*/ 93681 w 598963"/>
                    <a:gd name="connsiteY52" fmla="*/ 132757 h 385075"/>
                    <a:gd name="connsiteX53" fmla="*/ 103852 w 598963"/>
                    <a:gd name="connsiteY53" fmla="*/ 135797 h 385075"/>
                    <a:gd name="connsiteX54" fmla="*/ 109503 w 598963"/>
                    <a:gd name="connsiteY54" fmla="*/ 154037 h 385075"/>
                    <a:gd name="connsiteX55" fmla="*/ 116284 w 598963"/>
                    <a:gd name="connsiteY55" fmla="*/ 177345 h 385075"/>
                    <a:gd name="connsiteX56" fmla="*/ 133235 w 598963"/>
                    <a:gd name="connsiteY56" fmla="*/ 183425 h 385075"/>
                    <a:gd name="connsiteX57" fmla="*/ 137756 w 598963"/>
                    <a:gd name="connsiteY57" fmla="*/ 199638 h 385075"/>
                    <a:gd name="connsiteX58" fmla="*/ 130975 w 598963"/>
                    <a:gd name="connsiteY58" fmla="*/ 207745 h 385075"/>
                    <a:gd name="connsiteX59" fmla="*/ 137756 w 598963"/>
                    <a:gd name="connsiteY59" fmla="*/ 213825 h 385075"/>
                    <a:gd name="connsiteX60" fmla="*/ 150187 w 598963"/>
                    <a:gd name="connsiteY60" fmla="*/ 217879 h 385075"/>
                    <a:gd name="connsiteX61" fmla="*/ 167139 w 598963"/>
                    <a:gd name="connsiteY61" fmla="*/ 209772 h 385075"/>
                    <a:gd name="connsiteX62" fmla="*/ 176180 w 598963"/>
                    <a:gd name="connsiteY62" fmla="*/ 203692 h 385075"/>
                    <a:gd name="connsiteX63" fmla="*/ 197652 w 598963"/>
                    <a:gd name="connsiteY63" fmla="*/ 204705 h 385075"/>
                    <a:gd name="connsiteX64" fmla="*/ 213474 w 598963"/>
                    <a:gd name="connsiteY64" fmla="*/ 201665 h 385075"/>
                    <a:gd name="connsiteX65" fmla="*/ 229295 w 598963"/>
                    <a:gd name="connsiteY65" fmla="*/ 219906 h 385075"/>
                    <a:gd name="connsiteX66" fmla="*/ 225905 w 598963"/>
                    <a:gd name="connsiteY66" fmla="*/ 236119 h 385075"/>
                    <a:gd name="connsiteX67" fmla="*/ 237206 w 598963"/>
                    <a:gd name="connsiteY67" fmla="*/ 246253 h 385075"/>
                    <a:gd name="connsiteX68" fmla="*/ 247377 w 598963"/>
                    <a:gd name="connsiteY68" fmla="*/ 256386 h 385075"/>
                    <a:gd name="connsiteX69" fmla="*/ 254158 w 598963"/>
                    <a:gd name="connsiteY69" fmla="*/ 272600 h 385075"/>
                    <a:gd name="connsiteX70" fmla="*/ 265459 w 598963"/>
                    <a:gd name="connsiteY70" fmla="*/ 281720 h 385075"/>
                    <a:gd name="connsiteX71" fmla="*/ 277890 w 598963"/>
                    <a:gd name="connsiteY71" fmla="*/ 289827 h 385075"/>
                    <a:gd name="connsiteX72" fmla="*/ 293712 w 598963"/>
                    <a:gd name="connsiteY72" fmla="*/ 304014 h 385075"/>
                    <a:gd name="connsiteX73" fmla="*/ 305014 w 598963"/>
                    <a:gd name="connsiteY73" fmla="*/ 315161 h 385075"/>
                    <a:gd name="connsiteX74" fmla="*/ 325356 w 598963"/>
                    <a:gd name="connsiteY74" fmla="*/ 311108 h 385075"/>
                    <a:gd name="connsiteX75" fmla="*/ 337787 w 598963"/>
                    <a:gd name="connsiteY75" fmla="*/ 321241 h 385075"/>
                    <a:gd name="connsiteX76" fmla="*/ 353609 w 598963"/>
                    <a:gd name="connsiteY76" fmla="*/ 321241 h 385075"/>
                    <a:gd name="connsiteX77" fmla="*/ 364910 w 598963"/>
                    <a:gd name="connsiteY77" fmla="*/ 329348 h 385075"/>
                    <a:gd name="connsiteX78" fmla="*/ 379601 w 598963"/>
                    <a:gd name="connsiteY78" fmla="*/ 330361 h 385075"/>
                    <a:gd name="connsiteX79" fmla="*/ 385252 w 598963"/>
                    <a:gd name="connsiteY79" fmla="*/ 335428 h 385075"/>
                    <a:gd name="connsiteX80" fmla="*/ 364910 w 598963"/>
                    <a:gd name="connsiteY80" fmla="*/ 345562 h 385075"/>
                    <a:gd name="connsiteX81" fmla="*/ 363780 w 598963"/>
                    <a:gd name="connsiteY81" fmla="*/ 355695 h 385075"/>
                    <a:gd name="connsiteX82" fmla="*/ 363780 w 598963"/>
                    <a:gd name="connsiteY82" fmla="*/ 370896 h 385075"/>
                    <a:gd name="connsiteX83" fmla="*/ 378471 w 598963"/>
                    <a:gd name="connsiteY83" fmla="*/ 374949 h 385075"/>
                    <a:gd name="connsiteX84" fmla="*/ 390902 w 598963"/>
                    <a:gd name="connsiteY84" fmla="*/ 385083 h 385075"/>
                    <a:gd name="connsiteX85" fmla="*/ 407854 w 598963"/>
                    <a:gd name="connsiteY85" fmla="*/ 384069 h 385075"/>
                    <a:gd name="connsiteX86" fmla="*/ 420286 w 598963"/>
                    <a:gd name="connsiteY86" fmla="*/ 382043 h 385075"/>
                    <a:gd name="connsiteX87" fmla="*/ 425937 w 598963"/>
                    <a:gd name="connsiteY87" fmla="*/ 365829 h 385075"/>
                    <a:gd name="connsiteX88" fmla="*/ 440628 w 598963"/>
                    <a:gd name="connsiteY88" fmla="*/ 354682 h 385075"/>
                    <a:gd name="connsiteX89" fmla="*/ 437238 w 598963"/>
                    <a:gd name="connsiteY89" fmla="*/ 339482 h 385075"/>
                    <a:gd name="connsiteX90" fmla="*/ 441758 w 598963"/>
                    <a:gd name="connsiteY90" fmla="*/ 318201 h 385075"/>
                    <a:gd name="connsiteX91" fmla="*/ 423676 w 598963"/>
                    <a:gd name="connsiteY91" fmla="*/ 315161 h 385075"/>
                    <a:gd name="connsiteX92" fmla="*/ 406724 w 598963"/>
                    <a:gd name="connsiteY92" fmla="*/ 304014 h 385075"/>
                    <a:gd name="connsiteX93" fmla="*/ 411244 w 598963"/>
                    <a:gd name="connsiteY93" fmla="*/ 285774 h 385075"/>
                    <a:gd name="connsiteX94" fmla="*/ 429327 w 598963"/>
                    <a:gd name="connsiteY94" fmla="*/ 288814 h 385075"/>
                    <a:gd name="connsiteX95" fmla="*/ 451929 w 598963"/>
                    <a:gd name="connsiteY95" fmla="*/ 277667 h 385075"/>
                    <a:gd name="connsiteX96" fmla="*/ 456449 w 598963"/>
                    <a:gd name="connsiteY96" fmla="*/ 268547 h 385075"/>
                    <a:gd name="connsiteX97" fmla="*/ 463230 w 598963"/>
                    <a:gd name="connsiteY97" fmla="*/ 250306 h 385075"/>
                    <a:gd name="connsiteX98" fmla="*/ 471141 w 598963"/>
                    <a:gd name="connsiteY98" fmla="*/ 240173 h 385075"/>
                    <a:gd name="connsiteX99" fmla="*/ 460970 w 598963"/>
                    <a:gd name="connsiteY99" fmla="*/ 224972 h 385075"/>
                    <a:gd name="connsiteX100" fmla="*/ 476792 w 598963"/>
                    <a:gd name="connsiteY100" fmla="*/ 218892 h 385075"/>
                    <a:gd name="connsiteX101" fmla="*/ 491483 w 598963"/>
                    <a:gd name="connsiteY101" fmla="*/ 230039 h 385075"/>
                    <a:gd name="connsiteX102" fmla="*/ 506175 w 598963"/>
                    <a:gd name="connsiteY102" fmla="*/ 223959 h 385075"/>
                    <a:gd name="connsiteX103" fmla="*/ 523127 w 598963"/>
                    <a:gd name="connsiteY103" fmla="*/ 215852 h 385075"/>
                    <a:gd name="connsiteX104" fmla="*/ 532167 w 598963"/>
                    <a:gd name="connsiteY104" fmla="*/ 234093 h 385075"/>
                    <a:gd name="connsiteX105" fmla="*/ 515216 w 598963"/>
                    <a:gd name="connsiteY105" fmla="*/ 239159 h 385075"/>
                    <a:gd name="connsiteX106" fmla="*/ 515216 w 598963"/>
                    <a:gd name="connsiteY106" fmla="*/ 254360 h 385075"/>
                    <a:gd name="connsiteX107" fmla="*/ 526517 w 598963"/>
                    <a:gd name="connsiteY107" fmla="*/ 257400 h 385075"/>
                    <a:gd name="connsiteX108" fmla="*/ 544599 w 598963"/>
                    <a:gd name="connsiteY108" fmla="*/ 248279 h 385075"/>
                    <a:gd name="connsiteX109" fmla="*/ 561551 w 598963"/>
                    <a:gd name="connsiteY109" fmla="*/ 247266 h 385075"/>
                    <a:gd name="connsiteX110" fmla="*/ 593194 w 598963"/>
                    <a:gd name="connsiteY110" fmla="*/ 217879 h 385075"/>
                    <a:gd name="connsiteX111" fmla="*/ 580762 w 598963"/>
                    <a:gd name="connsiteY111" fmla="*/ 209772 h 385075"/>
                    <a:gd name="connsiteX112" fmla="*/ 557030 w 598963"/>
                    <a:gd name="connsiteY112" fmla="*/ 201665 h 385075"/>
                    <a:gd name="connsiteX113" fmla="*/ 550250 w 598963"/>
                    <a:gd name="connsiteY113" fmla="*/ 192545 h 385075"/>
                    <a:gd name="connsiteX114" fmla="*/ 535558 w 598963"/>
                    <a:gd name="connsiteY114" fmla="*/ 191532 h 385075"/>
                    <a:gd name="connsiteX115" fmla="*/ 515216 w 598963"/>
                    <a:gd name="connsiteY115" fmla="*/ 181398 h 385075"/>
                    <a:gd name="connsiteX116" fmla="*/ 526517 w 598963"/>
                    <a:gd name="connsiteY116" fmla="*/ 173291 h 385075"/>
                    <a:gd name="connsiteX117" fmla="*/ 541208 w 598963"/>
                    <a:gd name="connsiteY117" fmla="*/ 162144 h 385075"/>
                    <a:gd name="connsiteX118" fmla="*/ 531038 w 598963"/>
                    <a:gd name="connsiteY118" fmla="*/ 145931 h 385075"/>
                    <a:gd name="connsiteX119" fmla="*/ 515216 w 598963"/>
                    <a:gd name="connsiteY119" fmla="*/ 150997 h 385075"/>
                    <a:gd name="connsiteX120" fmla="*/ 531038 w 598963"/>
                    <a:gd name="connsiteY120" fmla="*/ 145931 h 3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598963" h="385075">
                      <a:moveTo>
                        <a:pt x="531038" y="145931"/>
                      </a:moveTo>
                      <a:cubicBezTo>
                        <a:pt x="531038" y="145931"/>
                        <a:pt x="523127" y="145931"/>
                        <a:pt x="515216" y="150997"/>
                      </a:cubicBezTo>
                      <a:cubicBezTo>
                        <a:pt x="507305" y="156064"/>
                        <a:pt x="503914" y="154037"/>
                        <a:pt x="494874" y="156064"/>
                      </a:cubicBezTo>
                      <a:cubicBezTo>
                        <a:pt x="484702" y="159104"/>
                        <a:pt x="476792" y="156064"/>
                        <a:pt x="473401" y="164171"/>
                      </a:cubicBezTo>
                      <a:cubicBezTo>
                        <a:pt x="470011" y="172278"/>
                        <a:pt x="460970" y="169238"/>
                        <a:pt x="454190" y="171264"/>
                      </a:cubicBezTo>
                      <a:cubicBezTo>
                        <a:pt x="447408" y="173291"/>
                        <a:pt x="442888" y="192545"/>
                        <a:pt x="442888" y="192545"/>
                      </a:cubicBezTo>
                      <a:cubicBezTo>
                        <a:pt x="442888" y="192545"/>
                        <a:pt x="430457" y="195585"/>
                        <a:pt x="421416" y="195585"/>
                      </a:cubicBezTo>
                      <a:lnTo>
                        <a:pt x="420286" y="208759"/>
                      </a:lnTo>
                      <a:cubicBezTo>
                        <a:pt x="420286" y="208759"/>
                        <a:pt x="413505" y="212812"/>
                        <a:pt x="407854" y="212812"/>
                      </a:cubicBezTo>
                      <a:cubicBezTo>
                        <a:pt x="402204" y="212812"/>
                        <a:pt x="411244" y="203692"/>
                        <a:pt x="406724" y="194572"/>
                      </a:cubicBezTo>
                      <a:cubicBezTo>
                        <a:pt x="404464" y="188491"/>
                        <a:pt x="385252" y="184438"/>
                        <a:pt x="379601" y="188491"/>
                      </a:cubicBezTo>
                      <a:cubicBezTo>
                        <a:pt x="373951" y="192545"/>
                        <a:pt x="353609" y="187478"/>
                        <a:pt x="346828" y="183425"/>
                      </a:cubicBezTo>
                      <a:cubicBezTo>
                        <a:pt x="340047" y="179371"/>
                        <a:pt x="346828" y="175318"/>
                        <a:pt x="346828" y="169238"/>
                      </a:cubicBezTo>
                      <a:cubicBezTo>
                        <a:pt x="346828" y="163158"/>
                        <a:pt x="340047" y="169238"/>
                        <a:pt x="340047" y="161131"/>
                      </a:cubicBezTo>
                      <a:cubicBezTo>
                        <a:pt x="340047" y="153024"/>
                        <a:pt x="335527" y="153024"/>
                        <a:pt x="327616" y="155051"/>
                      </a:cubicBezTo>
                      <a:cubicBezTo>
                        <a:pt x="318575" y="156064"/>
                        <a:pt x="312925" y="154037"/>
                        <a:pt x="309534" y="148971"/>
                      </a:cubicBezTo>
                      <a:cubicBezTo>
                        <a:pt x="306143" y="143904"/>
                        <a:pt x="297103" y="130730"/>
                        <a:pt x="297103" y="130730"/>
                      </a:cubicBezTo>
                      <a:lnTo>
                        <a:pt x="291452" y="138837"/>
                      </a:lnTo>
                      <a:cubicBezTo>
                        <a:pt x="291452" y="138837"/>
                        <a:pt x="262069" y="134784"/>
                        <a:pt x="248508" y="130730"/>
                      </a:cubicBezTo>
                      <a:cubicBezTo>
                        <a:pt x="236076" y="126677"/>
                        <a:pt x="211214" y="129717"/>
                        <a:pt x="211214" y="129717"/>
                      </a:cubicBezTo>
                      <a:cubicBezTo>
                        <a:pt x="211214" y="129717"/>
                        <a:pt x="206693" y="100329"/>
                        <a:pt x="206693" y="94249"/>
                      </a:cubicBezTo>
                      <a:cubicBezTo>
                        <a:pt x="206693" y="88169"/>
                        <a:pt x="199913" y="74996"/>
                        <a:pt x="199913" y="74996"/>
                      </a:cubicBezTo>
                      <a:lnTo>
                        <a:pt x="194262" y="70942"/>
                      </a:lnTo>
                      <a:cubicBezTo>
                        <a:pt x="187481" y="78036"/>
                        <a:pt x="176180" y="99316"/>
                        <a:pt x="171660" y="101343"/>
                      </a:cubicBezTo>
                      <a:cubicBezTo>
                        <a:pt x="163749" y="104383"/>
                        <a:pt x="149057" y="104383"/>
                        <a:pt x="142276" y="106410"/>
                      </a:cubicBezTo>
                      <a:cubicBezTo>
                        <a:pt x="142276" y="102356"/>
                        <a:pt x="149057" y="91209"/>
                        <a:pt x="140016" y="89182"/>
                      </a:cubicBezTo>
                      <a:cubicBezTo>
                        <a:pt x="134365" y="88169"/>
                        <a:pt x="127585" y="110463"/>
                        <a:pt x="124194" y="118570"/>
                      </a:cubicBezTo>
                      <a:cubicBezTo>
                        <a:pt x="120804" y="116543"/>
                        <a:pt x="118544" y="113503"/>
                        <a:pt x="116284" y="111476"/>
                      </a:cubicBezTo>
                      <a:cubicBezTo>
                        <a:pt x="117413" y="110463"/>
                        <a:pt x="121934" y="110463"/>
                        <a:pt x="124194" y="109450"/>
                      </a:cubicBezTo>
                      <a:lnTo>
                        <a:pt x="124194" y="104383"/>
                      </a:lnTo>
                      <a:cubicBezTo>
                        <a:pt x="124194" y="97289"/>
                        <a:pt x="124194" y="87156"/>
                        <a:pt x="124194" y="87156"/>
                      </a:cubicBezTo>
                      <a:cubicBezTo>
                        <a:pt x="121934" y="87156"/>
                        <a:pt x="117413" y="83102"/>
                        <a:pt x="116284" y="82089"/>
                      </a:cubicBezTo>
                      <a:cubicBezTo>
                        <a:pt x="106112" y="86142"/>
                        <a:pt x="98202" y="90196"/>
                        <a:pt x="86901" y="94249"/>
                      </a:cubicBezTo>
                      <a:cubicBezTo>
                        <a:pt x="86901" y="89182"/>
                        <a:pt x="90291" y="81076"/>
                        <a:pt x="89160" y="80062"/>
                      </a:cubicBezTo>
                      <a:cubicBezTo>
                        <a:pt x="89160" y="80062"/>
                        <a:pt x="82380" y="72969"/>
                        <a:pt x="83510" y="72969"/>
                      </a:cubicBezTo>
                      <a:cubicBezTo>
                        <a:pt x="86901" y="71955"/>
                        <a:pt x="86901" y="71955"/>
                        <a:pt x="85770" y="67902"/>
                      </a:cubicBezTo>
                      <a:cubicBezTo>
                        <a:pt x="84640" y="63849"/>
                        <a:pt x="78990" y="62835"/>
                        <a:pt x="80120" y="55742"/>
                      </a:cubicBezTo>
                      <a:cubicBezTo>
                        <a:pt x="80120" y="51688"/>
                        <a:pt x="88031" y="46622"/>
                        <a:pt x="88031" y="43581"/>
                      </a:cubicBezTo>
                      <a:cubicBezTo>
                        <a:pt x="88031" y="41555"/>
                        <a:pt x="83510" y="28381"/>
                        <a:pt x="85770" y="21288"/>
                      </a:cubicBezTo>
                      <a:cubicBezTo>
                        <a:pt x="86901" y="18248"/>
                        <a:pt x="94811" y="15207"/>
                        <a:pt x="98202" y="11154"/>
                      </a:cubicBezTo>
                      <a:cubicBezTo>
                        <a:pt x="93681" y="11154"/>
                        <a:pt x="85770" y="10141"/>
                        <a:pt x="80120" y="9127"/>
                      </a:cubicBezTo>
                      <a:cubicBezTo>
                        <a:pt x="71079" y="8114"/>
                        <a:pt x="59778" y="14194"/>
                        <a:pt x="51867" y="14194"/>
                      </a:cubicBezTo>
                      <a:cubicBezTo>
                        <a:pt x="43956" y="14194"/>
                        <a:pt x="14573" y="28381"/>
                        <a:pt x="14573" y="28381"/>
                      </a:cubicBezTo>
                      <a:lnTo>
                        <a:pt x="10052" y="179371"/>
                      </a:lnTo>
                      <a:lnTo>
                        <a:pt x="46216" y="183425"/>
                      </a:lnTo>
                      <a:lnTo>
                        <a:pt x="47346" y="175318"/>
                      </a:lnTo>
                      <a:lnTo>
                        <a:pt x="38305" y="169238"/>
                      </a:lnTo>
                      <a:lnTo>
                        <a:pt x="37175" y="156064"/>
                      </a:lnTo>
                      <a:lnTo>
                        <a:pt x="46216" y="149984"/>
                      </a:lnTo>
                      <a:lnTo>
                        <a:pt x="64298" y="150997"/>
                      </a:lnTo>
                      <a:lnTo>
                        <a:pt x="73339" y="139850"/>
                      </a:lnTo>
                      <a:lnTo>
                        <a:pt x="84640" y="128704"/>
                      </a:lnTo>
                      <a:lnTo>
                        <a:pt x="93681" y="132757"/>
                      </a:lnTo>
                      <a:lnTo>
                        <a:pt x="103852" y="135797"/>
                      </a:lnTo>
                      <a:lnTo>
                        <a:pt x="109503" y="154037"/>
                      </a:lnTo>
                      <a:lnTo>
                        <a:pt x="116284" y="177345"/>
                      </a:lnTo>
                      <a:lnTo>
                        <a:pt x="133235" y="183425"/>
                      </a:lnTo>
                      <a:lnTo>
                        <a:pt x="137756" y="199638"/>
                      </a:lnTo>
                      <a:lnTo>
                        <a:pt x="130975" y="207745"/>
                      </a:lnTo>
                      <a:lnTo>
                        <a:pt x="137756" y="213825"/>
                      </a:lnTo>
                      <a:lnTo>
                        <a:pt x="150187" y="217879"/>
                      </a:lnTo>
                      <a:lnTo>
                        <a:pt x="167139" y="209772"/>
                      </a:lnTo>
                      <a:lnTo>
                        <a:pt x="176180" y="203692"/>
                      </a:lnTo>
                      <a:lnTo>
                        <a:pt x="197652" y="204705"/>
                      </a:lnTo>
                      <a:lnTo>
                        <a:pt x="213474" y="201665"/>
                      </a:lnTo>
                      <a:lnTo>
                        <a:pt x="229295" y="219906"/>
                      </a:lnTo>
                      <a:lnTo>
                        <a:pt x="225905" y="236119"/>
                      </a:lnTo>
                      <a:lnTo>
                        <a:pt x="237206" y="246253"/>
                      </a:lnTo>
                      <a:lnTo>
                        <a:pt x="247377" y="256386"/>
                      </a:lnTo>
                      <a:lnTo>
                        <a:pt x="254158" y="272600"/>
                      </a:lnTo>
                      <a:lnTo>
                        <a:pt x="265459" y="281720"/>
                      </a:lnTo>
                      <a:lnTo>
                        <a:pt x="277890" y="289827"/>
                      </a:lnTo>
                      <a:lnTo>
                        <a:pt x="293712" y="304014"/>
                      </a:lnTo>
                      <a:lnTo>
                        <a:pt x="305014" y="315161"/>
                      </a:lnTo>
                      <a:lnTo>
                        <a:pt x="325356" y="311108"/>
                      </a:lnTo>
                      <a:lnTo>
                        <a:pt x="337787" y="321241"/>
                      </a:lnTo>
                      <a:lnTo>
                        <a:pt x="353609" y="321241"/>
                      </a:lnTo>
                      <a:lnTo>
                        <a:pt x="364910" y="329348"/>
                      </a:lnTo>
                      <a:lnTo>
                        <a:pt x="379601" y="330361"/>
                      </a:lnTo>
                      <a:lnTo>
                        <a:pt x="385252" y="335428"/>
                      </a:lnTo>
                      <a:lnTo>
                        <a:pt x="364910" y="345562"/>
                      </a:lnTo>
                      <a:lnTo>
                        <a:pt x="363780" y="355695"/>
                      </a:lnTo>
                      <a:lnTo>
                        <a:pt x="363780" y="370896"/>
                      </a:lnTo>
                      <a:lnTo>
                        <a:pt x="378471" y="374949"/>
                      </a:lnTo>
                      <a:lnTo>
                        <a:pt x="390902" y="385083"/>
                      </a:lnTo>
                      <a:lnTo>
                        <a:pt x="407854" y="384069"/>
                      </a:lnTo>
                      <a:lnTo>
                        <a:pt x="420286" y="382043"/>
                      </a:lnTo>
                      <a:cubicBezTo>
                        <a:pt x="420286" y="382043"/>
                        <a:pt x="425937" y="370896"/>
                        <a:pt x="425937" y="365829"/>
                      </a:cubicBezTo>
                      <a:cubicBezTo>
                        <a:pt x="425937" y="360762"/>
                        <a:pt x="434977" y="360762"/>
                        <a:pt x="440628" y="354682"/>
                      </a:cubicBezTo>
                      <a:cubicBezTo>
                        <a:pt x="446279" y="348602"/>
                        <a:pt x="446279" y="343535"/>
                        <a:pt x="437238" y="339482"/>
                      </a:cubicBezTo>
                      <a:cubicBezTo>
                        <a:pt x="428196" y="335428"/>
                        <a:pt x="437238" y="325295"/>
                        <a:pt x="441758" y="318201"/>
                      </a:cubicBezTo>
                      <a:cubicBezTo>
                        <a:pt x="446279" y="310094"/>
                        <a:pt x="432717" y="315161"/>
                        <a:pt x="423676" y="315161"/>
                      </a:cubicBezTo>
                      <a:cubicBezTo>
                        <a:pt x="414635" y="315161"/>
                        <a:pt x="416895" y="312121"/>
                        <a:pt x="406724" y="304014"/>
                      </a:cubicBezTo>
                      <a:cubicBezTo>
                        <a:pt x="396553" y="295907"/>
                        <a:pt x="403334" y="288814"/>
                        <a:pt x="411244" y="285774"/>
                      </a:cubicBezTo>
                      <a:cubicBezTo>
                        <a:pt x="418026" y="282734"/>
                        <a:pt x="430457" y="283747"/>
                        <a:pt x="429327" y="288814"/>
                      </a:cubicBezTo>
                      <a:cubicBezTo>
                        <a:pt x="427066" y="296921"/>
                        <a:pt x="445148" y="278680"/>
                        <a:pt x="451929" y="277667"/>
                      </a:cubicBezTo>
                      <a:cubicBezTo>
                        <a:pt x="458710" y="276654"/>
                        <a:pt x="460970" y="262467"/>
                        <a:pt x="456449" y="268547"/>
                      </a:cubicBezTo>
                      <a:cubicBezTo>
                        <a:pt x="451929" y="274627"/>
                        <a:pt x="455319" y="250306"/>
                        <a:pt x="463230" y="250306"/>
                      </a:cubicBezTo>
                      <a:cubicBezTo>
                        <a:pt x="472271" y="250306"/>
                        <a:pt x="471141" y="240173"/>
                        <a:pt x="471141" y="240173"/>
                      </a:cubicBezTo>
                      <a:cubicBezTo>
                        <a:pt x="471141" y="240173"/>
                        <a:pt x="460970" y="231052"/>
                        <a:pt x="460970" y="224972"/>
                      </a:cubicBezTo>
                      <a:cubicBezTo>
                        <a:pt x="460970" y="218892"/>
                        <a:pt x="476792" y="218892"/>
                        <a:pt x="476792" y="218892"/>
                      </a:cubicBezTo>
                      <a:cubicBezTo>
                        <a:pt x="476792" y="218892"/>
                        <a:pt x="482443" y="228012"/>
                        <a:pt x="491483" y="230039"/>
                      </a:cubicBezTo>
                      <a:cubicBezTo>
                        <a:pt x="500524" y="233079"/>
                        <a:pt x="506175" y="223959"/>
                        <a:pt x="506175" y="223959"/>
                      </a:cubicBezTo>
                      <a:cubicBezTo>
                        <a:pt x="511825" y="217879"/>
                        <a:pt x="523127" y="215852"/>
                        <a:pt x="523127" y="215852"/>
                      </a:cubicBezTo>
                      <a:lnTo>
                        <a:pt x="532167" y="234093"/>
                      </a:lnTo>
                      <a:lnTo>
                        <a:pt x="515216" y="239159"/>
                      </a:lnTo>
                      <a:lnTo>
                        <a:pt x="515216" y="254360"/>
                      </a:lnTo>
                      <a:cubicBezTo>
                        <a:pt x="515216" y="254360"/>
                        <a:pt x="525387" y="250306"/>
                        <a:pt x="526517" y="257400"/>
                      </a:cubicBezTo>
                      <a:cubicBezTo>
                        <a:pt x="527647" y="264493"/>
                        <a:pt x="544599" y="248279"/>
                        <a:pt x="544599" y="248279"/>
                      </a:cubicBezTo>
                      <a:cubicBezTo>
                        <a:pt x="544599" y="248279"/>
                        <a:pt x="549119" y="247266"/>
                        <a:pt x="561551" y="247266"/>
                      </a:cubicBezTo>
                      <a:cubicBezTo>
                        <a:pt x="573982" y="247266"/>
                        <a:pt x="584153" y="225986"/>
                        <a:pt x="593194" y="217879"/>
                      </a:cubicBezTo>
                      <a:cubicBezTo>
                        <a:pt x="602235" y="209772"/>
                        <a:pt x="593194" y="217879"/>
                        <a:pt x="580762" y="209772"/>
                      </a:cubicBezTo>
                      <a:cubicBezTo>
                        <a:pt x="568331" y="201665"/>
                        <a:pt x="569461" y="201665"/>
                        <a:pt x="557030" y="201665"/>
                      </a:cubicBezTo>
                      <a:cubicBezTo>
                        <a:pt x="544599" y="201665"/>
                        <a:pt x="547989" y="200652"/>
                        <a:pt x="550250" y="192545"/>
                      </a:cubicBezTo>
                      <a:cubicBezTo>
                        <a:pt x="552509" y="184438"/>
                        <a:pt x="544599" y="186465"/>
                        <a:pt x="535558" y="191532"/>
                      </a:cubicBezTo>
                      <a:cubicBezTo>
                        <a:pt x="526517" y="196598"/>
                        <a:pt x="527647" y="182411"/>
                        <a:pt x="515216" y="181398"/>
                      </a:cubicBezTo>
                      <a:cubicBezTo>
                        <a:pt x="502785" y="180385"/>
                        <a:pt x="519736" y="177345"/>
                        <a:pt x="526517" y="173291"/>
                      </a:cubicBezTo>
                      <a:cubicBezTo>
                        <a:pt x="533298" y="169238"/>
                        <a:pt x="531038" y="169238"/>
                        <a:pt x="541208" y="162144"/>
                      </a:cubicBezTo>
                      <a:cubicBezTo>
                        <a:pt x="551380" y="155051"/>
                        <a:pt x="529907" y="145931"/>
                        <a:pt x="531038" y="145931"/>
                      </a:cubicBezTo>
                      <a:cubicBezTo>
                        <a:pt x="531038" y="145931"/>
                        <a:pt x="523127" y="145931"/>
                        <a:pt x="515216" y="150997"/>
                      </a:cubicBezTo>
                      <a:lnTo>
                        <a:pt x="531038" y="14593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5" name="Freeform: Shape 264">
                  <a:extLst>
                    <a:ext uri="{FF2B5EF4-FFF2-40B4-BE49-F238E27FC236}">
                      <a16:creationId xmlns:a16="http://schemas.microsoft.com/office/drawing/2014/main" id="{62D1A910-03E3-4766-A9E1-D4506F94E526}"/>
                    </a:ext>
                  </a:extLst>
                </p:cNvPr>
                <p:cNvSpPr/>
                <p:nvPr/>
              </p:nvSpPr>
              <p:spPr>
                <a:xfrm>
                  <a:off x="1494869" y="2208603"/>
                  <a:ext cx="2045516" cy="1053891"/>
                </a:xfrm>
                <a:custGeom>
                  <a:avLst/>
                  <a:gdLst>
                    <a:gd name="connsiteX0" fmla="*/ 1489379 w 2045516"/>
                    <a:gd name="connsiteY0" fmla="*/ 302887 h 1053891"/>
                    <a:gd name="connsiteX1" fmla="*/ 1483728 w 2045516"/>
                    <a:gd name="connsiteY1" fmla="*/ 322141 h 1053891"/>
                    <a:gd name="connsiteX2" fmla="*/ 1489379 w 2045516"/>
                    <a:gd name="connsiteY2" fmla="*/ 302887 h 1053891"/>
                    <a:gd name="connsiteX3" fmla="*/ 98201 w 2045516"/>
                    <a:gd name="connsiteY3" fmla="*/ 38401 h 1053891"/>
                    <a:gd name="connsiteX4" fmla="*/ 100462 w 2045516"/>
                    <a:gd name="connsiteY4" fmla="*/ 45494 h 1053891"/>
                    <a:gd name="connsiteX5" fmla="*/ 92551 w 2045516"/>
                    <a:gd name="connsiteY5" fmla="*/ 55628 h 1053891"/>
                    <a:gd name="connsiteX6" fmla="*/ 94811 w 2045516"/>
                    <a:gd name="connsiteY6" fmla="*/ 72855 h 1053891"/>
                    <a:gd name="connsiteX7" fmla="*/ 86900 w 2045516"/>
                    <a:gd name="connsiteY7" fmla="*/ 70828 h 1053891"/>
                    <a:gd name="connsiteX8" fmla="*/ 86900 w 2045516"/>
                    <a:gd name="connsiteY8" fmla="*/ 63735 h 1053891"/>
                    <a:gd name="connsiteX9" fmla="*/ 86900 w 2045516"/>
                    <a:gd name="connsiteY9" fmla="*/ 49548 h 1053891"/>
                    <a:gd name="connsiteX10" fmla="*/ 89160 w 2045516"/>
                    <a:gd name="connsiteY10" fmla="*/ 51574 h 1053891"/>
                    <a:gd name="connsiteX11" fmla="*/ 88030 w 2045516"/>
                    <a:gd name="connsiteY11" fmla="*/ 44481 h 1053891"/>
                    <a:gd name="connsiteX12" fmla="*/ 94811 w 2045516"/>
                    <a:gd name="connsiteY12" fmla="*/ 42454 h 1053891"/>
                    <a:gd name="connsiteX13" fmla="*/ 98201 w 2045516"/>
                    <a:gd name="connsiteY13" fmla="*/ 38401 h 1053891"/>
                    <a:gd name="connsiteX14" fmla="*/ 86900 w 2045516"/>
                    <a:gd name="connsiteY14" fmla="*/ 84002 h 1053891"/>
                    <a:gd name="connsiteX15" fmla="*/ 89160 w 2045516"/>
                    <a:gd name="connsiteY15" fmla="*/ 89069 h 1053891"/>
                    <a:gd name="connsiteX16" fmla="*/ 77859 w 2045516"/>
                    <a:gd name="connsiteY16" fmla="*/ 94135 h 1053891"/>
                    <a:gd name="connsiteX17" fmla="*/ 75599 w 2045516"/>
                    <a:gd name="connsiteY17" fmla="*/ 101229 h 1053891"/>
                    <a:gd name="connsiteX18" fmla="*/ 73339 w 2045516"/>
                    <a:gd name="connsiteY18" fmla="*/ 94135 h 1053891"/>
                    <a:gd name="connsiteX19" fmla="*/ 86900 w 2045516"/>
                    <a:gd name="connsiteY19" fmla="*/ 84002 h 1053891"/>
                    <a:gd name="connsiteX20" fmla="*/ 1828414 w 2045516"/>
                    <a:gd name="connsiteY20" fmla="*/ 210671 h 1053891"/>
                    <a:gd name="connsiteX21" fmla="*/ 1828414 w 2045516"/>
                    <a:gd name="connsiteY21" fmla="*/ 234992 h 1053891"/>
                    <a:gd name="connsiteX22" fmla="*/ 1822764 w 2045516"/>
                    <a:gd name="connsiteY22" fmla="*/ 234992 h 1053891"/>
                    <a:gd name="connsiteX23" fmla="*/ 1822764 w 2045516"/>
                    <a:gd name="connsiteY23" fmla="*/ 217765 h 1053891"/>
                    <a:gd name="connsiteX24" fmla="*/ 1828414 w 2045516"/>
                    <a:gd name="connsiteY24" fmla="*/ 210671 h 1053891"/>
                    <a:gd name="connsiteX25" fmla="*/ 425936 w 2045516"/>
                    <a:gd name="connsiteY25" fmla="*/ 335314 h 1053891"/>
                    <a:gd name="connsiteX26" fmla="*/ 450799 w 2045516"/>
                    <a:gd name="connsiteY26" fmla="*/ 342408 h 1053891"/>
                    <a:gd name="connsiteX27" fmla="*/ 450799 w 2045516"/>
                    <a:gd name="connsiteY27" fmla="*/ 354568 h 1053891"/>
                    <a:gd name="connsiteX28" fmla="*/ 456449 w 2045516"/>
                    <a:gd name="connsiteY28" fmla="*/ 359635 h 1053891"/>
                    <a:gd name="connsiteX29" fmla="*/ 454189 w 2045516"/>
                    <a:gd name="connsiteY29" fmla="*/ 369768 h 1053891"/>
                    <a:gd name="connsiteX30" fmla="*/ 442888 w 2045516"/>
                    <a:gd name="connsiteY30" fmla="*/ 374835 h 1053891"/>
                    <a:gd name="connsiteX31" fmla="*/ 421415 w 2045516"/>
                    <a:gd name="connsiteY31" fmla="*/ 340381 h 1053891"/>
                    <a:gd name="connsiteX32" fmla="*/ 425936 w 2045516"/>
                    <a:gd name="connsiteY32" fmla="*/ 335314 h 1053891"/>
                    <a:gd name="connsiteX33" fmla="*/ 1879270 w 2045516"/>
                    <a:gd name="connsiteY33" fmla="*/ 378889 h 1053891"/>
                    <a:gd name="connsiteX34" fmla="*/ 1865708 w 2045516"/>
                    <a:gd name="connsiteY34" fmla="*/ 383955 h 1053891"/>
                    <a:gd name="connsiteX35" fmla="*/ 1838585 w 2045516"/>
                    <a:gd name="connsiteY35" fmla="*/ 381929 h 1053891"/>
                    <a:gd name="connsiteX36" fmla="*/ 1827284 w 2045516"/>
                    <a:gd name="connsiteY36" fmla="*/ 389022 h 1053891"/>
                    <a:gd name="connsiteX37" fmla="*/ 1813723 w 2045516"/>
                    <a:gd name="connsiteY37" fmla="*/ 391049 h 1053891"/>
                    <a:gd name="connsiteX38" fmla="*/ 1811463 w 2045516"/>
                    <a:gd name="connsiteY38" fmla="*/ 401182 h 1053891"/>
                    <a:gd name="connsiteX39" fmla="*/ 1830675 w 2045516"/>
                    <a:gd name="connsiteY39" fmla="*/ 401182 h 1053891"/>
                    <a:gd name="connsiteX40" fmla="*/ 1846496 w 2045516"/>
                    <a:gd name="connsiteY40" fmla="*/ 394089 h 1053891"/>
                    <a:gd name="connsiteX41" fmla="*/ 1865708 w 2045516"/>
                    <a:gd name="connsiteY41" fmla="*/ 396116 h 1053891"/>
                    <a:gd name="connsiteX42" fmla="*/ 1871359 w 2045516"/>
                    <a:gd name="connsiteY42" fmla="*/ 385982 h 1053891"/>
                    <a:gd name="connsiteX43" fmla="*/ 1879270 w 2045516"/>
                    <a:gd name="connsiteY43" fmla="*/ 378889 h 1053891"/>
                    <a:gd name="connsiteX44" fmla="*/ 1177465 w 2045516"/>
                    <a:gd name="connsiteY44" fmla="*/ 855166 h 1053891"/>
                    <a:gd name="connsiteX45" fmla="*/ 1177465 w 2045516"/>
                    <a:gd name="connsiteY45" fmla="*/ 865300 h 1053891"/>
                    <a:gd name="connsiteX46" fmla="*/ 1177465 w 2045516"/>
                    <a:gd name="connsiteY46" fmla="*/ 855166 h 1053891"/>
                    <a:gd name="connsiteX47" fmla="*/ 1226061 w 2045516"/>
                    <a:gd name="connsiteY47" fmla="*/ 877460 h 1053891"/>
                    <a:gd name="connsiteX48" fmla="*/ 1223800 w 2045516"/>
                    <a:gd name="connsiteY48" fmla="*/ 882527 h 1053891"/>
                    <a:gd name="connsiteX49" fmla="*/ 1226061 w 2045516"/>
                    <a:gd name="connsiteY49" fmla="*/ 889620 h 1053891"/>
                    <a:gd name="connsiteX50" fmla="*/ 1226061 w 2045516"/>
                    <a:gd name="connsiteY50" fmla="*/ 891647 h 1053891"/>
                    <a:gd name="connsiteX51" fmla="*/ 1233971 w 2045516"/>
                    <a:gd name="connsiteY51" fmla="*/ 893674 h 1053891"/>
                    <a:gd name="connsiteX52" fmla="*/ 1233971 w 2045516"/>
                    <a:gd name="connsiteY52" fmla="*/ 876447 h 1053891"/>
                    <a:gd name="connsiteX53" fmla="*/ 1226061 w 2045516"/>
                    <a:gd name="connsiteY53" fmla="*/ 877460 h 1053891"/>
                    <a:gd name="connsiteX54" fmla="*/ 1359415 w 2045516"/>
                    <a:gd name="connsiteY54" fmla="*/ 167097 h 1053891"/>
                    <a:gd name="connsiteX55" fmla="*/ 1357154 w 2045516"/>
                    <a:gd name="connsiteY55" fmla="*/ 177231 h 1053891"/>
                    <a:gd name="connsiteX56" fmla="*/ 1362805 w 2045516"/>
                    <a:gd name="connsiteY56" fmla="*/ 170137 h 1053891"/>
                    <a:gd name="connsiteX57" fmla="*/ 1359415 w 2045516"/>
                    <a:gd name="connsiteY57" fmla="*/ 167097 h 1053891"/>
                    <a:gd name="connsiteX58" fmla="*/ 1944817 w 2045516"/>
                    <a:gd name="connsiteY58" fmla="*/ 337341 h 1053891"/>
                    <a:gd name="connsiteX59" fmla="*/ 1944817 w 2045516"/>
                    <a:gd name="connsiteY59" fmla="*/ 344434 h 1053891"/>
                    <a:gd name="connsiteX60" fmla="*/ 1944817 w 2045516"/>
                    <a:gd name="connsiteY60" fmla="*/ 337341 h 1053891"/>
                    <a:gd name="connsiteX61" fmla="*/ 1741395 w 2045516"/>
                    <a:gd name="connsiteY61" fmla="*/ 526839 h 1053891"/>
                    <a:gd name="connsiteX62" fmla="*/ 1739135 w 2045516"/>
                    <a:gd name="connsiteY62" fmla="*/ 538999 h 1053891"/>
                    <a:gd name="connsiteX63" fmla="*/ 1744786 w 2045516"/>
                    <a:gd name="connsiteY63" fmla="*/ 536972 h 1053891"/>
                    <a:gd name="connsiteX64" fmla="*/ 1741395 w 2045516"/>
                    <a:gd name="connsiteY64" fmla="*/ 526839 h 1053891"/>
                    <a:gd name="connsiteX65" fmla="*/ 1698451 w 2045516"/>
                    <a:gd name="connsiteY65" fmla="*/ 660602 h 1053891"/>
                    <a:gd name="connsiteX66" fmla="*/ 1704101 w 2045516"/>
                    <a:gd name="connsiteY66" fmla="*/ 665669 h 1053891"/>
                    <a:gd name="connsiteX67" fmla="*/ 1698451 w 2045516"/>
                    <a:gd name="connsiteY67" fmla="*/ 660602 h 1053891"/>
                    <a:gd name="connsiteX68" fmla="*/ 1187636 w 2045516"/>
                    <a:gd name="connsiteY68" fmla="*/ 870367 h 1053891"/>
                    <a:gd name="connsiteX69" fmla="*/ 1187636 w 2045516"/>
                    <a:gd name="connsiteY69" fmla="*/ 875434 h 1053891"/>
                    <a:gd name="connsiteX70" fmla="*/ 1187636 w 2045516"/>
                    <a:gd name="connsiteY70" fmla="*/ 870367 h 1053891"/>
                    <a:gd name="connsiteX71" fmla="*/ 1183116 w 2045516"/>
                    <a:gd name="connsiteY71" fmla="*/ 889620 h 1053891"/>
                    <a:gd name="connsiteX72" fmla="*/ 1204588 w 2045516"/>
                    <a:gd name="connsiteY72" fmla="*/ 891647 h 1053891"/>
                    <a:gd name="connsiteX73" fmla="*/ 1206849 w 2045516"/>
                    <a:gd name="connsiteY73" fmla="*/ 886580 h 1053891"/>
                    <a:gd name="connsiteX74" fmla="*/ 1218150 w 2045516"/>
                    <a:gd name="connsiteY74" fmla="*/ 888607 h 1053891"/>
                    <a:gd name="connsiteX75" fmla="*/ 1220410 w 2045516"/>
                    <a:gd name="connsiteY75" fmla="*/ 864287 h 1053891"/>
                    <a:gd name="connsiteX76" fmla="*/ 1245273 w 2045516"/>
                    <a:gd name="connsiteY76" fmla="*/ 874420 h 1053891"/>
                    <a:gd name="connsiteX77" fmla="*/ 1247533 w 2045516"/>
                    <a:gd name="connsiteY77" fmla="*/ 881514 h 1053891"/>
                    <a:gd name="connsiteX78" fmla="*/ 1247533 w 2045516"/>
                    <a:gd name="connsiteY78" fmla="*/ 883540 h 1053891"/>
                    <a:gd name="connsiteX79" fmla="*/ 1261094 w 2045516"/>
                    <a:gd name="connsiteY79" fmla="*/ 883540 h 1053891"/>
                    <a:gd name="connsiteX80" fmla="*/ 1261094 w 2045516"/>
                    <a:gd name="connsiteY80" fmla="*/ 893674 h 1053891"/>
                    <a:gd name="connsiteX81" fmla="*/ 1269005 w 2045516"/>
                    <a:gd name="connsiteY81" fmla="*/ 893674 h 1053891"/>
                    <a:gd name="connsiteX82" fmla="*/ 1269005 w 2045516"/>
                    <a:gd name="connsiteY82" fmla="*/ 879487 h 1053891"/>
                    <a:gd name="connsiteX83" fmla="*/ 1257704 w 2045516"/>
                    <a:gd name="connsiteY83" fmla="*/ 879487 h 1053891"/>
                    <a:gd name="connsiteX84" fmla="*/ 1257704 w 2045516"/>
                    <a:gd name="connsiteY84" fmla="*/ 869353 h 1053891"/>
                    <a:gd name="connsiteX85" fmla="*/ 1269005 w 2045516"/>
                    <a:gd name="connsiteY85" fmla="*/ 864287 h 1053891"/>
                    <a:gd name="connsiteX86" fmla="*/ 1269005 w 2045516"/>
                    <a:gd name="connsiteY86" fmla="*/ 859220 h 1053891"/>
                    <a:gd name="connsiteX87" fmla="*/ 1263355 w 2045516"/>
                    <a:gd name="connsiteY87" fmla="*/ 854153 h 1053891"/>
                    <a:gd name="connsiteX88" fmla="*/ 1255444 w 2045516"/>
                    <a:gd name="connsiteY88" fmla="*/ 859220 h 1053891"/>
                    <a:gd name="connsiteX89" fmla="*/ 1249793 w 2045516"/>
                    <a:gd name="connsiteY89" fmla="*/ 849086 h 1053891"/>
                    <a:gd name="connsiteX90" fmla="*/ 1236232 w 2045516"/>
                    <a:gd name="connsiteY90" fmla="*/ 851113 h 1053891"/>
                    <a:gd name="connsiteX91" fmla="*/ 1236232 w 2045516"/>
                    <a:gd name="connsiteY91" fmla="*/ 846046 h 1053891"/>
                    <a:gd name="connsiteX92" fmla="*/ 1228321 w 2045516"/>
                    <a:gd name="connsiteY92" fmla="*/ 844019 h 1053891"/>
                    <a:gd name="connsiteX93" fmla="*/ 1230581 w 2045516"/>
                    <a:gd name="connsiteY93" fmla="*/ 838953 h 1053891"/>
                    <a:gd name="connsiteX94" fmla="*/ 1255444 w 2045516"/>
                    <a:gd name="connsiteY94" fmla="*/ 840979 h 1053891"/>
                    <a:gd name="connsiteX95" fmla="*/ 1257704 w 2045516"/>
                    <a:gd name="connsiteY95" fmla="*/ 833886 h 1053891"/>
                    <a:gd name="connsiteX96" fmla="*/ 1271266 w 2045516"/>
                    <a:gd name="connsiteY96" fmla="*/ 828819 h 1053891"/>
                    <a:gd name="connsiteX97" fmla="*/ 1292738 w 2045516"/>
                    <a:gd name="connsiteY97" fmla="*/ 838953 h 1053891"/>
                    <a:gd name="connsiteX98" fmla="*/ 1304039 w 2045516"/>
                    <a:gd name="connsiteY98" fmla="*/ 836926 h 1053891"/>
                    <a:gd name="connsiteX99" fmla="*/ 1304039 w 2045516"/>
                    <a:gd name="connsiteY99" fmla="*/ 826792 h 1053891"/>
                    <a:gd name="connsiteX100" fmla="*/ 1309690 w 2045516"/>
                    <a:gd name="connsiteY100" fmla="*/ 826792 h 1053891"/>
                    <a:gd name="connsiteX101" fmla="*/ 1311950 w 2045516"/>
                    <a:gd name="connsiteY101" fmla="*/ 840979 h 1053891"/>
                    <a:gd name="connsiteX102" fmla="*/ 1323251 w 2045516"/>
                    <a:gd name="connsiteY102" fmla="*/ 840979 h 1053891"/>
                    <a:gd name="connsiteX103" fmla="*/ 1336812 w 2045516"/>
                    <a:gd name="connsiteY103" fmla="*/ 826792 h 1053891"/>
                    <a:gd name="connsiteX104" fmla="*/ 1342463 w 2045516"/>
                    <a:gd name="connsiteY104" fmla="*/ 833886 h 1053891"/>
                    <a:gd name="connsiteX105" fmla="*/ 1350374 w 2045516"/>
                    <a:gd name="connsiteY105" fmla="*/ 835913 h 1053891"/>
                    <a:gd name="connsiteX106" fmla="*/ 1352634 w 2045516"/>
                    <a:gd name="connsiteY106" fmla="*/ 828819 h 1053891"/>
                    <a:gd name="connsiteX107" fmla="*/ 1360545 w 2045516"/>
                    <a:gd name="connsiteY107" fmla="*/ 828819 h 1053891"/>
                    <a:gd name="connsiteX108" fmla="*/ 1368456 w 2045516"/>
                    <a:gd name="connsiteY108" fmla="*/ 830846 h 1053891"/>
                    <a:gd name="connsiteX109" fmla="*/ 1366196 w 2045516"/>
                    <a:gd name="connsiteY109" fmla="*/ 840979 h 1053891"/>
                    <a:gd name="connsiteX110" fmla="*/ 1371846 w 2045516"/>
                    <a:gd name="connsiteY110" fmla="*/ 846046 h 1053891"/>
                    <a:gd name="connsiteX111" fmla="*/ 1393318 w 2045516"/>
                    <a:gd name="connsiteY111" fmla="*/ 848073 h 1053891"/>
                    <a:gd name="connsiteX112" fmla="*/ 1395579 w 2045516"/>
                    <a:gd name="connsiteY112" fmla="*/ 858206 h 1053891"/>
                    <a:gd name="connsiteX113" fmla="*/ 1428352 w 2045516"/>
                    <a:gd name="connsiteY113" fmla="*/ 868340 h 1053891"/>
                    <a:gd name="connsiteX114" fmla="*/ 1441913 w 2045516"/>
                    <a:gd name="connsiteY114" fmla="*/ 854153 h 1053891"/>
                    <a:gd name="connsiteX115" fmla="*/ 1455475 w 2045516"/>
                    <a:gd name="connsiteY115" fmla="*/ 854153 h 1053891"/>
                    <a:gd name="connsiteX116" fmla="*/ 1463386 w 2045516"/>
                    <a:gd name="connsiteY116" fmla="*/ 861247 h 1053891"/>
                    <a:gd name="connsiteX117" fmla="*/ 1469037 w 2045516"/>
                    <a:gd name="connsiteY117" fmla="*/ 880500 h 1053891"/>
                    <a:gd name="connsiteX118" fmla="*/ 1484858 w 2045516"/>
                    <a:gd name="connsiteY118" fmla="*/ 887594 h 1053891"/>
                    <a:gd name="connsiteX119" fmla="*/ 1487118 w 2045516"/>
                    <a:gd name="connsiteY119" fmla="*/ 922048 h 1053891"/>
                    <a:gd name="connsiteX120" fmla="*/ 1481468 w 2045516"/>
                    <a:gd name="connsiteY120" fmla="*/ 929141 h 1053891"/>
                    <a:gd name="connsiteX121" fmla="*/ 1487118 w 2045516"/>
                    <a:gd name="connsiteY121" fmla="*/ 951435 h 1053891"/>
                    <a:gd name="connsiteX122" fmla="*/ 1495029 w 2045516"/>
                    <a:gd name="connsiteY122" fmla="*/ 939275 h 1053891"/>
                    <a:gd name="connsiteX123" fmla="*/ 1506330 w 2045516"/>
                    <a:gd name="connsiteY123" fmla="*/ 939275 h 1053891"/>
                    <a:gd name="connsiteX124" fmla="*/ 1495029 w 2045516"/>
                    <a:gd name="connsiteY124" fmla="*/ 977783 h 1053891"/>
                    <a:gd name="connsiteX125" fmla="*/ 1516501 w 2045516"/>
                    <a:gd name="connsiteY125" fmla="*/ 989943 h 1053891"/>
                    <a:gd name="connsiteX126" fmla="*/ 1524412 w 2045516"/>
                    <a:gd name="connsiteY126" fmla="*/ 1019330 h 1053891"/>
                    <a:gd name="connsiteX127" fmla="*/ 1532323 w 2045516"/>
                    <a:gd name="connsiteY127" fmla="*/ 1024397 h 1053891"/>
                    <a:gd name="connsiteX128" fmla="*/ 1537974 w 2045516"/>
                    <a:gd name="connsiteY128" fmla="*/ 1038584 h 1053891"/>
                    <a:gd name="connsiteX129" fmla="*/ 1545885 w 2045516"/>
                    <a:gd name="connsiteY129" fmla="*/ 1040611 h 1053891"/>
                    <a:gd name="connsiteX130" fmla="*/ 1553795 w 2045516"/>
                    <a:gd name="connsiteY130" fmla="*/ 1052771 h 1053891"/>
                    <a:gd name="connsiteX131" fmla="*/ 1561706 w 2045516"/>
                    <a:gd name="connsiteY131" fmla="*/ 1052771 h 1053891"/>
                    <a:gd name="connsiteX132" fmla="*/ 1563966 w 2045516"/>
                    <a:gd name="connsiteY132" fmla="*/ 1042637 h 1053891"/>
                    <a:gd name="connsiteX133" fmla="*/ 1561706 w 2045516"/>
                    <a:gd name="connsiteY133" fmla="*/ 1037571 h 1053891"/>
                    <a:gd name="connsiteX134" fmla="*/ 1563966 w 2045516"/>
                    <a:gd name="connsiteY134" fmla="*/ 1032504 h 1053891"/>
                    <a:gd name="connsiteX135" fmla="*/ 1571877 w 2045516"/>
                    <a:gd name="connsiteY135" fmla="*/ 1022370 h 1053891"/>
                    <a:gd name="connsiteX136" fmla="*/ 1571877 w 2045516"/>
                    <a:gd name="connsiteY136" fmla="*/ 1000076 h 1053891"/>
                    <a:gd name="connsiteX137" fmla="*/ 1577528 w 2045516"/>
                    <a:gd name="connsiteY137" fmla="*/ 987916 h 1053891"/>
                    <a:gd name="connsiteX138" fmla="*/ 1575268 w 2045516"/>
                    <a:gd name="connsiteY138" fmla="*/ 973729 h 1053891"/>
                    <a:gd name="connsiteX139" fmla="*/ 1569617 w 2045516"/>
                    <a:gd name="connsiteY139" fmla="*/ 971702 h 1053891"/>
                    <a:gd name="connsiteX140" fmla="*/ 1567357 w 2045516"/>
                    <a:gd name="connsiteY140" fmla="*/ 947382 h 1053891"/>
                    <a:gd name="connsiteX141" fmla="*/ 1556056 w 2045516"/>
                    <a:gd name="connsiteY141" fmla="*/ 935222 h 1053891"/>
                    <a:gd name="connsiteX142" fmla="*/ 1558316 w 2045516"/>
                    <a:gd name="connsiteY142" fmla="*/ 923061 h 1053891"/>
                    <a:gd name="connsiteX143" fmla="*/ 1547015 w 2045516"/>
                    <a:gd name="connsiteY143" fmla="*/ 912928 h 1053891"/>
                    <a:gd name="connsiteX144" fmla="*/ 1549275 w 2045516"/>
                    <a:gd name="connsiteY144" fmla="*/ 900767 h 1053891"/>
                    <a:gd name="connsiteX145" fmla="*/ 1535713 w 2045516"/>
                    <a:gd name="connsiteY145" fmla="*/ 874420 h 1053891"/>
                    <a:gd name="connsiteX146" fmla="*/ 1533453 w 2045516"/>
                    <a:gd name="connsiteY146" fmla="*/ 845033 h 1053891"/>
                    <a:gd name="connsiteX147" fmla="*/ 1522152 w 2045516"/>
                    <a:gd name="connsiteY147" fmla="*/ 839966 h 1053891"/>
                    <a:gd name="connsiteX148" fmla="*/ 1522152 w 2045516"/>
                    <a:gd name="connsiteY148" fmla="*/ 834899 h 1053891"/>
                    <a:gd name="connsiteX149" fmla="*/ 1533453 w 2045516"/>
                    <a:gd name="connsiteY149" fmla="*/ 827806 h 1053891"/>
                    <a:gd name="connsiteX150" fmla="*/ 1531193 w 2045516"/>
                    <a:gd name="connsiteY150" fmla="*/ 808552 h 1053891"/>
                    <a:gd name="connsiteX151" fmla="*/ 1536844 w 2045516"/>
                    <a:gd name="connsiteY151" fmla="*/ 808552 h 1053891"/>
                    <a:gd name="connsiteX152" fmla="*/ 1542494 w 2045516"/>
                    <a:gd name="connsiteY152" fmla="*/ 782205 h 1053891"/>
                    <a:gd name="connsiteX153" fmla="*/ 1542494 w 2045516"/>
                    <a:gd name="connsiteY153" fmla="*/ 777138 h 1053891"/>
                    <a:gd name="connsiteX154" fmla="*/ 1556056 w 2045516"/>
                    <a:gd name="connsiteY154" fmla="*/ 770044 h 1053891"/>
                    <a:gd name="connsiteX155" fmla="*/ 1553795 w 2045516"/>
                    <a:gd name="connsiteY155" fmla="*/ 759911 h 1053891"/>
                    <a:gd name="connsiteX156" fmla="*/ 1567357 w 2045516"/>
                    <a:gd name="connsiteY156" fmla="*/ 757884 h 1053891"/>
                    <a:gd name="connsiteX157" fmla="*/ 1573007 w 2045516"/>
                    <a:gd name="connsiteY157" fmla="*/ 743697 h 1053891"/>
                    <a:gd name="connsiteX158" fmla="*/ 1586569 w 2045516"/>
                    <a:gd name="connsiteY158" fmla="*/ 743697 h 1053891"/>
                    <a:gd name="connsiteX159" fmla="*/ 1597870 w 2045516"/>
                    <a:gd name="connsiteY159" fmla="*/ 733564 h 1053891"/>
                    <a:gd name="connsiteX160" fmla="*/ 1597870 w 2045516"/>
                    <a:gd name="connsiteY160" fmla="*/ 726470 h 1053891"/>
                    <a:gd name="connsiteX161" fmla="*/ 1609171 w 2045516"/>
                    <a:gd name="connsiteY161" fmla="*/ 726470 h 1053891"/>
                    <a:gd name="connsiteX162" fmla="*/ 1614822 w 2045516"/>
                    <a:gd name="connsiteY162" fmla="*/ 707216 h 1053891"/>
                    <a:gd name="connsiteX163" fmla="*/ 1626123 w 2045516"/>
                    <a:gd name="connsiteY163" fmla="*/ 709243 h 1053891"/>
                    <a:gd name="connsiteX164" fmla="*/ 1637424 w 2045516"/>
                    <a:gd name="connsiteY164" fmla="*/ 699109 h 1053891"/>
                    <a:gd name="connsiteX165" fmla="*/ 1653246 w 2045516"/>
                    <a:gd name="connsiteY165" fmla="*/ 697083 h 1053891"/>
                    <a:gd name="connsiteX166" fmla="*/ 1672458 w 2045516"/>
                    <a:gd name="connsiteY166" fmla="*/ 677829 h 1053891"/>
                    <a:gd name="connsiteX167" fmla="*/ 1672458 w 2045516"/>
                    <a:gd name="connsiteY167" fmla="*/ 670735 h 1053891"/>
                    <a:gd name="connsiteX168" fmla="*/ 1688280 w 2045516"/>
                    <a:gd name="connsiteY168" fmla="*/ 663642 h 1053891"/>
                    <a:gd name="connsiteX169" fmla="*/ 1680369 w 2045516"/>
                    <a:gd name="connsiteY169" fmla="*/ 646415 h 1053891"/>
                    <a:gd name="connsiteX170" fmla="*/ 1693930 w 2045516"/>
                    <a:gd name="connsiteY170" fmla="*/ 646415 h 1053891"/>
                    <a:gd name="connsiteX171" fmla="*/ 1693930 w 2045516"/>
                    <a:gd name="connsiteY171" fmla="*/ 641348 h 1053891"/>
                    <a:gd name="connsiteX172" fmla="*/ 1699581 w 2045516"/>
                    <a:gd name="connsiteY172" fmla="*/ 641348 h 1053891"/>
                    <a:gd name="connsiteX173" fmla="*/ 1688280 w 2045516"/>
                    <a:gd name="connsiteY173" fmla="*/ 627161 h 1053891"/>
                    <a:gd name="connsiteX174" fmla="*/ 1707491 w 2045516"/>
                    <a:gd name="connsiteY174" fmla="*/ 625134 h 1053891"/>
                    <a:gd name="connsiteX175" fmla="*/ 1707491 w 2045516"/>
                    <a:gd name="connsiteY175" fmla="*/ 630201 h 1053891"/>
                    <a:gd name="connsiteX176" fmla="*/ 1718793 w 2045516"/>
                    <a:gd name="connsiteY176" fmla="*/ 632228 h 1053891"/>
                    <a:gd name="connsiteX177" fmla="*/ 1721053 w 2045516"/>
                    <a:gd name="connsiteY177" fmla="*/ 622094 h 1053891"/>
                    <a:gd name="connsiteX178" fmla="*/ 1721053 w 2045516"/>
                    <a:gd name="connsiteY178" fmla="*/ 615001 h 1053891"/>
                    <a:gd name="connsiteX179" fmla="*/ 1699581 w 2045516"/>
                    <a:gd name="connsiteY179" fmla="*/ 609934 h 1053891"/>
                    <a:gd name="connsiteX180" fmla="*/ 1699581 w 2045516"/>
                    <a:gd name="connsiteY180" fmla="*/ 602840 h 1053891"/>
                    <a:gd name="connsiteX181" fmla="*/ 1718793 w 2045516"/>
                    <a:gd name="connsiteY181" fmla="*/ 597774 h 1053891"/>
                    <a:gd name="connsiteX182" fmla="*/ 1721053 w 2045516"/>
                    <a:gd name="connsiteY182" fmla="*/ 590680 h 1053891"/>
                    <a:gd name="connsiteX183" fmla="*/ 1715402 w 2045516"/>
                    <a:gd name="connsiteY183" fmla="*/ 583587 h 1053891"/>
                    <a:gd name="connsiteX184" fmla="*/ 1717663 w 2045516"/>
                    <a:gd name="connsiteY184" fmla="*/ 576493 h 1053891"/>
                    <a:gd name="connsiteX185" fmla="*/ 1692800 w 2045516"/>
                    <a:gd name="connsiteY185" fmla="*/ 566360 h 1053891"/>
                    <a:gd name="connsiteX186" fmla="*/ 1692800 w 2045516"/>
                    <a:gd name="connsiteY186" fmla="*/ 559266 h 1053891"/>
                    <a:gd name="connsiteX187" fmla="*/ 1684889 w 2045516"/>
                    <a:gd name="connsiteY187" fmla="*/ 552173 h 1053891"/>
                    <a:gd name="connsiteX188" fmla="*/ 1706362 w 2045516"/>
                    <a:gd name="connsiteY188" fmla="*/ 550146 h 1053891"/>
                    <a:gd name="connsiteX189" fmla="*/ 1690540 w 2045516"/>
                    <a:gd name="connsiteY189" fmla="*/ 530892 h 1053891"/>
                    <a:gd name="connsiteX190" fmla="*/ 1698451 w 2045516"/>
                    <a:gd name="connsiteY190" fmla="*/ 530892 h 1053891"/>
                    <a:gd name="connsiteX191" fmla="*/ 1698451 w 2045516"/>
                    <a:gd name="connsiteY191" fmla="*/ 525825 h 1053891"/>
                    <a:gd name="connsiteX192" fmla="*/ 1679238 w 2045516"/>
                    <a:gd name="connsiteY192" fmla="*/ 513665 h 1053891"/>
                    <a:gd name="connsiteX193" fmla="*/ 1687149 w 2045516"/>
                    <a:gd name="connsiteY193" fmla="*/ 508598 h 1053891"/>
                    <a:gd name="connsiteX194" fmla="*/ 1684889 w 2045516"/>
                    <a:gd name="connsiteY194" fmla="*/ 491371 h 1053891"/>
                    <a:gd name="connsiteX195" fmla="*/ 1690540 w 2045516"/>
                    <a:gd name="connsiteY195" fmla="*/ 491371 h 1053891"/>
                    <a:gd name="connsiteX196" fmla="*/ 1696190 w 2045516"/>
                    <a:gd name="connsiteY196" fmla="*/ 452864 h 1053891"/>
                    <a:gd name="connsiteX197" fmla="*/ 1709752 w 2045516"/>
                    <a:gd name="connsiteY197" fmla="*/ 450837 h 1053891"/>
                    <a:gd name="connsiteX198" fmla="*/ 1712012 w 2045516"/>
                    <a:gd name="connsiteY198" fmla="*/ 445770 h 1053891"/>
                    <a:gd name="connsiteX199" fmla="*/ 1725573 w 2045516"/>
                    <a:gd name="connsiteY199" fmla="*/ 447797 h 1053891"/>
                    <a:gd name="connsiteX200" fmla="*/ 1731224 w 2045516"/>
                    <a:gd name="connsiteY200" fmla="*/ 437663 h 1053891"/>
                    <a:gd name="connsiteX201" fmla="*/ 1733484 w 2045516"/>
                    <a:gd name="connsiteY201" fmla="*/ 447797 h 1053891"/>
                    <a:gd name="connsiteX202" fmla="*/ 1712012 w 2045516"/>
                    <a:gd name="connsiteY202" fmla="*/ 467051 h 1053891"/>
                    <a:gd name="connsiteX203" fmla="*/ 1717663 w 2045516"/>
                    <a:gd name="connsiteY203" fmla="*/ 474144 h 1053891"/>
                    <a:gd name="connsiteX204" fmla="*/ 1704101 w 2045516"/>
                    <a:gd name="connsiteY204" fmla="*/ 484278 h 1053891"/>
                    <a:gd name="connsiteX205" fmla="*/ 1709752 w 2045516"/>
                    <a:gd name="connsiteY205" fmla="*/ 494411 h 1053891"/>
                    <a:gd name="connsiteX206" fmla="*/ 1707491 w 2045516"/>
                    <a:gd name="connsiteY206" fmla="*/ 496438 h 1053891"/>
                    <a:gd name="connsiteX207" fmla="*/ 1709752 w 2045516"/>
                    <a:gd name="connsiteY207" fmla="*/ 515692 h 1053891"/>
                    <a:gd name="connsiteX208" fmla="*/ 1709752 w 2045516"/>
                    <a:gd name="connsiteY208" fmla="*/ 517719 h 1053891"/>
                    <a:gd name="connsiteX209" fmla="*/ 1728964 w 2045516"/>
                    <a:gd name="connsiteY209" fmla="*/ 512652 h 1053891"/>
                    <a:gd name="connsiteX210" fmla="*/ 1728964 w 2045516"/>
                    <a:gd name="connsiteY210" fmla="*/ 526839 h 1053891"/>
                    <a:gd name="connsiteX211" fmla="*/ 1750436 w 2045516"/>
                    <a:gd name="connsiteY211" fmla="*/ 519745 h 1053891"/>
                    <a:gd name="connsiteX212" fmla="*/ 1750436 w 2045516"/>
                    <a:gd name="connsiteY212" fmla="*/ 514678 h 1053891"/>
                    <a:gd name="connsiteX213" fmla="*/ 1748176 w 2045516"/>
                    <a:gd name="connsiteY213" fmla="*/ 507585 h 1053891"/>
                    <a:gd name="connsiteX214" fmla="*/ 1750436 w 2045516"/>
                    <a:gd name="connsiteY214" fmla="*/ 502518 h 1053891"/>
                    <a:gd name="connsiteX215" fmla="*/ 1756087 w 2045516"/>
                    <a:gd name="connsiteY215" fmla="*/ 492385 h 1053891"/>
                    <a:gd name="connsiteX216" fmla="*/ 1750436 w 2045516"/>
                    <a:gd name="connsiteY216" fmla="*/ 492385 h 1053891"/>
                    <a:gd name="connsiteX217" fmla="*/ 1756087 w 2045516"/>
                    <a:gd name="connsiteY217" fmla="*/ 475158 h 1053891"/>
                    <a:gd name="connsiteX218" fmla="*/ 1750436 w 2045516"/>
                    <a:gd name="connsiteY218" fmla="*/ 475158 h 1053891"/>
                    <a:gd name="connsiteX219" fmla="*/ 1742525 w 2045516"/>
                    <a:gd name="connsiteY219" fmla="*/ 462997 h 1053891"/>
                    <a:gd name="connsiteX220" fmla="*/ 1742525 w 2045516"/>
                    <a:gd name="connsiteY220" fmla="*/ 460970 h 1053891"/>
                    <a:gd name="connsiteX221" fmla="*/ 1744786 w 2045516"/>
                    <a:gd name="connsiteY221" fmla="*/ 450837 h 1053891"/>
                    <a:gd name="connsiteX222" fmla="*/ 1763997 w 2045516"/>
                    <a:gd name="connsiteY222" fmla="*/ 460970 h 1053891"/>
                    <a:gd name="connsiteX223" fmla="*/ 1777559 w 2045516"/>
                    <a:gd name="connsiteY223" fmla="*/ 460970 h 1053891"/>
                    <a:gd name="connsiteX224" fmla="*/ 1791121 w 2045516"/>
                    <a:gd name="connsiteY224" fmla="*/ 436650 h 1053891"/>
                    <a:gd name="connsiteX225" fmla="*/ 1799031 w 2045516"/>
                    <a:gd name="connsiteY225" fmla="*/ 438677 h 1053891"/>
                    <a:gd name="connsiteX226" fmla="*/ 1804682 w 2045516"/>
                    <a:gd name="connsiteY226" fmla="*/ 426516 h 1053891"/>
                    <a:gd name="connsiteX227" fmla="*/ 1804682 w 2045516"/>
                    <a:gd name="connsiteY227" fmla="*/ 400169 h 1053891"/>
                    <a:gd name="connsiteX228" fmla="*/ 1796771 w 2045516"/>
                    <a:gd name="connsiteY228" fmla="*/ 400169 h 1053891"/>
                    <a:gd name="connsiteX229" fmla="*/ 1796771 w 2045516"/>
                    <a:gd name="connsiteY229" fmla="*/ 393076 h 1053891"/>
                    <a:gd name="connsiteX230" fmla="*/ 1802422 w 2045516"/>
                    <a:gd name="connsiteY230" fmla="*/ 393076 h 1053891"/>
                    <a:gd name="connsiteX231" fmla="*/ 1802422 w 2045516"/>
                    <a:gd name="connsiteY231" fmla="*/ 388009 h 1053891"/>
                    <a:gd name="connsiteX232" fmla="*/ 1823894 w 2045516"/>
                    <a:gd name="connsiteY232" fmla="*/ 368755 h 1053891"/>
                    <a:gd name="connsiteX233" fmla="*/ 1823894 w 2045516"/>
                    <a:gd name="connsiteY233" fmla="*/ 366728 h 1053891"/>
                    <a:gd name="connsiteX234" fmla="*/ 1835195 w 2045516"/>
                    <a:gd name="connsiteY234" fmla="*/ 366728 h 1053891"/>
                    <a:gd name="connsiteX235" fmla="*/ 1843106 w 2045516"/>
                    <a:gd name="connsiteY235" fmla="*/ 359635 h 1053891"/>
                    <a:gd name="connsiteX236" fmla="*/ 1854407 w 2045516"/>
                    <a:gd name="connsiteY236" fmla="*/ 361661 h 1053891"/>
                    <a:gd name="connsiteX237" fmla="*/ 1860058 w 2045516"/>
                    <a:gd name="connsiteY237" fmla="*/ 351528 h 1053891"/>
                    <a:gd name="connsiteX238" fmla="*/ 1881530 w 2045516"/>
                    <a:gd name="connsiteY238" fmla="*/ 351528 h 1053891"/>
                    <a:gd name="connsiteX239" fmla="*/ 1881530 w 2045516"/>
                    <a:gd name="connsiteY239" fmla="*/ 356595 h 1053891"/>
                    <a:gd name="connsiteX240" fmla="*/ 1892831 w 2045516"/>
                    <a:gd name="connsiteY240" fmla="*/ 354568 h 1053891"/>
                    <a:gd name="connsiteX241" fmla="*/ 1892831 w 2045516"/>
                    <a:gd name="connsiteY241" fmla="*/ 335314 h 1053891"/>
                    <a:gd name="connsiteX242" fmla="*/ 1906393 w 2045516"/>
                    <a:gd name="connsiteY242" fmla="*/ 337341 h 1053891"/>
                    <a:gd name="connsiteX243" fmla="*/ 1906393 w 2045516"/>
                    <a:gd name="connsiteY243" fmla="*/ 344434 h 1053891"/>
                    <a:gd name="connsiteX244" fmla="*/ 1917694 w 2045516"/>
                    <a:gd name="connsiteY244" fmla="*/ 346461 h 1053891"/>
                    <a:gd name="connsiteX245" fmla="*/ 1923344 w 2045516"/>
                    <a:gd name="connsiteY245" fmla="*/ 339368 h 1053891"/>
                    <a:gd name="connsiteX246" fmla="*/ 1934646 w 2045516"/>
                    <a:gd name="connsiteY246" fmla="*/ 339368 h 1053891"/>
                    <a:gd name="connsiteX247" fmla="*/ 1928995 w 2045516"/>
                    <a:gd name="connsiteY247" fmla="*/ 332274 h 1053891"/>
                    <a:gd name="connsiteX248" fmla="*/ 1907523 w 2045516"/>
                    <a:gd name="connsiteY248" fmla="*/ 322141 h 1053891"/>
                    <a:gd name="connsiteX249" fmla="*/ 1907523 w 2045516"/>
                    <a:gd name="connsiteY249" fmla="*/ 315047 h 1053891"/>
                    <a:gd name="connsiteX250" fmla="*/ 1923344 w 2045516"/>
                    <a:gd name="connsiteY250" fmla="*/ 309980 h 1053891"/>
                    <a:gd name="connsiteX251" fmla="*/ 1936906 w 2045516"/>
                    <a:gd name="connsiteY251" fmla="*/ 278566 h 1053891"/>
                    <a:gd name="connsiteX252" fmla="*/ 1936906 w 2045516"/>
                    <a:gd name="connsiteY252" fmla="*/ 276540 h 1053891"/>
                    <a:gd name="connsiteX253" fmla="*/ 1931255 w 2045516"/>
                    <a:gd name="connsiteY253" fmla="*/ 276540 h 1053891"/>
                    <a:gd name="connsiteX254" fmla="*/ 1939166 w 2045516"/>
                    <a:gd name="connsiteY254" fmla="*/ 257286 h 1053891"/>
                    <a:gd name="connsiteX255" fmla="*/ 1950467 w 2045516"/>
                    <a:gd name="connsiteY255" fmla="*/ 259313 h 1053891"/>
                    <a:gd name="connsiteX256" fmla="*/ 1956118 w 2045516"/>
                    <a:gd name="connsiteY256" fmla="*/ 254246 h 1053891"/>
                    <a:gd name="connsiteX257" fmla="*/ 1961768 w 2045516"/>
                    <a:gd name="connsiteY257" fmla="*/ 261339 h 1053891"/>
                    <a:gd name="connsiteX258" fmla="*/ 1967419 w 2045516"/>
                    <a:gd name="connsiteY258" fmla="*/ 261339 h 1053891"/>
                    <a:gd name="connsiteX259" fmla="*/ 1967419 w 2045516"/>
                    <a:gd name="connsiteY259" fmla="*/ 254246 h 1053891"/>
                    <a:gd name="connsiteX260" fmla="*/ 1980981 w 2045516"/>
                    <a:gd name="connsiteY260" fmla="*/ 256272 h 1053891"/>
                    <a:gd name="connsiteX261" fmla="*/ 1988892 w 2045516"/>
                    <a:gd name="connsiteY261" fmla="*/ 229925 h 1053891"/>
                    <a:gd name="connsiteX262" fmla="*/ 1994542 w 2045516"/>
                    <a:gd name="connsiteY262" fmla="*/ 244112 h 1053891"/>
                    <a:gd name="connsiteX263" fmla="*/ 2002453 w 2045516"/>
                    <a:gd name="connsiteY263" fmla="*/ 242085 h 1053891"/>
                    <a:gd name="connsiteX264" fmla="*/ 2002453 w 2045516"/>
                    <a:gd name="connsiteY264" fmla="*/ 231952 h 1053891"/>
                    <a:gd name="connsiteX265" fmla="*/ 2013754 w 2045516"/>
                    <a:gd name="connsiteY265" fmla="*/ 242085 h 1053891"/>
                    <a:gd name="connsiteX266" fmla="*/ 2025055 w 2045516"/>
                    <a:gd name="connsiteY266" fmla="*/ 240059 h 1053891"/>
                    <a:gd name="connsiteX267" fmla="*/ 2030706 w 2045516"/>
                    <a:gd name="connsiteY267" fmla="*/ 229925 h 1053891"/>
                    <a:gd name="connsiteX268" fmla="*/ 2044267 w 2045516"/>
                    <a:gd name="connsiteY268" fmla="*/ 224858 h 1053891"/>
                    <a:gd name="connsiteX269" fmla="*/ 2038617 w 2045516"/>
                    <a:gd name="connsiteY269" fmla="*/ 200538 h 1053891"/>
                    <a:gd name="connsiteX270" fmla="*/ 2036356 w 2045516"/>
                    <a:gd name="connsiteY270" fmla="*/ 199524 h 1053891"/>
                    <a:gd name="connsiteX271" fmla="*/ 2039747 w 2045516"/>
                    <a:gd name="connsiteY271" fmla="*/ 196484 h 1053891"/>
                    <a:gd name="connsiteX272" fmla="*/ 2034096 w 2045516"/>
                    <a:gd name="connsiteY272" fmla="*/ 194458 h 1053891"/>
                    <a:gd name="connsiteX273" fmla="*/ 2030706 w 2045516"/>
                    <a:gd name="connsiteY273" fmla="*/ 175204 h 1053891"/>
                    <a:gd name="connsiteX274" fmla="*/ 2016014 w 2045516"/>
                    <a:gd name="connsiteY274" fmla="*/ 171151 h 1053891"/>
                    <a:gd name="connsiteX275" fmla="*/ 2017145 w 2045516"/>
                    <a:gd name="connsiteY275" fmla="*/ 126563 h 1053891"/>
                    <a:gd name="connsiteX276" fmla="*/ 1993412 w 2045516"/>
                    <a:gd name="connsiteY276" fmla="*/ 101229 h 1053891"/>
                    <a:gd name="connsiteX277" fmla="*/ 1973070 w 2045516"/>
                    <a:gd name="connsiteY277" fmla="*/ 109336 h 1053891"/>
                    <a:gd name="connsiteX278" fmla="*/ 1960639 w 2045516"/>
                    <a:gd name="connsiteY278" fmla="*/ 104269 h 1053891"/>
                    <a:gd name="connsiteX279" fmla="*/ 1950467 w 2045516"/>
                    <a:gd name="connsiteY279" fmla="*/ 124536 h 1053891"/>
                    <a:gd name="connsiteX280" fmla="*/ 1940296 w 2045516"/>
                    <a:gd name="connsiteY280" fmla="*/ 147843 h 1053891"/>
                    <a:gd name="connsiteX281" fmla="*/ 1908653 w 2045516"/>
                    <a:gd name="connsiteY281" fmla="*/ 177231 h 1053891"/>
                    <a:gd name="connsiteX282" fmla="*/ 1897352 w 2045516"/>
                    <a:gd name="connsiteY282" fmla="*/ 188378 h 1053891"/>
                    <a:gd name="connsiteX283" fmla="*/ 1795641 w 2045516"/>
                    <a:gd name="connsiteY283" fmla="*/ 199524 h 1053891"/>
                    <a:gd name="connsiteX284" fmla="*/ 1757217 w 2045516"/>
                    <a:gd name="connsiteY284" fmla="*/ 208645 h 1053891"/>
                    <a:gd name="connsiteX285" fmla="*/ 1725573 w 2045516"/>
                    <a:gd name="connsiteY285" fmla="*/ 231952 h 1053891"/>
                    <a:gd name="connsiteX286" fmla="*/ 1724443 w 2045516"/>
                    <a:gd name="connsiteY286" fmla="*/ 233979 h 1053891"/>
                    <a:gd name="connsiteX287" fmla="*/ 1735744 w 2045516"/>
                    <a:gd name="connsiteY287" fmla="*/ 222832 h 1053891"/>
                    <a:gd name="connsiteX288" fmla="*/ 1733484 w 2045516"/>
                    <a:gd name="connsiteY288" fmla="*/ 240059 h 1053891"/>
                    <a:gd name="connsiteX289" fmla="*/ 1722183 w 2045516"/>
                    <a:gd name="connsiteY289" fmla="*/ 245125 h 1053891"/>
                    <a:gd name="connsiteX290" fmla="*/ 1724443 w 2045516"/>
                    <a:gd name="connsiteY290" fmla="*/ 257286 h 1053891"/>
                    <a:gd name="connsiteX291" fmla="*/ 1716533 w 2045516"/>
                    <a:gd name="connsiteY291" fmla="*/ 262353 h 1053891"/>
                    <a:gd name="connsiteX292" fmla="*/ 1716533 w 2045516"/>
                    <a:gd name="connsiteY292" fmla="*/ 274513 h 1053891"/>
                    <a:gd name="connsiteX293" fmla="*/ 1695060 w 2045516"/>
                    <a:gd name="connsiteY293" fmla="*/ 276540 h 1053891"/>
                    <a:gd name="connsiteX294" fmla="*/ 1689410 w 2045516"/>
                    <a:gd name="connsiteY294" fmla="*/ 283633 h 1053891"/>
                    <a:gd name="connsiteX295" fmla="*/ 1670198 w 2045516"/>
                    <a:gd name="connsiteY295" fmla="*/ 281606 h 1053891"/>
                    <a:gd name="connsiteX296" fmla="*/ 1667937 w 2045516"/>
                    <a:gd name="connsiteY296" fmla="*/ 286673 h 1053891"/>
                    <a:gd name="connsiteX297" fmla="*/ 1613692 w 2045516"/>
                    <a:gd name="connsiteY297" fmla="*/ 284646 h 1053891"/>
                    <a:gd name="connsiteX298" fmla="*/ 1611431 w 2045516"/>
                    <a:gd name="connsiteY298" fmla="*/ 291740 h 1053891"/>
                    <a:gd name="connsiteX299" fmla="*/ 1619342 w 2045516"/>
                    <a:gd name="connsiteY299" fmla="*/ 298833 h 1053891"/>
                    <a:gd name="connsiteX300" fmla="*/ 1589959 w 2045516"/>
                    <a:gd name="connsiteY300" fmla="*/ 328221 h 1053891"/>
                    <a:gd name="connsiteX301" fmla="*/ 1574137 w 2045516"/>
                    <a:gd name="connsiteY301" fmla="*/ 330248 h 1053891"/>
                    <a:gd name="connsiteX302" fmla="*/ 1560576 w 2045516"/>
                    <a:gd name="connsiteY302" fmla="*/ 340381 h 1053891"/>
                    <a:gd name="connsiteX303" fmla="*/ 1533453 w 2045516"/>
                    <a:gd name="connsiteY303" fmla="*/ 342408 h 1053891"/>
                    <a:gd name="connsiteX304" fmla="*/ 1533453 w 2045516"/>
                    <a:gd name="connsiteY304" fmla="*/ 347475 h 1053891"/>
                    <a:gd name="connsiteX305" fmla="*/ 1500680 w 2045516"/>
                    <a:gd name="connsiteY305" fmla="*/ 366728 h 1053891"/>
                    <a:gd name="connsiteX306" fmla="*/ 1484858 w 2045516"/>
                    <a:gd name="connsiteY306" fmla="*/ 361661 h 1053891"/>
                    <a:gd name="connsiteX307" fmla="*/ 1484858 w 2045516"/>
                    <a:gd name="connsiteY307" fmla="*/ 356595 h 1053891"/>
                    <a:gd name="connsiteX308" fmla="*/ 1476947 w 2045516"/>
                    <a:gd name="connsiteY308" fmla="*/ 356595 h 1053891"/>
                    <a:gd name="connsiteX309" fmla="*/ 1474687 w 2045516"/>
                    <a:gd name="connsiteY309" fmla="*/ 349501 h 1053891"/>
                    <a:gd name="connsiteX310" fmla="*/ 1463386 w 2045516"/>
                    <a:gd name="connsiteY310" fmla="*/ 351528 h 1053891"/>
                    <a:gd name="connsiteX311" fmla="*/ 1461126 w 2045516"/>
                    <a:gd name="connsiteY311" fmla="*/ 341394 h 1053891"/>
                    <a:gd name="connsiteX312" fmla="*/ 1476947 w 2045516"/>
                    <a:gd name="connsiteY312" fmla="*/ 332274 h 1053891"/>
                    <a:gd name="connsiteX313" fmla="*/ 1479208 w 2045516"/>
                    <a:gd name="connsiteY313" fmla="*/ 327207 h 1053891"/>
                    <a:gd name="connsiteX314" fmla="*/ 1497290 w 2045516"/>
                    <a:gd name="connsiteY314" fmla="*/ 308967 h 1053891"/>
                    <a:gd name="connsiteX315" fmla="*/ 1502940 w 2045516"/>
                    <a:gd name="connsiteY315" fmla="*/ 285660 h 1053891"/>
                    <a:gd name="connsiteX316" fmla="*/ 1497290 w 2045516"/>
                    <a:gd name="connsiteY316" fmla="*/ 290727 h 1053891"/>
                    <a:gd name="connsiteX317" fmla="*/ 1497290 w 2045516"/>
                    <a:gd name="connsiteY317" fmla="*/ 275526 h 1053891"/>
                    <a:gd name="connsiteX318" fmla="*/ 1470166 w 2045516"/>
                    <a:gd name="connsiteY318" fmla="*/ 249179 h 1053891"/>
                    <a:gd name="connsiteX319" fmla="*/ 1464516 w 2045516"/>
                    <a:gd name="connsiteY319" fmla="*/ 259313 h 1053891"/>
                    <a:gd name="connsiteX320" fmla="*/ 1456605 w 2045516"/>
                    <a:gd name="connsiteY320" fmla="*/ 261339 h 1053891"/>
                    <a:gd name="connsiteX321" fmla="*/ 1450955 w 2045516"/>
                    <a:gd name="connsiteY321" fmla="*/ 254246 h 1053891"/>
                    <a:gd name="connsiteX322" fmla="*/ 1456605 w 2045516"/>
                    <a:gd name="connsiteY322" fmla="*/ 252219 h 1053891"/>
                    <a:gd name="connsiteX323" fmla="*/ 1467906 w 2045516"/>
                    <a:gd name="connsiteY323" fmla="*/ 210671 h 1053891"/>
                    <a:gd name="connsiteX324" fmla="*/ 1459995 w 2045516"/>
                    <a:gd name="connsiteY324" fmla="*/ 203578 h 1053891"/>
                    <a:gd name="connsiteX325" fmla="*/ 1462256 w 2045516"/>
                    <a:gd name="connsiteY325" fmla="*/ 191418 h 1053891"/>
                    <a:gd name="connsiteX326" fmla="*/ 1454345 w 2045516"/>
                    <a:gd name="connsiteY326" fmla="*/ 181284 h 1053891"/>
                    <a:gd name="connsiteX327" fmla="*/ 1443044 w 2045516"/>
                    <a:gd name="connsiteY327" fmla="*/ 181284 h 1053891"/>
                    <a:gd name="connsiteX328" fmla="*/ 1427222 w 2045516"/>
                    <a:gd name="connsiteY328" fmla="*/ 167097 h 1053891"/>
                    <a:gd name="connsiteX329" fmla="*/ 1419311 w 2045516"/>
                    <a:gd name="connsiteY329" fmla="*/ 167097 h 1053891"/>
                    <a:gd name="connsiteX330" fmla="*/ 1411400 w 2045516"/>
                    <a:gd name="connsiteY330" fmla="*/ 174190 h 1053891"/>
                    <a:gd name="connsiteX331" fmla="*/ 1411400 w 2045516"/>
                    <a:gd name="connsiteY331" fmla="*/ 184324 h 1053891"/>
                    <a:gd name="connsiteX332" fmla="*/ 1400099 w 2045516"/>
                    <a:gd name="connsiteY332" fmla="*/ 186351 h 1053891"/>
                    <a:gd name="connsiteX333" fmla="*/ 1392188 w 2045516"/>
                    <a:gd name="connsiteY333" fmla="*/ 203578 h 1053891"/>
                    <a:gd name="connsiteX334" fmla="*/ 1372976 w 2045516"/>
                    <a:gd name="connsiteY334" fmla="*/ 205605 h 1053891"/>
                    <a:gd name="connsiteX335" fmla="*/ 1370716 w 2045516"/>
                    <a:gd name="connsiteY335" fmla="*/ 237019 h 1053891"/>
                    <a:gd name="connsiteX336" fmla="*/ 1359415 w 2045516"/>
                    <a:gd name="connsiteY336" fmla="*/ 242085 h 1053891"/>
                    <a:gd name="connsiteX337" fmla="*/ 1361675 w 2045516"/>
                    <a:gd name="connsiteY337" fmla="*/ 278566 h 1053891"/>
                    <a:gd name="connsiteX338" fmla="*/ 1367326 w 2045516"/>
                    <a:gd name="connsiteY338" fmla="*/ 283633 h 1053891"/>
                    <a:gd name="connsiteX339" fmla="*/ 1367326 w 2045516"/>
                    <a:gd name="connsiteY339" fmla="*/ 305927 h 1053891"/>
                    <a:gd name="connsiteX340" fmla="*/ 1342463 w 2045516"/>
                    <a:gd name="connsiteY340" fmla="*/ 347475 h 1053891"/>
                    <a:gd name="connsiteX341" fmla="*/ 1326641 w 2045516"/>
                    <a:gd name="connsiteY341" fmla="*/ 349501 h 1053891"/>
                    <a:gd name="connsiteX342" fmla="*/ 1318730 w 2045516"/>
                    <a:gd name="connsiteY342" fmla="*/ 342408 h 1053891"/>
                    <a:gd name="connsiteX343" fmla="*/ 1318730 w 2045516"/>
                    <a:gd name="connsiteY343" fmla="*/ 328221 h 1053891"/>
                    <a:gd name="connsiteX344" fmla="*/ 1313080 w 2045516"/>
                    <a:gd name="connsiteY344" fmla="*/ 321127 h 1053891"/>
                    <a:gd name="connsiteX345" fmla="*/ 1315340 w 2045516"/>
                    <a:gd name="connsiteY345" fmla="*/ 248166 h 1053891"/>
                    <a:gd name="connsiteX346" fmla="*/ 1328901 w 2045516"/>
                    <a:gd name="connsiteY346" fmla="*/ 228912 h 1053891"/>
                    <a:gd name="connsiteX347" fmla="*/ 1334552 w 2045516"/>
                    <a:gd name="connsiteY347" fmla="*/ 202564 h 1053891"/>
                    <a:gd name="connsiteX348" fmla="*/ 1318730 w 2045516"/>
                    <a:gd name="connsiteY348" fmla="*/ 212698 h 1053891"/>
                    <a:gd name="connsiteX349" fmla="*/ 1318730 w 2045516"/>
                    <a:gd name="connsiteY349" fmla="*/ 222832 h 1053891"/>
                    <a:gd name="connsiteX350" fmla="*/ 1305169 w 2045516"/>
                    <a:gd name="connsiteY350" fmla="*/ 227898 h 1053891"/>
                    <a:gd name="connsiteX351" fmla="*/ 1305169 w 2045516"/>
                    <a:gd name="connsiteY351" fmla="*/ 215738 h 1053891"/>
                    <a:gd name="connsiteX352" fmla="*/ 1320991 w 2045516"/>
                    <a:gd name="connsiteY352" fmla="*/ 203578 h 1053891"/>
                    <a:gd name="connsiteX353" fmla="*/ 1323251 w 2045516"/>
                    <a:gd name="connsiteY353" fmla="*/ 191418 h 1053891"/>
                    <a:gd name="connsiteX354" fmla="*/ 1339073 w 2045516"/>
                    <a:gd name="connsiteY354" fmla="*/ 167097 h 1053891"/>
                    <a:gd name="connsiteX355" fmla="*/ 1352634 w 2045516"/>
                    <a:gd name="connsiteY355" fmla="*/ 172164 h 1053891"/>
                    <a:gd name="connsiteX356" fmla="*/ 1354894 w 2045516"/>
                    <a:gd name="connsiteY356" fmla="*/ 162030 h 1053891"/>
                    <a:gd name="connsiteX357" fmla="*/ 1382017 w 2045516"/>
                    <a:gd name="connsiteY357" fmla="*/ 162030 h 1053891"/>
                    <a:gd name="connsiteX358" fmla="*/ 1387668 w 2045516"/>
                    <a:gd name="connsiteY358" fmla="*/ 151897 h 1053891"/>
                    <a:gd name="connsiteX359" fmla="*/ 1412531 w 2045516"/>
                    <a:gd name="connsiteY359" fmla="*/ 162030 h 1053891"/>
                    <a:gd name="connsiteX360" fmla="*/ 1423832 w 2045516"/>
                    <a:gd name="connsiteY360" fmla="*/ 154937 h 1053891"/>
                    <a:gd name="connsiteX361" fmla="*/ 1431742 w 2045516"/>
                    <a:gd name="connsiteY361" fmla="*/ 154937 h 1053891"/>
                    <a:gd name="connsiteX362" fmla="*/ 1431742 w 2045516"/>
                    <a:gd name="connsiteY362" fmla="*/ 160004 h 1053891"/>
                    <a:gd name="connsiteX363" fmla="*/ 1445304 w 2045516"/>
                    <a:gd name="connsiteY363" fmla="*/ 162030 h 1053891"/>
                    <a:gd name="connsiteX364" fmla="*/ 1445304 w 2045516"/>
                    <a:gd name="connsiteY364" fmla="*/ 154937 h 1053891"/>
                    <a:gd name="connsiteX365" fmla="*/ 1410270 w 2045516"/>
                    <a:gd name="connsiteY365" fmla="*/ 142777 h 1053891"/>
                    <a:gd name="connsiteX366" fmla="*/ 1408010 w 2045516"/>
                    <a:gd name="connsiteY366" fmla="*/ 120483 h 1053891"/>
                    <a:gd name="connsiteX367" fmla="*/ 1324381 w 2045516"/>
                    <a:gd name="connsiteY367" fmla="*/ 134670 h 1053891"/>
                    <a:gd name="connsiteX368" fmla="*/ 1316470 w 2045516"/>
                    <a:gd name="connsiteY368" fmla="*/ 112376 h 1053891"/>
                    <a:gd name="connsiteX369" fmla="*/ 1289347 w 2045516"/>
                    <a:gd name="connsiteY369" fmla="*/ 117443 h 1053891"/>
                    <a:gd name="connsiteX370" fmla="*/ 1287087 w 2045516"/>
                    <a:gd name="connsiteY370" fmla="*/ 103255 h 1053891"/>
                    <a:gd name="connsiteX371" fmla="*/ 1298388 w 2045516"/>
                    <a:gd name="connsiteY371" fmla="*/ 105282 h 1053891"/>
                    <a:gd name="connsiteX372" fmla="*/ 1314210 w 2045516"/>
                    <a:gd name="connsiteY372" fmla="*/ 91095 h 1053891"/>
                    <a:gd name="connsiteX373" fmla="*/ 1298388 w 2045516"/>
                    <a:gd name="connsiteY373" fmla="*/ 86028 h 1053891"/>
                    <a:gd name="connsiteX374" fmla="*/ 1296128 w 2045516"/>
                    <a:gd name="connsiteY374" fmla="*/ 91095 h 1053891"/>
                    <a:gd name="connsiteX375" fmla="*/ 1280306 w 2045516"/>
                    <a:gd name="connsiteY375" fmla="*/ 96162 h 1053891"/>
                    <a:gd name="connsiteX376" fmla="*/ 1280306 w 2045516"/>
                    <a:gd name="connsiteY376" fmla="*/ 101229 h 1053891"/>
                    <a:gd name="connsiteX377" fmla="*/ 1261094 w 2045516"/>
                    <a:gd name="connsiteY377" fmla="*/ 115416 h 1053891"/>
                    <a:gd name="connsiteX378" fmla="*/ 1241882 w 2045516"/>
                    <a:gd name="connsiteY378" fmla="*/ 120483 h 1053891"/>
                    <a:gd name="connsiteX379" fmla="*/ 1233971 w 2045516"/>
                    <a:gd name="connsiteY379" fmla="*/ 127576 h 1053891"/>
                    <a:gd name="connsiteX380" fmla="*/ 1209109 w 2045516"/>
                    <a:gd name="connsiteY380" fmla="*/ 120483 h 1053891"/>
                    <a:gd name="connsiteX381" fmla="*/ 1209109 w 2045516"/>
                    <a:gd name="connsiteY381" fmla="*/ 115416 h 1053891"/>
                    <a:gd name="connsiteX382" fmla="*/ 1181986 w 2045516"/>
                    <a:gd name="connsiteY382" fmla="*/ 120483 h 1053891"/>
                    <a:gd name="connsiteX383" fmla="*/ 1168425 w 2045516"/>
                    <a:gd name="connsiteY383" fmla="*/ 118456 h 1053891"/>
                    <a:gd name="connsiteX384" fmla="*/ 1187636 w 2045516"/>
                    <a:gd name="connsiteY384" fmla="*/ 104269 h 1053891"/>
                    <a:gd name="connsiteX385" fmla="*/ 1189897 w 2045516"/>
                    <a:gd name="connsiteY385" fmla="*/ 97175 h 1053891"/>
                    <a:gd name="connsiteX386" fmla="*/ 1201198 w 2045516"/>
                    <a:gd name="connsiteY386" fmla="*/ 95149 h 1053891"/>
                    <a:gd name="connsiteX387" fmla="*/ 1220410 w 2045516"/>
                    <a:gd name="connsiteY387" fmla="*/ 80962 h 1053891"/>
                    <a:gd name="connsiteX388" fmla="*/ 1228321 w 2045516"/>
                    <a:gd name="connsiteY388" fmla="*/ 80962 h 1053891"/>
                    <a:gd name="connsiteX389" fmla="*/ 1236232 w 2045516"/>
                    <a:gd name="connsiteY389" fmla="*/ 73868 h 1053891"/>
                    <a:gd name="connsiteX390" fmla="*/ 1250923 w 2045516"/>
                    <a:gd name="connsiteY390" fmla="*/ 65761 h 1053891"/>
                    <a:gd name="connsiteX391" fmla="*/ 1233971 w 2045516"/>
                    <a:gd name="connsiteY391" fmla="*/ 57654 h 1053891"/>
                    <a:gd name="connsiteX392" fmla="*/ 1213629 w 2045516"/>
                    <a:gd name="connsiteY392" fmla="*/ 56641 h 1053891"/>
                    <a:gd name="connsiteX393" fmla="*/ 1193287 w 2045516"/>
                    <a:gd name="connsiteY393" fmla="*/ 54614 h 1053891"/>
                    <a:gd name="connsiteX394" fmla="*/ 1171815 w 2045516"/>
                    <a:gd name="connsiteY394" fmla="*/ 52588 h 1053891"/>
                    <a:gd name="connsiteX395" fmla="*/ 1145822 w 2045516"/>
                    <a:gd name="connsiteY395" fmla="*/ 39414 h 1053891"/>
                    <a:gd name="connsiteX396" fmla="*/ 1127740 w 2045516"/>
                    <a:gd name="connsiteY396" fmla="*/ 47521 h 1053891"/>
                    <a:gd name="connsiteX397" fmla="*/ 1104008 w 2045516"/>
                    <a:gd name="connsiteY397" fmla="*/ 42454 h 1053891"/>
                    <a:gd name="connsiteX398" fmla="*/ 1087056 w 2045516"/>
                    <a:gd name="connsiteY398" fmla="*/ 38401 h 1053891"/>
                    <a:gd name="connsiteX399" fmla="*/ 1070104 w 2045516"/>
                    <a:gd name="connsiteY399" fmla="*/ 9013 h 1053891"/>
                    <a:gd name="connsiteX400" fmla="*/ 1062193 w 2045516"/>
                    <a:gd name="connsiteY400" fmla="*/ 24214 h 1053891"/>
                    <a:gd name="connsiteX401" fmla="*/ 93681 w 2045516"/>
                    <a:gd name="connsiteY401" fmla="*/ 13067 h 1053891"/>
                    <a:gd name="connsiteX402" fmla="*/ 93681 w 2045516"/>
                    <a:gd name="connsiteY402" fmla="*/ 20160 h 1053891"/>
                    <a:gd name="connsiteX403" fmla="*/ 82380 w 2045516"/>
                    <a:gd name="connsiteY403" fmla="*/ 25227 h 1053891"/>
                    <a:gd name="connsiteX404" fmla="*/ 82380 w 2045516"/>
                    <a:gd name="connsiteY404" fmla="*/ 30294 h 1053891"/>
                    <a:gd name="connsiteX405" fmla="*/ 93681 w 2045516"/>
                    <a:gd name="connsiteY405" fmla="*/ 42454 h 1053891"/>
                    <a:gd name="connsiteX406" fmla="*/ 77859 w 2045516"/>
                    <a:gd name="connsiteY406" fmla="*/ 47521 h 1053891"/>
                    <a:gd name="connsiteX407" fmla="*/ 77859 w 2045516"/>
                    <a:gd name="connsiteY407" fmla="*/ 49548 h 1053891"/>
                    <a:gd name="connsiteX408" fmla="*/ 10052 w 2045516"/>
                    <a:gd name="connsiteY408" fmla="*/ 39414 h 1053891"/>
                    <a:gd name="connsiteX409" fmla="*/ 12312 w 2045516"/>
                    <a:gd name="connsiteY409" fmla="*/ 63735 h 1053891"/>
                    <a:gd name="connsiteX410" fmla="*/ 28134 w 2045516"/>
                    <a:gd name="connsiteY410" fmla="*/ 77922 h 1053891"/>
                    <a:gd name="connsiteX411" fmla="*/ 33784 w 2045516"/>
                    <a:gd name="connsiteY411" fmla="*/ 100216 h 1053891"/>
                    <a:gd name="connsiteX412" fmla="*/ 39435 w 2045516"/>
                    <a:gd name="connsiteY412" fmla="*/ 100216 h 1053891"/>
                    <a:gd name="connsiteX413" fmla="*/ 37175 w 2045516"/>
                    <a:gd name="connsiteY413" fmla="*/ 112376 h 1053891"/>
                    <a:gd name="connsiteX414" fmla="*/ 45086 w 2045516"/>
                    <a:gd name="connsiteY414" fmla="*/ 112376 h 1053891"/>
                    <a:gd name="connsiteX415" fmla="*/ 45086 w 2045516"/>
                    <a:gd name="connsiteY415" fmla="*/ 129603 h 1053891"/>
                    <a:gd name="connsiteX416" fmla="*/ 37175 w 2045516"/>
                    <a:gd name="connsiteY416" fmla="*/ 127576 h 1053891"/>
                    <a:gd name="connsiteX417" fmla="*/ 42825 w 2045516"/>
                    <a:gd name="connsiteY417" fmla="*/ 144803 h 1053891"/>
                    <a:gd name="connsiteX418" fmla="*/ 37175 w 2045516"/>
                    <a:gd name="connsiteY418" fmla="*/ 149870 h 1053891"/>
                    <a:gd name="connsiteX419" fmla="*/ 39435 w 2045516"/>
                    <a:gd name="connsiteY419" fmla="*/ 210671 h 1053891"/>
                    <a:gd name="connsiteX420" fmla="*/ 33784 w 2045516"/>
                    <a:gd name="connsiteY420" fmla="*/ 217765 h 1053891"/>
                    <a:gd name="connsiteX421" fmla="*/ 33784 w 2045516"/>
                    <a:gd name="connsiteY421" fmla="*/ 227898 h 1053891"/>
                    <a:gd name="connsiteX422" fmla="*/ 33784 w 2045516"/>
                    <a:gd name="connsiteY422" fmla="*/ 229925 h 1053891"/>
                    <a:gd name="connsiteX423" fmla="*/ 31524 w 2045516"/>
                    <a:gd name="connsiteY423" fmla="*/ 276540 h 1053891"/>
                    <a:gd name="connsiteX424" fmla="*/ 25874 w 2045516"/>
                    <a:gd name="connsiteY424" fmla="*/ 278566 h 1053891"/>
                    <a:gd name="connsiteX425" fmla="*/ 25874 w 2045516"/>
                    <a:gd name="connsiteY425" fmla="*/ 304914 h 1053891"/>
                    <a:gd name="connsiteX426" fmla="*/ 41695 w 2045516"/>
                    <a:gd name="connsiteY426" fmla="*/ 336328 h 1053891"/>
                    <a:gd name="connsiteX427" fmla="*/ 36045 w 2045516"/>
                    <a:gd name="connsiteY427" fmla="*/ 343421 h 1053891"/>
                    <a:gd name="connsiteX428" fmla="*/ 41695 w 2045516"/>
                    <a:gd name="connsiteY428" fmla="*/ 369768 h 1053891"/>
                    <a:gd name="connsiteX429" fmla="*/ 39435 w 2045516"/>
                    <a:gd name="connsiteY429" fmla="*/ 404223 h 1053891"/>
                    <a:gd name="connsiteX430" fmla="*/ 28134 w 2045516"/>
                    <a:gd name="connsiteY430" fmla="*/ 409289 h 1053891"/>
                    <a:gd name="connsiteX431" fmla="*/ 28134 w 2045516"/>
                    <a:gd name="connsiteY431" fmla="*/ 414356 h 1053891"/>
                    <a:gd name="connsiteX432" fmla="*/ 41695 w 2045516"/>
                    <a:gd name="connsiteY432" fmla="*/ 438677 h 1053891"/>
                    <a:gd name="connsiteX433" fmla="*/ 47346 w 2045516"/>
                    <a:gd name="connsiteY433" fmla="*/ 440703 h 1053891"/>
                    <a:gd name="connsiteX434" fmla="*/ 47346 w 2045516"/>
                    <a:gd name="connsiteY434" fmla="*/ 450837 h 1053891"/>
                    <a:gd name="connsiteX435" fmla="*/ 52996 w 2045516"/>
                    <a:gd name="connsiteY435" fmla="*/ 452864 h 1053891"/>
                    <a:gd name="connsiteX436" fmla="*/ 55257 w 2045516"/>
                    <a:gd name="connsiteY436" fmla="*/ 479211 h 1053891"/>
                    <a:gd name="connsiteX437" fmla="*/ 63168 w 2045516"/>
                    <a:gd name="connsiteY437" fmla="*/ 481238 h 1053891"/>
                    <a:gd name="connsiteX438" fmla="*/ 68818 w 2045516"/>
                    <a:gd name="connsiteY438" fmla="*/ 493398 h 1053891"/>
                    <a:gd name="connsiteX439" fmla="*/ 74469 w 2045516"/>
                    <a:gd name="connsiteY439" fmla="*/ 493398 h 1053891"/>
                    <a:gd name="connsiteX440" fmla="*/ 74469 w 2045516"/>
                    <a:gd name="connsiteY440" fmla="*/ 512652 h 1053891"/>
                    <a:gd name="connsiteX441" fmla="*/ 85770 w 2045516"/>
                    <a:gd name="connsiteY441" fmla="*/ 514678 h 1053891"/>
                    <a:gd name="connsiteX442" fmla="*/ 88030 w 2045516"/>
                    <a:gd name="connsiteY442" fmla="*/ 502518 h 1053891"/>
                    <a:gd name="connsiteX443" fmla="*/ 99331 w 2045516"/>
                    <a:gd name="connsiteY443" fmla="*/ 502518 h 1053891"/>
                    <a:gd name="connsiteX444" fmla="*/ 104982 w 2045516"/>
                    <a:gd name="connsiteY444" fmla="*/ 504545 h 1053891"/>
                    <a:gd name="connsiteX445" fmla="*/ 99331 w 2045516"/>
                    <a:gd name="connsiteY445" fmla="*/ 509612 h 1053891"/>
                    <a:gd name="connsiteX446" fmla="*/ 104982 w 2045516"/>
                    <a:gd name="connsiteY446" fmla="*/ 531905 h 1053891"/>
                    <a:gd name="connsiteX447" fmla="*/ 97071 w 2045516"/>
                    <a:gd name="connsiteY447" fmla="*/ 524812 h 1053891"/>
                    <a:gd name="connsiteX448" fmla="*/ 91421 w 2045516"/>
                    <a:gd name="connsiteY448" fmla="*/ 526839 h 1053891"/>
                    <a:gd name="connsiteX449" fmla="*/ 91421 w 2045516"/>
                    <a:gd name="connsiteY449" fmla="*/ 538999 h 1053891"/>
                    <a:gd name="connsiteX450" fmla="*/ 118543 w 2045516"/>
                    <a:gd name="connsiteY450" fmla="*/ 551159 h 1053891"/>
                    <a:gd name="connsiteX451" fmla="*/ 120804 w 2045516"/>
                    <a:gd name="connsiteY451" fmla="*/ 561293 h 1053891"/>
                    <a:gd name="connsiteX452" fmla="*/ 109502 w 2045516"/>
                    <a:gd name="connsiteY452" fmla="*/ 563320 h 1053891"/>
                    <a:gd name="connsiteX453" fmla="*/ 115153 w 2045516"/>
                    <a:gd name="connsiteY453" fmla="*/ 580547 h 1053891"/>
                    <a:gd name="connsiteX454" fmla="*/ 120804 w 2045516"/>
                    <a:gd name="connsiteY454" fmla="*/ 592707 h 1053891"/>
                    <a:gd name="connsiteX455" fmla="*/ 126454 w 2045516"/>
                    <a:gd name="connsiteY455" fmla="*/ 594734 h 1053891"/>
                    <a:gd name="connsiteX456" fmla="*/ 132105 w 2045516"/>
                    <a:gd name="connsiteY456" fmla="*/ 611961 h 1053891"/>
                    <a:gd name="connsiteX457" fmla="*/ 140016 w 2045516"/>
                    <a:gd name="connsiteY457" fmla="*/ 613987 h 1053891"/>
                    <a:gd name="connsiteX458" fmla="*/ 151317 w 2045516"/>
                    <a:gd name="connsiteY458" fmla="*/ 626148 h 1053891"/>
                    <a:gd name="connsiteX459" fmla="*/ 151317 w 2045516"/>
                    <a:gd name="connsiteY459" fmla="*/ 636281 h 1053891"/>
                    <a:gd name="connsiteX460" fmla="*/ 159228 w 2045516"/>
                    <a:gd name="connsiteY460" fmla="*/ 638308 h 1053891"/>
                    <a:gd name="connsiteX461" fmla="*/ 159228 w 2045516"/>
                    <a:gd name="connsiteY461" fmla="*/ 664655 h 1053891"/>
                    <a:gd name="connsiteX462" fmla="*/ 221384 w 2045516"/>
                    <a:gd name="connsiteY462" fmla="*/ 676816 h 1053891"/>
                    <a:gd name="connsiteX463" fmla="*/ 227035 w 2045516"/>
                    <a:gd name="connsiteY463" fmla="*/ 694043 h 1053891"/>
                    <a:gd name="connsiteX464" fmla="*/ 240596 w 2045516"/>
                    <a:gd name="connsiteY464" fmla="*/ 688976 h 1053891"/>
                    <a:gd name="connsiteX465" fmla="*/ 259808 w 2045516"/>
                    <a:gd name="connsiteY465" fmla="*/ 713296 h 1053891"/>
                    <a:gd name="connsiteX466" fmla="*/ 273370 w 2045516"/>
                    <a:gd name="connsiteY466" fmla="*/ 720390 h 1053891"/>
                    <a:gd name="connsiteX467" fmla="*/ 273370 w 2045516"/>
                    <a:gd name="connsiteY467" fmla="*/ 734577 h 1053891"/>
                    <a:gd name="connsiteX468" fmla="*/ 279020 w 2045516"/>
                    <a:gd name="connsiteY468" fmla="*/ 739644 h 1053891"/>
                    <a:gd name="connsiteX469" fmla="*/ 280151 w 2045516"/>
                    <a:gd name="connsiteY469" fmla="*/ 748764 h 1053891"/>
                    <a:gd name="connsiteX470" fmla="*/ 378471 w 2045516"/>
                    <a:gd name="connsiteY470" fmla="*/ 741670 h 1053891"/>
                    <a:gd name="connsiteX471" fmla="*/ 378471 w 2045516"/>
                    <a:gd name="connsiteY471" fmla="*/ 752817 h 1053891"/>
                    <a:gd name="connsiteX472" fmla="*/ 472271 w 2045516"/>
                    <a:gd name="connsiteY472" fmla="*/ 797405 h 1053891"/>
                    <a:gd name="connsiteX473" fmla="*/ 586413 w 2045516"/>
                    <a:gd name="connsiteY473" fmla="*/ 802472 h 1053891"/>
                    <a:gd name="connsiteX474" fmla="*/ 587543 w 2045516"/>
                    <a:gd name="connsiteY474" fmla="*/ 782205 h 1053891"/>
                    <a:gd name="connsiteX475" fmla="*/ 659871 w 2045516"/>
                    <a:gd name="connsiteY475" fmla="*/ 783218 h 1053891"/>
                    <a:gd name="connsiteX476" fmla="*/ 674562 w 2045516"/>
                    <a:gd name="connsiteY476" fmla="*/ 799432 h 1053891"/>
                    <a:gd name="connsiteX477" fmla="*/ 686994 w 2045516"/>
                    <a:gd name="connsiteY477" fmla="*/ 808552 h 1053891"/>
                    <a:gd name="connsiteX478" fmla="*/ 691514 w 2045516"/>
                    <a:gd name="connsiteY478" fmla="*/ 817672 h 1053891"/>
                    <a:gd name="connsiteX479" fmla="*/ 702815 w 2045516"/>
                    <a:gd name="connsiteY479" fmla="*/ 825779 h 1053891"/>
                    <a:gd name="connsiteX480" fmla="*/ 715247 w 2045516"/>
                    <a:gd name="connsiteY480" fmla="*/ 838953 h 1053891"/>
                    <a:gd name="connsiteX481" fmla="*/ 722027 w 2045516"/>
                    <a:gd name="connsiteY481" fmla="*/ 853140 h 1053891"/>
                    <a:gd name="connsiteX482" fmla="*/ 726548 w 2045516"/>
                    <a:gd name="connsiteY482" fmla="*/ 863273 h 1053891"/>
                    <a:gd name="connsiteX483" fmla="*/ 733329 w 2045516"/>
                    <a:gd name="connsiteY483" fmla="*/ 876447 h 1053891"/>
                    <a:gd name="connsiteX484" fmla="*/ 743500 w 2045516"/>
                    <a:gd name="connsiteY484" fmla="*/ 889620 h 1053891"/>
                    <a:gd name="connsiteX485" fmla="*/ 753671 w 2045516"/>
                    <a:gd name="connsiteY485" fmla="*/ 895701 h 1053891"/>
                    <a:gd name="connsiteX486" fmla="*/ 766102 w 2045516"/>
                    <a:gd name="connsiteY486" fmla="*/ 895701 h 1053891"/>
                    <a:gd name="connsiteX487" fmla="*/ 777403 w 2045516"/>
                    <a:gd name="connsiteY487" fmla="*/ 895701 h 1053891"/>
                    <a:gd name="connsiteX488" fmla="*/ 788704 w 2045516"/>
                    <a:gd name="connsiteY488" fmla="*/ 888607 h 1053891"/>
                    <a:gd name="connsiteX489" fmla="*/ 798875 w 2045516"/>
                    <a:gd name="connsiteY489" fmla="*/ 874420 h 1053891"/>
                    <a:gd name="connsiteX490" fmla="*/ 812437 w 2045516"/>
                    <a:gd name="connsiteY490" fmla="*/ 868340 h 1053891"/>
                    <a:gd name="connsiteX491" fmla="*/ 825998 w 2045516"/>
                    <a:gd name="connsiteY491" fmla="*/ 869353 h 1053891"/>
                    <a:gd name="connsiteX492" fmla="*/ 837299 w 2045516"/>
                    <a:gd name="connsiteY492" fmla="*/ 876447 h 1053891"/>
                    <a:gd name="connsiteX493" fmla="*/ 847471 w 2045516"/>
                    <a:gd name="connsiteY493" fmla="*/ 882527 h 1053891"/>
                    <a:gd name="connsiteX494" fmla="*/ 857642 w 2045516"/>
                    <a:gd name="connsiteY494" fmla="*/ 893674 h 1053891"/>
                    <a:gd name="connsiteX495" fmla="*/ 861032 w 2045516"/>
                    <a:gd name="connsiteY495" fmla="*/ 906848 h 1053891"/>
                    <a:gd name="connsiteX496" fmla="*/ 866683 w 2045516"/>
                    <a:gd name="connsiteY496" fmla="*/ 912928 h 1053891"/>
                    <a:gd name="connsiteX497" fmla="*/ 873463 w 2045516"/>
                    <a:gd name="connsiteY497" fmla="*/ 927115 h 1053891"/>
                    <a:gd name="connsiteX498" fmla="*/ 883634 w 2045516"/>
                    <a:gd name="connsiteY498" fmla="*/ 943328 h 1053891"/>
                    <a:gd name="connsiteX499" fmla="*/ 889285 w 2045516"/>
                    <a:gd name="connsiteY499" fmla="*/ 956502 h 1053891"/>
                    <a:gd name="connsiteX500" fmla="*/ 900586 w 2045516"/>
                    <a:gd name="connsiteY500" fmla="*/ 965622 h 1053891"/>
                    <a:gd name="connsiteX501" fmla="*/ 907367 w 2045516"/>
                    <a:gd name="connsiteY501" fmla="*/ 975756 h 1053891"/>
                    <a:gd name="connsiteX502" fmla="*/ 913018 w 2045516"/>
                    <a:gd name="connsiteY502" fmla="*/ 999063 h 1053891"/>
                    <a:gd name="connsiteX503" fmla="*/ 917538 w 2045516"/>
                    <a:gd name="connsiteY503" fmla="*/ 1012237 h 1053891"/>
                    <a:gd name="connsiteX504" fmla="*/ 928839 w 2045516"/>
                    <a:gd name="connsiteY504" fmla="*/ 1018317 h 1053891"/>
                    <a:gd name="connsiteX505" fmla="*/ 941270 w 2045516"/>
                    <a:gd name="connsiteY505" fmla="*/ 1023384 h 1053891"/>
                    <a:gd name="connsiteX506" fmla="*/ 958222 w 2045516"/>
                    <a:gd name="connsiteY506" fmla="*/ 1024397 h 1053891"/>
                    <a:gd name="connsiteX507" fmla="*/ 967263 w 2045516"/>
                    <a:gd name="connsiteY507" fmla="*/ 1033517 h 1053891"/>
                    <a:gd name="connsiteX508" fmla="*/ 983085 w 2045516"/>
                    <a:gd name="connsiteY508" fmla="*/ 1033517 h 1053891"/>
                    <a:gd name="connsiteX509" fmla="*/ 980825 w 2045516"/>
                    <a:gd name="connsiteY509" fmla="*/ 1032504 h 1053891"/>
                    <a:gd name="connsiteX510" fmla="*/ 979694 w 2045516"/>
                    <a:gd name="connsiteY510" fmla="*/ 1022370 h 1053891"/>
                    <a:gd name="connsiteX511" fmla="*/ 979694 w 2045516"/>
                    <a:gd name="connsiteY511" fmla="*/ 1015277 h 1053891"/>
                    <a:gd name="connsiteX512" fmla="*/ 974044 w 2045516"/>
                    <a:gd name="connsiteY512" fmla="*/ 1015277 h 1053891"/>
                    <a:gd name="connsiteX513" fmla="*/ 971784 w 2045516"/>
                    <a:gd name="connsiteY513" fmla="*/ 1005143 h 1053891"/>
                    <a:gd name="connsiteX514" fmla="*/ 969523 w 2045516"/>
                    <a:gd name="connsiteY514" fmla="*/ 1005143 h 1053891"/>
                    <a:gd name="connsiteX515" fmla="*/ 967263 w 2045516"/>
                    <a:gd name="connsiteY515" fmla="*/ 968662 h 1053891"/>
                    <a:gd name="connsiteX516" fmla="*/ 961613 w 2045516"/>
                    <a:gd name="connsiteY516" fmla="*/ 963595 h 1053891"/>
                    <a:gd name="connsiteX517" fmla="*/ 972914 w 2045516"/>
                    <a:gd name="connsiteY517" fmla="*/ 961569 h 1053891"/>
                    <a:gd name="connsiteX518" fmla="*/ 975174 w 2045516"/>
                    <a:gd name="connsiteY518" fmla="*/ 942315 h 1053891"/>
                    <a:gd name="connsiteX519" fmla="*/ 983085 w 2045516"/>
                    <a:gd name="connsiteY519" fmla="*/ 942315 h 1053891"/>
                    <a:gd name="connsiteX520" fmla="*/ 988736 w 2045516"/>
                    <a:gd name="connsiteY520" fmla="*/ 932182 h 1053891"/>
                    <a:gd name="connsiteX521" fmla="*/ 1000037 w 2045516"/>
                    <a:gd name="connsiteY521" fmla="*/ 932182 h 1053891"/>
                    <a:gd name="connsiteX522" fmla="*/ 1011338 w 2045516"/>
                    <a:gd name="connsiteY522" fmla="*/ 914954 h 1053891"/>
                    <a:gd name="connsiteX523" fmla="*/ 1019249 w 2045516"/>
                    <a:gd name="connsiteY523" fmla="*/ 914954 h 1053891"/>
                    <a:gd name="connsiteX524" fmla="*/ 1021509 w 2045516"/>
                    <a:gd name="connsiteY524" fmla="*/ 907861 h 1053891"/>
                    <a:gd name="connsiteX525" fmla="*/ 1037331 w 2045516"/>
                    <a:gd name="connsiteY525" fmla="*/ 909888 h 1053891"/>
                    <a:gd name="connsiteX526" fmla="*/ 1045242 w 2045516"/>
                    <a:gd name="connsiteY526" fmla="*/ 899754 h 1053891"/>
                    <a:gd name="connsiteX527" fmla="*/ 1050892 w 2045516"/>
                    <a:gd name="connsiteY527" fmla="*/ 901781 h 1053891"/>
                    <a:gd name="connsiteX528" fmla="*/ 1050892 w 2045516"/>
                    <a:gd name="connsiteY528" fmla="*/ 889620 h 1053891"/>
                    <a:gd name="connsiteX529" fmla="*/ 1062193 w 2045516"/>
                    <a:gd name="connsiteY529" fmla="*/ 884554 h 1053891"/>
                    <a:gd name="connsiteX530" fmla="*/ 1062193 w 2045516"/>
                    <a:gd name="connsiteY530" fmla="*/ 870367 h 1053891"/>
                    <a:gd name="connsiteX531" fmla="*/ 1102877 w 2045516"/>
                    <a:gd name="connsiteY531" fmla="*/ 868340 h 1053891"/>
                    <a:gd name="connsiteX532" fmla="*/ 1102877 w 2045516"/>
                    <a:gd name="connsiteY532" fmla="*/ 861247 h 1053891"/>
                    <a:gd name="connsiteX533" fmla="*/ 1108528 w 2045516"/>
                    <a:gd name="connsiteY533" fmla="*/ 866313 h 1053891"/>
                    <a:gd name="connsiteX534" fmla="*/ 1122090 w 2045516"/>
                    <a:gd name="connsiteY534" fmla="*/ 861247 h 1053891"/>
                    <a:gd name="connsiteX535" fmla="*/ 1130001 w 2045516"/>
                    <a:gd name="connsiteY535" fmla="*/ 866313 h 1053891"/>
                    <a:gd name="connsiteX536" fmla="*/ 1165034 w 2045516"/>
                    <a:gd name="connsiteY536" fmla="*/ 864287 h 1053891"/>
                    <a:gd name="connsiteX537" fmla="*/ 1165034 w 2045516"/>
                    <a:gd name="connsiteY537" fmla="*/ 874420 h 1053891"/>
                    <a:gd name="connsiteX538" fmla="*/ 1189897 w 2045516"/>
                    <a:gd name="connsiteY538" fmla="*/ 879487 h 1053891"/>
                    <a:gd name="connsiteX539" fmla="*/ 1183116 w 2045516"/>
                    <a:gd name="connsiteY539" fmla="*/ 889620 h 105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2045516" h="1053891">
                      <a:moveTo>
                        <a:pt x="1489379" y="302887"/>
                      </a:moveTo>
                      <a:cubicBezTo>
                        <a:pt x="1505200" y="298833"/>
                        <a:pt x="1489379" y="321127"/>
                        <a:pt x="1483728" y="322141"/>
                      </a:cubicBezTo>
                      <a:cubicBezTo>
                        <a:pt x="1475817" y="324167"/>
                        <a:pt x="1482598" y="304914"/>
                        <a:pt x="1489379" y="302887"/>
                      </a:cubicBezTo>
                      <a:close/>
                      <a:moveTo>
                        <a:pt x="98201" y="38401"/>
                      </a:moveTo>
                      <a:cubicBezTo>
                        <a:pt x="97071" y="42454"/>
                        <a:pt x="101592" y="40427"/>
                        <a:pt x="100462" y="45494"/>
                      </a:cubicBezTo>
                      <a:cubicBezTo>
                        <a:pt x="100462" y="47521"/>
                        <a:pt x="92551" y="53601"/>
                        <a:pt x="92551" y="55628"/>
                      </a:cubicBezTo>
                      <a:cubicBezTo>
                        <a:pt x="91421" y="59681"/>
                        <a:pt x="94811" y="72855"/>
                        <a:pt x="94811" y="72855"/>
                      </a:cubicBezTo>
                      <a:cubicBezTo>
                        <a:pt x="89160" y="72855"/>
                        <a:pt x="90290" y="69815"/>
                        <a:pt x="86900" y="70828"/>
                      </a:cubicBezTo>
                      <a:cubicBezTo>
                        <a:pt x="86900" y="68801"/>
                        <a:pt x="88030" y="64748"/>
                        <a:pt x="86900" y="63735"/>
                      </a:cubicBezTo>
                      <a:cubicBezTo>
                        <a:pt x="86900" y="63735"/>
                        <a:pt x="73339" y="44481"/>
                        <a:pt x="86900" y="49548"/>
                      </a:cubicBezTo>
                      <a:cubicBezTo>
                        <a:pt x="86900" y="49548"/>
                        <a:pt x="86900" y="55628"/>
                        <a:pt x="89160" y="51574"/>
                      </a:cubicBezTo>
                      <a:cubicBezTo>
                        <a:pt x="93681" y="44481"/>
                        <a:pt x="88030" y="44481"/>
                        <a:pt x="88030" y="44481"/>
                      </a:cubicBezTo>
                      <a:cubicBezTo>
                        <a:pt x="88030" y="44481"/>
                        <a:pt x="89160" y="43468"/>
                        <a:pt x="94811" y="42454"/>
                      </a:cubicBezTo>
                      <a:lnTo>
                        <a:pt x="98201" y="38401"/>
                      </a:lnTo>
                      <a:close/>
                      <a:moveTo>
                        <a:pt x="86900" y="84002"/>
                      </a:moveTo>
                      <a:cubicBezTo>
                        <a:pt x="85770" y="85015"/>
                        <a:pt x="89160" y="88055"/>
                        <a:pt x="89160" y="89069"/>
                      </a:cubicBezTo>
                      <a:cubicBezTo>
                        <a:pt x="85770" y="91095"/>
                        <a:pt x="81249" y="91095"/>
                        <a:pt x="77859" y="94135"/>
                      </a:cubicBezTo>
                      <a:cubicBezTo>
                        <a:pt x="76729" y="95149"/>
                        <a:pt x="76729" y="100216"/>
                        <a:pt x="75599" y="101229"/>
                      </a:cubicBezTo>
                      <a:cubicBezTo>
                        <a:pt x="69948" y="98189"/>
                        <a:pt x="67688" y="98189"/>
                        <a:pt x="73339" y="94135"/>
                      </a:cubicBezTo>
                      <a:cubicBezTo>
                        <a:pt x="77859" y="90082"/>
                        <a:pt x="81249" y="88055"/>
                        <a:pt x="86900" y="84002"/>
                      </a:cubicBezTo>
                      <a:close/>
                      <a:moveTo>
                        <a:pt x="1828414" y="210671"/>
                      </a:moveTo>
                      <a:cubicBezTo>
                        <a:pt x="1828414" y="216752"/>
                        <a:pt x="1829545" y="223845"/>
                        <a:pt x="1828414" y="234992"/>
                      </a:cubicBezTo>
                      <a:lnTo>
                        <a:pt x="1822764" y="234992"/>
                      </a:lnTo>
                      <a:cubicBezTo>
                        <a:pt x="1822764" y="229925"/>
                        <a:pt x="1821634" y="223845"/>
                        <a:pt x="1822764" y="217765"/>
                      </a:cubicBezTo>
                      <a:lnTo>
                        <a:pt x="1828414" y="210671"/>
                      </a:lnTo>
                      <a:close/>
                      <a:moveTo>
                        <a:pt x="425936" y="335314"/>
                      </a:moveTo>
                      <a:cubicBezTo>
                        <a:pt x="433847" y="355581"/>
                        <a:pt x="432717" y="351528"/>
                        <a:pt x="450799" y="342408"/>
                      </a:cubicBezTo>
                      <a:cubicBezTo>
                        <a:pt x="449668" y="349501"/>
                        <a:pt x="448538" y="350515"/>
                        <a:pt x="450799" y="354568"/>
                      </a:cubicBezTo>
                      <a:cubicBezTo>
                        <a:pt x="451929" y="356595"/>
                        <a:pt x="453059" y="359635"/>
                        <a:pt x="456449" y="359635"/>
                      </a:cubicBezTo>
                      <a:cubicBezTo>
                        <a:pt x="458709" y="359635"/>
                        <a:pt x="454189" y="369768"/>
                        <a:pt x="454189" y="369768"/>
                      </a:cubicBezTo>
                      <a:cubicBezTo>
                        <a:pt x="451929" y="369768"/>
                        <a:pt x="446278" y="373822"/>
                        <a:pt x="442888" y="374835"/>
                      </a:cubicBezTo>
                      <a:cubicBezTo>
                        <a:pt x="437237" y="367742"/>
                        <a:pt x="418025" y="352541"/>
                        <a:pt x="421415" y="340381"/>
                      </a:cubicBezTo>
                      <a:lnTo>
                        <a:pt x="425936" y="335314"/>
                      </a:lnTo>
                      <a:close/>
                      <a:moveTo>
                        <a:pt x="1879270" y="378889"/>
                      </a:moveTo>
                      <a:lnTo>
                        <a:pt x="1865708" y="383955"/>
                      </a:lnTo>
                      <a:cubicBezTo>
                        <a:pt x="1856667" y="383955"/>
                        <a:pt x="1849887" y="378889"/>
                        <a:pt x="1838585" y="381929"/>
                      </a:cubicBezTo>
                      <a:cubicBezTo>
                        <a:pt x="1836325" y="381929"/>
                        <a:pt x="1829545" y="388009"/>
                        <a:pt x="1827284" y="389022"/>
                      </a:cubicBezTo>
                      <a:cubicBezTo>
                        <a:pt x="1820503" y="391049"/>
                        <a:pt x="1818243" y="388009"/>
                        <a:pt x="1813723" y="391049"/>
                      </a:cubicBezTo>
                      <a:cubicBezTo>
                        <a:pt x="1811463" y="392062"/>
                        <a:pt x="1812593" y="399156"/>
                        <a:pt x="1811463" y="401182"/>
                      </a:cubicBezTo>
                      <a:cubicBezTo>
                        <a:pt x="1818243" y="400169"/>
                        <a:pt x="1823894" y="402196"/>
                        <a:pt x="1830675" y="401182"/>
                      </a:cubicBezTo>
                      <a:cubicBezTo>
                        <a:pt x="1834065" y="400169"/>
                        <a:pt x="1843106" y="394089"/>
                        <a:pt x="1846496" y="394089"/>
                      </a:cubicBezTo>
                      <a:cubicBezTo>
                        <a:pt x="1854407" y="393076"/>
                        <a:pt x="1857798" y="398142"/>
                        <a:pt x="1865708" y="396116"/>
                      </a:cubicBezTo>
                      <a:cubicBezTo>
                        <a:pt x="1869099" y="395102"/>
                        <a:pt x="1869099" y="388009"/>
                        <a:pt x="1871359" y="385982"/>
                      </a:cubicBezTo>
                      <a:cubicBezTo>
                        <a:pt x="1871359" y="385982"/>
                        <a:pt x="1888311" y="377875"/>
                        <a:pt x="1879270" y="378889"/>
                      </a:cubicBezTo>
                      <a:close/>
                      <a:moveTo>
                        <a:pt x="1177465" y="855166"/>
                      </a:moveTo>
                      <a:cubicBezTo>
                        <a:pt x="1179726" y="856180"/>
                        <a:pt x="1183116" y="865300"/>
                        <a:pt x="1177465" y="865300"/>
                      </a:cubicBezTo>
                      <a:cubicBezTo>
                        <a:pt x="1176335" y="863273"/>
                        <a:pt x="1171815" y="853140"/>
                        <a:pt x="1177465" y="855166"/>
                      </a:cubicBezTo>
                      <a:close/>
                      <a:moveTo>
                        <a:pt x="1226061" y="877460"/>
                      </a:moveTo>
                      <a:cubicBezTo>
                        <a:pt x="1226061" y="877460"/>
                        <a:pt x="1223800" y="881514"/>
                        <a:pt x="1223800" y="882527"/>
                      </a:cubicBezTo>
                      <a:cubicBezTo>
                        <a:pt x="1222670" y="881514"/>
                        <a:pt x="1221540" y="887594"/>
                        <a:pt x="1226061" y="889620"/>
                      </a:cubicBezTo>
                      <a:lnTo>
                        <a:pt x="1226061" y="891647"/>
                      </a:lnTo>
                      <a:cubicBezTo>
                        <a:pt x="1231711" y="888607"/>
                        <a:pt x="1230581" y="894687"/>
                        <a:pt x="1233971" y="893674"/>
                      </a:cubicBezTo>
                      <a:cubicBezTo>
                        <a:pt x="1240752" y="891647"/>
                        <a:pt x="1233971" y="878473"/>
                        <a:pt x="1233971" y="876447"/>
                      </a:cubicBezTo>
                      <a:cubicBezTo>
                        <a:pt x="1233971" y="877460"/>
                        <a:pt x="1226061" y="877460"/>
                        <a:pt x="1226061" y="877460"/>
                      </a:cubicBezTo>
                      <a:close/>
                      <a:moveTo>
                        <a:pt x="1359415" y="167097"/>
                      </a:moveTo>
                      <a:cubicBezTo>
                        <a:pt x="1359415" y="167097"/>
                        <a:pt x="1357154" y="174190"/>
                        <a:pt x="1357154" y="177231"/>
                      </a:cubicBezTo>
                      <a:cubicBezTo>
                        <a:pt x="1370716" y="172164"/>
                        <a:pt x="1363935" y="169124"/>
                        <a:pt x="1362805" y="170137"/>
                      </a:cubicBezTo>
                      <a:cubicBezTo>
                        <a:pt x="1358285" y="168110"/>
                        <a:pt x="1365065" y="164057"/>
                        <a:pt x="1359415" y="167097"/>
                      </a:cubicBezTo>
                      <a:close/>
                      <a:moveTo>
                        <a:pt x="1944817" y="337341"/>
                      </a:moveTo>
                      <a:cubicBezTo>
                        <a:pt x="1942557" y="337341"/>
                        <a:pt x="1933515" y="347475"/>
                        <a:pt x="1944817" y="344434"/>
                      </a:cubicBezTo>
                      <a:cubicBezTo>
                        <a:pt x="1947077" y="344434"/>
                        <a:pt x="1954988" y="334301"/>
                        <a:pt x="1944817" y="337341"/>
                      </a:cubicBezTo>
                      <a:close/>
                      <a:moveTo>
                        <a:pt x="1741395" y="526839"/>
                      </a:moveTo>
                      <a:cubicBezTo>
                        <a:pt x="1741395" y="526839"/>
                        <a:pt x="1739135" y="535959"/>
                        <a:pt x="1739135" y="538999"/>
                      </a:cubicBezTo>
                      <a:lnTo>
                        <a:pt x="1744786" y="536972"/>
                      </a:lnTo>
                      <a:cubicBezTo>
                        <a:pt x="1743655" y="535959"/>
                        <a:pt x="1742525" y="523799"/>
                        <a:pt x="1741395" y="526839"/>
                      </a:cubicBezTo>
                      <a:close/>
                      <a:moveTo>
                        <a:pt x="1698451" y="660602"/>
                      </a:moveTo>
                      <a:cubicBezTo>
                        <a:pt x="1690540" y="662629"/>
                        <a:pt x="1699581" y="664655"/>
                        <a:pt x="1704101" y="665669"/>
                      </a:cubicBezTo>
                      <a:cubicBezTo>
                        <a:pt x="1702971" y="665669"/>
                        <a:pt x="1708622" y="658575"/>
                        <a:pt x="1698451" y="660602"/>
                      </a:cubicBezTo>
                      <a:close/>
                      <a:moveTo>
                        <a:pt x="1187636" y="870367"/>
                      </a:moveTo>
                      <a:lnTo>
                        <a:pt x="1187636" y="875434"/>
                      </a:lnTo>
                      <a:cubicBezTo>
                        <a:pt x="1178596" y="876447"/>
                        <a:pt x="1184246" y="870367"/>
                        <a:pt x="1187636" y="870367"/>
                      </a:cubicBezTo>
                      <a:close/>
                      <a:moveTo>
                        <a:pt x="1183116" y="889620"/>
                      </a:moveTo>
                      <a:cubicBezTo>
                        <a:pt x="1189897" y="892660"/>
                        <a:pt x="1196678" y="890634"/>
                        <a:pt x="1204588" y="891647"/>
                      </a:cubicBezTo>
                      <a:cubicBezTo>
                        <a:pt x="1204588" y="890634"/>
                        <a:pt x="1206849" y="886580"/>
                        <a:pt x="1206849" y="886580"/>
                      </a:cubicBezTo>
                      <a:cubicBezTo>
                        <a:pt x="1213629" y="885567"/>
                        <a:pt x="1211369" y="889620"/>
                        <a:pt x="1218150" y="888607"/>
                      </a:cubicBezTo>
                      <a:cubicBezTo>
                        <a:pt x="1212499" y="870367"/>
                        <a:pt x="1212499" y="879487"/>
                        <a:pt x="1220410" y="864287"/>
                      </a:cubicBezTo>
                      <a:cubicBezTo>
                        <a:pt x="1224931" y="866313"/>
                        <a:pt x="1241882" y="871380"/>
                        <a:pt x="1245273" y="874420"/>
                      </a:cubicBezTo>
                      <a:cubicBezTo>
                        <a:pt x="1248663" y="877460"/>
                        <a:pt x="1243013" y="879487"/>
                        <a:pt x="1247533" y="881514"/>
                      </a:cubicBezTo>
                      <a:lnTo>
                        <a:pt x="1247533" y="883540"/>
                      </a:lnTo>
                      <a:cubicBezTo>
                        <a:pt x="1250923" y="884554"/>
                        <a:pt x="1257704" y="882527"/>
                        <a:pt x="1261094" y="883540"/>
                      </a:cubicBezTo>
                      <a:cubicBezTo>
                        <a:pt x="1261094" y="884554"/>
                        <a:pt x="1259964" y="892660"/>
                        <a:pt x="1261094" y="893674"/>
                      </a:cubicBezTo>
                      <a:cubicBezTo>
                        <a:pt x="1263355" y="894687"/>
                        <a:pt x="1267875" y="892660"/>
                        <a:pt x="1269005" y="893674"/>
                      </a:cubicBezTo>
                      <a:lnTo>
                        <a:pt x="1269005" y="879487"/>
                      </a:lnTo>
                      <a:cubicBezTo>
                        <a:pt x="1266745" y="878473"/>
                        <a:pt x="1261094" y="880500"/>
                        <a:pt x="1257704" y="879487"/>
                      </a:cubicBezTo>
                      <a:cubicBezTo>
                        <a:pt x="1255444" y="878473"/>
                        <a:pt x="1253184" y="867326"/>
                        <a:pt x="1257704" y="869353"/>
                      </a:cubicBezTo>
                      <a:cubicBezTo>
                        <a:pt x="1261094" y="867326"/>
                        <a:pt x="1263355" y="866313"/>
                        <a:pt x="1269005" y="864287"/>
                      </a:cubicBezTo>
                      <a:lnTo>
                        <a:pt x="1269005" y="859220"/>
                      </a:lnTo>
                      <a:cubicBezTo>
                        <a:pt x="1265615" y="859220"/>
                        <a:pt x="1264485" y="854153"/>
                        <a:pt x="1263355" y="854153"/>
                      </a:cubicBezTo>
                      <a:cubicBezTo>
                        <a:pt x="1261094" y="854153"/>
                        <a:pt x="1256574" y="858206"/>
                        <a:pt x="1255444" y="859220"/>
                      </a:cubicBezTo>
                      <a:lnTo>
                        <a:pt x="1249793" y="849086"/>
                      </a:lnTo>
                      <a:cubicBezTo>
                        <a:pt x="1244142" y="847059"/>
                        <a:pt x="1238492" y="852126"/>
                        <a:pt x="1236232" y="851113"/>
                      </a:cubicBezTo>
                      <a:lnTo>
                        <a:pt x="1236232" y="846046"/>
                      </a:lnTo>
                      <a:cubicBezTo>
                        <a:pt x="1231711" y="845033"/>
                        <a:pt x="1230581" y="845033"/>
                        <a:pt x="1228321" y="844019"/>
                      </a:cubicBezTo>
                      <a:cubicBezTo>
                        <a:pt x="1228321" y="843006"/>
                        <a:pt x="1232841" y="839966"/>
                        <a:pt x="1230581" y="838953"/>
                      </a:cubicBezTo>
                      <a:cubicBezTo>
                        <a:pt x="1237362" y="839966"/>
                        <a:pt x="1245273" y="844019"/>
                        <a:pt x="1255444" y="840979"/>
                      </a:cubicBezTo>
                      <a:cubicBezTo>
                        <a:pt x="1255444" y="840979"/>
                        <a:pt x="1257704" y="833886"/>
                        <a:pt x="1257704" y="833886"/>
                      </a:cubicBezTo>
                      <a:cubicBezTo>
                        <a:pt x="1258834" y="832872"/>
                        <a:pt x="1271266" y="828819"/>
                        <a:pt x="1271266" y="828819"/>
                      </a:cubicBezTo>
                      <a:cubicBezTo>
                        <a:pt x="1281437" y="827806"/>
                        <a:pt x="1287087" y="835913"/>
                        <a:pt x="1292738" y="838953"/>
                      </a:cubicBezTo>
                      <a:cubicBezTo>
                        <a:pt x="1294998" y="836926"/>
                        <a:pt x="1299519" y="837939"/>
                        <a:pt x="1304039" y="836926"/>
                      </a:cubicBezTo>
                      <a:cubicBezTo>
                        <a:pt x="1304039" y="835913"/>
                        <a:pt x="1302909" y="827806"/>
                        <a:pt x="1304039" y="826792"/>
                      </a:cubicBezTo>
                      <a:lnTo>
                        <a:pt x="1309690" y="826792"/>
                      </a:lnTo>
                      <a:cubicBezTo>
                        <a:pt x="1311950" y="831859"/>
                        <a:pt x="1311950" y="836926"/>
                        <a:pt x="1311950" y="840979"/>
                      </a:cubicBezTo>
                      <a:cubicBezTo>
                        <a:pt x="1314210" y="839966"/>
                        <a:pt x="1319861" y="841993"/>
                        <a:pt x="1323251" y="840979"/>
                      </a:cubicBezTo>
                      <a:lnTo>
                        <a:pt x="1336812" y="826792"/>
                      </a:lnTo>
                      <a:cubicBezTo>
                        <a:pt x="1336812" y="826792"/>
                        <a:pt x="1342463" y="833886"/>
                        <a:pt x="1342463" y="833886"/>
                      </a:cubicBezTo>
                      <a:cubicBezTo>
                        <a:pt x="1337943" y="835913"/>
                        <a:pt x="1350374" y="835913"/>
                        <a:pt x="1350374" y="835913"/>
                      </a:cubicBezTo>
                      <a:lnTo>
                        <a:pt x="1352634" y="828819"/>
                      </a:lnTo>
                      <a:cubicBezTo>
                        <a:pt x="1356025" y="827806"/>
                        <a:pt x="1358285" y="829832"/>
                        <a:pt x="1360545" y="828819"/>
                      </a:cubicBezTo>
                      <a:cubicBezTo>
                        <a:pt x="1362805" y="830846"/>
                        <a:pt x="1362805" y="829832"/>
                        <a:pt x="1368456" y="830846"/>
                      </a:cubicBezTo>
                      <a:cubicBezTo>
                        <a:pt x="1367326" y="834899"/>
                        <a:pt x="1365065" y="836926"/>
                        <a:pt x="1366196" y="840979"/>
                      </a:cubicBezTo>
                      <a:cubicBezTo>
                        <a:pt x="1366196" y="841993"/>
                        <a:pt x="1370716" y="844019"/>
                        <a:pt x="1371846" y="846046"/>
                      </a:cubicBezTo>
                      <a:cubicBezTo>
                        <a:pt x="1375236" y="847059"/>
                        <a:pt x="1388798" y="846046"/>
                        <a:pt x="1393318" y="848073"/>
                      </a:cubicBezTo>
                      <a:cubicBezTo>
                        <a:pt x="1396709" y="850100"/>
                        <a:pt x="1393318" y="855166"/>
                        <a:pt x="1395579" y="858206"/>
                      </a:cubicBezTo>
                      <a:cubicBezTo>
                        <a:pt x="1400099" y="862260"/>
                        <a:pt x="1422702" y="869353"/>
                        <a:pt x="1428352" y="868340"/>
                      </a:cubicBezTo>
                      <a:cubicBezTo>
                        <a:pt x="1432873" y="866313"/>
                        <a:pt x="1436263" y="855166"/>
                        <a:pt x="1441913" y="854153"/>
                      </a:cubicBezTo>
                      <a:cubicBezTo>
                        <a:pt x="1445304" y="853140"/>
                        <a:pt x="1452085" y="855166"/>
                        <a:pt x="1455475" y="854153"/>
                      </a:cubicBezTo>
                      <a:cubicBezTo>
                        <a:pt x="1457735" y="858206"/>
                        <a:pt x="1462256" y="858206"/>
                        <a:pt x="1463386" y="861247"/>
                      </a:cubicBezTo>
                      <a:cubicBezTo>
                        <a:pt x="1466776" y="868340"/>
                        <a:pt x="1463386" y="874420"/>
                        <a:pt x="1469037" y="880500"/>
                      </a:cubicBezTo>
                      <a:cubicBezTo>
                        <a:pt x="1471297" y="883540"/>
                        <a:pt x="1483728" y="884554"/>
                        <a:pt x="1484858" y="887594"/>
                      </a:cubicBezTo>
                      <a:cubicBezTo>
                        <a:pt x="1485988" y="890634"/>
                        <a:pt x="1488248" y="916981"/>
                        <a:pt x="1487118" y="922048"/>
                      </a:cubicBezTo>
                      <a:lnTo>
                        <a:pt x="1481468" y="929141"/>
                      </a:lnTo>
                      <a:cubicBezTo>
                        <a:pt x="1480338" y="939275"/>
                        <a:pt x="1484858" y="944342"/>
                        <a:pt x="1487118" y="951435"/>
                      </a:cubicBezTo>
                      <a:cubicBezTo>
                        <a:pt x="1489379" y="948395"/>
                        <a:pt x="1492769" y="944342"/>
                        <a:pt x="1495029" y="939275"/>
                      </a:cubicBezTo>
                      <a:cubicBezTo>
                        <a:pt x="1497290" y="939275"/>
                        <a:pt x="1504070" y="940288"/>
                        <a:pt x="1506330" y="939275"/>
                      </a:cubicBezTo>
                      <a:cubicBezTo>
                        <a:pt x="1500680" y="955489"/>
                        <a:pt x="1498419" y="958529"/>
                        <a:pt x="1495029" y="977783"/>
                      </a:cubicBezTo>
                      <a:cubicBezTo>
                        <a:pt x="1499550" y="979809"/>
                        <a:pt x="1513111" y="985889"/>
                        <a:pt x="1516501" y="989943"/>
                      </a:cubicBezTo>
                      <a:cubicBezTo>
                        <a:pt x="1521022" y="995009"/>
                        <a:pt x="1521022" y="1012237"/>
                        <a:pt x="1524412" y="1019330"/>
                      </a:cubicBezTo>
                      <a:cubicBezTo>
                        <a:pt x="1525542" y="1021357"/>
                        <a:pt x="1531193" y="1022370"/>
                        <a:pt x="1532323" y="1024397"/>
                      </a:cubicBezTo>
                      <a:cubicBezTo>
                        <a:pt x="1535713" y="1029464"/>
                        <a:pt x="1534583" y="1034530"/>
                        <a:pt x="1537974" y="1038584"/>
                      </a:cubicBezTo>
                      <a:cubicBezTo>
                        <a:pt x="1540234" y="1041624"/>
                        <a:pt x="1543624" y="1038584"/>
                        <a:pt x="1545885" y="1040611"/>
                      </a:cubicBezTo>
                      <a:cubicBezTo>
                        <a:pt x="1549275" y="1042637"/>
                        <a:pt x="1549275" y="1050744"/>
                        <a:pt x="1553795" y="1052771"/>
                      </a:cubicBezTo>
                      <a:cubicBezTo>
                        <a:pt x="1557186" y="1053784"/>
                        <a:pt x="1556056" y="1050744"/>
                        <a:pt x="1561706" y="1052771"/>
                      </a:cubicBezTo>
                      <a:cubicBezTo>
                        <a:pt x="1561706" y="1047704"/>
                        <a:pt x="1562836" y="1048718"/>
                        <a:pt x="1563966" y="1042637"/>
                      </a:cubicBezTo>
                      <a:cubicBezTo>
                        <a:pt x="1562836" y="1045677"/>
                        <a:pt x="1560576" y="1039597"/>
                        <a:pt x="1561706" y="1037571"/>
                      </a:cubicBezTo>
                      <a:lnTo>
                        <a:pt x="1563966" y="1032504"/>
                      </a:lnTo>
                      <a:cubicBezTo>
                        <a:pt x="1565097" y="1030477"/>
                        <a:pt x="1570747" y="1026424"/>
                        <a:pt x="1571877" y="1022370"/>
                      </a:cubicBezTo>
                      <a:cubicBezTo>
                        <a:pt x="1573007" y="1015277"/>
                        <a:pt x="1570747" y="1007170"/>
                        <a:pt x="1571877" y="1000076"/>
                      </a:cubicBezTo>
                      <a:lnTo>
                        <a:pt x="1577528" y="987916"/>
                      </a:lnTo>
                      <a:cubicBezTo>
                        <a:pt x="1571877" y="986903"/>
                        <a:pt x="1576398" y="978796"/>
                        <a:pt x="1575268" y="973729"/>
                      </a:cubicBezTo>
                      <a:lnTo>
                        <a:pt x="1569617" y="971702"/>
                      </a:lnTo>
                      <a:cubicBezTo>
                        <a:pt x="1566227" y="963595"/>
                        <a:pt x="1569617" y="955489"/>
                        <a:pt x="1567357" y="947382"/>
                      </a:cubicBezTo>
                      <a:cubicBezTo>
                        <a:pt x="1566227" y="945355"/>
                        <a:pt x="1557186" y="936235"/>
                        <a:pt x="1556056" y="935222"/>
                      </a:cubicBezTo>
                      <a:cubicBezTo>
                        <a:pt x="1554925" y="928128"/>
                        <a:pt x="1560576" y="931168"/>
                        <a:pt x="1558316" y="923061"/>
                      </a:cubicBezTo>
                      <a:cubicBezTo>
                        <a:pt x="1557186" y="919008"/>
                        <a:pt x="1549275" y="915968"/>
                        <a:pt x="1547015" y="912928"/>
                      </a:cubicBezTo>
                      <a:cubicBezTo>
                        <a:pt x="1547015" y="912928"/>
                        <a:pt x="1549275" y="901781"/>
                        <a:pt x="1549275" y="900767"/>
                      </a:cubicBezTo>
                      <a:cubicBezTo>
                        <a:pt x="1548145" y="893674"/>
                        <a:pt x="1536844" y="881514"/>
                        <a:pt x="1535713" y="874420"/>
                      </a:cubicBezTo>
                      <a:cubicBezTo>
                        <a:pt x="1533453" y="863273"/>
                        <a:pt x="1537974" y="853140"/>
                        <a:pt x="1533453" y="845033"/>
                      </a:cubicBezTo>
                      <a:cubicBezTo>
                        <a:pt x="1532323" y="843006"/>
                        <a:pt x="1524412" y="840979"/>
                        <a:pt x="1522152" y="839966"/>
                      </a:cubicBezTo>
                      <a:lnTo>
                        <a:pt x="1522152" y="834899"/>
                      </a:lnTo>
                      <a:cubicBezTo>
                        <a:pt x="1523282" y="832872"/>
                        <a:pt x="1532323" y="828819"/>
                        <a:pt x="1533453" y="827806"/>
                      </a:cubicBezTo>
                      <a:cubicBezTo>
                        <a:pt x="1536844" y="819699"/>
                        <a:pt x="1528933" y="815646"/>
                        <a:pt x="1531193" y="808552"/>
                      </a:cubicBezTo>
                      <a:lnTo>
                        <a:pt x="1536844" y="808552"/>
                      </a:lnTo>
                      <a:cubicBezTo>
                        <a:pt x="1539104" y="801458"/>
                        <a:pt x="1543624" y="775111"/>
                        <a:pt x="1542494" y="782205"/>
                      </a:cubicBezTo>
                      <a:lnTo>
                        <a:pt x="1542494" y="777138"/>
                      </a:lnTo>
                      <a:lnTo>
                        <a:pt x="1556056" y="770044"/>
                      </a:lnTo>
                      <a:lnTo>
                        <a:pt x="1553795" y="759911"/>
                      </a:lnTo>
                      <a:cubicBezTo>
                        <a:pt x="1556056" y="755857"/>
                        <a:pt x="1562836" y="759911"/>
                        <a:pt x="1567357" y="757884"/>
                      </a:cubicBezTo>
                      <a:cubicBezTo>
                        <a:pt x="1571877" y="754844"/>
                        <a:pt x="1568487" y="745724"/>
                        <a:pt x="1573007" y="743697"/>
                      </a:cubicBezTo>
                      <a:cubicBezTo>
                        <a:pt x="1576398" y="741670"/>
                        <a:pt x="1580918" y="746737"/>
                        <a:pt x="1586569" y="743697"/>
                      </a:cubicBezTo>
                      <a:cubicBezTo>
                        <a:pt x="1586569" y="743697"/>
                        <a:pt x="1597870" y="733564"/>
                        <a:pt x="1597870" y="733564"/>
                      </a:cubicBezTo>
                      <a:cubicBezTo>
                        <a:pt x="1597870" y="732550"/>
                        <a:pt x="1596740" y="726470"/>
                        <a:pt x="1597870" y="726470"/>
                      </a:cubicBezTo>
                      <a:cubicBezTo>
                        <a:pt x="1600130" y="725457"/>
                        <a:pt x="1608041" y="727483"/>
                        <a:pt x="1609171" y="726470"/>
                      </a:cubicBezTo>
                      <a:cubicBezTo>
                        <a:pt x="1610301" y="725457"/>
                        <a:pt x="1614822" y="707216"/>
                        <a:pt x="1614822" y="707216"/>
                      </a:cubicBezTo>
                      <a:cubicBezTo>
                        <a:pt x="1621603" y="706203"/>
                        <a:pt x="1618212" y="710256"/>
                        <a:pt x="1626123" y="709243"/>
                      </a:cubicBezTo>
                      <a:cubicBezTo>
                        <a:pt x="1629513" y="708230"/>
                        <a:pt x="1634034" y="701136"/>
                        <a:pt x="1637424" y="699109"/>
                      </a:cubicBezTo>
                      <a:cubicBezTo>
                        <a:pt x="1643075" y="696069"/>
                        <a:pt x="1647595" y="699109"/>
                        <a:pt x="1653246" y="697083"/>
                      </a:cubicBezTo>
                      <a:lnTo>
                        <a:pt x="1672458" y="677829"/>
                      </a:lnTo>
                      <a:cubicBezTo>
                        <a:pt x="1673588" y="675802"/>
                        <a:pt x="1671328" y="671749"/>
                        <a:pt x="1672458" y="670735"/>
                      </a:cubicBezTo>
                      <a:cubicBezTo>
                        <a:pt x="1674718" y="667695"/>
                        <a:pt x="1684889" y="665669"/>
                        <a:pt x="1688280" y="663642"/>
                      </a:cubicBezTo>
                      <a:cubicBezTo>
                        <a:pt x="1684889" y="656548"/>
                        <a:pt x="1683759" y="653508"/>
                        <a:pt x="1680369" y="646415"/>
                      </a:cubicBezTo>
                      <a:cubicBezTo>
                        <a:pt x="1684889" y="644388"/>
                        <a:pt x="1689410" y="647428"/>
                        <a:pt x="1693930" y="646415"/>
                      </a:cubicBezTo>
                      <a:lnTo>
                        <a:pt x="1693930" y="641348"/>
                      </a:lnTo>
                      <a:lnTo>
                        <a:pt x="1699581" y="641348"/>
                      </a:lnTo>
                      <a:cubicBezTo>
                        <a:pt x="1695060" y="636281"/>
                        <a:pt x="1692800" y="631214"/>
                        <a:pt x="1688280" y="627161"/>
                      </a:cubicBezTo>
                      <a:cubicBezTo>
                        <a:pt x="1696190" y="625134"/>
                        <a:pt x="1704101" y="625134"/>
                        <a:pt x="1707491" y="625134"/>
                      </a:cubicBezTo>
                      <a:lnTo>
                        <a:pt x="1707491" y="630201"/>
                      </a:lnTo>
                      <a:cubicBezTo>
                        <a:pt x="1710882" y="633241"/>
                        <a:pt x="1714272" y="630201"/>
                        <a:pt x="1718793" y="632228"/>
                      </a:cubicBezTo>
                      <a:cubicBezTo>
                        <a:pt x="1718793" y="632228"/>
                        <a:pt x="1740265" y="613987"/>
                        <a:pt x="1721053" y="622094"/>
                      </a:cubicBezTo>
                      <a:cubicBezTo>
                        <a:pt x="1719923" y="622094"/>
                        <a:pt x="1721053" y="615001"/>
                        <a:pt x="1721053" y="615001"/>
                      </a:cubicBezTo>
                      <a:lnTo>
                        <a:pt x="1699581" y="609934"/>
                      </a:lnTo>
                      <a:cubicBezTo>
                        <a:pt x="1699581" y="609934"/>
                        <a:pt x="1699581" y="602840"/>
                        <a:pt x="1699581" y="602840"/>
                      </a:cubicBezTo>
                      <a:cubicBezTo>
                        <a:pt x="1706362" y="599800"/>
                        <a:pt x="1713142" y="601827"/>
                        <a:pt x="1718793" y="597774"/>
                      </a:cubicBezTo>
                      <a:cubicBezTo>
                        <a:pt x="1719923" y="596760"/>
                        <a:pt x="1719923" y="590680"/>
                        <a:pt x="1721053" y="590680"/>
                      </a:cubicBezTo>
                      <a:cubicBezTo>
                        <a:pt x="1718793" y="587640"/>
                        <a:pt x="1715402" y="589667"/>
                        <a:pt x="1715402" y="583587"/>
                      </a:cubicBezTo>
                      <a:cubicBezTo>
                        <a:pt x="1715402" y="583587"/>
                        <a:pt x="1719923" y="579533"/>
                        <a:pt x="1717663" y="576493"/>
                      </a:cubicBezTo>
                      <a:lnTo>
                        <a:pt x="1692800" y="566360"/>
                      </a:lnTo>
                      <a:cubicBezTo>
                        <a:pt x="1692800" y="565346"/>
                        <a:pt x="1693930" y="560279"/>
                        <a:pt x="1692800" y="559266"/>
                      </a:cubicBezTo>
                      <a:cubicBezTo>
                        <a:pt x="1691670" y="558253"/>
                        <a:pt x="1686019" y="553186"/>
                        <a:pt x="1684889" y="552173"/>
                      </a:cubicBezTo>
                      <a:cubicBezTo>
                        <a:pt x="1693930" y="550146"/>
                        <a:pt x="1697320" y="551159"/>
                        <a:pt x="1706362" y="550146"/>
                      </a:cubicBezTo>
                      <a:cubicBezTo>
                        <a:pt x="1700711" y="542039"/>
                        <a:pt x="1698451" y="535959"/>
                        <a:pt x="1690540" y="530892"/>
                      </a:cubicBezTo>
                      <a:cubicBezTo>
                        <a:pt x="1692800" y="529879"/>
                        <a:pt x="1696190" y="530892"/>
                        <a:pt x="1698451" y="530892"/>
                      </a:cubicBezTo>
                      <a:lnTo>
                        <a:pt x="1698451" y="525825"/>
                      </a:lnTo>
                      <a:cubicBezTo>
                        <a:pt x="1691670" y="520759"/>
                        <a:pt x="1684889" y="518732"/>
                        <a:pt x="1679238" y="513665"/>
                      </a:cubicBezTo>
                      <a:cubicBezTo>
                        <a:pt x="1683759" y="510625"/>
                        <a:pt x="1679238" y="511638"/>
                        <a:pt x="1687149" y="508598"/>
                      </a:cubicBezTo>
                      <a:cubicBezTo>
                        <a:pt x="1687149" y="506572"/>
                        <a:pt x="1686019" y="492385"/>
                        <a:pt x="1684889" y="491371"/>
                      </a:cubicBezTo>
                      <a:lnTo>
                        <a:pt x="1690540" y="491371"/>
                      </a:lnTo>
                      <a:cubicBezTo>
                        <a:pt x="1696190" y="475158"/>
                        <a:pt x="1697320" y="468064"/>
                        <a:pt x="1696190" y="452864"/>
                      </a:cubicBezTo>
                      <a:cubicBezTo>
                        <a:pt x="1701841" y="450837"/>
                        <a:pt x="1702971" y="452864"/>
                        <a:pt x="1709752" y="450837"/>
                      </a:cubicBezTo>
                      <a:lnTo>
                        <a:pt x="1712012" y="445770"/>
                      </a:lnTo>
                      <a:cubicBezTo>
                        <a:pt x="1715402" y="444757"/>
                        <a:pt x="1721053" y="446784"/>
                        <a:pt x="1725573" y="447797"/>
                      </a:cubicBezTo>
                      <a:cubicBezTo>
                        <a:pt x="1728964" y="440703"/>
                        <a:pt x="1725573" y="441717"/>
                        <a:pt x="1731224" y="437663"/>
                      </a:cubicBezTo>
                      <a:cubicBezTo>
                        <a:pt x="1731224" y="438677"/>
                        <a:pt x="1733484" y="444757"/>
                        <a:pt x="1733484" y="447797"/>
                      </a:cubicBezTo>
                      <a:cubicBezTo>
                        <a:pt x="1725573" y="453877"/>
                        <a:pt x="1717663" y="459957"/>
                        <a:pt x="1712012" y="467051"/>
                      </a:cubicBezTo>
                      <a:lnTo>
                        <a:pt x="1717663" y="474144"/>
                      </a:lnTo>
                      <a:cubicBezTo>
                        <a:pt x="1716533" y="478198"/>
                        <a:pt x="1705231" y="480224"/>
                        <a:pt x="1704101" y="484278"/>
                      </a:cubicBezTo>
                      <a:cubicBezTo>
                        <a:pt x="1702971" y="488331"/>
                        <a:pt x="1707491" y="492385"/>
                        <a:pt x="1709752" y="494411"/>
                      </a:cubicBezTo>
                      <a:cubicBezTo>
                        <a:pt x="1714272" y="497451"/>
                        <a:pt x="1707491" y="496438"/>
                        <a:pt x="1707491" y="496438"/>
                      </a:cubicBezTo>
                      <a:cubicBezTo>
                        <a:pt x="1708622" y="499478"/>
                        <a:pt x="1706362" y="514678"/>
                        <a:pt x="1709752" y="515692"/>
                      </a:cubicBezTo>
                      <a:lnTo>
                        <a:pt x="1709752" y="517719"/>
                      </a:lnTo>
                      <a:cubicBezTo>
                        <a:pt x="1718793" y="514678"/>
                        <a:pt x="1718793" y="515692"/>
                        <a:pt x="1728964" y="512652"/>
                      </a:cubicBezTo>
                      <a:cubicBezTo>
                        <a:pt x="1728964" y="514678"/>
                        <a:pt x="1727834" y="525825"/>
                        <a:pt x="1728964" y="526839"/>
                      </a:cubicBezTo>
                      <a:cubicBezTo>
                        <a:pt x="1734615" y="524812"/>
                        <a:pt x="1743655" y="521772"/>
                        <a:pt x="1750436" y="519745"/>
                      </a:cubicBezTo>
                      <a:lnTo>
                        <a:pt x="1750436" y="514678"/>
                      </a:lnTo>
                      <a:cubicBezTo>
                        <a:pt x="1750436" y="513665"/>
                        <a:pt x="1745916" y="511638"/>
                        <a:pt x="1748176" y="507585"/>
                      </a:cubicBezTo>
                      <a:cubicBezTo>
                        <a:pt x="1748176" y="507585"/>
                        <a:pt x="1750436" y="505558"/>
                        <a:pt x="1750436" y="502518"/>
                      </a:cubicBezTo>
                      <a:cubicBezTo>
                        <a:pt x="1756087" y="505558"/>
                        <a:pt x="1754957" y="495425"/>
                        <a:pt x="1756087" y="492385"/>
                      </a:cubicBezTo>
                      <a:lnTo>
                        <a:pt x="1750436" y="492385"/>
                      </a:lnTo>
                      <a:cubicBezTo>
                        <a:pt x="1752696" y="486304"/>
                        <a:pt x="1757217" y="481238"/>
                        <a:pt x="1756087" y="475158"/>
                      </a:cubicBezTo>
                      <a:lnTo>
                        <a:pt x="1750436" y="475158"/>
                      </a:lnTo>
                      <a:cubicBezTo>
                        <a:pt x="1749306" y="473131"/>
                        <a:pt x="1744786" y="464011"/>
                        <a:pt x="1742525" y="462997"/>
                      </a:cubicBezTo>
                      <a:lnTo>
                        <a:pt x="1742525" y="460970"/>
                      </a:lnTo>
                      <a:cubicBezTo>
                        <a:pt x="1744786" y="459957"/>
                        <a:pt x="1744786" y="450837"/>
                        <a:pt x="1744786" y="450837"/>
                      </a:cubicBezTo>
                      <a:cubicBezTo>
                        <a:pt x="1750436" y="449824"/>
                        <a:pt x="1759477" y="459957"/>
                        <a:pt x="1763997" y="460970"/>
                      </a:cubicBezTo>
                      <a:cubicBezTo>
                        <a:pt x="1768518" y="461984"/>
                        <a:pt x="1773039" y="459957"/>
                        <a:pt x="1777559" y="460970"/>
                      </a:cubicBezTo>
                      <a:cubicBezTo>
                        <a:pt x="1782079" y="453877"/>
                        <a:pt x="1785470" y="443743"/>
                        <a:pt x="1791121" y="436650"/>
                      </a:cubicBezTo>
                      <a:lnTo>
                        <a:pt x="1799031" y="438677"/>
                      </a:lnTo>
                      <a:cubicBezTo>
                        <a:pt x="1800161" y="434623"/>
                        <a:pt x="1803552" y="429557"/>
                        <a:pt x="1804682" y="426516"/>
                      </a:cubicBezTo>
                      <a:cubicBezTo>
                        <a:pt x="1805812" y="421450"/>
                        <a:pt x="1805812" y="400169"/>
                        <a:pt x="1804682" y="400169"/>
                      </a:cubicBezTo>
                      <a:cubicBezTo>
                        <a:pt x="1802422" y="399156"/>
                        <a:pt x="1797901" y="401182"/>
                        <a:pt x="1796771" y="400169"/>
                      </a:cubicBezTo>
                      <a:cubicBezTo>
                        <a:pt x="1796771" y="400169"/>
                        <a:pt x="1796771" y="393076"/>
                        <a:pt x="1796771" y="393076"/>
                      </a:cubicBezTo>
                      <a:lnTo>
                        <a:pt x="1802422" y="393076"/>
                      </a:lnTo>
                      <a:lnTo>
                        <a:pt x="1802422" y="388009"/>
                      </a:lnTo>
                      <a:cubicBezTo>
                        <a:pt x="1803552" y="384969"/>
                        <a:pt x="1820503" y="370782"/>
                        <a:pt x="1823894" y="368755"/>
                      </a:cubicBezTo>
                      <a:lnTo>
                        <a:pt x="1823894" y="366728"/>
                      </a:lnTo>
                      <a:cubicBezTo>
                        <a:pt x="1826154" y="365715"/>
                        <a:pt x="1831805" y="367742"/>
                        <a:pt x="1835195" y="366728"/>
                      </a:cubicBezTo>
                      <a:cubicBezTo>
                        <a:pt x="1838585" y="365715"/>
                        <a:pt x="1838585" y="359635"/>
                        <a:pt x="1843106" y="359635"/>
                      </a:cubicBezTo>
                      <a:cubicBezTo>
                        <a:pt x="1843106" y="359635"/>
                        <a:pt x="1851017" y="363688"/>
                        <a:pt x="1854407" y="361661"/>
                      </a:cubicBezTo>
                      <a:cubicBezTo>
                        <a:pt x="1856667" y="360648"/>
                        <a:pt x="1857798" y="352541"/>
                        <a:pt x="1860058" y="351528"/>
                      </a:cubicBezTo>
                      <a:cubicBezTo>
                        <a:pt x="1867969" y="347475"/>
                        <a:pt x="1875880" y="351528"/>
                        <a:pt x="1881530" y="351528"/>
                      </a:cubicBezTo>
                      <a:lnTo>
                        <a:pt x="1881530" y="356595"/>
                      </a:lnTo>
                      <a:cubicBezTo>
                        <a:pt x="1888311" y="358622"/>
                        <a:pt x="1889441" y="353555"/>
                        <a:pt x="1892831" y="354568"/>
                      </a:cubicBezTo>
                      <a:cubicBezTo>
                        <a:pt x="1886051" y="352541"/>
                        <a:pt x="1891701" y="341394"/>
                        <a:pt x="1892831" y="335314"/>
                      </a:cubicBezTo>
                      <a:cubicBezTo>
                        <a:pt x="1897352" y="337341"/>
                        <a:pt x="1903002" y="335314"/>
                        <a:pt x="1906393" y="337341"/>
                      </a:cubicBezTo>
                      <a:cubicBezTo>
                        <a:pt x="1907523" y="337341"/>
                        <a:pt x="1906393" y="343421"/>
                        <a:pt x="1906393" y="344434"/>
                      </a:cubicBezTo>
                      <a:cubicBezTo>
                        <a:pt x="1909783" y="343421"/>
                        <a:pt x="1910913" y="348488"/>
                        <a:pt x="1917694" y="346461"/>
                      </a:cubicBezTo>
                      <a:cubicBezTo>
                        <a:pt x="1918824" y="346461"/>
                        <a:pt x="1923344" y="339368"/>
                        <a:pt x="1923344" y="339368"/>
                      </a:cubicBezTo>
                      <a:cubicBezTo>
                        <a:pt x="1926735" y="338354"/>
                        <a:pt x="1931255" y="340381"/>
                        <a:pt x="1934646" y="339368"/>
                      </a:cubicBezTo>
                      <a:cubicBezTo>
                        <a:pt x="1932386" y="338354"/>
                        <a:pt x="1931255" y="333288"/>
                        <a:pt x="1928995" y="332274"/>
                      </a:cubicBezTo>
                      <a:cubicBezTo>
                        <a:pt x="1924475" y="330248"/>
                        <a:pt x="1908653" y="325181"/>
                        <a:pt x="1907523" y="322141"/>
                      </a:cubicBezTo>
                      <a:cubicBezTo>
                        <a:pt x="1906393" y="319101"/>
                        <a:pt x="1909783" y="317074"/>
                        <a:pt x="1907523" y="315047"/>
                      </a:cubicBezTo>
                      <a:cubicBezTo>
                        <a:pt x="1913173" y="313020"/>
                        <a:pt x="1917694" y="313020"/>
                        <a:pt x="1923344" y="309980"/>
                      </a:cubicBezTo>
                      <a:cubicBezTo>
                        <a:pt x="1912043" y="290727"/>
                        <a:pt x="1922214" y="291740"/>
                        <a:pt x="1936906" y="278566"/>
                      </a:cubicBezTo>
                      <a:lnTo>
                        <a:pt x="1936906" y="276540"/>
                      </a:lnTo>
                      <a:lnTo>
                        <a:pt x="1931255" y="276540"/>
                      </a:lnTo>
                      <a:cubicBezTo>
                        <a:pt x="1934646" y="269446"/>
                        <a:pt x="1935776" y="264379"/>
                        <a:pt x="1939166" y="257286"/>
                      </a:cubicBezTo>
                      <a:cubicBezTo>
                        <a:pt x="1944817" y="258299"/>
                        <a:pt x="1945947" y="258299"/>
                        <a:pt x="1950467" y="259313"/>
                      </a:cubicBezTo>
                      <a:cubicBezTo>
                        <a:pt x="1945947" y="266406"/>
                        <a:pt x="1958378" y="254246"/>
                        <a:pt x="1956118" y="254246"/>
                      </a:cubicBezTo>
                      <a:cubicBezTo>
                        <a:pt x="1964029" y="257286"/>
                        <a:pt x="1957248" y="258299"/>
                        <a:pt x="1961768" y="261339"/>
                      </a:cubicBezTo>
                      <a:lnTo>
                        <a:pt x="1967419" y="261339"/>
                      </a:lnTo>
                      <a:cubicBezTo>
                        <a:pt x="1967419" y="261339"/>
                        <a:pt x="1967419" y="254246"/>
                        <a:pt x="1967419" y="254246"/>
                      </a:cubicBezTo>
                      <a:cubicBezTo>
                        <a:pt x="1968549" y="253232"/>
                        <a:pt x="1975330" y="257286"/>
                        <a:pt x="1980981" y="256272"/>
                      </a:cubicBezTo>
                      <a:cubicBezTo>
                        <a:pt x="1984371" y="243099"/>
                        <a:pt x="1984371" y="239045"/>
                        <a:pt x="1988892" y="229925"/>
                      </a:cubicBezTo>
                      <a:cubicBezTo>
                        <a:pt x="1990021" y="233979"/>
                        <a:pt x="1993412" y="239045"/>
                        <a:pt x="1994542" y="244112"/>
                      </a:cubicBezTo>
                      <a:lnTo>
                        <a:pt x="2002453" y="242085"/>
                      </a:lnTo>
                      <a:cubicBezTo>
                        <a:pt x="2002453" y="242085"/>
                        <a:pt x="2001323" y="234992"/>
                        <a:pt x="2002453" y="231952"/>
                      </a:cubicBezTo>
                      <a:cubicBezTo>
                        <a:pt x="2004713" y="232965"/>
                        <a:pt x="2011494" y="241072"/>
                        <a:pt x="2013754" y="242085"/>
                      </a:cubicBezTo>
                      <a:cubicBezTo>
                        <a:pt x="2020535" y="243099"/>
                        <a:pt x="2018274" y="238032"/>
                        <a:pt x="2025055" y="240059"/>
                      </a:cubicBezTo>
                      <a:cubicBezTo>
                        <a:pt x="2027316" y="236005"/>
                        <a:pt x="2026185" y="232965"/>
                        <a:pt x="2030706" y="229925"/>
                      </a:cubicBezTo>
                      <a:cubicBezTo>
                        <a:pt x="2035226" y="226885"/>
                        <a:pt x="2039747" y="227898"/>
                        <a:pt x="2044267" y="224858"/>
                      </a:cubicBezTo>
                      <a:cubicBezTo>
                        <a:pt x="2040877" y="214725"/>
                        <a:pt x="2042007" y="209658"/>
                        <a:pt x="2038617" y="200538"/>
                      </a:cubicBezTo>
                      <a:cubicBezTo>
                        <a:pt x="2038617" y="200538"/>
                        <a:pt x="2037487" y="201551"/>
                        <a:pt x="2036356" y="199524"/>
                      </a:cubicBezTo>
                      <a:cubicBezTo>
                        <a:pt x="2036356" y="198511"/>
                        <a:pt x="2038617" y="197498"/>
                        <a:pt x="2039747" y="196484"/>
                      </a:cubicBezTo>
                      <a:cubicBezTo>
                        <a:pt x="2038617" y="195471"/>
                        <a:pt x="2036356" y="194458"/>
                        <a:pt x="2034096" y="194458"/>
                      </a:cubicBezTo>
                      <a:cubicBezTo>
                        <a:pt x="2027316" y="194458"/>
                        <a:pt x="2030706" y="184324"/>
                        <a:pt x="2030706" y="175204"/>
                      </a:cubicBezTo>
                      <a:cubicBezTo>
                        <a:pt x="2030706" y="166084"/>
                        <a:pt x="2016014" y="171151"/>
                        <a:pt x="2016014" y="171151"/>
                      </a:cubicBezTo>
                      <a:cubicBezTo>
                        <a:pt x="2016014" y="171151"/>
                        <a:pt x="2013754" y="143790"/>
                        <a:pt x="2017145" y="126563"/>
                      </a:cubicBezTo>
                      <a:cubicBezTo>
                        <a:pt x="2020535" y="108322"/>
                        <a:pt x="2006973" y="105282"/>
                        <a:pt x="1993412" y="101229"/>
                      </a:cubicBezTo>
                      <a:cubicBezTo>
                        <a:pt x="1978720" y="97175"/>
                        <a:pt x="1976460" y="124536"/>
                        <a:pt x="1973070" y="109336"/>
                      </a:cubicBezTo>
                      <a:cubicBezTo>
                        <a:pt x="1969679" y="94135"/>
                        <a:pt x="1960639" y="104269"/>
                        <a:pt x="1960639" y="104269"/>
                      </a:cubicBezTo>
                      <a:lnTo>
                        <a:pt x="1950467" y="124536"/>
                      </a:lnTo>
                      <a:cubicBezTo>
                        <a:pt x="1950467" y="124536"/>
                        <a:pt x="1939166" y="140750"/>
                        <a:pt x="1940296" y="147843"/>
                      </a:cubicBezTo>
                      <a:cubicBezTo>
                        <a:pt x="1941426" y="153923"/>
                        <a:pt x="1916564" y="174190"/>
                        <a:pt x="1908653" y="177231"/>
                      </a:cubicBezTo>
                      <a:cubicBezTo>
                        <a:pt x="1901872" y="180271"/>
                        <a:pt x="1897352" y="188378"/>
                        <a:pt x="1897352" y="188378"/>
                      </a:cubicBezTo>
                      <a:cubicBezTo>
                        <a:pt x="1897352" y="188378"/>
                        <a:pt x="1805812" y="202564"/>
                        <a:pt x="1795641" y="199524"/>
                      </a:cubicBezTo>
                      <a:cubicBezTo>
                        <a:pt x="1785470" y="196484"/>
                        <a:pt x="1786600" y="193444"/>
                        <a:pt x="1757217" y="208645"/>
                      </a:cubicBezTo>
                      <a:cubicBezTo>
                        <a:pt x="1727834" y="223845"/>
                        <a:pt x="1725573" y="231952"/>
                        <a:pt x="1725573" y="231952"/>
                      </a:cubicBezTo>
                      <a:cubicBezTo>
                        <a:pt x="1725573" y="231952"/>
                        <a:pt x="1725573" y="232965"/>
                        <a:pt x="1724443" y="233979"/>
                      </a:cubicBezTo>
                      <a:lnTo>
                        <a:pt x="1735744" y="222832"/>
                      </a:lnTo>
                      <a:cubicBezTo>
                        <a:pt x="1733484" y="227898"/>
                        <a:pt x="1736875" y="234992"/>
                        <a:pt x="1733484" y="240059"/>
                      </a:cubicBezTo>
                      <a:cubicBezTo>
                        <a:pt x="1732354" y="242085"/>
                        <a:pt x="1723313" y="242085"/>
                        <a:pt x="1722183" y="245125"/>
                      </a:cubicBezTo>
                      <a:cubicBezTo>
                        <a:pt x="1719923" y="250192"/>
                        <a:pt x="1726704" y="250192"/>
                        <a:pt x="1724443" y="257286"/>
                      </a:cubicBezTo>
                      <a:cubicBezTo>
                        <a:pt x="1724443" y="258299"/>
                        <a:pt x="1717663" y="261339"/>
                        <a:pt x="1716533" y="262353"/>
                      </a:cubicBezTo>
                      <a:cubicBezTo>
                        <a:pt x="1719923" y="262353"/>
                        <a:pt x="1716533" y="272486"/>
                        <a:pt x="1716533" y="274513"/>
                      </a:cubicBezTo>
                      <a:cubicBezTo>
                        <a:pt x="1707491" y="275526"/>
                        <a:pt x="1700711" y="273499"/>
                        <a:pt x="1695060" y="276540"/>
                      </a:cubicBezTo>
                      <a:cubicBezTo>
                        <a:pt x="1693930" y="277553"/>
                        <a:pt x="1690540" y="283633"/>
                        <a:pt x="1689410" y="283633"/>
                      </a:cubicBezTo>
                      <a:cubicBezTo>
                        <a:pt x="1681499" y="285660"/>
                        <a:pt x="1679238" y="280593"/>
                        <a:pt x="1670198" y="281606"/>
                      </a:cubicBezTo>
                      <a:lnTo>
                        <a:pt x="1667937" y="286673"/>
                      </a:lnTo>
                      <a:cubicBezTo>
                        <a:pt x="1646465" y="280593"/>
                        <a:pt x="1634034" y="284646"/>
                        <a:pt x="1613692" y="284646"/>
                      </a:cubicBezTo>
                      <a:cubicBezTo>
                        <a:pt x="1614822" y="288700"/>
                        <a:pt x="1609171" y="285660"/>
                        <a:pt x="1611431" y="291740"/>
                      </a:cubicBezTo>
                      <a:cubicBezTo>
                        <a:pt x="1611431" y="292753"/>
                        <a:pt x="1618212" y="297820"/>
                        <a:pt x="1619342" y="298833"/>
                      </a:cubicBezTo>
                      <a:cubicBezTo>
                        <a:pt x="1611431" y="307954"/>
                        <a:pt x="1601260" y="323154"/>
                        <a:pt x="1589959" y="328221"/>
                      </a:cubicBezTo>
                      <a:cubicBezTo>
                        <a:pt x="1583178" y="330248"/>
                        <a:pt x="1579788" y="328221"/>
                        <a:pt x="1574137" y="330248"/>
                      </a:cubicBezTo>
                      <a:cubicBezTo>
                        <a:pt x="1570747" y="331261"/>
                        <a:pt x="1565097" y="338354"/>
                        <a:pt x="1560576" y="340381"/>
                      </a:cubicBezTo>
                      <a:cubicBezTo>
                        <a:pt x="1550405" y="342408"/>
                        <a:pt x="1540234" y="339368"/>
                        <a:pt x="1533453" y="342408"/>
                      </a:cubicBezTo>
                      <a:lnTo>
                        <a:pt x="1533453" y="347475"/>
                      </a:lnTo>
                      <a:cubicBezTo>
                        <a:pt x="1530063" y="355581"/>
                        <a:pt x="1510851" y="365715"/>
                        <a:pt x="1500680" y="366728"/>
                      </a:cubicBezTo>
                      <a:cubicBezTo>
                        <a:pt x="1481468" y="368755"/>
                        <a:pt x="1467906" y="357608"/>
                        <a:pt x="1484858" y="361661"/>
                      </a:cubicBezTo>
                      <a:lnTo>
                        <a:pt x="1484858" y="356595"/>
                      </a:lnTo>
                      <a:cubicBezTo>
                        <a:pt x="1483728" y="355581"/>
                        <a:pt x="1478077" y="356595"/>
                        <a:pt x="1476947" y="356595"/>
                      </a:cubicBezTo>
                      <a:cubicBezTo>
                        <a:pt x="1475817" y="353555"/>
                        <a:pt x="1476947" y="350515"/>
                        <a:pt x="1474687" y="349501"/>
                      </a:cubicBezTo>
                      <a:cubicBezTo>
                        <a:pt x="1472427" y="348488"/>
                        <a:pt x="1461126" y="351528"/>
                        <a:pt x="1463386" y="351528"/>
                      </a:cubicBezTo>
                      <a:lnTo>
                        <a:pt x="1461126" y="341394"/>
                      </a:lnTo>
                      <a:cubicBezTo>
                        <a:pt x="1463386" y="340381"/>
                        <a:pt x="1472427" y="335314"/>
                        <a:pt x="1476947" y="332274"/>
                      </a:cubicBezTo>
                      <a:cubicBezTo>
                        <a:pt x="1476947" y="330248"/>
                        <a:pt x="1476947" y="329234"/>
                        <a:pt x="1479208" y="327207"/>
                      </a:cubicBezTo>
                      <a:cubicBezTo>
                        <a:pt x="1484858" y="319101"/>
                        <a:pt x="1497290" y="318087"/>
                        <a:pt x="1497290" y="308967"/>
                      </a:cubicBezTo>
                      <a:cubicBezTo>
                        <a:pt x="1497290" y="299847"/>
                        <a:pt x="1499550" y="290727"/>
                        <a:pt x="1502940" y="285660"/>
                      </a:cubicBezTo>
                      <a:cubicBezTo>
                        <a:pt x="1497290" y="288700"/>
                        <a:pt x="1496159" y="290727"/>
                        <a:pt x="1497290" y="290727"/>
                      </a:cubicBezTo>
                      <a:cubicBezTo>
                        <a:pt x="1497290" y="290727"/>
                        <a:pt x="1500680" y="286673"/>
                        <a:pt x="1497290" y="275526"/>
                      </a:cubicBezTo>
                      <a:cubicBezTo>
                        <a:pt x="1490509" y="252219"/>
                        <a:pt x="1496159" y="255259"/>
                        <a:pt x="1470166" y="249179"/>
                      </a:cubicBezTo>
                      <a:cubicBezTo>
                        <a:pt x="1469037" y="252219"/>
                        <a:pt x="1466776" y="257286"/>
                        <a:pt x="1464516" y="259313"/>
                      </a:cubicBezTo>
                      <a:cubicBezTo>
                        <a:pt x="1463386" y="260326"/>
                        <a:pt x="1456605" y="261339"/>
                        <a:pt x="1456605" y="261339"/>
                      </a:cubicBezTo>
                      <a:cubicBezTo>
                        <a:pt x="1456605" y="261339"/>
                        <a:pt x="1448694" y="263366"/>
                        <a:pt x="1450955" y="254246"/>
                      </a:cubicBezTo>
                      <a:lnTo>
                        <a:pt x="1456605" y="252219"/>
                      </a:lnTo>
                      <a:cubicBezTo>
                        <a:pt x="1463386" y="243099"/>
                        <a:pt x="1471297" y="225872"/>
                        <a:pt x="1467906" y="210671"/>
                      </a:cubicBezTo>
                      <a:cubicBezTo>
                        <a:pt x="1467906" y="208645"/>
                        <a:pt x="1459995" y="203578"/>
                        <a:pt x="1459995" y="203578"/>
                      </a:cubicBezTo>
                      <a:cubicBezTo>
                        <a:pt x="1458865" y="197498"/>
                        <a:pt x="1463386" y="193444"/>
                        <a:pt x="1462256" y="191418"/>
                      </a:cubicBezTo>
                      <a:cubicBezTo>
                        <a:pt x="1462256" y="188378"/>
                        <a:pt x="1455475" y="184324"/>
                        <a:pt x="1454345" y="181284"/>
                      </a:cubicBezTo>
                      <a:cubicBezTo>
                        <a:pt x="1452085" y="181284"/>
                        <a:pt x="1445304" y="182297"/>
                        <a:pt x="1443044" y="181284"/>
                      </a:cubicBezTo>
                      <a:cubicBezTo>
                        <a:pt x="1434003" y="177231"/>
                        <a:pt x="1432873" y="173177"/>
                        <a:pt x="1427222" y="167097"/>
                      </a:cubicBezTo>
                      <a:cubicBezTo>
                        <a:pt x="1426092" y="168110"/>
                        <a:pt x="1420441" y="167097"/>
                        <a:pt x="1419311" y="167097"/>
                      </a:cubicBezTo>
                      <a:cubicBezTo>
                        <a:pt x="1418181" y="169124"/>
                        <a:pt x="1411400" y="173177"/>
                        <a:pt x="1411400" y="174190"/>
                      </a:cubicBezTo>
                      <a:cubicBezTo>
                        <a:pt x="1410270" y="176217"/>
                        <a:pt x="1412531" y="182297"/>
                        <a:pt x="1411400" y="184324"/>
                      </a:cubicBezTo>
                      <a:cubicBezTo>
                        <a:pt x="1409140" y="187364"/>
                        <a:pt x="1404620" y="184324"/>
                        <a:pt x="1400099" y="186351"/>
                      </a:cubicBezTo>
                      <a:cubicBezTo>
                        <a:pt x="1395579" y="188378"/>
                        <a:pt x="1394449" y="198511"/>
                        <a:pt x="1392188" y="203578"/>
                      </a:cubicBezTo>
                      <a:cubicBezTo>
                        <a:pt x="1384278" y="204591"/>
                        <a:pt x="1380887" y="205605"/>
                        <a:pt x="1372976" y="205605"/>
                      </a:cubicBezTo>
                      <a:cubicBezTo>
                        <a:pt x="1371846" y="215738"/>
                        <a:pt x="1370716" y="223845"/>
                        <a:pt x="1370716" y="237019"/>
                      </a:cubicBezTo>
                      <a:cubicBezTo>
                        <a:pt x="1367326" y="239045"/>
                        <a:pt x="1360545" y="239045"/>
                        <a:pt x="1359415" y="242085"/>
                      </a:cubicBezTo>
                      <a:cubicBezTo>
                        <a:pt x="1357154" y="249179"/>
                        <a:pt x="1359415" y="269446"/>
                        <a:pt x="1361675" y="278566"/>
                      </a:cubicBezTo>
                      <a:lnTo>
                        <a:pt x="1367326" y="283633"/>
                      </a:lnTo>
                      <a:cubicBezTo>
                        <a:pt x="1368456" y="289713"/>
                        <a:pt x="1368456" y="299847"/>
                        <a:pt x="1367326" y="305927"/>
                      </a:cubicBezTo>
                      <a:lnTo>
                        <a:pt x="1342463" y="347475"/>
                      </a:lnTo>
                      <a:cubicBezTo>
                        <a:pt x="1336812" y="350515"/>
                        <a:pt x="1333422" y="347475"/>
                        <a:pt x="1326641" y="349501"/>
                      </a:cubicBezTo>
                      <a:cubicBezTo>
                        <a:pt x="1325511" y="346461"/>
                        <a:pt x="1318730" y="344434"/>
                        <a:pt x="1318730" y="342408"/>
                      </a:cubicBezTo>
                      <a:cubicBezTo>
                        <a:pt x="1317600" y="338354"/>
                        <a:pt x="1319861" y="332274"/>
                        <a:pt x="1318730" y="328221"/>
                      </a:cubicBezTo>
                      <a:lnTo>
                        <a:pt x="1313080" y="321127"/>
                      </a:lnTo>
                      <a:cubicBezTo>
                        <a:pt x="1307429" y="294780"/>
                        <a:pt x="1305169" y="271473"/>
                        <a:pt x="1315340" y="248166"/>
                      </a:cubicBezTo>
                      <a:cubicBezTo>
                        <a:pt x="1317600" y="242085"/>
                        <a:pt x="1325511" y="236005"/>
                        <a:pt x="1328901" y="228912"/>
                      </a:cubicBezTo>
                      <a:cubicBezTo>
                        <a:pt x="1333422" y="217765"/>
                        <a:pt x="1331162" y="213711"/>
                        <a:pt x="1334552" y="202564"/>
                      </a:cubicBezTo>
                      <a:cubicBezTo>
                        <a:pt x="1330032" y="205605"/>
                        <a:pt x="1319861" y="207631"/>
                        <a:pt x="1318730" y="212698"/>
                      </a:cubicBezTo>
                      <a:cubicBezTo>
                        <a:pt x="1317600" y="214725"/>
                        <a:pt x="1319861" y="219792"/>
                        <a:pt x="1318730" y="222832"/>
                      </a:cubicBezTo>
                      <a:cubicBezTo>
                        <a:pt x="1315340" y="226885"/>
                        <a:pt x="1309690" y="224858"/>
                        <a:pt x="1305169" y="227898"/>
                      </a:cubicBezTo>
                      <a:cubicBezTo>
                        <a:pt x="1306299" y="223845"/>
                        <a:pt x="1302909" y="219792"/>
                        <a:pt x="1305169" y="215738"/>
                      </a:cubicBezTo>
                      <a:cubicBezTo>
                        <a:pt x="1307429" y="210671"/>
                        <a:pt x="1318730" y="207631"/>
                        <a:pt x="1320991" y="203578"/>
                      </a:cubicBezTo>
                      <a:cubicBezTo>
                        <a:pt x="1324381" y="199524"/>
                        <a:pt x="1320991" y="196484"/>
                        <a:pt x="1323251" y="191418"/>
                      </a:cubicBezTo>
                      <a:cubicBezTo>
                        <a:pt x="1326641" y="183311"/>
                        <a:pt x="1334552" y="174190"/>
                        <a:pt x="1339073" y="167097"/>
                      </a:cubicBezTo>
                      <a:cubicBezTo>
                        <a:pt x="1345853" y="168110"/>
                        <a:pt x="1348114" y="173177"/>
                        <a:pt x="1352634" y="172164"/>
                      </a:cubicBezTo>
                      <a:lnTo>
                        <a:pt x="1354894" y="162030"/>
                      </a:lnTo>
                      <a:cubicBezTo>
                        <a:pt x="1366196" y="163044"/>
                        <a:pt x="1372976" y="167097"/>
                        <a:pt x="1382017" y="162030"/>
                      </a:cubicBezTo>
                      <a:cubicBezTo>
                        <a:pt x="1382017" y="162030"/>
                        <a:pt x="1387668" y="151897"/>
                        <a:pt x="1387668" y="151897"/>
                      </a:cubicBezTo>
                      <a:cubicBezTo>
                        <a:pt x="1398969" y="149870"/>
                        <a:pt x="1403489" y="161017"/>
                        <a:pt x="1412531" y="162030"/>
                      </a:cubicBezTo>
                      <a:cubicBezTo>
                        <a:pt x="1431742" y="163044"/>
                        <a:pt x="1417051" y="157977"/>
                        <a:pt x="1423832" y="154937"/>
                      </a:cubicBezTo>
                      <a:cubicBezTo>
                        <a:pt x="1427222" y="152910"/>
                        <a:pt x="1428352" y="155950"/>
                        <a:pt x="1431742" y="154937"/>
                      </a:cubicBezTo>
                      <a:lnTo>
                        <a:pt x="1431742" y="160004"/>
                      </a:lnTo>
                      <a:cubicBezTo>
                        <a:pt x="1436263" y="161017"/>
                        <a:pt x="1440784" y="160004"/>
                        <a:pt x="1445304" y="162030"/>
                      </a:cubicBezTo>
                      <a:cubicBezTo>
                        <a:pt x="1445304" y="162030"/>
                        <a:pt x="1445304" y="154937"/>
                        <a:pt x="1445304" y="154937"/>
                      </a:cubicBezTo>
                      <a:cubicBezTo>
                        <a:pt x="1435133" y="142777"/>
                        <a:pt x="1431742" y="140750"/>
                        <a:pt x="1410270" y="142777"/>
                      </a:cubicBezTo>
                      <a:cubicBezTo>
                        <a:pt x="1409140" y="134670"/>
                        <a:pt x="1408010" y="125549"/>
                        <a:pt x="1408010" y="120483"/>
                      </a:cubicBezTo>
                      <a:cubicBezTo>
                        <a:pt x="1382017" y="130616"/>
                        <a:pt x="1353764" y="140750"/>
                        <a:pt x="1324381" y="134670"/>
                      </a:cubicBezTo>
                      <a:cubicBezTo>
                        <a:pt x="1320991" y="125549"/>
                        <a:pt x="1319861" y="119469"/>
                        <a:pt x="1316470" y="112376"/>
                      </a:cubicBezTo>
                      <a:cubicBezTo>
                        <a:pt x="1308559" y="113389"/>
                        <a:pt x="1293868" y="117443"/>
                        <a:pt x="1289347" y="117443"/>
                      </a:cubicBezTo>
                      <a:cubicBezTo>
                        <a:pt x="1275786" y="116429"/>
                        <a:pt x="1293868" y="106296"/>
                        <a:pt x="1287087" y="103255"/>
                      </a:cubicBezTo>
                      <a:cubicBezTo>
                        <a:pt x="1293868" y="102242"/>
                        <a:pt x="1291608" y="106296"/>
                        <a:pt x="1298388" y="105282"/>
                      </a:cubicBezTo>
                      <a:cubicBezTo>
                        <a:pt x="1304039" y="104269"/>
                        <a:pt x="1310820" y="93122"/>
                        <a:pt x="1314210" y="91095"/>
                      </a:cubicBezTo>
                      <a:cubicBezTo>
                        <a:pt x="1309690" y="91095"/>
                        <a:pt x="1308559" y="84002"/>
                        <a:pt x="1298388" y="86028"/>
                      </a:cubicBezTo>
                      <a:lnTo>
                        <a:pt x="1296128" y="91095"/>
                      </a:lnTo>
                      <a:cubicBezTo>
                        <a:pt x="1290477" y="94135"/>
                        <a:pt x="1284827" y="92109"/>
                        <a:pt x="1280306" y="96162"/>
                      </a:cubicBezTo>
                      <a:lnTo>
                        <a:pt x="1280306" y="101229"/>
                      </a:lnTo>
                      <a:lnTo>
                        <a:pt x="1261094" y="115416"/>
                      </a:lnTo>
                      <a:cubicBezTo>
                        <a:pt x="1255444" y="118456"/>
                        <a:pt x="1246403" y="118456"/>
                        <a:pt x="1241882" y="120483"/>
                      </a:cubicBezTo>
                      <a:cubicBezTo>
                        <a:pt x="1237362" y="122509"/>
                        <a:pt x="1236232" y="126563"/>
                        <a:pt x="1233971" y="127576"/>
                      </a:cubicBezTo>
                      <a:cubicBezTo>
                        <a:pt x="1221540" y="131630"/>
                        <a:pt x="1215889" y="123523"/>
                        <a:pt x="1209109" y="120483"/>
                      </a:cubicBezTo>
                      <a:lnTo>
                        <a:pt x="1209109" y="115416"/>
                      </a:lnTo>
                      <a:cubicBezTo>
                        <a:pt x="1200068" y="113389"/>
                        <a:pt x="1188767" y="120483"/>
                        <a:pt x="1181986" y="120483"/>
                      </a:cubicBezTo>
                      <a:cubicBezTo>
                        <a:pt x="1178596" y="120483"/>
                        <a:pt x="1175205" y="118456"/>
                        <a:pt x="1168425" y="118456"/>
                      </a:cubicBezTo>
                      <a:cubicBezTo>
                        <a:pt x="1169555" y="117443"/>
                        <a:pt x="1186507" y="104269"/>
                        <a:pt x="1187636" y="104269"/>
                      </a:cubicBezTo>
                      <a:cubicBezTo>
                        <a:pt x="1189897" y="101229"/>
                        <a:pt x="1187636" y="99202"/>
                        <a:pt x="1189897" y="97175"/>
                      </a:cubicBezTo>
                      <a:cubicBezTo>
                        <a:pt x="1192157" y="95149"/>
                        <a:pt x="1197808" y="96162"/>
                        <a:pt x="1201198" y="95149"/>
                      </a:cubicBezTo>
                      <a:cubicBezTo>
                        <a:pt x="1206849" y="92109"/>
                        <a:pt x="1214760" y="82988"/>
                        <a:pt x="1220410" y="80962"/>
                      </a:cubicBezTo>
                      <a:cubicBezTo>
                        <a:pt x="1222670" y="79948"/>
                        <a:pt x="1226061" y="80962"/>
                        <a:pt x="1228321" y="80962"/>
                      </a:cubicBezTo>
                      <a:cubicBezTo>
                        <a:pt x="1231711" y="79948"/>
                        <a:pt x="1233971" y="74882"/>
                        <a:pt x="1236232" y="73868"/>
                      </a:cubicBezTo>
                      <a:cubicBezTo>
                        <a:pt x="1241882" y="70828"/>
                        <a:pt x="1247533" y="66775"/>
                        <a:pt x="1250923" y="65761"/>
                      </a:cubicBezTo>
                      <a:cubicBezTo>
                        <a:pt x="1246403" y="64748"/>
                        <a:pt x="1239622" y="63735"/>
                        <a:pt x="1233971" y="57654"/>
                      </a:cubicBezTo>
                      <a:cubicBezTo>
                        <a:pt x="1228321" y="51574"/>
                        <a:pt x="1223800" y="57654"/>
                        <a:pt x="1213629" y="56641"/>
                      </a:cubicBezTo>
                      <a:cubicBezTo>
                        <a:pt x="1203458" y="55628"/>
                        <a:pt x="1200068" y="53601"/>
                        <a:pt x="1193287" y="54614"/>
                      </a:cubicBezTo>
                      <a:cubicBezTo>
                        <a:pt x="1184246" y="55628"/>
                        <a:pt x="1179726" y="52588"/>
                        <a:pt x="1171815" y="52588"/>
                      </a:cubicBezTo>
                      <a:cubicBezTo>
                        <a:pt x="1163904" y="52588"/>
                        <a:pt x="1151473" y="43468"/>
                        <a:pt x="1145822" y="39414"/>
                      </a:cubicBezTo>
                      <a:cubicBezTo>
                        <a:pt x="1140172" y="35361"/>
                        <a:pt x="1128870" y="39414"/>
                        <a:pt x="1127740" y="47521"/>
                      </a:cubicBezTo>
                      <a:cubicBezTo>
                        <a:pt x="1126610" y="55628"/>
                        <a:pt x="1115309" y="42454"/>
                        <a:pt x="1104008" y="42454"/>
                      </a:cubicBezTo>
                      <a:cubicBezTo>
                        <a:pt x="1092706" y="42454"/>
                        <a:pt x="1087056" y="38401"/>
                        <a:pt x="1087056" y="38401"/>
                      </a:cubicBezTo>
                      <a:cubicBezTo>
                        <a:pt x="1087056" y="38401"/>
                        <a:pt x="1079145" y="9013"/>
                        <a:pt x="1070104" y="9013"/>
                      </a:cubicBezTo>
                      <a:cubicBezTo>
                        <a:pt x="1061063" y="9013"/>
                        <a:pt x="1062193" y="24214"/>
                        <a:pt x="1062193" y="24214"/>
                      </a:cubicBezTo>
                      <a:lnTo>
                        <a:pt x="93681" y="13067"/>
                      </a:lnTo>
                      <a:cubicBezTo>
                        <a:pt x="94811" y="16107"/>
                        <a:pt x="91421" y="17120"/>
                        <a:pt x="93681" y="20160"/>
                      </a:cubicBezTo>
                      <a:cubicBezTo>
                        <a:pt x="91421" y="21174"/>
                        <a:pt x="83510" y="23200"/>
                        <a:pt x="82380" y="25227"/>
                      </a:cubicBezTo>
                      <a:lnTo>
                        <a:pt x="82380" y="30294"/>
                      </a:lnTo>
                      <a:cubicBezTo>
                        <a:pt x="84640" y="33334"/>
                        <a:pt x="89160" y="38401"/>
                        <a:pt x="93681" y="42454"/>
                      </a:cubicBezTo>
                      <a:cubicBezTo>
                        <a:pt x="88030" y="43468"/>
                        <a:pt x="83510" y="45494"/>
                        <a:pt x="77859" y="47521"/>
                      </a:cubicBezTo>
                      <a:lnTo>
                        <a:pt x="77859" y="49548"/>
                      </a:lnTo>
                      <a:cubicBezTo>
                        <a:pt x="65428" y="51574"/>
                        <a:pt x="22483" y="44481"/>
                        <a:pt x="10052" y="39414"/>
                      </a:cubicBezTo>
                      <a:cubicBezTo>
                        <a:pt x="11182" y="47521"/>
                        <a:pt x="8922" y="55628"/>
                        <a:pt x="12312" y="63735"/>
                      </a:cubicBezTo>
                      <a:cubicBezTo>
                        <a:pt x="14572" y="68801"/>
                        <a:pt x="25874" y="73868"/>
                        <a:pt x="28134" y="77922"/>
                      </a:cubicBezTo>
                      <a:cubicBezTo>
                        <a:pt x="32654" y="85015"/>
                        <a:pt x="30394" y="91095"/>
                        <a:pt x="33784" y="100216"/>
                      </a:cubicBezTo>
                      <a:lnTo>
                        <a:pt x="39435" y="100216"/>
                      </a:lnTo>
                      <a:cubicBezTo>
                        <a:pt x="40565" y="108322"/>
                        <a:pt x="36045" y="106296"/>
                        <a:pt x="37175" y="112376"/>
                      </a:cubicBezTo>
                      <a:cubicBezTo>
                        <a:pt x="38305" y="112376"/>
                        <a:pt x="43956" y="111362"/>
                        <a:pt x="45086" y="112376"/>
                      </a:cubicBezTo>
                      <a:cubicBezTo>
                        <a:pt x="43956" y="117443"/>
                        <a:pt x="45086" y="123523"/>
                        <a:pt x="45086" y="129603"/>
                      </a:cubicBezTo>
                      <a:lnTo>
                        <a:pt x="37175" y="127576"/>
                      </a:lnTo>
                      <a:cubicBezTo>
                        <a:pt x="34915" y="136696"/>
                        <a:pt x="37175" y="141763"/>
                        <a:pt x="42825" y="144803"/>
                      </a:cubicBezTo>
                      <a:cubicBezTo>
                        <a:pt x="49606" y="147843"/>
                        <a:pt x="37175" y="149870"/>
                        <a:pt x="37175" y="149870"/>
                      </a:cubicBezTo>
                      <a:cubicBezTo>
                        <a:pt x="40565" y="172164"/>
                        <a:pt x="41695" y="188378"/>
                        <a:pt x="39435" y="210671"/>
                      </a:cubicBezTo>
                      <a:lnTo>
                        <a:pt x="33784" y="217765"/>
                      </a:lnTo>
                      <a:cubicBezTo>
                        <a:pt x="33784" y="217765"/>
                        <a:pt x="33784" y="226885"/>
                        <a:pt x="33784" y="227898"/>
                      </a:cubicBezTo>
                      <a:cubicBezTo>
                        <a:pt x="33784" y="226885"/>
                        <a:pt x="40565" y="229925"/>
                        <a:pt x="33784" y="229925"/>
                      </a:cubicBezTo>
                      <a:cubicBezTo>
                        <a:pt x="31524" y="244112"/>
                        <a:pt x="32654" y="267419"/>
                        <a:pt x="31524" y="276540"/>
                      </a:cubicBezTo>
                      <a:cubicBezTo>
                        <a:pt x="31524" y="276540"/>
                        <a:pt x="27004" y="278566"/>
                        <a:pt x="25874" y="278566"/>
                      </a:cubicBezTo>
                      <a:cubicBezTo>
                        <a:pt x="25874" y="286673"/>
                        <a:pt x="24743" y="296807"/>
                        <a:pt x="25874" y="304914"/>
                      </a:cubicBezTo>
                      <a:cubicBezTo>
                        <a:pt x="27004" y="323154"/>
                        <a:pt x="30394" y="327207"/>
                        <a:pt x="41695" y="336328"/>
                      </a:cubicBezTo>
                      <a:cubicBezTo>
                        <a:pt x="40565" y="340381"/>
                        <a:pt x="36045" y="342408"/>
                        <a:pt x="36045" y="343421"/>
                      </a:cubicBezTo>
                      <a:cubicBezTo>
                        <a:pt x="32654" y="353555"/>
                        <a:pt x="41695" y="361661"/>
                        <a:pt x="41695" y="369768"/>
                      </a:cubicBezTo>
                      <a:cubicBezTo>
                        <a:pt x="41695" y="379902"/>
                        <a:pt x="37175" y="390036"/>
                        <a:pt x="39435" y="404223"/>
                      </a:cubicBezTo>
                      <a:cubicBezTo>
                        <a:pt x="33784" y="406249"/>
                        <a:pt x="30394" y="404223"/>
                        <a:pt x="28134" y="409289"/>
                      </a:cubicBezTo>
                      <a:lnTo>
                        <a:pt x="28134" y="414356"/>
                      </a:lnTo>
                      <a:cubicBezTo>
                        <a:pt x="33784" y="423476"/>
                        <a:pt x="37175" y="427530"/>
                        <a:pt x="41695" y="438677"/>
                      </a:cubicBezTo>
                      <a:cubicBezTo>
                        <a:pt x="41695" y="439690"/>
                        <a:pt x="47346" y="440703"/>
                        <a:pt x="47346" y="440703"/>
                      </a:cubicBezTo>
                      <a:cubicBezTo>
                        <a:pt x="48476" y="443743"/>
                        <a:pt x="46216" y="447797"/>
                        <a:pt x="47346" y="450837"/>
                      </a:cubicBezTo>
                      <a:lnTo>
                        <a:pt x="52996" y="452864"/>
                      </a:lnTo>
                      <a:cubicBezTo>
                        <a:pt x="56387" y="462997"/>
                        <a:pt x="51866" y="470091"/>
                        <a:pt x="55257" y="479211"/>
                      </a:cubicBezTo>
                      <a:cubicBezTo>
                        <a:pt x="56387" y="482251"/>
                        <a:pt x="60907" y="480224"/>
                        <a:pt x="63168" y="481238"/>
                      </a:cubicBezTo>
                      <a:cubicBezTo>
                        <a:pt x="65428" y="482251"/>
                        <a:pt x="67688" y="491371"/>
                        <a:pt x="68818" y="493398"/>
                      </a:cubicBezTo>
                      <a:lnTo>
                        <a:pt x="74469" y="493398"/>
                      </a:lnTo>
                      <a:cubicBezTo>
                        <a:pt x="74469" y="499478"/>
                        <a:pt x="73339" y="506572"/>
                        <a:pt x="74469" y="512652"/>
                      </a:cubicBezTo>
                      <a:cubicBezTo>
                        <a:pt x="76729" y="512652"/>
                        <a:pt x="85770" y="514678"/>
                        <a:pt x="85770" y="514678"/>
                      </a:cubicBezTo>
                      <a:cubicBezTo>
                        <a:pt x="97071" y="513665"/>
                        <a:pt x="88030" y="502518"/>
                        <a:pt x="88030" y="502518"/>
                      </a:cubicBezTo>
                      <a:cubicBezTo>
                        <a:pt x="91421" y="501505"/>
                        <a:pt x="95941" y="503531"/>
                        <a:pt x="99331" y="502518"/>
                      </a:cubicBezTo>
                      <a:cubicBezTo>
                        <a:pt x="94811" y="505558"/>
                        <a:pt x="103852" y="504545"/>
                        <a:pt x="104982" y="504545"/>
                      </a:cubicBezTo>
                      <a:cubicBezTo>
                        <a:pt x="104982" y="507585"/>
                        <a:pt x="101592" y="507585"/>
                        <a:pt x="99331" y="509612"/>
                      </a:cubicBezTo>
                      <a:cubicBezTo>
                        <a:pt x="101592" y="515692"/>
                        <a:pt x="107242" y="531905"/>
                        <a:pt x="104982" y="531905"/>
                      </a:cubicBezTo>
                      <a:cubicBezTo>
                        <a:pt x="102722" y="531905"/>
                        <a:pt x="98201" y="525825"/>
                        <a:pt x="97071" y="524812"/>
                      </a:cubicBezTo>
                      <a:cubicBezTo>
                        <a:pt x="97071" y="524812"/>
                        <a:pt x="92551" y="526839"/>
                        <a:pt x="91421" y="526839"/>
                      </a:cubicBezTo>
                      <a:cubicBezTo>
                        <a:pt x="93681" y="530892"/>
                        <a:pt x="89160" y="534946"/>
                        <a:pt x="91421" y="538999"/>
                      </a:cubicBezTo>
                      <a:cubicBezTo>
                        <a:pt x="93681" y="544066"/>
                        <a:pt x="111763" y="548119"/>
                        <a:pt x="118543" y="551159"/>
                      </a:cubicBezTo>
                      <a:lnTo>
                        <a:pt x="120804" y="561293"/>
                      </a:lnTo>
                      <a:cubicBezTo>
                        <a:pt x="118543" y="563320"/>
                        <a:pt x="114023" y="562306"/>
                        <a:pt x="109502" y="563320"/>
                      </a:cubicBezTo>
                      <a:cubicBezTo>
                        <a:pt x="111763" y="578520"/>
                        <a:pt x="106112" y="565346"/>
                        <a:pt x="115153" y="580547"/>
                      </a:cubicBezTo>
                      <a:cubicBezTo>
                        <a:pt x="117413" y="584600"/>
                        <a:pt x="118543" y="588654"/>
                        <a:pt x="120804" y="592707"/>
                      </a:cubicBezTo>
                      <a:lnTo>
                        <a:pt x="126454" y="594734"/>
                      </a:lnTo>
                      <a:cubicBezTo>
                        <a:pt x="128715" y="600814"/>
                        <a:pt x="127584" y="607907"/>
                        <a:pt x="132105" y="611961"/>
                      </a:cubicBezTo>
                      <a:cubicBezTo>
                        <a:pt x="133235" y="612974"/>
                        <a:pt x="138886" y="612974"/>
                        <a:pt x="140016" y="613987"/>
                      </a:cubicBezTo>
                      <a:cubicBezTo>
                        <a:pt x="143406" y="618041"/>
                        <a:pt x="147927" y="622094"/>
                        <a:pt x="151317" y="626148"/>
                      </a:cubicBezTo>
                      <a:cubicBezTo>
                        <a:pt x="147927" y="628175"/>
                        <a:pt x="150187" y="634254"/>
                        <a:pt x="151317" y="636281"/>
                      </a:cubicBezTo>
                      <a:cubicBezTo>
                        <a:pt x="152447" y="638308"/>
                        <a:pt x="155837" y="637295"/>
                        <a:pt x="159228" y="638308"/>
                      </a:cubicBezTo>
                      <a:cubicBezTo>
                        <a:pt x="160358" y="646415"/>
                        <a:pt x="160358" y="651482"/>
                        <a:pt x="159228" y="664655"/>
                      </a:cubicBezTo>
                      <a:cubicBezTo>
                        <a:pt x="180700" y="663642"/>
                        <a:pt x="196522" y="672762"/>
                        <a:pt x="221384" y="676816"/>
                      </a:cubicBezTo>
                      <a:cubicBezTo>
                        <a:pt x="223645" y="683909"/>
                        <a:pt x="224775" y="687963"/>
                        <a:pt x="227035" y="694043"/>
                      </a:cubicBezTo>
                      <a:cubicBezTo>
                        <a:pt x="232686" y="693029"/>
                        <a:pt x="236076" y="691002"/>
                        <a:pt x="240596" y="688976"/>
                      </a:cubicBezTo>
                      <a:cubicBezTo>
                        <a:pt x="246247" y="697083"/>
                        <a:pt x="251898" y="707216"/>
                        <a:pt x="259808" y="713296"/>
                      </a:cubicBezTo>
                      <a:cubicBezTo>
                        <a:pt x="263199" y="716336"/>
                        <a:pt x="271110" y="716336"/>
                        <a:pt x="273370" y="720390"/>
                      </a:cubicBezTo>
                      <a:cubicBezTo>
                        <a:pt x="275630" y="724443"/>
                        <a:pt x="272240" y="730523"/>
                        <a:pt x="273370" y="734577"/>
                      </a:cubicBezTo>
                      <a:lnTo>
                        <a:pt x="279020" y="739644"/>
                      </a:lnTo>
                      <a:cubicBezTo>
                        <a:pt x="280151" y="742684"/>
                        <a:pt x="280151" y="745724"/>
                        <a:pt x="280151" y="748764"/>
                      </a:cubicBezTo>
                      <a:lnTo>
                        <a:pt x="378471" y="741670"/>
                      </a:lnTo>
                      <a:lnTo>
                        <a:pt x="378471" y="752817"/>
                      </a:lnTo>
                      <a:lnTo>
                        <a:pt x="472271" y="797405"/>
                      </a:lnTo>
                      <a:lnTo>
                        <a:pt x="586413" y="802472"/>
                      </a:lnTo>
                      <a:lnTo>
                        <a:pt x="587543" y="782205"/>
                      </a:lnTo>
                      <a:lnTo>
                        <a:pt x="659871" y="783218"/>
                      </a:lnTo>
                      <a:lnTo>
                        <a:pt x="674562" y="799432"/>
                      </a:lnTo>
                      <a:lnTo>
                        <a:pt x="686994" y="808552"/>
                      </a:lnTo>
                      <a:lnTo>
                        <a:pt x="691514" y="817672"/>
                      </a:lnTo>
                      <a:lnTo>
                        <a:pt x="702815" y="825779"/>
                      </a:lnTo>
                      <a:lnTo>
                        <a:pt x="715247" y="838953"/>
                      </a:lnTo>
                      <a:lnTo>
                        <a:pt x="722027" y="853140"/>
                      </a:lnTo>
                      <a:lnTo>
                        <a:pt x="726548" y="863273"/>
                      </a:lnTo>
                      <a:lnTo>
                        <a:pt x="733329" y="876447"/>
                      </a:lnTo>
                      <a:lnTo>
                        <a:pt x="743500" y="889620"/>
                      </a:lnTo>
                      <a:lnTo>
                        <a:pt x="753671" y="895701"/>
                      </a:lnTo>
                      <a:lnTo>
                        <a:pt x="766102" y="895701"/>
                      </a:lnTo>
                      <a:lnTo>
                        <a:pt x="777403" y="895701"/>
                      </a:lnTo>
                      <a:lnTo>
                        <a:pt x="788704" y="888607"/>
                      </a:lnTo>
                      <a:lnTo>
                        <a:pt x="798875" y="874420"/>
                      </a:lnTo>
                      <a:lnTo>
                        <a:pt x="812437" y="868340"/>
                      </a:lnTo>
                      <a:lnTo>
                        <a:pt x="825998" y="869353"/>
                      </a:lnTo>
                      <a:lnTo>
                        <a:pt x="837299" y="876447"/>
                      </a:lnTo>
                      <a:lnTo>
                        <a:pt x="847471" y="882527"/>
                      </a:lnTo>
                      <a:lnTo>
                        <a:pt x="857642" y="893674"/>
                      </a:lnTo>
                      <a:lnTo>
                        <a:pt x="861032" y="906848"/>
                      </a:lnTo>
                      <a:lnTo>
                        <a:pt x="866683" y="912928"/>
                      </a:lnTo>
                      <a:lnTo>
                        <a:pt x="873463" y="927115"/>
                      </a:lnTo>
                      <a:lnTo>
                        <a:pt x="883634" y="943328"/>
                      </a:lnTo>
                      <a:lnTo>
                        <a:pt x="889285" y="956502"/>
                      </a:lnTo>
                      <a:lnTo>
                        <a:pt x="900586" y="965622"/>
                      </a:lnTo>
                      <a:lnTo>
                        <a:pt x="907367" y="975756"/>
                      </a:lnTo>
                      <a:lnTo>
                        <a:pt x="913018" y="999063"/>
                      </a:lnTo>
                      <a:lnTo>
                        <a:pt x="917538" y="1012237"/>
                      </a:lnTo>
                      <a:lnTo>
                        <a:pt x="928839" y="1018317"/>
                      </a:lnTo>
                      <a:lnTo>
                        <a:pt x="941270" y="1023384"/>
                      </a:lnTo>
                      <a:lnTo>
                        <a:pt x="958222" y="1024397"/>
                      </a:lnTo>
                      <a:lnTo>
                        <a:pt x="967263" y="1033517"/>
                      </a:lnTo>
                      <a:lnTo>
                        <a:pt x="983085" y="1033517"/>
                      </a:lnTo>
                      <a:lnTo>
                        <a:pt x="980825" y="1032504"/>
                      </a:lnTo>
                      <a:cubicBezTo>
                        <a:pt x="980825" y="1032504"/>
                        <a:pt x="975174" y="1025410"/>
                        <a:pt x="979694" y="1022370"/>
                      </a:cubicBezTo>
                      <a:cubicBezTo>
                        <a:pt x="980825" y="1025410"/>
                        <a:pt x="980825" y="1017303"/>
                        <a:pt x="979694" y="1015277"/>
                      </a:cubicBezTo>
                      <a:lnTo>
                        <a:pt x="974044" y="1015277"/>
                      </a:lnTo>
                      <a:cubicBezTo>
                        <a:pt x="972914" y="1010210"/>
                        <a:pt x="972914" y="1009196"/>
                        <a:pt x="971784" y="1005143"/>
                      </a:cubicBezTo>
                      <a:lnTo>
                        <a:pt x="969523" y="1005143"/>
                      </a:lnTo>
                      <a:cubicBezTo>
                        <a:pt x="963873" y="991970"/>
                        <a:pt x="965003" y="982849"/>
                        <a:pt x="967263" y="968662"/>
                      </a:cubicBezTo>
                      <a:cubicBezTo>
                        <a:pt x="961613" y="965622"/>
                        <a:pt x="962743" y="970689"/>
                        <a:pt x="961613" y="963595"/>
                      </a:cubicBezTo>
                      <a:cubicBezTo>
                        <a:pt x="967263" y="962582"/>
                        <a:pt x="969523" y="961569"/>
                        <a:pt x="972914" y="961569"/>
                      </a:cubicBezTo>
                      <a:cubicBezTo>
                        <a:pt x="972914" y="961569"/>
                        <a:pt x="974044" y="944342"/>
                        <a:pt x="975174" y="942315"/>
                      </a:cubicBezTo>
                      <a:cubicBezTo>
                        <a:pt x="975174" y="942315"/>
                        <a:pt x="983085" y="942315"/>
                        <a:pt x="983085" y="942315"/>
                      </a:cubicBezTo>
                      <a:cubicBezTo>
                        <a:pt x="984215" y="940288"/>
                        <a:pt x="986475" y="933195"/>
                        <a:pt x="988736" y="932182"/>
                      </a:cubicBezTo>
                      <a:cubicBezTo>
                        <a:pt x="992126" y="931168"/>
                        <a:pt x="996646" y="933195"/>
                        <a:pt x="1000037" y="932182"/>
                      </a:cubicBezTo>
                      <a:cubicBezTo>
                        <a:pt x="1019249" y="922048"/>
                        <a:pt x="1007947" y="919008"/>
                        <a:pt x="1011338" y="914954"/>
                      </a:cubicBezTo>
                      <a:cubicBezTo>
                        <a:pt x="1012468" y="913941"/>
                        <a:pt x="1018118" y="915968"/>
                        <a:pt x="1019249" y="914954"/>
                      </a:cubicBezTo>
                      <a:lnTo>
                        <a:pt x="1021509" y="907861"/>
                      </a:lnTo>
                      <a:cubicBezTo>
                        <a:pt x="1029420" y="907861"/>
                        <a:pt x="1031680" y="908874"/>
                        <a:pt x="1037331" y="909888"/>
                      </a:cubicBezTo>
                      <a:cubicBezTo>
                        <a:pt x="1038461" y="907861"/>
                        <a:pt x="1042981" y="900767"/>
                        <a:pt x="1045242" y="899754"/>
                      </a:cubicBezTo>
                      <a:cubicBezTo>
                        <a:pt x="1049762" y="898741"/>
                        <a:pt x="1047502" y="904821"/>
                        <a:pt x="1050892" y="901781"/>
                      </a:cubicBezTo>
                      <a:cubicBezTo>
                        <a:pt x="1053152" y="899754"/>
                        <a:pt x="1049762" y="892660"/>
                        <a:pt x="1050892" y="889620"/>
                      </a:cubicBezTo>
                      <a:cubicBezTo>
                        <a:pt x="1052022" y="887594"/>
                        <a:pt x="1061063" y="887594"/>
                        <a:pt x="1062193" y="884554"/>
                      </a:cubicBezTo>
                      <a:cubicBezTo>
                        <a:pt x="1064453" y="880500"/>
                        <a:pt x="1061063" y="874420"/>
                        <a:pt x="1062193" y="870367"/>
                      </a:cubicBezTo>
                      <a:cubicBezTo>
                        <a:pt x="1083666" y="879487"/>
                        <a:pt x="1082535" y="875434"/>
                        <a:pt x="1102877" y="868340"/>
                      </a:cubicBezTo>
                      <a:cubicBezTo>
                        <a:pt x="1102877" y="868340"/>
                        <a:pt x="1102877" y="861247"/>
                        <a:pt x="1102877" y="861247"/>
                      </a:cubicBezTo>
                      <a:cubicBezTo>
                        <a:pt x="1106268" y="860233"/>
                        <a:pt x="1107398" y="865300"/>
                        <a:pt x="1108528" y="866313"/>
                      </a:cubicBezTo>
                      <a:cubicBezTo>
                        <a:pt x="1116439" y="868340"/>
                        <a:pt x="1119829" y="861247"/>
                        <a:pt x="1122090" y="861247"/>
                      </a:cubicBezTo>
                      <a:cubicBezTo>
                        <a:pt x="1130001" y="861247"/>
                        <a:pt x="1126610" y="864287"/>
                        <a:pt x="1130001" y="866313"/>
                      </a:cubicBezTo>
                      <a:cubicBezTo>
                        <a:pt x="1145822" y="872393"/>
                        <a:pt x="1153733" y="869353"/>
                        <a:pt x="1165034" y="864287"/>
                      </a:cubicBezTo>
                      <a:cubicBezTo>
                        <a:pt x="1166164" y="866313"/>
                        <a:pt x="1165034" y="872393"/>
                        <a:pt x="1165034" y="874420"/>
                      </a:cubicBezTo>
                      <a:cubicBezTo>
                        <a:pt x="1179726" y="881514"/>
                        <a:pt x="1176335" y="877460"/>
                        <a:pt x="1189897" y="879487"/>
                      </a:cubicBezTo>
                      <a:cubicBezTo>
                        <a:pt x="1178596" y="877460"/>
                        <a:pt x="1179726" y="887594"/>
                        <a:pt x="1183116" y="88962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7" name="Freeform: Shape 266">
                  <a:extLst>
                    <a:ext uri="{FF2B5EF4-FFF2-40B4-BE49-F238E27FC236}">
                      <a16:creationId xmlns:a16="http://schemas.microsoft.com/office/drawing/2014/main" id="{CE52A5A5-89C5-48A0-A395-FC3F204889E0}"/>
                    </a:ext>
                  </a:extLst>
                </p:cNvPr>
                <p:cNvSpPr/>
                <p:nvPr/>
              </p:nvSpPr>
              <p:spPr>
                <a:xfrm>
                  <a:off x="3822915" y="5476678"/>
                  <a:ext cx="203422" cy="212805"/>
                </a:xfrm>
                <a:custGeom>
                  <a:avLst/>
                  <a:gdLst>
                    <a:gd name="connsiteX0" fmla="*/ 187481 w 203421"/>
                    <a:gd name="connsiteY0" fmla="*/ 146830 h 212804"/>
                    <a:gd name="connsiteX1" fmla="*/ 184090 w 203421"/>
                    <a:gd name="connsiteY1" fmla="*/ 139737 h 212804"/>
                    <a:gd name="connsiteX2" fmla="*/ 199912 w 203421"/>
                    <a:gd name="connsiteY2" fmla="*/ 117443 h 212804"/>
                    <a:gd name="connsiteX3" fmla="*/ 185221 w 203421"/>
                    <a:gd name="connsiteY3" fmla="*/ 108323 h 212804"/>
                    <a:gd name="connsiteX4" fmla="*/ 169399 w 203421"/>
                    <a:gd name="connsiteY4" fmla="*/ 87042 h 212804"/>
                    <a:gd name="connsiteX5" fmla="*/ 145666 w 203421"/>
                    <a:gd name="connsiteY5" fmla="*/ 72855 h 212804"/>
                    <a:gd name="connsiteX6" fmla="*/ 124194 w 203421"/>
                    <a:gd name="connsiteY6" fmla="*/ 56641 h 212804"/>
                    <a:gd name="connsiteX7" fmla="*/ 100462 w 203421"/>
                    <a:gd name="connsiteY7" fmla="*/ 43468 h 212804"/>
                    <a:gd name="connsiteX8" fmla="*/ 93681 w 203421"/>
                    <a:gd name="connsiteY8" fmla="*/ 27254 h 212804"/>
                    <a:gd name="connsiteX9" fmla="*/ 62038 w 203421"/>
                    <a:gd name="connsiteY9" fmla="*/ 9013 h 212804"/>
                    <a:gd name="connsiteX10" fmla="*/ 36045 w 203421"/>
                    <a:gd name="connsiteY10" fmla="*/ 17121 h 212804"/>
                    <a:gd name="connsiteX11" fmla="*/ 27004 w 203421"/>
                    <a:gd name="connsiteY11" fmla="*/ 41441 h 212804"/>
                    <a:gd name="connsiteX12" fmla="*/ 17963 w 203421"/>
                    <a:gd name="connsiteY12" fmla="*/ 66775 h 212804"/>
                    <a:gd name="connsiteX13" fmla="*/ 11182 w 203421"/>
                    <a:gd name="connsiteY13" fmla="*/ 95149 h 212804"/>
                    <a:gd name="connsiteX14" fmla="*/ 10052 w 203421"/>
                    <a:gd name="connsiteY14" fmla="*/ 120483 h 212804"/>
                    <a:gd name="connsiteX15" fmla="*/ 13442 w 203421"/>
                    <a:gd name="connsiteY15" fmla="*/ 120483 h 212804"/>
                    <a:gd name="connsiteX16" fmla="*/ 19093 w 203421"/>
                    <a:gd name="connsiteY16" fmla="*/ 176217 h 212804"/>
                    <a:gd name="connsiteX17" fmla="*/ 21353 w 203421"/>
                    <a:gd name="connsiteY17" fmla="*/ 176217 h 212804"/>
                    <a:gd name="connsiteX18" fmla="*/ 32654 w 203421"/>
                    <a:gd name="connsiteY18" fmla="*/ 183311 h 212804"/>
                    <a:gd name="connsiteX19" fmla="*/ 43956 w 203421"/>
                    <a:gd name="connsiteY19" fmla="*/ 183311 h 212804"/>
                    <a:gd name="connsiteX20" fmla="*/ 55257 w 203421"/>
                    <a:gd name="connsiteY20" fmla="*/ 196484 h 212804"/>
                    <a:gd name="connsiteX21" fmla="*/ 57517 w 203421"/>
                    <a:gd name="connsiteY21" fmla="*/ 198511 h 212804"/>
                    <a:gd name="connsiteX22" fmla="*/ 73339 w 203421"/>
                    <a:gd name="connsiteY22" fmla="*/ 200538 h 212804"/>
                    <a:gd name="connsiteX23" fmla="*/ 75599 w 203421"/>
                    <a:gd name="connsiteY23" fmla="*/ 205605 h 212804"/>
                    <a:gd name="connsiteX24" fmla="*/ 94811 w 203421"/>
                    <a:gd name="connsiteY24" fmla="*/ 200538 h 212804"/>
                    <a:gd name="connsiteX25" fmla="*/ 116283 w 203421"/>
                    <a:gd name="connsiteY25" fmla="*/ 205605 h 212804"/>
                    <a:gd name="connsiteX26" fmla="*/ 162618 w 203421"/>
                    <a:gd name="connsiteY26" fmla="*/ 193444 h 212804"/>
                    <a:gd name="connsiteX27" fmla="*/ 162618 w 203421"/>
                    <a:gd name="connsiteY27" fmla="*/ 188378 h 212804"/>
                    <a:gd name="connsiteX28" fmla="*/ 176179 w 203421"/>
                    <a:gd name="connsiteY28" fmla="*/ 174191 h 212804"/>
                    <a:gd name="connsiteX29" fmla="*/ 178440 w 203421"/>
                    <a:gd name="connsiteY29" fmla="*/ 160004 h 212804"/>
                    <a:gd name="connsiteX30" fmla="*/ 187481 w 203421"/>
                    <a:gd name="connsiteY30" fmla="*/ 149870 h 212804"/>
                    <a:gd name="connsiteX31" fmla="*/ 187481 w 203421"/>
                    <a:gd name="connsiteY31" fmla="*/ 146830 h 21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3421" h="212804">
                      <a:moveTo>
                        <a:pt x="187481" y="146830"/>
                      </a:moveTo>
                      <a:lnTo>
                        <a:pt x="184090" y="139737"/>
                      </a:lnTo>
                      <a:lnTo>
                        <a:pt x="199912" y="117443"/>
                      </a:lnTo>
                      <a:cubicBezTo>
                        <a:pt x="199912" y="117443"/>
                        <a:pt x="195392" y="111363"/>
                        <a:pt x="185221" y="108323"/>
                      </a:cubicBezTo>
                      <a:cubicBezTo>
                        <a:pt x="175050" y="104269"/>
                        <a:pt x="172789" y="97176"/>
                        <a:pt x="169399" y="87042"/>
                      </a:cubicBezTo>
                      <a:cubicBezTo>
                        <a:pt x="166008" y="76908"/>
                        <a:pt x="158098" y="78935"/>
                        <a:pt x="145666" y="72855"/>
                      </a:cubicBezTo>
                      <a:cubicBezTo>
                        <a:pt x="133235" y="66775"/>
                        <a:pt x="130975" y="63735"/>
                        <a:pt x="124194" y="56641"/>
                      </a:cubicBezTo>
                      <a:cubicBezTo>
                        <a:pt x="117413" y="48535"/>
                        <a:pt x="103852" y="52588"/>
                        <a:pt x="100462" y="43468"/>
                      </a:cubicBezTo>
                      <a:cubicBezTo>
                        <a:pt x="97071" y="34347"/>
                        <a:pt x="93681" y="27254"/>
                        <a:pt x="93681" y="27254"/>
                      </a:cubicBezTo>
                      <a:lnTo>
                        <a:pt x="62038" y="9013"/>
                      </a:lnTo>
                      <a:lnTo>
                        <a:pt x="36045" y="17121"/>
                      </a:lnTo>
                      <a:cubicBezTo>
                        <a:pt x="36045" y="17121"/>
                        <a:pt x="23613" y="27254"/>
                        <a:pt x="27004" y="41441"/>
                      </a:cubicBezTo>
                      <a:cubicBezTo>
                        <a:pt x="30394" y="55628"/>
                        <a:pt x="15703" y="51575"/>
                        <a:pt x="17963" y="66775"/>
                      </a:cubicBezTo>
                      <a:cubicBezTo>
                        <a:pt x="21353" y="81975"/>
                        <a:pt x="6661" y="87042"/>
                        <a:pt x="11182" y="95149"/>
                      </a:cubicBezTo>
                      <a:cubicBezTo>
                        <a:pt x="15703" y="103256"/>
                        <a:pt x="10052" y="120483"/>
                        <a:pt x="10052" y="120483"/>
                      </a:cubicBezTo>
                      <a:lnTo>
                        <a:pt x="13442" y="120483"/>
                      </a:lnTo>
                      <a:cubicBezTo>
                        <a:pt x="12312" y="137710"/>
                        <a:pt x="6661" y="164058"/>
                        <a:pt x="19093" y="176217"/>
                      </a:cubicBezTo>
                      <a:cubicBezTo>
                        <a:pt x="20223" y="176217"/>
                        <a:pt x="21353" y="176217"/>
                        <a:pt x="21353" y="176217"/>
                      </a:cubicBezTo>
                      <a:cubicBezTo>
                        <a:pt x="23613" y="177231"/>
                        <a:pt x="30394" y="183311"/>
                        <a:pt x="32654" y="183311"/>
                      </a:cubicBezTo>
                      <a:cubicBezTo>
                        <a:pt x="34914" y="184325"/>
                        <a:pt x="40565" y="182298"/>
                        <a:pt x="43956" y="183311"/>
                      </a:cubicBezTo>
                      <a:cubicBezTo>
                        <a:pt x="48476" y="185338"/>
                        <a:pt x="50736" y="192431"/>
                        <a:pt x="55257" y="196484"/>
                      </a:cubicBezTo>
                      <a:cubicBezTo>
                        <a:pt x="56387" y="197498"/>
                        <a:pt x="56387" y="197498"/>
                        <a:pt x="57517" y="198511"/>
                      </a:cubicBezTo>
                      <a:cubicBezTo>
                        <a:pt x="63167" y="201551"/>
                        <a:pt x="67688" y="198511"/>
                        <a:pt x="73339" y="200538"/>
                      </a:cubicBezTo>
                      <a:lnTo>
                        <a:pt x="75599" y="205605"/>
                      </a:lnTo>
                      <a:cubicBezTo>
                        <a:pt x="86900" y="207632"/>
                        <a:pt x="92551" y="200538"/>
                        <a:pt x="94811" y="200538"/>
                      </a:cubicBezTo>
                      <a:cubicBezTo>
                        <a:pt x="106112" y="198511"/>
                        <a:pt x="116283" y="205605"/>
                        <a:pt x="116283" y="205605"/>
                      </a:cubicBezTo>
                      <a:cubicBezTo>
                        <a:pt x="127584" y="206618"/>
                        <a:pt x="156968" y="197498"/>
                        <a:pt x="162618" y="193444"/>
                      </a:cubicBezTo>
                      <a:lnTo>
                        <a:pt x="162618" y="188378"/>
                      </a:lnTo>
                      <a:cubicBezTo>
                        <a:pt x="163748" y="184325"/>
                        <a:pt x="173919" y="179258"/>
                        <a:pt x="176179" y="174191"/>
                      </a:cubicBezTo>
                      <a:cubicBezTo>
                        <a:pt x="178440" y="168111"/>
                        <a:pt x="176179" y="165071"/>
                        <a:pt x="178440" y="160004"/>
                      </a:cubicBezTo>
                      <a:cubicBezTo>
                        <a:pt x="180700" y="156964"/>
                        <a:pt x="184090" y="153924"/>
                        <a:pt x="187481" y="149870"/>
                      </a:cubicBezTo>
                      <a:lnTo>
                        <a:pt x="187481" y="14683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8" name="Freeform: Shape 267">
                  <a:extLst>
                    <a:ext uri="{FF2B5EF4-FFF2-40B4-BE49-F238E27FC236}">
                      <a16:creationId xmlns:a16="http://schemas.microsoft.com/office/drawing/2014/main" id="{375C517B-92EE-44B5-84C9-77BBF5BED287}"/>
                    </a:ext>
                  </a:extLst>
                </p:cNvPr>
                <p:cNvSpPr/>
                <p:nvPr/>
              </p:nvSpPr>
              <p:spPr>
                <a:xfrm>
                  <a:off x="5613790" y="1624909"/>
                  <a:ext cx="361638" cy="567480"/>
                </a:xfrm>
                <a:custGeom>
                  <a:avLst/>
                  <a:gdLst>
                    <a:gd name="connsiteX0" fmla="*/ 44320 w 361638"/>
                    <a:gd name="connsiteY0" fmla="*/ 315047 h 567479"/>
                    <a:gd name="connsiteX1" fmla="*/ 25108 w 361638"/>
                    <a:gd name="connsiteY1" fmla="*/ 332274 h 567479"/>
                    <a:gd name="connsiteX2" fmla="*/ 10416 w 361638"/>
                    <a:gd name="connsiteY2" fmla="*/ 345448 h 567479"/>
                    <a:gd name="connsiteX3" fmla="*/ 17197 w 361638"/>
                    <a:gd name="connsiteY3" fmla="*/ 354568 h 567479"/>
                    <a:gd name="connsiteX4" fmla="*/ 29629 w 361638"/>
                    <a:gd name="connsiteY4" fmla="*/ 365715 h 567479"/>
                    <a:gd name="connsiteX5" fmla="*/ 39800 w 361638"/>
                    <a:gd name="connsiteY5" fmla="*/ 360648 h 567479"/>
                    <a:gd name="connsiteX6" fmla="*/ 46580 w 361638"/>
                    <a:gd name="connsiteY6" fmla="*/ 368755 h 567479"/>
                    <a:gd name="connsiteX7" fmla="*/ 61272 w 361638"/>
                    <a:gd name="connsiteY7" fmla="*/ 365715 h 567479"/>
                    <a:gd name="connsiteX8" fmla="*/ 60142 w 361638"/>
                    <a:gd name="connsiteY8" fmla="*/ 362675 h 567479"/>
                    <a:gd name="connsiteX9" fmla="*/ 89525 w 361638"/>
                    <a:gd name="connsiteY9" fmla="*/ 357608 h 567479"/>
                    <a:gd name="connsiteX10" fmla="*/ 81614 w 361638"/>
                    <a:gd name="connsiteY10" fmla="*/ 333288 h 567479"/>
                    <a:gd name="connsiteX11" fmla="*/ 70313 w 361638"/>
                    <a:gd name="connsiteY11" fmla="*/ 333288 h 567479"/>
                    <a:gd name="connsiteX12" fmla="*/ 78224 w 361638"/>
                    <a:gd name="connsiteY12" fmla="*/ 319101 h 567479"/>
                    <a:gd name="connsiteX13" fmla="*/ 39800 w 361638"/>
                    <a:gd name="connsiteY13" fmla="*/ 324167 h 567479"/>
                    <a:gd name="connsiteX14" fmla="*/ 42060 w 361638"/>
                    <a:gd name="connsiteY14" fmla="*/ 319101 h 567479"/>
                    <a:gd name="connsiteX15" fmla="*/ 44320 w 361638"/>
                    <a:gd name="connsiteY15" fmla="*/ 315047 h 567479"/>
                    <a:gd name="connsiteX16" fmla="*/ 139250 w 361638"/>
                    <a:gd name="connsiteY16" fmla="*/ 186351 h 567479"/>
                    <a:gd name="connsiteX17" fmla="*/ 139250 w 361638"/>
                    <a:gd name="connsiteY17" fmla="*/ 167097 h 567479"/>
                    <a:gd name="connsiteX18" fmla="*/ 150551 w 361638"/>
                    <a:gd name="connsiteY18" fmla="*/ 160004 h 567479"/>
                    <a:gd name="connsiteX19" fmla="*/ 156202 w 361638"/>
                    <a:gd name="connsiteY19" fmla="*/ 160004 h 567479"/>
                    <a:gd name="connsiteX20" fmla="*/ 161853 w 361638"/>
                    <a:gd name="connsiteY20" fmla="*/ 147843 h 567479"/>
                    <a:gd name="connsiteX21" fmla="*/ 173154 w 361638"/>
                    <a:gd name="connsiteY21" fmla="*/ 142777 h 567479"/>
                    <a:gd name="connsiteX22" fmla="*/ 148291 w 361638"/>
                    <a:gd name="connsiteY22" fmla="*/ 118456 h 567479"/>
                    <a:gd name="connsiteX23" fmla="*/ 134729 w 361638"/>
                    <a:gd name="connsiteY23" fmla="*/ 128590 h 567479"/>
                    <a:gd name="connsiteX24" fmla="*/ 134729 w 361638"/>
                    <a:gd name="connsiteY24" fmla="*/ 126563 h 567479"/>
                    <a:gd name="connsiteX25" fmla="*/ 132470 w 361638"/>
                    <a:gd name="connsiteY25" fmla="*/ 126563 h 567479"/>
                    <a:gd name="connsiteX26" fmla="*/ 132470 w 361638"/>
                    <a:gd name="connsiteY26" fmla="*/ 133656 h 567479"/>
                    <a:gd name="connsiteX27" fmla="*/ 126819 w 361638"/>
                    <a:gd name="connsiteY27" fmla="*/ 123523 h 567479"/>
                    <a:gd name="connsiteX28" fmla="*/ 115518 w 361638"/>
                    <a:gd name="connsiteY28" fmla="*/ 123523 h 567479"/>
                    <a:gd name="connsiteX29" fmla="*/ 115518 w 361638"/>
                    <a:gd name="connsiteY29" fmla="*/ 140750 h 567479"/>
                    <a:gd name="connsiteX30" fmla="*/ 101956 w 361638"/>
                    <a:gd name="connsiteY30" fmla="*/ 154937 h 567479"/>
                    <a:gd name="connsiteX31" fmla="*/ 104217 w 361638"/>
                    <a:gd name="connsiteY31" fmla="*/ 162030 h 567479"/>
                    <a:gd name="connsiteX32" fmla="*/ 106477 w 361638"/>
                    <a:gd name="connsiteY32" fmla="*/ 164057 h 567479"/>
                    <a:gd name="connsiteX33" fmla="*/ 104217 w 361638"/>
                    <a:gd name="connsiteY33" fmla="*/ 171151 h 567479"/>
                    <a:gd name="connsiteX34" fmla="*/ 88395 w 361638"/>
                    <a:gd name="connsiteY34" fmla="*/ 169124 h 567479"/>
                    <a:gd name="connsiteX35" fmla="*/ 86134 w 361638"/>
                    <a:gd name="connsiteY35" fmla="*/ 176217 h 567479"/>
                    <a:gd name="connsiteX36" fmla="*/ 91785 w 361638"/>
                    <a:gd name="connsiteY36" fmla="*/ 183311 h 567479"/>
                    <a:gd name="connsiteX37" fmla="*/ 80484 w 361638"/>
                    <a:gd name="connsiteY37" fmla="*/ 185337 h 567479"/>
                    <a:gd name="connsiteX38" fmla="*/ 82744 w 361638"/>
                    <a:gd name="connsiteY38" fmla="*/ 207631 h 567479"/>
                    <a:gd name="connsiteX39" fmla="*/ 90655 w 361638"/>
                    <a:gd name="connsiteY39" fmla="*/ 219792 h 567479"/>
                    <a:gd name="connsiteX40" fmla="*/ 82744 w 361638"/>
                    <a:gd name="connsiteY40" fmla="*/ 239045 h 567479"/>
                    <a:gd name="connsiteX41" fmla="*/ 82744 w 361638"/>
                    <a:gd name="connsiteY41" fmla="*/ 244112 h 567479"/>
                    <a:gd name="connsiteX42" fmla="*/ 101956 w 361638"/>
                    <a:gd name="connsiteY42" fmla="*/ 242085 h 567479"/>
                    <a:gd name="connsiteX43" fmla="*/ 104217 w 361638"/>
                    <a:gd name="connsiteY43" fmla="*/ 249179 h 567479"/>
                    <a:gd name="connsiteX44" fmla="*/ 92916 w 361638"/>
                    <a:gd name="connsiteY44" fmla="*/ 251206 h 567479"/>
                    <a:gd name="connsiteX45" fmla="*/ 90655 w 361638"/>
                    <a:gd name="connsiteY45" fmla="*/ 256272 h 567479"/>
                    <a:gd name="connsiteX46" fmla="*/ 90655 w 361638"/>
                    <a:gd name="connsiteY46" fmla="*/ 263366 h 567479"/>
                    <a:gd name="connsiteX47" fmla="*/ 88395 w 361638"/>
                    <a:gd name="connsiteY47" fmla="*/ 277553 h 567479"/>
                    <a:gd name="connsiteX48" fmla="*/ 94045 w 361638"/>
                    <a:gd name="connsiteY48" fmla="*/ 267419 h 567479"/>
                    <a:gd name="connsiteX49" fmla="*/ 101956 w 361638"/>
                    <a:gd name="connsiteY49" fmla="*/ 262353 h 567479"/>
                    <a:gd name="connsiteX50" fmla="*/ 107607 w 361638"/>
                    <a:gd name="connsiteY50" fmla="*/ 267419 h 567479"/>
                    <a:gd name="connsiteX51" fmla="*/ 113258 w 361638"/>
                    <a:gd name="connsiteY51" fmla="*/ 262353 h 567479"/>
                    <a:gd name="connsiteX52" fmla="*/ 110997 w 361638"/>
                    <a:gd name="connsiteY52" fmla="*/ 274513 h 567479"/>
                    <a:gd name="connsiteX53" fmla="*/ 103086 w 361638"/>
                    <a:gd name="connsiteY53" fmla="*/ 323154 h 567479"/>
                    <a:gd name="connsiteX54" fmla="*/ 114387 w 361638"/>
                    <a:gd name="connsiteY54" fmla="*/ 323154 h 567479"/>
                    <a:gd name="connsiteX55" fmla="*/ 120038 w 361638"/>
                    <a:gd name="connsiteY55" fmla="*/ 330248 h 567479"/>
                    <a:gd name="connsiteX56" fmla="*/ 125689 w 361638"/>
                    <a:gd name="connsiteY56" fmla="*/ 332274 h 567479"/>
                    <a:gd name="connsiteX57" fmla="*/ 127949 w 361638"/>
                    <a:gd name="connsiteY57" fmla="*/ 320114 h 567479"/>
                    <a:gd name="connsiteX58" fmla="*/ 179934 w 361638"/>
                    <a:gd name="connsiteY58" fmla="*/ 322141 h 567479"/>
                    <a:gd name="connsiteX59" fmla="*/ 191235 w 361638"/>
                    <a:gd name="connsiteY59" fmla="*/ 346461 h 567479"/>
                    <a:gd name="connsiteX60" fmla="*/ 191235 w 361638"/>
                    <a:gd name="connsiteY60" fmla="*/ 368755 h 567479"/>
                    <a:gd name="connsiteX61" fmla="*/ 183325 w 361638"/>
                    <a:gd name="connsiteY61" fmla="*/ 378889 h 567479"/>
                    <a:gd name="connsiteX62" fmla="*/ 185585 w 361638"/>
                    <a:gd name="connsiteY62" fmla="*/ 391049 h 567479"/>
                    <a:gd name="connsiteX63" fmla="*/ 177675 w 361638"/>
                    <a:gd name="connsiteY63" fmla="*/ 391049 h 567479"/>
                    <a:gd name="connsiteX64" fmla="*/ 177675 w 361638"/>
                    <a:gd name="connsiteY64" fmla="*/ 396116 h 567479"/>
                    <a:gd name="connsiteX65" fmla="*/ 150551 w 361638"/>
                    <a:gd name="connsiteY65" fmla="*/ 396116 h 567479"/>
                    <a:gd name="connsiteX66" fmla="*/ 144901 w 361638"/>
                    <a:gd name="connsiteY66" fmla="*/ 391049 h 567479"/>
                    <a:gd name="connsiteX67" fmla="*/ 144901 w 361638"/>
                    <a:gd name="connsiteY67" fmla="*/ 383955 h 567479"/>
                    <a:gd name="connsiteX68" fmla="*/ 131339 w 361638"/>
                    <a:gd name="connsiteY68" fmla="*/ 381929 h 567479"/>
                    <a:gd name="connsiteX69" fmla="*/ 125689 w 361638"/>
                    <a:gd name="connsiteY69" fmla="*/ 389022 h 567479"/>
                    <a:gd name="connsiteX70" fmla="*/ 131339 w 361638"/>
                    <a:gd name="connsiteY70" fmla="*/ 399156 h 567479"/>
                    <a:gd name="connsiteX71" fmla="*/ 142640 w 361638"/>
                    <a:gd name="connsiteY71" fmla="*/ 399156 h 567479"/>
                    <a:gd name="connsiteX72" fmla="*/ 115518 w 361638"/>
                    <a:gd name="connsiteY72" fmla="*/ 423476 h 567479"/>
                    <a:gd name="connsiteX73" fmla="*/ 140380 w 361638"/>
                    <a:gd name="connsiteY73" fmla="*/ 421450 h 567479"/>
                    <a:gd name="connsiteX74" fmla="*/ 126819 w 361638"/>
                    <a:gd name="connsiteY74" fmla="*/ 447797 h 567479"/>
                    <a:gd name="connsiteX75" fmla="*/ 124559 w 361638"/>
                    <a:gd name="connsiteY75" fmla="*/ 454890 h 567479"/>
                    <a:gd name="connsiteX76" fmla="*/ 103086 w 361638"/>
                    <a:gd name="connsiteY76" fmla="*/ 461984 h 567479"/>
                    <a:gd name="connsiteX77" fmla="*/ 105347 w 361638"/>
                    <a:gd name="connsiteY77" fmla="*/ 472117 h 567479"/>
                    <a:gd name="connsiteX78" fmla="*/ 103086 w 361638"/>
                    <a:gd name="connsiteY78" fmla="*/ 477184 h 567479"/>
                    <a:gd name="connsiteX79" fmla="*/ 114387 w 361638"/>
                    <a:gd name="connsiteY79" fmla="*/ 477184 h 567479"/>
                    <a:gd name="connsiteX80" fmla="*/ 116648 w 361638"/>
                    <a:gd name="connsiteY80" fmla="*/ 484278 h 567479"/>
                    <a:gd name="connsiteX81" fmla="*/ 122298 w 361638"/>
                    <a:gd name="connsiteY81" fmla="*/ 482251 h 567479"/>
                    <a:gd name="connsiteX82" fmla="*/ 122298 w 361638"/>
                    <a:gd name="connsiteY82" fmla="*/ 480224 h 567479"/>
                    <a:gd name="connsiteX83" fmla="*/ 124559 w 361638"/>
                    <a:gd name="connsiteY83" fmla="*/ 475158 h 567479"/>
                    <a:gd name="connsiteX84" fmla="*/ 135860 w 361638"/>
                    <a:gd name="connsiteY84" fmla="*/ 475158 h 567479"/>
                    <a:gd name="connsiteX85" fmla="*/ 135860 w 361638"/>
                    <a:gd name="connsiteY85" fmla="*/ 482251 h 567479"/>
                    <a:gd name="connsiteX86" fmla="*/ 147161 w 361638"/>
                    <a:gd name="connsiteY86" fmla="*/ 487318 h 567479"/>
                    <a:gd name="connsiteX87" fmla="*/ 160723 w 361638"/>
                    <a:gd name="connsiteY87" fmla="*/ 477184 h 567479"/>
                    <a:gd name="connsiteX88" fmla="*/ 162982 w 361638"/>
                    <a:gd name="connsiteY88" fmla="*/ 479211 h 567479"/>
                    <a:gd name="connsiteX89" fmla="*/ 176544 w 361638"/>
                    <a:gd name="connsiteY89" fmla="*/ 486305 h 567479"/>
                    <a:gd name="connsiteX90" fmla="*/ 178804 w 361638"/>
                    <a:gd name="connsiteY90" fmla="*/ 474144 h 567479"/>
                    <a:gd name="connsiteX91" fmla="*/ 190106 w 361638"/>
                    <a:gd name="connsiteY91" fmla="*/ 496438 h 567479"/>
                    <a:gd name="connsiteX92" fmla="*/ 133600 w 361638"/>
                    <a:gd name="connsiteY92" fmla="*/ 494411 h 567479"/>
                    <a:gd name="connsiteX93" fmla="*/ 133600 w 361638"/>
                    <a:gd name="connsiteY93" fmla="*/ 496438 h 567479"/>
                    <a:gd name="connsiteX94" fmla="*/ 117778 w 361638"/>
                    <a:gd name="connsiteY94" fmla="*/ 520759 h 567479"/>
                    <a:gd name="connsiteX95" fmla="*/ 104217 w 361638"/>
                    <a:gd name="connsiteY95" fmla="*/ 530892 h 567479"/>
                    <a:gd name="connsiteX96" fmla="*/ 98566 w 361638"/>
                    <a:gd name="connsiteY96" fmla="*/ 543052 h 567479"/>
                    <a:gd name="connsiteX97" fmla="*/ 79354 w 361638"/>
                    <a:gd name="connsiteY97" fmla="*/ 548119 h 567479"/>
                    <a:gd name="connsiteX98" fmla="*/ 79354 w 361638"/>
                    <a:gd name="connsiteY98" fmla="*/ 555213 h 567479"/>
                    <a:gd name="connsiteX99" fmla="*/ 104217 w 361638"/>
                    <a:gd name="connsiteY99" fmla="*/ 562306 h 567479"/>
                    <a:gd name="connsiteX100" fmla="*/ 115518 w 361638"/>
                    <a:gd name="connsiteY100" fmla="*/ 543052 h 567479"/>
                    <a:gd name="connsiteX101" fmla="*/ 121169 w 361638"/>
                    <a:gd name="connsiteY101" fmla="*/ 545079 h 567479"/>
                    <a:gd name="connsiteX102" fmla="*/ 123428 w 361638"/>
                    <a:gd name="connsiteY102" fmla="*/ 537986 h 567479"/>
                    <a:gd name="connsiteX103" fmla="*/ 152812 w 361638"/>
                    <a:gd name="connsiteY103" fmla="*/ 535959 h 567479"/>
                    <a:gd name="connsiteX104" fmla="*/ 158462 w 361638"/>
                    <a:gd name="connsiteY104" fmla="*/ 543052 h 567479"/>
                    <a:gd name="connsiteX105" fmla="*/ 185585 w 361638"/>
                    <a:gd name="connsiteY105" fmla="*/ 523799 h 567479"/>
                    <a:gd name="connsiteX106" fmla="*/ 218359 w 361638"/>
                    <a:gd name="connsiteY106" fmla="*/ 530892 h 567479"/>
                    <a:gd name="connsiteX107" fmla="*/ 218359 w 361638"/>
                    <a:gd name="connsiteY107" fmla="*/ 523799 h 567479"/>
                    <a:gd name="connsiteX108" fmla="*/ 231920 w 361638"/>
                    <a:gd name="connsiteY108" fmla="*/ 521772 h 567479"/>
                    <a:gd name="connsiteX109" fmla="*/ 231920 w 361638"/>
                    <a:gd name="connsiteY109" fmla="*/ 516705 h 567479"/>
                    <a:gd name="connsiteX110" fmla="*/ 256783 w 361638"/>
                    <a:gd name="connsiteY110" fmla="*/ 521772 h 567479"/>
                    <a:gd name="connsiteX111" fmla="*/ 289556 w 361638"/>
                    <a:gd name="connsiteY111" fmla="*/ 514678 h 567479"/>
                    <a:gd name="connsiteX112" fmla="*/ 305378 w 361638"/>
                    <a:gd name="connsiteY112" fmla="*/ 524812 h 567479"/>
                    <a:gd name="connsiteX113" fmla="*/ 307638 w 361638"/>
                    <a:gd name="connsiteY113" fmla="*/ 517719 h 567479"/>
                    <a:gd name="connsiteX114" fmla="*/ 318940 w 361638"/>
                    <a:gd name="connsiteY114" fmla="*/ 517719 h 567479"/>
                    <a:gd name="connsiteX115" fmla="*/ 324590 w 361638"/>
                    <a:gd name="connsiteY115" fmla="*/ 510625 h 567479"/>
                    <a:gd name="connsiteX116" fmla="*/ 335891 w 361638"/>
                    <a:gd name="connsiteY116" fmla="*/ 508598 h 567479"/>
                    <a:gd name="connsiteX117" fmla="*/ 335891 w 361638"/>
                    <a:gd name="connsiteY117" fmla="*/ 501505 h 567479"/>
                    <a:gd name="connsiteX118" fmla="*/ 311029 w 361638"/>
                    <a:gd name="connsiteY118" fmla="*/ 499478 h 567479"/>
                    <a:gd name="connsiteX119" fmla="*/ 313289 w 361638"/>
                    <a:gd name="connsiteY119" fmla="*/ 494411 h 567479"/>
                    <a:gd name="connsiteX120" fmla="*/ 307638 w 361638"/>
                    <a:gd name="connsiteY120" fmla="*/ 484278 h 567479"/>
                    <a:gd name="connsiteX121" fmla="*/ 318940 w 361638"/>
                    <a:gd name="connsiteY121" fmla="*/ 484278 h 567479"/>
                    <a:gd name="connsiteX122" fmla="*/ 321199 w 361638"/>
                    <a:gd name="connsiteY122" fmla="*/ 477184 h 567479"/>
                    <a:gd name="connsiteX123" fmla="*/ 340411 w 361638"/>
                    <a:gd name="connsiteY123" fmla="*/ 477184 h 567479"/>
                    <a:gd name="connsiteX124" fmla="*/ 340411 w 361638"/>
                    <a:gd name="connsiteY124" fmla="*/ 470091 h 567479"/>
                    <a:gd name="connsiteX125" fmla="*/ 342672 w 361638"/>
                    <a:gd name="connsiteY125" fmla="*/ 470091 h 567479"/>
                    <a:gd name="connsiteX126" fmla="*/ 348322 w 361638"/>
                    <a:gd name="connsiteY126" fmla="*/ 423476 h 567479"/>
                    <a:gd name="connsiteX127" fmla="*/ 318940 w 361638"/>
                    <a:gd name="connsiteY127" fmla="*/ 418410 h 567479"/>
                    <a:gd name="connsiteX128" fmla="*/ 316679 w 361638"/>
                    <a:gd name="connsiteY128" fmla="*/ 425503 h 567479"/>
                    <a:gd name="connsiteX129" fmla="*/ 308768 w 361638"/>
                    <a:gd name="connsiteY129" fmla="*/ 432597 h 567479"/>
                    <a:gd name="connsiteX130" fmla="*/ 306508 w 361638"/>
                    <a:gd name="connsiteY130" fmla="*/ 420436 h 567479"/>
                    <a:gd name="connsiteX131" fmla="*/ 308768 w 361638"/>
                    <a:gd name="connsiteY131" fmla="*/ 415370 h 567479"/>
                    <a:gd name="connsiteX132" fmla="*/ 306508 w 361638"/>
                    <a:gd name="connsiteY132" fmla="*/ 401182 h 567479"/>
                    <a:gd name="connsiteX133" fmla="*/ 285036 w 361638"/>
                    <a:gd name="connsiteY133" fmla="*/ 376862 h 567479"/>
                    <a:gd name="connsiteX134" fmla="*/ 298597 w 361638"/>
                    <a:gd name="connsiteY134" fmla="*/ 386996 h 567479"/>
                    <a:gd name="connsiteX135" fmla="*/ 306508 w 361638"/>
                    <a:gd name="connsiteY135" fmla="*/ 386996 h 567479"/>
                    <a:gd name="connsiteX136" fmla="*/ 306508 w 361638"/>
                    <a:gd name="connsiteY136" fmla="*/ 379902 h 567479"/>
                    <a:gd name="connsiteX137" fmla="*/ 304247 w 361638"/>
                    <a:gd name="connsiteY137" fmla="*/ 379902 h 567479"/>
                    <a:gd name="connsiteX138" fmla="*/ 290687 w 361638"/>
                    <a:gd name="connsiteY138" fmla="*/ 362675 h 567479"/>
                    <a:gd name="connsiteX139" fmla="*/ 277125 w 361638"/>
                    <a:gd name="connsiteY139" fmla="*/ 360648 h 567479"/>
                    <a:gd name="connsiteX140" fmla="*/ 263563 w 361638"/>
                    <a:gd name="connsiteY140" fmla="*/ 338354 h 567479"/>
                    <a:gd name="connsiteX141" fmla="*/ 255652 w 361638"/>
                    <a:gd name="connsiteY141" fmla="*/ 338354 h 567479"/>
                    <a:gd name="connsiteX142" fmla="*/ 242091 w 361638"/>
                    <a:gd name="connsiteY142" fmla="*/ 324167 h 567479"/>
                    <a:gd name="connsiteX143" fmla="*/ 239831 w 361638"/>
                    <a:gd name="connsiteY143" fmla="*/ 304914 h 567479"/>
                    <a:gd name="connsiteX144" fmla="*/ 231920 w 361638"/>
                    <a:gd name="connsiteY144" fmla="*/ 302887 h 567479"/>
                    <a:gd name="connsiteX145" fmla="*/ 231920 w 361638"/>
                    <a:gd name="connsiteY145" fmla="*/ 295793 h 567479"/>
                    <a:gd name="connsiteX146" fmla="*/ 212708 w 361638"/>
                    <a:gd name="connsiteY146" fmla="*/ 283633 h 567479"/>
                    <a:gd name="connsiteX147" fmla="*/ 210448 w 361638"/>
                    <a:gd name="connsiteY147" fmla="*/ 271473 h 567479"/>
                    <a:gd name="connsiteX148" fmla="*/ 188976 w 361638"/>
                    <a:gd name="connsiteY148" fmla="*/ 271473 h 567479"/>
                    <a:gd name="connsiteX149" fmla="*/ 196886 w 361638"/>
                    <a:gd name="connsiteY149" fmla="*/ 261339 h 567479"/>
                    <a:gd name="connsiteX150" fmla="*/ 204797 w 361638"/>
                    <a:gd name="connsiteY150" fmla="*/ 261339 h 567479"/>
                    <a:gd name="connsiteX151" fmla="*/ 193496 w 361638"/>
                    <a:gd name="connsiteY151" fmla="*/ 239045 h 567479"/>
                    <a:gd name="connsiteX152" fmla="*/ 199146 w 361638"/>
                    <a:gd name="connsiteY152" fmla="*/ 239045 h 567479"/>
                    <a:gd name="connsiteX153" fmla="*/ 201407 w 361638"/>
                    <a:gd name="connsiteY153" fmla="*/ 228912 h 567479"/>
                    <a:gd name="connsiteX154" fmla="*/ 217229 w 361638"/>
                    <a:gd name="connsiteY154" fmla="*/ 216752 h 567479"/>
                    <a:gd name="connsiteX155" fmla="*/ 217229 w 361638"/>
                    <a:gd name="connsiteY155" fmla="*/ 202565 h 567479"/>
                    <a:gd name="connsiteX156" fmla="*/ 225139 w 361638"/>
                    <a:gd name="connsiteY156" fmla="*/ 183311 h 567479"/>
                    <a:gd name="connsiteX157" fmla="*/ 213838 w 361638"/>
                    <a:gd name="connsiteY157" fmla="*/ 176217 h 567479"/>
                    <a:gd name="connsiteX158" fmla="*/ 194626 w 361638"/>
                    <a:gd name="connsiteY158" fmla="*/ 181284 h 567479"/>
                    <a:gd name="connsiteX159" fmla="*/ 178804 w 361638"/>
                    <a:gd name="connsiteY159" fmla="*/ 176217 h 567479"/>
                    <a:gd name="connsiteX160" fmla="*/ 176544 w 361638"/>
                    <a:gd name="connsiteY160" fmla="*/ 181284 h 567479"/>
                    <a:gd name="connsiteX161" fmla="*/ 157332 w 361638"/>
                    <a:gd name="connsiteY161" fmla="*/ 183311 h 567479"/>
                    <a:gd name="connsiteX162" fmla="*/ 151681 w 361638"/>
                    <a:gd name="connsiteY162" fmla="*/ 185337 h 567479"/>
                    <a:gd name="connsiteX163" fmla="*/ 139250 w 361638"/>
                    <a:gd name="connsiteY163" fmla="*/ 186351 h 567479"/>
                    <a:gd name="connsiteX164" fmla="*/ 228530 w 361638"/>
                    <a:gd name="connsiteY164" fmla="*/ 524812 h 567479"/>
                    <a:gd name="connsiteX165" fmla="*/ 234181 w 361638"/>
                    <a:gd name="connsiteY165" fmla="*/ 529879 h 567479"/>
                    <a:gd name="connsiteX166" fmla="*/ 228530 w 361638"/>
                    <a:gd name="connsiteY166" fmla="*/ 524812 h 567479"/>
                    <a:gd name="connsiteX167" fmla="*/ 87265 w 361638"/>
                    <a:gd name="connsiteY167" fmla="*/ 288700 h 567479"/>
                    <a:gd name="connsiteX168" fmla="*/ 85005 w 361638"/>
                    <a:gd name="connsiteY168" fmla="*/ 300860 h 567479"/>
                    <a:gd name="connsiteX169" fmla="*/ 90655 w 361638"/>
                    <a:gd name="connsiteY169" fmla="*/ 300860 h 567479"/>
                    <a:gd name="connsiteX170" fmla="*/ 87265 w 361638"/>
                    <a:gd name="connsiteY170" fmla="*/ 288700 h 567479"/>
                    <a:gd name="connsiteX171" fmla="*/ 65792 w 361638"/>
                    <a:gd name="connsiteY171" fmla="*/ 288700 h 567479"/>
                    <a:gd name="connsiteX172" fmla="*/ 68053 w 361638"/>
                    <a:gd name="connsiteY172" fmla="*/ 293767 h 567479"/>
                    <a:gd name="connsiteX173" fmla="*/ 65792 w 361638"/>
                    <a:gd name="connsiteY173" fmla="*/ 288700 h 567479"/>
                    <a:gd name="connsiteX174" fmla="*/ 77094 w 361638"/>
                    <a:gd name="connsiteY174" fmla="*/ 259313 h 567479"/>
                    <a:gd name="connsiteX175" fmla="*/ 74833 w 361638"/>
                    <a:gd name="connsiteY175" fmla="*/ 271473 h 567479"/>
                    <a:gd name="connsiteX176" fmla="*/ 77094 w 361638"/>
                    <a:gd name="connsiteY176" fmla="*/ 273500 h 567479"/>
                    <a:gd name="connsiteX177" fmla="*/ 77094 w 361638"/>
                    <a:gd name="connsiteY177" fmla="*/ 259313 h 567479"/>
                    <a:gd name="connsiteX178" fmla="*/ 54491 w 361638"/>
                    <a:gd name="connsiteY178" fmla="*/ 259313 h 567479"/>
                    <a:gd name="connsiteX179" fmla="*/ 56752 w 361638"/>
                    <a:gd name="connsiteY179" fmla="*/ 264379 h 567479"/>
                    <a:gd name="connsiteX180" fmla="*/ 54491 w 361638"/>
                    <a:gd name="connsiteY180" fmla="*/ 259313 h 567479"/>
                    <a:gd name="connsiteX181" fmla="*/ 60142 w 361638"/>
                    <a:gd name="connsiteY181" fmla="*/ 238032 h 567479"/>
                    <a:gd name="connsiteX182" fmla="*/ 60142 w 361638"/>
                    <a:gd name="connsiteY182" fmla="*/ 243099 h 567479"/>
                    <a:gd name="connsiteX183" fmla="*/ 62402 w 361638"/>
                    <a:gd name="connsiteY183" fmla="*/ 253232 h 567479"/>
                    <a:gd name="connsiteX184" fmla="*/ 70313 w 361638"/>
                    <a:gd name="connsiteY184" fmla="*/ 258299 h 567479"/>
                    <a:gd name="connsiteX185" fmla="*/ 70313 w 361638"/>
                    <a:gd name="connsiteY185" fmla="*/ 256272 h 567479"/>
                    <a:gd name="connsiteX186" fmla="*/ 75964 w 361638"/>
                    <a:gd name="connsiteY186" fmla="*/ 246139 h 567479"/>
                    <a:gd name="connsiteX187" fmla="*/ 68053 w 361638"/>
                    <a:gd name="connsiteY187" fmla="*/ 239045 h 567479"/>
                    <a:gd name="connsiteX188" fmla="*/ 60142 w 361638"/>
                    <a:gd name="connsiteY188" fmla="*/ 238032 h 567479"/>
                    <a:gd name="connsiteX189" fmla="*/ 17197 w 361638"/>
                    <a:gd name="connsiteY189" fmla="*/ 191418 h 567479"/>
                    <a:gd name="connsiteX190" fmla="*/ 19458 w 361638"/>
                    <a:gd name="connsiteY190" fmla="*/ 203578 h 567479"/>
                    <a:gd name="connsiteX191" fmla="*/ 17197 w 361638"/>
                    <a:gd name="connsiteY191" fmla="*/ 191418 h 567479"/>
                    <a:gd name="connsiteX192" fmla="*/ 63532 w 361638"/>
                    <a:gd name="connsiteY192" fmla="*/ 177231 h 567479"/>
                    <a:gd name="connsiteX193" fmla="*/ 63532 w 361638"/>
                    <a:gd name="connsiteY193" fmla="*/ 184324 h 567479"/>
                    <a:gd name="connsiteX194" fmla="*/ 52231 w 361638"/>
                    <a:gd name="connsiteY194" fmla="*/ 186351 h 567479"/>
                    <a:gd name="connsiteX195" fmla="*/ 63532 w 361638"/>
                    <a:gd name="connsiteY195" fmla="*/ 217765 h 567479"/>
                    <a:gd name="connsiteX196" fmla="*/ 69183 w 361638"/>
                    <a:gd name="connsiteY196" fmla="*/ 217765 h 567479"/>
                    <a:gd name="connsiteX197" fmla="*/ 69183 w 361638"/>
                    <a:gd name="connsiteY197" fmla="*/ 224858 h 567479"/>
                    <a:gd name="connsiteX198" fmla="*/ 74833 w 361638"/>
                    <a:gd name="connsiteY198" fmla="*/ 224858 h 567479"/>
                    <a:gd name="connsiteX199" fmla="*/ 74833 w 361638"/>
                    <a:gd name="connsiteY199" fmla="*/ 217765 h 567479"/>
                    <a:gd name="connsiteX200" fmla="*/ 77094 w 361638"/>
                    <a:gd name="connsiteY200" fmla="*/ 210671 h 567479"/>
                    <a:gd name="connsiteX201" fmla="*/ 65792 w 361638"/>
                    <a:gd name="connsiteY201" fmla="*/ 208645 h 567479"/>
                    <a:gd name="connsiteX202" fmla="*/ 65792 w 361638"/>
                    <a:gd name="connsiteY202" fmla="*/ 186351 h 567479"/>
                    <a:gd name="connsiteX203" fmla="*/ 63532 w 361638"/>
                    <a:gd name="connsiteY203" fmla="*/ 177231 h 567479"/>
                    <a:gd name="connsiteX204" fmla="*/ 19458 w 361638"/>
                    <a:gd name="connsiteY204" fmla="*/ 177231 h 567479"/>
                    <a:gd name="connsiteX205" fmla="*/ 21718 w 361638"/>
                    <a:gd name="connsiteY205" fmla="*/ 184324 h 567479"/>
                    <a:gd name="connsiteX206" fmla="*/ 19458 w 361638"/>
                    <a:gd name="connsiteY206" fmla="*/ 177231 h 567479"/>
                    <a:gd name="connsiteX207" fmla="*/ 65792 w 361638"/>
                    <a:gd name="connsiteY207" fmla="*/ 125549 h 567479"/>
                    <a:gd name="connsiteX208" fmla="*/ 49971 w 361638"/>
                    <a:gd name="connsiteY208" fmla="*/ 132643 h 567479"/>
                    <a:gd name="connsiteX209" fmla="*/ 47711 w 361638"/>
                    <a:gd name="connsiteY209" fmla="*/ 144803 h 567479"/>
                    <a:gd name="connsiteX210" fmla="*/ 42060 w 361638"/>
                    <a:gd name="connsiteY210" fmla="*/ 142777 h 567479"/>
                    <a:gd name="connsiteX211" fmla="*/ 47711 w 361638"/>
                    <a:gd name="connsiteY211" fmla="*/ 156964 h 567479"/>
                    <a:gd name="connsiteX212" fmla="*/ 39800 w 361638"/>
                    <a:gd name="connsiteY212" fmla="*/ 176217 h 567479"/>
                    <a:gd name="connsiteX213" fmla="*/ 51101 w 361638"/>
                    <a:gd name="connsiteY213" fmla="*/ 169124 h 567479"/>
                    <a:gd name="connsiteX214" fmla="*/ 51101 w 361638"/>
                    <a:gd name="connsiteY214" fmla="*/ 167097 h 567479"/>
                    <a:gd name="connsiteX215" fmla="*/ 62402 w 361638"/>
                    <a:gd name="connsiteY215" fmla="*/ 167097 h 567479"/>
                    <a:gd name="connsiteX216" fmla="*/ 64663 w 361638"/>
                    <a:gd name="connsiteY216" fmla="*/ 147843 h 567479"/>
                    <a:gd name="connsiteX217" fmla="*/ 65792 w 361638"/>
                    <a:gd name="connsiteY217" fmla="*/ 125549 h 567479"/>
                    <a:gd name="connsiteX218" fmla="*/ 247741 w 361638"/>
                    <a:gd name="connsiteY218" fmla="*/ 26240 h 567479"/>
                    <a:gd name="connsiteX219" fmla="*/ 242091 w 361638"/>
                    <a:gd name="connsiteY219" fmla="*/ 40428 h 567479"/>
                    <a:gd name="connsiteX220" fmla="*/ 234181 w 361638"/>
                    <a:gd name="connsiteY220" fmla="*/ 42454 h 567479"/>
                    <a:gd name="connsiteX221" fmla="*/ 239831 w 361638"/>
                    <a:gd name="connsiteY221" fmla="*/ 49548 h 567479"/>
                    <a:gd name="connsiteX222" fmla="*/ 245482 w 361638"/>
                    <a:gd name="connsiteY222" fmla="*/ 47521 h 567479"/>
                    <a:gd name="connsiteX223" fmla="*/ 247741 w 361638"/>
                    <a:gd name="connsiteY223" fmla="*/ 57655 h 567479"/>
                    <a:gd name="connsiteX224" fmla="*/ 253392 w 361638"/>
                    <a:gd name="connsiteY224" fmla="*/ 52588 h 567479"/>
                    <a:gd name="connsiteX225" fmla="*/ 253392 w 361638"/>
                    <a:gd name="connsiteY225" fmla="*/ 30294 h 567479"/>
                    <a:gd name="connsiteX226" fmla="*/ 253392 w 361638"/>
                    <a:gd name="connsiteY226" fmla="*/ 25227 h 567479"/>
                    <a:gd name="connsiteX227" fmla="*/ 247741 w 361638"/>
                    <a:gd name="connsiteY227" fmla="*/ 25227 h 567479"/>
                    <a:gd name="connsiteX228" fmla="*/ 269214 w 361638"/>
                    <a:gd name="connsiteY228" fmla="*/ 9013 h 567479"/>
                    <a:gd name="connsiteX229" fmla="*/ 271474 w 361638"/>
                    <a:gd name="connsiteY229" fmla="*/ 14080 h 567479"/>
                    <a:gd name="connsiteX230" fmla="*/ 269214 w 361638"/>
                    <a:gd name="connsiteY230" fmla="*/ 9013 h 56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361638" h="567479">
                      <a:moveTo>
                        <a:pt x="44320" y="315047"/>
                      </a:moveTo>
                      <a:cubicBezTo>
                        <a:pt x="44320" y="315047"/>
                        <a:pt x="21718" y="320114"/>
                        <a:pt x="25108" y="332274"/>
                      </a:cubicBezTo>
                      <a:cubicBezTo>
                        <a:pt x="28499" y="344435"/>
                        <a:pt x="7026" y="337341"/>
                        <a:pt x="10416" y="345448"/>
                      </a:cubicBezTo>
                      <a:cubicBezTo>
                        <a:pt x="14937" y="353555"/>
                        <a:pt x="4766" y="354568"/>
                        <a:pt x="17197" y="354568"/>
                      </a:cubicBezTo>
                      <a:cubicBezTo>
                        <a:pt x="29629" y="354568"/>
                        <a:pt x="20588" y="373822"/>
                        <a:pt x="29629" y="365715"/>
                      </a:cubicBezTo>
                      <a:cubicBezTo>
                        <a:pt x="38669" y="357608"/>
                        <a:pt x="39800" y="360648"/>
                        <a:pt x="39800" y="360648"/>
                      </a:cubicBezTo>
                      <a:lnTo>
                        <a:pt x="46580" y="368755"/>
                      </a:lnTo>
                      <a:lnTo>
                        <a:pt x="61272" y="365715"/>
                      </a:lnTo>
                      <a:cubicBezTo>
                        <a:pt x="61272" y="364702"/>
                        <a:pt x="59012" y="363688"/>
                        <a:pt x="60142" y="362675"/>
                      </a:cubicBezTo>
                      <a:cubicBezTo>
                        <a:pt x="66922" y="358622"/>
                        <a:pt x="80484" y="359635"/>
                        <a:pt x="89525" y="357608"/>
                      </a:cubicBezTo>
                      <a:cubicBezTo>
                        <a:pt x="82744" y="344435"/>
                        <a:pt x="85005" y="352541"/>
                        <a:pt x="81614" y="333288"/>
                      </a:cubicBezTo>
                      <a:cubicBezTo>
                        <a:pt x="79354" y="333288"/>
                        <a:pt x="72573" y="334301"/>
                        <a:pt x="70313" y="333288"/>
                      </a:cubicBezTo>
                      <a:cubicBezTo>
                        <a:pt x="73703" y="328221"/>
                        <a:pt x="74833" y="324167"/>
                        <a:pt x="78224" y="319101"/>
                      </a:cubicBezTo>
                      <a:cubicBezTo>
                        <a:pt x="56752" y="308967"/>
                        <a:pt x="60142" y="317074"/>
                        <a:pt x="39800" y="324167"/>
                      </a:cubicBezTo>
                      <a:cubicBezTo>
                        <a:pt x="31889" y="327207"/>
                        <a:pt x="34149" y="322141"/>
                        <a:pt x="42060" y="319101"/>
                      </a:cubicBezTo>
                      <a:lnTo>
                        <a:pt x="44320" y="315047"/>
                      </a:lnTo>
                      <a:close/>
                      <a:moveTo>
                        <a:pt x="139250" y="186351"/>
                      </a:moveTo>
                      <a:cubicBezTo>
                        <a:pt x="141511" y="185337"/>
                        <a:pt x="134729" y="175204"/>
                        <a:pt x="139250" y="167097"/>
                      </a:cubicBezTo>
                      <a:cubicBezTo>
                        <a:pt x="140380" y="165070"/>
                        <a:pt x="148291" y="162030"/>
                        <a:pt x="150551" y="160004"/>
                      </a:cubicBezTo>
                      <a:lnTo>
                        <a:pt x="156202" y="160004"/>
                      </a:lnTo>
                      <a:cubicBezTo>
                        <a:pt x="158462" y="156964"/>
                        <a:pt x="158462" y="150883"/>
                        <a:pt x="161853" y="147843"/>
                      </a:cubicBezTo>
                      <a:cubicBezTo>
                        <a:pt x="162982" y="145817"/>
                        <a:pt x="172024" y="144803"/>
                        <a:pt x="173154" y="142777"/>
                      </a:cubicBezTo>
                      <a:cubicBezTo>
                        <a:pt x="182195" y="124536"/>
                        <a:pt x="164113" y="114402"/>
                        <a:pt x="148291" y="118456"/>
                      </a:cubicBezTo>
                      <a:lnTo>
                        <a:pt x="134729" y="128590"/>
                      </a:lnTo>
                      <a:lnTo>
                        <a:pt x="134729" y="126563"/>
                      </a:lnTo>
                      <a:lnTo>
                        <a:pt x="132470" y="126563"/>
                      </a:lnTo>
                      <a:cubicBezTo>
                        <a:pt x="132470" y="126563"/>
                        <a:pt x="132470" y="133656"/>
                        <a:pt x="132470" y="133656"/>
                      </a:cubicBezTo>
                      <a:cubicBezTo>
                        <a:pt x="117778" y="137710"/>
                        <a:pt x="135860" y="126563"/>
                        <a:pt x="126819" y="123523"/>
                      </a:cubicBezTo>
                      <a:cubicBezTo>
                        <a:pt x="123428" y="122509"/>
                        <a:pt x="118908" y="124536"/>
                        <a:pt x="115518" y="123523"/>
                      </a:cubicBezTo>
                      <a:cubicBezTo>
                        <a:pt x="114387" y="129603"/>
                        <a:pt x="116648" y="134670"/>
                        <a:pt x="115518" y="140750"/>
                      </a:cubicBezTo>
                      <a:cubicBezTo>
                        <a:pt x="114387" y="145817"/>
                        <a:pt x="103086" y="150883"/>
                        <a:pt x="101956" y="154937"/>
                      </a:cubicBezTo>
                      <a:cubicBezTo>
                        <a:pt x="101956" y="155950"/>
                        <a:pt x="103086" y="166084"/>
                        <a:pt x="104217" y="162030"/>
                      </a:cubicBezTo>
                      <a:cubicBezTo>
                        <a:pt x="108737" y="164057"/>
                        <a:pt x="99696" y="167097"/>
                        <a:pt x="106477" y="164057"/>
                      </a:cubicBezTo>
                      <a:cubicBezTo>
                        <a:pt x="105347" y="166084"/>
                        <a:pt x="103086" y="170137"/>
                        <a:pt x="104217" y="171151"/>
                      </a:cubicBezTo>
                      <a:cubicBezTo>
                        <a:pt x="97436" y="170137"/>
                        <a:pt x="92916" y="168110"/>
                        <a:pt x="88395" y="169124"/>
                      </a:cubicBezTo>
                      <a:cubicBezTo>
                        <a:pt x="89525" y="174191"/>
                        <a:pt x="87265" y="173177"/>
                        <a:pt x="86134" y="176217"/>
                      </a:cubicBezTo>
                      <a:cubicBezTo>
                        <a:pt x="90655" y="174191"/>
                        <a:pt x="90655" y="181284"/>
                        <a:pt x="91785" y="183311"/>
                      </a:cubicBezTo>
                      <a:cubicBezTo>
                        <a:pt x="87265" y="184324"/>
                        <a:pt x="85005" y="183311"/>
                        <a:pt x="80484" y="185337"/>
                      </a:cubicBezTo>
                      <a:cubicBezTo>
                        <a:pt x="85005" y="191418"/>
                        <a:pt x="98566" y="203578"/>
                        <a:pt x="82744" y="207631"/>
                      </a:cubicBezTo>
                      <a:cubicBezTo>
                        <a:pt x="78224" y="208645"/>
                        <a:pt x="94045" y="220805"/>
                        <a:pt x="90655" y="219792"/>
                      </a:cubicBezTo>
                      <a:cubicBezTo>
                        <a:pt x="85005" y="218778"/>
                        <a:pt x="82744" y="237019"/>
                        <a:pt x="82744" y="239045"/>
                      </a:cubicBezTo>
                      <a:lnTo>
                        <a:pt x="82744" y="244112"/>
                      </a:lnTo>
                      <a:cubicBezTo>
                        <a:pt x="88395" y="243099"/>
                        <a:pt x="108737" y="240059"/>
                        <a:pt x="101956" y="242085"/>
                      </a:cubicBezTo>
                      <a:cubicBezTo>
                        <a:pt x="106477" y="239045"/>
                        <a:pt x="104217" y="248166"/>
                        <a:pt x="104217" y="249179"/>
                      </a:cubicBezTo>
                      <a:cubicBezTo>
                        <a:pt x="104217" y="249179"/>
                        <a:pt x="94045" y="251206"/>
                        <a:pt x="92916" y="251206"/>
                      </a:cubicBezTo>
                      <a:cubicBezTo>
                        <a:pt x="92916" y="251206"/>
                        <a:pt x="83874" y="259313"/>
                        <a:pt x="90655" y="256272"/>
                      </a:cubicBezTo>
                      <a:cubicBezTo>
                        <a:pt x="90655" y="256272"/>
                        <a:pt x="90655" y="263366"/>
                        <a:pt x="90655" y="263366"/>
                      </a:cubicBezTo>
                      <a:cubicBezTo>
                        <a:pt x="86134" y="260326"/>
                        <a:pt x="88395" y="275526"/>
                        <a:pt x="88395" y="277553"/>
                      </a:cubicBezTo>
                      <a:cubicBezTo>
                        <a:pt x="90655" y="274513"/>
                        <a:pt x="91785" y="272486"/>
                        <a:pt x="94045" y="267419"/>
                      </a:cubicBezTo>
                      <a:cubicBezTo>
                        <a:pt x="96306" y="267419"/>
                        <a:pt x="100826" y="263366"/>
                        <a:pt x="101956" y="262353"/>
                      </a:cubicBezTo>
                      <a:cubicBezTo>
                        <a:pt x="105347" y="263366"/>
                        <a:pt x="98566" y="269446"/>
                        <a:pt x="107607" y="267419"/>
                      </a:cubicBezTo>
                      <a:cubicBezTo>
                        <a:pt x="108737" y="267419"/>
                        <a:pt x="106477" y="263366"/>
                        <a:pt x="113258" y="262353"/>
                      </a:cubicBezTo>
                      <a:cubicBezTo>
                        <a:pt x="113258" y="262353"/>
                        <a:pt x="118908" y="278566"/>
                        <a:pt x="110997" y="274513"/>
                      </a:cubicBezTo>
                      <a:cubicBezTo>
                        <a:pt x="117778" y="296807"/>
                        <a:pt x="113258" y="301873"/>
                        <a:pt x="103086" y="323154"/>
                      </a:cubicBezTo>
                      <a:cubicBezTo>
                        <a:pt x="108737" y="324167"/>
                        <a:pt x="107607" y="321127"/>
                        <a:pt x="114387" y="323154"/>
                      </a:cubicBezTo>
                      <a:cubicBezTo>
                        <a:pt x="115518" y="323154"/>
                        <a:pt x="118908" y="330248"/>
                        <a:pt x="120038" y="330248"/>
                      </a:cubicBezTo>
                      <a:cubicBezTo>
                        <a:pt x="120038" y="329234"/>
                        <a:pt x="124559" y="332274"/>
                        <a:pt x="125689" y="332274"/>
                      </a:cubicBezTo>
                      <a:cubicBezTo>
                        <a:pt x="129079" y="329234"/>
                        <a:pt x="126819" y="326194"/>
                        <a:pt x="127949" y="320114"/>
                      </a:cubicBezTo>
                      <a:cubicBezTo>
                        <a:pt x="142640" y="334301"/>
                        <a:pt x="169764" y="314034"/>
                        <a:pt x="179934" y="322141"/>
                      </a:cubicBezTo>
                      <a:cubicBezTo>
                        <a:pt x="150551" y="342408"/>
                        <a:pt x="161853" y="348488"/>
                        <a:pt x="191235" y="346461"/>
                      </a:cubicBezTo>
                      <a:cubicBezTo>
                        <a:pt x="190106" y="356595"/>
                        <a:pt x="192366" y="361662"/>
                        <a:pt x="191235" y="368755"/>
                      </a:cubicBezTo>
                      <a:cubicBezTo>
                        <a:pt x="191235" y="369769"/>
                        <a:pt x="183325" y="376862"/>
                        <a:pt x="183325" y="378889"/>
                      </a:cubicBezTo>
                      <a:cubicBezTo>
                        <a:pt x="182195" y="384969"/>
                        <a:pt x="186715" y="388009"/>
                        <a:pt x="185585" y="391049"/>
                      </a:cubicBezTo>
                      <a:cubicBezTo>
                        <a:pt x="183325" y="392062"/>
                        <a:pt x="179934" y="391049"/>
                        <a:pt x="177675" y="391049"/>
                      </a:cubicBezTo>
                      <a:lnTo>
                        <a:pt x="177675" y="396116"/>
                      </a:lnTo>
                      <a:lnTo>
                        <a:pt x="150551" y="396116"/>
                      </a:lnTo>
                      <a:cubicBezTo>
                        <a:pt x="149422" y="396116"/>
                        <a:pt x="148291" y="391049"/>
                        <a:pt x="144901" y="391049"/>
                      </a:cubicBezTo>
                      <a:cubicBezTo>
                        <a:pt x="144901" y="390036"/>
                        <a:pt x="144901" y="383955"/>
                        <a:pt x="144901" y="383955"/>
                      </a:cubicBezTo>
                      <a:cubicBezTo>
                        <a:pt x="140380" y="380915"/>
                        <a:pt x="135860" y="383955"/>
                        <a:pt x="131339" y="381929"/>
                      </a:cubicBezTo>
                      <a:cubicBezTo>
                        <a:pt x="130209" y="384969"/>
                        <a:pt x="129079" y="388009"/>
                        <a:pt x="125689" y="389022"/>
                      </a:cubicBezTo>
                      <a:cubicBezTo>
                        <a:pt x="126819" y="389022"/>
                        <a:pt x="130209" y="397129"/>
                        <a:pt x="131339" y="399156"/>
                      </a:cubicBezTo>
                      <a:cubicBezTo>
                        <a:pt x="133600" y="399156"/>
                        <a:pt x="140380" y="398142"/>
                        <a:pt x="142640" y="399156"/>
                      </a:cubicBezTo>
                      <a:cubicBezTo>
                        <a:pt x="138120" y="404223"/>
                        <a:pt x="122298" y="421450"/>
                        <a:pt x="115518" y="423476"/>
                      </a:cubicBezTo>
                      <a:cubicBezTo>
                        <a:pt x="106477" y="425503"/>
                        <a:pt x="133600" y="422463"/>
                        <a:pt x="140380" y="421450"/>
                      </a:cubicBezTo>
                      <a:cubicBezTo>
                        <a:pt x="139250" y="445770"/>
                        <a:pt x="142640" y="437663"/>
                        <a:pt x="126819" y="447797"/>
                      </a:cubicBezTo>
                      <a:cubicBezTo>
                        <a:pt x="125689" y="448810"/>
                        <a:pt x="125689" y="453877"/>
                        <a:pt x="124559" y="454890"/>
                      </a:cubicBezTo>
                      <a:cubicBezTo>
                        <a:pt x="117778" y="458944"/>
                        <a:pt x="109867" y="458944"/>
                        <a:pt x="103086" y="461984"/>
                      </a:cubicBezTo>
                      <a:cubicBezTo>
                        <a:pt x="104217" y="467051"/>
                        <a:pt x="104217" y="466037"/>
                        <a:pt x="105347" y="472117"/>
                      </a:cubicBezTo>
                      <a:cubicBezTo>
                        <a:pt x="100826" y="471104"/>
                        <a:pt x="103086" y="475158"/>
                        <a:pt x="103086" y="477184"/>
                      </a:cubicBezTo>
                      <a:cubicBezTo>
                        <a:pt x="105347" y="477184"/>
                        <a:pt x="112127" y="476171"/>
                        <a:pt x="114387" y="477184"/>
                      </a:cubicBezTo>
                      <a:cubicBezTo>
                        <a:pt x="114387" y="477184"/>
                        <a:pt x="101956" y="487318"/>
                        <a:pt x="116648" y="484278"/>
                      </a:cubicBezTo>
                      <a:cubicBezTo>
                        <a:pt x="122298" y="483264"/>
                        <a:pt x="116648" y="483264"/>
                        <a:pt x="122298" y="482251"/>
                      </a:cubicBezTo>
                      <a:lnTo>
                        <a:pt x="122298" y="480224"/>
                      </a:lnTo>
                      <a:cubicBezTo>
                        <a:pt x="126819" y="478198"/>
                        <a:pt x="123428" y="480224"/>
                        <a:pt x="124559" y="475158"/>
                      </a:cubicBezTo>
                      <a:cubicBezTo>
                        <a:pt x="126819" y="475158"/>
                        <a:pt x="133600" y="476171"/>
                        <a:pt x="135860" y="475158"/>
                      </a:cubicBezTo>
                      <a:cubicBezTo>
                        <a:pt x="135860" y="475158"/>
                        <a:pt x="135860" y="482251"/>
                        <a:pt x="135860" y="482251"/>
                      </a:cubicBezTo>
                      <a:cubicBezTo>
                        <a:pt x="126819" y="480224"/>
                        <a:pt x="134729" y="489345"/>
                        <a:pt x="147161" y="487318"/>
                      </a:cubicBezTo>
                      <a:cubicBezTo>
                        <a:pt x="149422" y="487318"/>
                        <a:pt x="158462" y="479211"/>
                        <a:pt x="160723" y="477184"/>
                      </a:cubicBezTo>
                      <a:cubicBezTo>
                        <a:pt x="153942" y="474144"/>
                        <a:pt x="170893" y="476171"/>
                        <a:pt x="162982" y="479211"/>
                      </a:cubicBezTo>
                      <a:cubicBezTo>
                        <a:pt x="166373" y="481238"/>
                        <a:pt x="173154" y="483264"/>
                        <a:pt x="176544" y="486305"/>
                      </a:cubicBezTo>
                      <a:cubicBezTo>
                        <a:pt x="179934" y="483264"/>
                        <a:pt x="177675" y="479211"/>
                        <a:pt x="178804" y="474144"/>
                      </a:cubicBezTo>
                      <a:cubicBezTo>
                        <a:pt x="207057" y="473131"/>
                        <a:pt x="196886" y="473131"/>
                        <a:pt x="190106" y="496438"/>
                      </a:cubicBezTo>
                      <a:cubicBezTo>
                        <a:pt x="174284" y="496438"/>
                        <a:pt x="140380" y="491371"/>
                        <a:pt x="133600" y="494411"/>
                      </a:cubicBezTo>
                      <a:lnTo>
                        <a:pt x="133600" y="496438"/>
                      </a:lnTo>
                      <a:cubicBezTo>
                        <a:pt x="122298" y="501505"/>
                        <a:pt x="123428" y="511638"/>
                        <a:pt x="117778" y="520759"/>
                      </a:cubicBezTo>
                      <a:cubicBezTo>
                        <a:pt x="115518" y="524812"/>
                        <a:pt x="106477" y="526839"/>
                        <a:pt x="104217" y="530892"/>
                      </a:cubicBezTo>
                      <a:cubicBezTo>
                        <a:pt x="100826" y="535959"/>
                        <a:pt x="104217" y="540012"/>
                        <a:pt x="98566" y="543052"/>
                      </a:cubicBezTo>
                      <a:cubicBezTo>
                        <a:pt x="94045" y="546093"/>
                        <a:pt x="85005" y="546093"/>
                        <a:pt x="79354" y="548119"/>
                      </a:cubicBezTo>
                      <a:cubicBezTo>
                        <a:pt x="79354" y="549133"/>
                        <a:pt x="79354" y="555213"/>
                        <a:pt x="79354" y="555213"/>
                      </a:cubicBezTo>
                      <a:cubicBezTo>
                        <a:pt x="94045" y="559266"/>
                        <a:pt x="91785" y="557240"/>
                        <a:pt x="104217" y="562306"/>
                      </a:cubicBezTo>
                      <a:cubicBezTo>
                        <a:pt x="106477" y="557240"/>
                        <a:pt x="113258" y="548119"/>
                        <a:pt x="115518" y="543052"/>
                      </a:cubicBezTo>
                      <a:cubicBezTo>
                        <a:pt x="116648" y="544066"/>
                        <a:pt x="118908" y="546093"/>
                        <a:pt x="121169" y="545079"/>
                      </a:cubicBezTo>
                      <a:cubicBezTo>
                        <a:pt x="124559" y="543052"/>
                        <a:pt x="122298" y="541026"/>
                        <a:pt x="123428" y="537986"/>
                      </a:cubicBezTo>
                      <a:cubicBezTo>
                        <a:pt x="133600" y="536972"/>
                        <a:pt x="141511" y="536972"/>
                        <a:pt x="152812" y="535959"/>
                      </a:cubicBezTo>
                      <a:cubicBezTo>
                        <a:pt x="155072" y="538999"/>
                        <a:pt x="153942" y="542039"/>
                        <a:pt x="158462" y="543052"/>
                      </a:cubicBezTo>
                      <a:cubicBezTo>
                        <a:pt x="166373" y="536972"/>
                        <a:pt x="174284" y="524812"/>
                        <a:pt x="185585" y="523799"/>
                      </a:cubicBezTo>
                      <a:cubicBezTo>
                        <a:pt x="199146" y="522785"/>
                        <a:pt x="207057" y="533932"/>
                        <a:pt x="218359" y="530892"/>
                      </a:cubicBezTo>
                      <a:cubicBezTo>
                        <a:pt x="218359" y="530892"/>
                        <a:pt x="218359" y="523799"/>
                        <a:pt x="218359" y="523799"/>
                      </a:cubicBezTo>
                      <a:cubicBezTo>
                        <a:pt x="224009" y="521772"/>
                        <a:pt x="227399" y="522785"/>
                        <a:pt x="231920" y="521772"/>
                      </a:cubicBezTo>
                      <a:lnTo>
                        <a:pt x="231920" y="516705"/>
                      </a:lnTo>
                      <a:cubicBezTo>
                        <a:pt x="245482" y="513665"/>
                        <a:pt x="244351" y="521772"/>
                        <a:pt x="256783" y="521772"/>
                      </a:cubicBezTo>
                      <a:cubicBezTo>
                        <a:pt x="262434" y="521772"/>
                        <a:pt x="277125" y="512652"/>
                        <a:pt x="289556" y="514678"/>
                      </a:cubicBezTo>
                      <a:cubicBezTo>
                        <a:pt x="295207" y="515692"/>
                        <a:pt x="300857" y="524812"/>
                        <a:pt x="305378" y="524812"/>
                      </a:cubicBezTo>
                      <a:lnTo>
                        <a:pt x="307638" y="517719"/>
                      </a:lnTo>
                      <a:cubicBezTo>
                        <a:pt x="311029" y="516705"/>
                        <a:pt x="315549" y="518732"/>
                        <a:pt x="318940" y="517719"/>
                      </a:cubicBezTo>
                      <a:cubicBezTo>
                        <a:pt x="320069" y="516705"/>
                        <a:pt x="322330" y="511638"/>
                        <a:pt x="324590" y="510625"/>
                      </a:cubicBezTo>
                      <a:cubicBezTo>
                        <a:pt x="327980" y="508598"/>
                        <a:pt x="331371" y="509612"/>
                        <a:pt x="335891" y="508598"/>
                      </a:cubicBezTo>
                      <a:cubicBezTo>
                        <a:pt x="335891" y="508598"/>
                        <a:pt x="335891" y="501505"/>
                        <a:pt x="335891" y="501505"/>
                      </a:cubicBezTo>
                      <a:cubicBezTo>
                        <a:pt x="350583" y="497451"/>
                        <a:pt x="315549" y="498465"/>
                        <a:pt x="311029" y="499478"/>
                      </a:cubicBezTo>
                      <a:cubicBezTo>
                        <a:pt x="311029" y="497451"/>
                        <a:pt x="308768" y="492385"/>
                        <a:pt x="313289" y="494411"/>
                      </a:cubicBezTo>
                      <a:cubicBezTo>
                        <a:pt x="313289" y="494411"/>
                        <a:pt x="309898" y="487318"/>
                        <a:pt x="307638" y="484278"/>
                      </a:cubicBezTo>
                      <a:cubicBezTo>
                        <a:pt x="309898" y="483264"/>
                        <a:pt x="315549" y="485291"/>
                        <a:pt x="318940" y="484278"/>
                      </a:cubicBezTo>
                      <a:lnTo>
                        <a:pt x="321199" y="477184"/>
                      </a:lnTo>
                      <a:cubicBezTo>
                        <a:pt x="325720" y="477184"/>
                        <a:pt x="334761" y="477184"/>
                        <a:pt x="340411" y="477184"/>
                      </a:cubicBezTo>
                      <a:cubicBezTo>
                        <a:pt x="340411" y="477184"/>
                        <a:pt x="340411" y="470091"/>
                        <a:pt x="340411" y="470091"/>
                      </a:cubicBezTo>
                      <a:lnTo>
                        <a:pt x="342672" y="470091"/>
                      </a:lnTo>
                      <a:cubicBezTo>
                        <a:pt x="352843" y="461984"/>
                        <a:pt x="364144" y="433610"/>
                        <a:pt x="348322" y="423476"/>
                      </a:cubicBezTo>
                      <a:cubicBezTo>
                        <a:pt x="341542" y="419423"/>
                        <a:pt x="326850" y="420436"/>
                        <a:pt x="318940" y="418410"/>
                      </a:cubicBezTo>
                      <a:cubicBezTo>
                        <a:pt x="318940" y="418410"/>
                        <a:pt x="314419" y="428543"/>
                        <a:pt x="316679" y="425503"/>
                      </a:cubicBezTo>
                      <a:cubicBezTo>
                        <a:pt x="322330" y="425503"/>
                        <a:pt x="308768" y="432597"/>
                        <a:pt x="308768" y="432597"/>
                      </a:cubicBezTo>
                      <a:cubicBezTo>
                        <a:pt x="308768" y="432597"/>
                        <a:pt x="305378" y="426516"/>
                        <a:pt x="306508" y="420436"/>
                      </a:cubicBezTo>
                      <a:cubicBezTo>
                        <a:pt x="307638" y="418410"/>
                        <a:pt x="304247" y="414356"/>
                        <a:pt x="308768" y="415370"/>
                      </a:cubicBezTo>
                      <a:cubicBezTo>
                        <a:pt x="308768" y="411316"/>
                        <a:pt x="306508" y="400169"/>
                        <a:pt x="306508" y="401182"/>
                      </a:cubicBezTo>
                      <a:cubicBezTo>
                        <a:pt x="297467" y="394089"/>
                        <a:pt x="291816" y="385982"/>
                        <a:pt x="285036" y="376862"/>
                      </a:cubicBezTo>
                      <a:lnTo>
                        <a:pt x="298597" y="386996"/>
                      </a:lnTo>
                      <a:cubicBezTo>
                        <a:pt x="301988" y="388009"/>
                        <a:pt x="304247" y="384969"/>
                        <a:pt x="306508" y="386996"/>
                      </a:cubicBezTo>
                      <a:cubicBezTo>
                        <a:pt x="304247" y="384969"/>
                        <a:pt x="307638" y="381929"/>
                        <a:pt x="306508" y="379902"/>
                      </a:cubicBezTo>
                      <a:lnTo>
                        <a:pt x="304247" y="379902"/>
                      </a:lnTo>
                      <a:cubicBezTo>
                        <a:pt x="298597" y="376862"/>
                        <a:pt x="295207" y="365715"/>
                        <a:pt x="290687" y="362675"/>
                      </a:cubicBezTo>
                      <a:cubicBezTo>
                        <a:pt x="286166" y="359635"/>
                        <a:pt x="280515" y="363688"/>
                        <a:pt x="277125" y="360648"/>
                      </a:cubicBezTo>
                      <a:cubicBezTo>
                        <a:pt x="270344" y="354568"/>
                        <a:pt x="270344" y="344435"/>
                        <a:pt x="263563" y="338354"/>
                      </a:cubicBezTo>
                      <a:cubicBezTo>
                        <a:pt x="262434" y="337341"/>
                        <a:pt x="257913" y="339368"/>
                        <a:pt x="255652" y="338354"/>
                      </a:cubicBezTo>
                      <a:cubicBezTo>
                        <a:pt x="253392" y="337341"/>
                        <a:pt x="242091" y="325181"/>
                        <a:pt x="242091" y="324167"/>
                      </a:cubicBezTo>
                      <a:cubicBezTo>
                        <a:pt x="238701" y="317074"/>
                        <a:pt x="242091" y="309980"/>
                        <a:pt x="239831" y="304914"/>
                      </a:cubicBezTo>
                      <a:cubicBezTo>
                        <a:pt x="238701" y="303900"/>
                        <a:pt x="233050" y="303900"/>
                        <a:pt x="231920" y="302887"/>
                      </a:cubicBezTo>
                      <a:cubicBezTo>
                        <a:pt x="229660" y="299847"/>
                        <a:pt x="233050" y="297820"/>
                        <a:pt x="231920" y="295793"/>
                      </a:cubicBezTo>
                      <a:cubicBezTo>
                        <a:pt x="229660" y="290727"/>
                        <a:pt x="214968" y="285660"/>
                        <a:pt x="212708" y="283633"/>
                      </a:cubicBezTo>
                      <a:cubicBezTo>
                        <a:pt x="210448" y="280593"/>
                        <a:pt x="211578" y="273500"/>
                        <a:pt x="210448" y="271473"/>
                      </a:cubicBezTo>
                      <a:cubicBezTo>
                        <a:pt x="202537" y="271473"/>
                        <a:pt x="194626" y="271473"/>
                        <a:pt x="188976" y="271473"/>
                      </a:cubicBezTo>
                      <a:cubicBezTo>
                        <a:pt x="191235" y="270460"/>
                        <a:pt x="194626" y="262353"/>
                        <a:pt x="196886" y="261339"/>
                      </a:cubicBezTo>
                      <a:cubicBezTo>
                        <a:pt x="200277" y="260326"/>
                        <a:pt x="202537" y="262353"/>
                        <a:pt x="204797" y="261339"/>
                      </a:cubicBezTo>
                      <a:cubicBezTo>
                        <a:pt x="200277" y="250192"/>
                        <a:pt x="199146" y="247152"/>
                        <a:pt x="193496" y="239045"/>
                      </a:cubicBezTo>
                      <a:lnTo>
                        <a:pt x="199146" y="239045"/>
                      </a:lnTo>
                      <a:cubicBezTo>
                        <a:pt x="200277" y="237019"/>
                        <a:pt x="200277" y="231952"/>
                        <a:pt x="201407" y="228912"/>
                      </a:cubicBezTo>
                      <a:cubicBezTo>
                        <a:pt x="203667" y="224858"/>
                        <a:pt x="214968" y="220805"/>
                        <a:pt x="217229" y="216752"/>
                      </a:cubicBezTo>
                      <a:cubicBezTo>
                        <a:pt x="219488" y="212698"/>
                        <a:pt x="216098" y="206618"/>
                        <a:pt x="217229" y="202565"/>
                      </a:cubicBezTo>
                      <a:cubicBezTo>
                        <a:pt x="218359" y="197498"/>
                        <a:pt x="224009" y="187364"/>
                        <a:pt x="225139" y="183311"/>
                      </a:cubicBezTo>
                      <a:cubicBezTo>
                        <a:pt x="221749" y="182298"/>
                        <a:pt x="216098" y="176217"/>
                        <a:pt x="213838" y="176217"/>
                      </a:cubicBezTo>
                      <a:cubicBezTo>
                        <a:pt x="205928" y="174191"/>
                        <a:pt x="199146" y="181284"/>
                        <a:pt x="194626" y="181284"/>
                      </a:cubicBezTo>
                      <a:cubicBezTo>
                        <a:pt x="193496" y="181284"/>
                        <a:pt x="183325" y="177231"/>
                        <a:pt x="178804" y="176217"/>
                      </a:cubicBezTo>
                      <a:cubicBezTo>
                        <a:pt x="178804" y="177231"/>
                        <a:pt x="176544" y="181284"/>
                        <a:pt x="176544" y="181284"/>
                      </a:cubicBezTo>
                      <a:cubicBezTo>
                        <a:pt x="168633" y="183311"/>
                        <a:pt x="165243" y="182298"/>
                        <a:pt x="157332" y="183311"/>
                      </a:cubicBezTo>
                      <a:cubicBezTo>
                        <a:pt x="161853" y="184324"/>
                        <a:pt x="151681" y="185337"/>
                        <a:pt x="151681" y="185337"/>
                      </a:cubicBezTo>
                      <a:cubicBezTo>
                        <a:pt x="146031" y="188378"/>
                        <a:pt x="141511" y="186351"/>
                        <a:pt x="139250" y="186351"/>
                      </a:cubicBezTo>
                      <a:close/>
                      <a:moveTo>
                        <a:pt x="228530" y="524812"/>
                      </a:moveTo>
                      <a:cubicBezTo>
                        <a:pt x="221749" y="525825"/>
                        <a:pt x="234181" y="529879"/>
                        <a:pt x="234181" y="529879"/>
                      </a:cubicBezTo>
                      <a:cubicBezTo>
                        <a:pt x="234181" y="529879"/>
                        <a:pt x="238701" y="522785"/>
                        <a:pt x="228530" y="524812"/>
                      </a:cubicBezTo>
                      <a:close/>
                      <a:moveTo>
                        <a:pt x="87265" y="288700"/>
                      </a:moveTo>
                      <a:cubicBezTo>
                        <a:pt x="87265" y="288700"/>
                        <a:pt x="85005" y="297820"/>
                        <a:pt x="85005" y="300860"/>
                      </a:cubicBezTo>
                      <a:lnTo>
                        <a:pt x="90655" y="300860"/>
                      </a:lnTo>
                      <a:cubicBezTo>
                        <a:pt x="89525" y="298834"/>
                        <a:pt x="91785" y="285660"/>
                        <a:pt x="87265" y="288700"/>
                      </a:cubicBezTo>
                      <a:close/>
                      <a:moveTo>
                        <a:pt x="65792" y="288700"/>
                      </a:moveTo>
                      <a:lnTo>
                        <a:pt x="68053" y="293767"/>
                      </a:lnTo>
                      <a:cubicBezTo>
                        <a:pt x="68053" y="289713"/>
                        <a:pt x="71443" y="288700"/>
                        <a:pt x="65792" y="288700"/>
                      </a:cubicBezTo>
                      <a:close/>
                      <a:moveTo>
                        <a:pt x="77094" y="259313"/>
                      </a:moveTo>
                      <a:cubicBezTo>
                        <a:pt x="74833" y="260326"/>
                        <a:pt x="73703" y="274513"/>
                        <a:pt x="74833" y="271473"/>
                      </a:cubicBezTo>
                      <a:cubicBezTo>
                        <a:pt x="75964" y="271473"/>
                        <a:pt x="72573" y="277553"/>
                        <a:pt x="77094" y="273500"/>
                      </a:cubicBezTo>
                      <a:cubicBezTo>
                        <a:pt x="80484" y="271473"/>
                        <a:pt x="81614" y="255259"/>
                        <a:pt x="77094" y="259313"/>
                      </a:cubicBezTo>
                      <a:close/>
                      <a:moveTo>
                        <a:pt x="54491" y="259313"/>
                      </a:moveTo>
                      <a:lnTo>
                        <a:pt x="56752" y="264379"/>
                      </a:lnTo>
                      <a:cubicBezTo>
                        <a:pt x="56752" y="261339"/>
                        <a:pt x="60142" y="259313"/>
                        <a:pt x="54491" y="259313"/>
                      </a:cubicBezTo>
                      <a:close/>
                      <a:moveTo>
                        <a:pt x="60142" y="238032"/>
                      </a:moveTo>
                      <a:lnTo>
                        <a:pt x="60142" y="243099"/>
                      </a:lnTo>
                      <a:cubicBezTo>
                        <a:pt x="63532" y="240059"/>
                        <a:pt x="62402" y="251206"/>
                        <a:pt x="62402" y="253232"/>
                      </a:cubicBezTo>
                      <a:cubicBezTo>
                        <a:pt x="49971" y="250192"/>
                        <a:pt x="66922" y="257286"/>
                        <a:pt x="70313" y="258299"/>
                      </a:cubicBezTo>
                      <a:lnTo>
                        <a:pt x="70313" y="256272"/>
                      </a:lnTo>
                      <a:cubicBezTo>
                        <a:pt x="75964" y="253232"/>
                        <a:pt x="71443" y="249179"/>
                        <a:pt x="75964" y="246139"/>
                      </a:cubicBezTo>
                      <a:cubicBezTo>
                        <a:pt x="72573" y="245126"/>
                        <a:pt x="69183" y="239045"/>
                        <a:pt x="68053" y="239045"/>
                      </a:cubicBezTo>
                      <a:cubicBezTo>
                        <a:pt x="65792" y="236005"/>
                        <a:pt x="63532" y="239045"/>
                        <a:pt x="60142" y="238032"/>
                      </a:cubicBezTo>
                      <a:close/>
                      <a:moveTo>
                        <a:pt x="17197" y="191418"/>
                      </a:moveTo>
                      <a:lnTo>
                        <a:pt x="19458" y="203578"/>
                      </a:lnTo>
                      <a:cubicBezTo>
                        <a:pt x="23978" y="203578"/>
                        <a:pt x="30759" y="190404"/>
                        <a:pt x="17197" y="191418"/>
                      </a:cubicBezTo>
                      <a:close/>
                      <a:moveTo>
                        <a:pt x="63532" y="177231"/>
                      </a:moveTo>
                      <a:cubicBezTo>
                        <a:pt x="62402" y="177231"/>
                        <a:pt x="63532" y="184324"/>
                        <a:pt x="63532" y="184324"/>
                      </a:cubicBezTo>
                      <a:cubicBezTo>
                        <a:pt x="62402" y="186351"/>
                        <a:pt x="55621" y="186351"/>
                        <a:pt x="52231" y="186351"/>
                      </a:cubicBezTo>
                      <a:cubicBezTo>
                        <a:pt x="55621" y="200538"/>
                        <a:pt x="56752" y="206618"/>
                        <a:pt x="63532" y="217765"/>
                      </a:cubicBezTo>
                      <a:lnTo>
                        <a:pt x="69183" y="217765"/>
                      </a:lnTo>
                      <a:cubicBezTo>
                        <a:pt x="70313" y="218778"/>
                        <a:pt x="68053" y="223845"/>
                        <a:pt x="69183" y="224858"/>
                      </a:cubicBezTo>
                      <a:lnTo>
                        <a:pt x="74833" y="224858"/>
                      </a:lnTo>
                      <a:cubicBezTo>
                        <a:pt x="73703" y="224858"/>
                        <a:pt x="74833" y="218778"/>
                        <a:pt x="74833" y="217765"/>
                      </a:cubicBezTo>
                      <a:cubicBezTo>
                        <a:pt x="79354" y="221818"/>
                        <a:pt x="77094" y="210671"/>
                        <a:pt x="77094" y="210671"/>
                      </a:cubicBezTo>
                      <a:cubicBezTo>
                        <a:pt x="74833" y="208645"/>
                        <a:pt x="70313" y="209658"/>
                        <a:pt x="65792" y="208645"/>
                      </a:cubicBezTo>
                      <a:cubicBezTo>
                        <a:pt x="62402" y="192431"/>
                        <a:pt x="63532" y="201551"/>
                        <a:pt x="65792" y="186351"/>
                      </a:cubicBezTo>
                      <a:cubicBezTo>
                        <a:pt x="65792" y="183311"/>
                        <a:pt x="66922" y="176217"/>
                        <a:pt x="63532" y="177231"/>
                      </a:cubicBezTo>
                      <a:close/>
                      <a:moveTo>
                        <a:pt x="19458" y="177231"/>
                      </a:moveTo>
                      <a:lnTo>
                        <a:pt x="21718" y="184324"/>
                      </a:lnTo>
                      <a:cubicBezTo>
                        <a:pt x="36410" y="179257"/>
                        <a:pt x="35279" y="179257"/>
                        <a:pt x="19458" y="177231"/>
                      </a:cubicBezTo>
                      <a:close/>
                      <a:moveTo>
                        <a:pt x="65792" y="125549"/>
                      </a:moveTo>
                      <a:lnTo>
                        <a:pt x="49971" y="132643"/>
                      </a:lnTo>
                      <a:cubicBezTo>
                        <a:pt x="47711" y="135683"/>
                        <a:pt x="48841" y="141763"/>
                        <a:pt x="47711" y="144803"/>
                      </a:cubicBezTo>
                      <a:cubicBezTo>
                        <a:pt x="47711" y="144803"/>
                        <a:pt x="42060" y="141763"/>
                        <a:pt x="42060" y="142777"/>
                      </a:cubicBezTo>
                      <a:cubicBezTo>
                        <a:pt x="40930" y="147843"/>
                        <a:pt x="49971" y="155950"/>
                        <a:pt x="47711" y="156964"/>
                      </a:cubicBezTo>
                      <a:cubicBezTo>
                        <a:pt x="38669" y="163044"/>
                        <a:pt x="39800" y="164057"/>
                        <a:pt x="39800" y="176217"/>
                      </a:cubicBezTo>
                      <a:cubicBezTo>
                        <a:pt x="42060" y="174191"/>
                        <a:pt x="47711" y="170137"/>
                        <a:pt x="51101" y="169124"/>
                      </a:cubicBezTo>
                      <a:lnTo>
                        <a:pt x="51101" y="167097"/>
                      </a:lnTo>
                      <a:cubicBezTo>
                        <a:pt x="52231" y="166084"/>
                        <a:pt x="61272" y="168110"/>
                        <a:pt x="62402" y="167097"/>
                      </a:cubicBezTo>
                      <a:cubicBezTo>
                        <a:pt x="65792" y="162030"/>
                        <a:pt x="62402" y="154937"/>
                        <a:pt x="64663" y="147843"/>
                      </a:cubicBezTo>
                      <a:cubicBezTo>
                        <a:pt x="63532" y="145817"/>
                        <a:pt x="80484" y="126563"/>
                        <a:pt x="65792" y="125549"/>
                      </a:cubicBezTo>
                      <a:close/>
                      <a:moveTo>
                        <a:pt x="247741" y="26240"/>
                      </a:moveTo>
                      <a:cubicBezTo>
                        <a:pt x="246612" y="27254"/>
                        <a:pt x="242091" y="40428"/>
                        <a:pt x="242091" y="40428"/>
                      </a:cubicBezTo>
                      <a:cubicBezTo>
                        <a:pt x="240961" y="41441"/>
                        <a:pt x="234181" y="40428"/>
                        <a:pt x="234181" y="42454"/>
                      </a:cubicBezTo>
                      <a:cubicBezTo>
                        <a:pt x="233050" y="47521"/>
                        <a:pt x="243221" y="51574"/>
                        <a:pt x="239831" y="49548"/>
                      </a:cubicBezTo>
                      <a:cubicBezTo>
                        <a:pt x="240961" y="50561"/>
                        <a:pt x="244351" y="47521"/>
                        <a:pt x="245482" y="47521"/>
                      </a:cubicBezTo>
                      <a:cubicBezTo>
                        <a:pt x="242091" y="47521"/>
                        <a:pt x="247741" y="57655"/>
                        <a:pt x="247741" y="57655"/>
                      </a:cubicBezTo>
                      <a:cubicBezTo>
                        <a:pt x="247741" y="55628"/>
                        <a:pt x="253392" y="53601"/>
                        <a:pt x="253392" y="52588"/>
                      </a:cubicBezTo>
                      <a:cubicBezTo>
                        <a:pt x="254523" y="47521"/>
                        <a:pt x="246612" y="33334"/>
                        <a:pt x="253392" y="30294"/>
                      </a:cubicBezTo>
                      <a:lnTo>
                        <a:pt x="253392" y="25227"/>
                      </a:lnTo>
                      <a:lnTo>
                        <a:pt x="247741" y="25227"/>
                      </a:lnTo>
                      <a:close/>
                      <a:moveTo>
                        <a:pt x="269214" y="9013"/>
                      </a:moveTo>
                      <a:lnTo>
                        <a:pt x="271474" y="14080"/>
                      </a:lnTo>
                      <a:cubicBezTo>
                        <a:pt x="270344" y="10027"/>
                        <a:pt x="274865" y="9013"/>
                        <a:pt x="269214"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9" name="Freeform: Shape 268">
                  <a:extLst>
                    <a:ext uri="{FF2B5EF4-FFF2-40B4-BE49-F238E27FC236}">
                      <a16:creationId xmlns:a16="http://schemas.microsoft.com/office/drawing/2014/main" id="{517EABE1-B4D3-43B7-AA6E-4C0B52B912ED}"/>
                    </a:ext>
                  </a:extLst>
                </p:cNvPr>
                <p:cNvSpPr/>
                <p:nvPr/>
              </p:nvSpPr>
              <p:spPr>
                <a:xfrm>
                  <a:off x="7681143" y="3240200"/>
                  <a:ext cx="203422" cy="131736"/>
                </a:xfrm>
                <a:custGeom>
                  <a:avLst/>
                  <a:gdLst>
                    <a:gd name="connsiteX0" fmla="*/ 198782 w 203421"/>
                    <a:gd name="connsiteY0" fmla="*/ 41441 h 131736"/>
                    <a:gd name="connsiteX1" fmla="*/ 195392 w 203421"/>
                    <a:gd name="connsiteY1" fmla="*/ 23200 h 131736"/>
                    <a:gd name="connsiteX2" fmla="*/ 182960 w 203421"/>
                    <a:gd name="connsiteY2" fmla="*/ 23200 h 131736"/>
                    <a:gd name="connsiteX3" fmla="*/ 186350 w 203421"/>
                    <a:gd name="connsiteY3" fmla="*/ 12054 h 131736"/>
                    <a:gd name="connsiteX4" fmla="*/ 182960 w 203421"/>
                    <a:gd name="connsiteY4" fmla="*/ 9013 h 131736"/>
                    <a:gd name="connsiteX5" fmla="*/ 181830 w 203421"/>
                    <a:gd name="connsiteY5" fmla="*/ 11040 h 131736"/>
                    <a:gd name="connsiteX6" fmla="*/ 162618 w 203421"/>
                    <a:gd name="connsiteY6" fmla="*/ 25227 h 131736"/>
                    <a:gd name="connsiteX7" fmla="*/ 143406 w 203421"/>
                    <a:gd name="connsiteY7" fmla="*/ 49548 h 131736"/>
                    <a:gd name="connsiteX8" fmla="*/ 118543 w 203421"/>
                    <a:gd name="connsiteY8" fmla="*/ 61708 h 131736"/>
                    <a:gd name="connsiteX9" fmla="*/ 116284 w 203421"/>
                    <a:gd name="connsiteY9" fmla="*/ 66775 h 131736"/>
                    <a:gd name="connsiteX10" fmla="*/ 108373 w 203421"/>
                    <a:gd name="connsiteY10" fmla="*/ 66775 h 131736"/>
                    <a:gd name="connsiteX11" fmla="*/ 108373 w 203421"/>
                    <a:gd name="connsiteY11" fmla="*/ 73868 h 131736"/>
                    <a:gd name="connsiteX12" fmla="*/ 69948 w 203421"/>
                    <a:gd name="connsiteY12" fmla="*/ 61708 h 131736"/>
                    <a:gd name="connsiteX13" fmla="*/ 56387 w 203421"/>
                    <a:gd name="connsiteY13" fmla="*/ 71842 h 131736"/>
                    <a:gd name="connsiteX14" fmla="*/ 34915 w 203421"/>
                    <a:gd name="connsiteY14" fmla="*/ 69815 h 131736"/>
                    <a:gd name="connsiteX15" fmla="*/ 32654 w 203421"/>
                    <a:gd name="connsiteY15" fmla="*/ 62722 h 131736"/>
                    <a:gd name="connsiteX16" fmla="*/ 19093 w 203421"/>
                    <a:gd name="connsiteY16" fmla="*/ 60695 h 131736"/>
                    <a:gd name="connsiteX17" fmla="*/ 23614 w 203421"/>
                    <a:gd name="connsiteY17" fmla="*/ 43468 h 131736"/>
                    <a:gd name="connsiteX18" fmla="*/ 11182 w 203421"/>
                    <a:gd name="connsiteY18" fmla="*/ 40428 h 131736"/>
                    <a:gd name="connsiteX19" fmla="*/ 10052 w 203421"/>
                    <a:gd name="connsiteY19" fmla="*/ 54614 h 131736"/>
                    <a:gd name="connsiteX20" fmla="*/ 28134 w 203421"/>
                    <a:gd name="connsiteY20" fmla="*/ 73868 h 131736"/>
                    <a:gd name="connsiteX21" fmla="*/ 31525 w 203421"/>
                    <a:gd name="connsiteY21" fmla="*/ 107309 h 131736"/>
                    <a:gd name="connsiteX22" fmla="*/ 147927 w 203421"/>
                    <a:gd name="connsiteY22" fmla="*/ 126563 h 131736"/>
                    <a:gd name="connsiteX23" fmla="*/ 160358 w 203421"/>
                    <a:gd name="connsiteY23" fmla="*/ 123523 h 131736"/>
                    <a:gd name="connsiteX24" fmla="*/ 168269 w 203421"/>
                    <a:gd name="connsiteY24" fmla="*/ 101229 h 131736"/>
                    <a:gd name="connsiteX25" fmla="*/ 172789 w 203421"/>
                    <a:gd name="connsiteY25" fmla="*/ 75895 h 131736"/>
                    <a:gd name="connsiteX26" fmla="*/ 172789 w 203421"/>
                    <a:gd name="connsiteY26" fmla="*/ 66775 h 131736"/>
                    <a:gd name="connsiteX27" fmla="*/ 182960 w 203421"/>
                    <a:gd name="connsiteY27" fmla="*/ 59681 h 131736"/>
                    <a:gd name="connsiteX28" fmla="*/ 175049 w 203421"/>
                    <a:gd name="connsiteY28" fmla="*/ 49548 h 131736"/>
                    <a:gd name="connsiteX29" fmla="*/ 182960 w 203421"/>
                    <a:gd name="connsiteY29" fmla="*/ 43468 h 131736"/>
                    <a:gd name="connsiteX30" fmla="*/ 190871 w 203421"/>
                    <a:gd name="connsiteY30" fmla="*/ 49548 h 131736"/>
                    <a:gd name="connsiteX31" fmla="*/ 199912 w 203421"/>
                    <a:gd name="connsiteY31" fmla="*/ 43468 h 131736"/>
                    <a:gd name="connsiteX32" fmla="*/ 198782 w 203421"/>
                    <a:gd name="connsiteY32" fmla="*/ 41441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3421" h="131736">
                      <a:moveTo>
                        <a:pt x="198782" y="41441"/>
                      </a:moveTo>
                      <a:cubicBezTo>
                        <a:pt x="196522" y="35361"/>
                        <a:pt x="196522" y="31307"/>
                        <a:pt x="195392" y="23200"/>
                      </a:cubicBezTo>
                      <a:lnTo>
                        <a:pt x="182960" y="23200"/>
                      </a:lnTo>
                      <a:lnTo>
                        <a:pt x="186350" y="12054"/>
                      </a:lnTo>
                      <a:lnTo>
                        <a:pt x="182960" y="9013"/>
                      </a:lnTo>
                      <a:lnTo>
                        <a:pt x="181830" y="11040"/>
                      </a:lnTo>
                      <a:cubicBezTo>
                        <a:pt x="178440" y="16107"/>
                        <a:pt x="167139" y="21174"/>
                        <a:pt x="162618" y="25227"/>
                      </a:cubicBezTo>
                      <a:cubicBezTo>
                        <a:pt x="155838" y="32321"/>
                        <a:pt x="151317" y="43468"/>
                        <a:pt x="143406" y="49548"/>
                      </a:cubicBezTo>
                      <a:cubicBezTo>
                        <a:pt x="136626" y="55628"/>
                        <a:pt x="127585" y="56641"/>
                        <a:pt x="118543" y="61708"/>
                      </a:cubicBezTo>
                      <a:lnTo>
                        <a:pt x="116284" y="66775"/>
                      </a:lnTo>
                      <a:cubicBezTo>
                        <a:pt x="112893" y="67788"/>
                        <a:pt x="110633" y="65761"/>
                        <a:pt x="108373" y="66775"/>
                      </a:cubicBezTo>
                      <a:cubicBezTo>
                        <a:pt x="108373" y="66775"/>
                        <a:pt x="108373" y="73868"/>
                        <a:pt x="108373" y="73868"/>
                      </a:cubicBezTo>
                      <a:cubicBezTo>
                        <a:pt x="95941" y="76908"/>
                        <a:pt x="76729" y="61708"/>
                        <a:pt x="69948" y="61708"/>
                      </a:cubicBezTo>
                      <a:cubicBezTo>
                        <a:pt x="56387" y="61708"/>
                        <a:pt x="63168" y="69815"/>
                        <a:pt x="56387" y="71842"/>
                      </a:cubicBezTo>
                      <a:cubicBezTo>
                        <a:pt x="48476" y="73868"/>
                        <a:pt x="41695" y="69815"/>
                        <a:pt x="34915" y="69815"/>
                      </a:cubicBezTo>
                      <a:cubicBezTo>
                        <a:pt x="33784" y="66775"/>
                        <a:pt x="34915" y="63735"/>
                        <a:pt x="32654" y="62722"/>
                      </a:cubicBezTo>
                      <a:cubicBezTo>
                        <a:pt x="28134" y="60695"/>
                        <a:pt x="22483" y="61708"/>
                        <a:pt x="19093" y="60695"/>
                      </a:cubicBezTo>
                      <a:cubicBezTo>
                        <a:pt x="21353" y="54614"/>
                        <a:pt x="22483" y="49548"/>
                        <a:pt x="23614" y="43468"/>
                      </a:cubicBezTo>
                      <a:lnTo>
                        <a:pt x="11182" y="40428"/>
                      </a:lnTo>
                      <a:lnTo>
                        <a:pt x="10052" y="54614"/>
                      </a:lnTo>
                      <a:lnTo>
                        <a:pt x="28134" y="73868"/>
                      </a:lnTo>
                      <a:lnTo>
                        <a:pt x="31525" y="107309"/>
                      </a:lnTo>
                      <a:cubicBezTo>
                        <a:pt x="31525" y="107309"/>
                        <a:pt x="138886" y="125549"/>
                        <a:pt x="147927" y="126563"/>
                      </a:cubicBezTo>
                      <a:cubicBezTo>
                        <a:pt x="156968" y="127576"/>
                        <a:pt x="160358" y="123523"/>
                        <a:pt x="160358" y="123523"/>
                      </a:cubicBezTo>
                      <a:cubicBezTo>
                        <a:pt x="160358" y="123523"/>
                        <a:pt x="160358" y="110349"/>
                        <a:pt x="168269" y="101229"/>
                      </a:cubicBezTo>
                      <a:cubicBezTo>
                        <a:pt x="177310" y="90082"/>
                        <a:pt x="176180" y="74882"/>
                        <a:pt x="172789" y="75895"/>
                      </a:cubicBezTo>
                      <a:cubicBezTo>
                        <a:pt x="166008" y="77922"/>
                        <a:pt x="164879" y="71842"/>
                        <a:pt x="172789" y="66775"/>
                      </a:cubicBezTo>
                      <a:cubicBezTo>
                        <a:pt x="180700" y="61708"/>
                        <a:pt x="182960" y="59681"/>
                        <a:pt x="182960" y="59681"/>
                      </a:cubicBezTo>
                      <a:cubicBezTo>
                        <a:pt x="182960" y="59681"/>
                        <a:pt x="176180" y="54614"/>
                        <a:pt x="175049" y="49548"/>
                      </a:cubicBezTo>
                      <a:cubicBezTo>
                        <a:pt x="173919" y="43468"/>
                        <a:pt x="178440" y="39414"/>
                        <a:pt x="182960" y="43468"/>
                      </a:cubicBezTo>
                      <a:cubicBezTo>
                        <a:pt x="186350" y="47521"/>
                        <a:pt x="189741" y="53601"/>
                        <a:pt x="190871" y="49548"/>
                      </a:cubicBezTo>
                      <a:cubicBezTo>
                        <a:pt x="193132" y="44481"/>
                        <a:pt x="199912" y="43468"/>
                        <a:pt x="199912" y="43468"/>
                      </a:cubicBezTo>
                      <a:lnTo>
                        <a:pt x="198782" y="4144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0" name="Freeform: Shape 269">
                  <a:extLst>
                    <a:ext uri="{FF2B5EF4-FFF2-40B4-BE49-F238E27FC236}">
                      <a16:creationId xmlns:a16="http://schemas.microsoft.com/office/drawing/2014/main" id="{88ECF7C7-7F82-48C5-BD42-C713CBF86304}"/>
                    </a:ext>
                  </a:extLst>
                </p:cNvPr>
                <p:cNvSpPr/>
                <p:nvPr/>
              </p:nvSpPr>
              <p:spPr>
                <a:xfrm>
                  <a:off x="6714891" y="2066029"/>
                  <a:ext cx="621566" cy="395209"/>
                </a:xfrm>
                <a:custGeom>
                  <a:avLst/>
                  <a:gdLst>
                    <a:gd name="connsiteX0" fmla="*/ 558160 w 621565"/>
                    <a:gd name="connsiteY0" fmla="*/ 265084 h 395209"/>
                    <a:gd name="connsiteX1" fmla="*/ 544598 w 621565"/>
                    <a:gd name="connsiteY1" fmla="*/ 263057 h 395209"/>
                    <a:gd name="connsiteX2" fmla="*/ 537818 w 621565"/>
                    <a:gd name="connsiteY2" fmla="*/ 265084 h 395209"/>
                    <a:gd name="connsiteX3" fmla="*/ 526517 w 621565"/>
                    <a:gd name="connsiteY3" fmla="*/ 273191 h 395209"/>
                    <a:gd name="connsiteX4" fmla="*/ 518606 w 621565"/>
                    <a:gd name="connsiteY4" fmla="*/ 273191 h 395209"/>
                    <a:gd name="connsiteX5" fmla="*/ 502784 w 621565"/>
                    <a:gd name="connsiteY5" fmla="*/ 278257 h 395209"/>
                    <a:gd name="connsiteX6" fmla="*/ 497133 w 621565"/>
                    <a:gd name="connsiteY6" fmla="*/ 285351 h 395209"/>
                    <a:gd name="connsiteX7" fmla="*/ 477922 w 621565"/>
                    <a:gd name="connsiteY7" fmla="*/ 287378 h 395209"/>
                    <a:gd name="connsiteX8" fmla="*/ 470011 w 621565"/>
                    <a:gd name="connsiteY8" fmla="*/ 294471 h 395209"/>
                    <a:gd name="connsiteX9" fmla="*/ 456449 w 621565"/>
                    <a:gd name="connsiteY9" fmla="*/ 289404 h 395209"/>
                    <a:gd name="connsiteX10" fmla="*/ 456449 w 621565"/>
                    <a:gd name="connsiteY10" fmla="*/ 291431 h 395209"/>
                    <a:gd name="connsiteX11" fmla="*/ 434977 w 621565"/>
                    <a:gd name="connsiteY11" fmla="*/ 303591 h 395209"/>
                    <a:gd name="connsiteX12" fmla="*/ 434977 w 621565"/>
                    <a:gd name="connsiteY12" fmla="*/ 308658 h 395209"/>
                    <a:gd name="connsiteX13" fmla="*/ 405594 w 621565"/>
                    <a:gd name="connsiteY13" fmla="*/ 308658 h 395209"/>
                    <a:gd name="connsiteX14" fmla="*/ 405594 w 621565"/>
                    <a:gd name="connsiteY14" fmla="*/ 303591 h 395209"/>
                    <a:gd name="connsiteX15" fmla="*/ 386382 w 621565"/>
                    <a:gd name="connsiteY15" fmla="*/ 303591 h 395209"/>
                    <a:gd name="connsiteX16" fmla="*/ 386382 w 621565"/>
                    <a:gd name="connsiteY16" fmla="*/ 313725 h 395209"/>
                    <a:gd name="connsiteX17" fmla="*/ 394293 w 621565"/>
                    <a:gd name="connsiteY17" fmla="*/ 320818 h 395209"/>
                    <a:gd name="connsiteX18" fmla="*/ 402204 w 621565"/>
                    <a:gd name="connsiteY18" fmla="*/ 320818 h 395209"/>
                    <a:gd name="connsiteX19" fmla="*/ 404464 w 621565"/>
                    <a:gd name="connsiteY19" fmla="*/ 327912 h 395209"/>
                    <a:gd name="connsiteX20" fmla="*/ 418025 w 621565"/>
                    <a:gd name="connsiteY20" fmla="*/ 329939 h 395209"/>
                    <a:gd name="connsiteX21" fmla="*/ 420285 w 621565"/>
                    <a:gd name="connsiteY21" fmla="*/ 344126 h 395209"/>
                    <a:gd name="connsiteX22" fmla="*/ 420285 w 621565"/>
                    <a:gd name="connsiteY22" fmla="*/ 349192 h 395209"/>
                    <a:gd name="connsiteX23" fmla="*/ 439497 w 621565"/>
                    <a:gd name="connsiteY23" fmla="*/ 347166 h 395209"/>
                    <a:gd name="connsiteX24" fmla="*/ 458710 w 621565"/>
                    <a:gd name="connsiteY24" fmla="*/ 349192 h 395209"/>
                    <a:gd name="connsiteX25" fmla="*/ 470011 w 621565"/>
                    <a:gd name="connsiteY25" fmla="*/ 344126 h 395209"/>
                    <a:gd name="connsiteX26" fmla="*/ 475661 w 621565"/>
                    <a:gd name="connsiteY26" fmla="*/ 346152 h 395209"/>
                    <a:gd name="connsiteX27" fmla="*/ 473401 w 621565"/>
                    <a:gd name="connsiteY27" fmla="*/ 360339 h 395209"/>
                    <a:gd name="connsiteX28" fmla="*/ 444018 w 621565"/>
                    <a:gd name="connsiteY28" fmla="*/ 362366 h 395209"/>
                    <a:gd name="connsiteX29" fmla="*/ 424806 w 621565"/>
                    <a:gd name="connsiteY29" fmla="*/ 372499 h 395209"/>
                    <a:gd name="connsiteX30" fmla="*/ 368300 w 621565"/>
                    <a:gd name="connsiteY30" fmla="*/ 391753 h 395209"/>
                    <a:gd name="connsiteX31" fmla="*/ 370560 w 621565"/>
                    <a:gd name="connsiteY31" fmla="*/ 355272 h 395209"/>
                    <a:gd name="connsiteX32" fmla="*/ 351348 w 621565"/>
                    <a:gd name="connsiteY32" fmla="*/ 348179 h 395209"/>
                    <a:gd name="connsiteX33" fmla="*/ 335526 w 621565"/>
                    <a:gd name="connsiteY33" fmla="*/ 350206 h 395209"/>
                    <a:gd name="connsiteX34" fmla="*/ 337787 w 621565"/>
                    <a:gd name="connsiteY34" fmla="*/ 343112 h 395209"/>
                    <a:gd name="connsiteX35" fmla="*/ 345698 w 621565"/>
                    <a:gd name="connsiteY35" fmla="*/ 338045 h 395209"/>
                    <a:gd name="connsiteX36" fmla="*/ 370560 w 621565"/>
                    <a:gd name="connsiteY36" fmla="*/ 325885 h 395209"/>
                    <a:gd name="connsiteX37" fmla="*/ 384121 w 621565"/>
                    <a:gd name="connsiteY37" fmla="*/ 327912 h 395209"/>
                    <a:gd name="connsiteX38" fmla="*/ 381862 w 621565"/>
                    <a:gd name="connsiteY38" fmla="*/ 320818 h 395209"/>
                    <a:gd name="connsiteX39" fmla="*/ 379601 w 621565"/>
                    <a:gd name="connsiteY39" fmla="*/ 310685 h 395209"/>
                    <a:gd name="connsiteX40" fmla="*/ 368300 w 621565"/>
                    <a:gd name="connsiteY40" fmla="*/ 312711 h 395209"/>
                    <a:gd name="connsiteX41" fmla="*/ 366040 w 621565"/>
                    <a:gd name="connsiteY41" fmla="*/ 305618 h 395209"/>
                    <a:gd name="connsiteX42" fmla="*/ 344567 w 621565"/>
                    <a:gd name="connsiteY42" fmla="*/ 307645 h 395209"/>
                    <a:gd name="connsiteX43" fmla="*/ 342307 w 621565"/>
                    <a:gd name="connsiteY43" fmla="*/ 317778 h 395209"/>
                    <a:gd name="connsiteX44" fmla="*/ 336657 w 621565"/>
                    <a:gd name="connsiteY44" fmla="*/ 317778 h 395209"/>
                    <a:gd name="connsiteX45" fmla="*/ 328746 w 621565"/>
                    <a:gd name="connsiteY45" fmla="*/ 307645 h 395209"/>
                    <a:gd name="connsiteX46" fmla="*/ 317445 w 621565"/>
                    <a:gd name="connsiteY46" fmla="*/ 307645 h 395209"/>
                    <a:gd name="connsiteX47" fmla="*/ 317445 w 621565"/>
                    <a:gd name="connsiteY47" fmla="*/ 307645 h 395209"/>
                    <a:gd name="connsiteX48" fmla="*/ 303883 w 621565"/>
                    <a:gd name="connsiteY48" fmla="*/ 305618 h 395209"/>
                    <a:gd name="connsiteX49" fmla="*/ 306143 w 621565"/>
                    <a:gd name="connsiteY49" fmla="*/ 300551 h 395209"/>
                    <a:gd name="connsiteX50" fmla="*/ 325356 w 621565"/>
                    <a:gd name="connsiteY50" fmla="*/ 300551 h 395209"/>
                    <a:gd name="connsiteX51" fmla="*/ 317445 w 621565"/>
                    <a:gd name="connsiteY51" fmla="*/ 295484 h 395209"/>
                    <a:gd name="connsiteX52" fmla="*/ 311794 w 621565"/>
                    <a:gd name="connsiteY52" fmla="*/ 285351 h 395209"/>
                    <a:gd name="connsiteX53" fmla="*/ 309534 w 621565"/>
                    <a:gd name="connsiteY53" fmla="*/ 292444 h 395209"/>
                    <a:gd name="connsiteX54" fmla="*/ 282411 w 621565"/>
                    <a:gd name="connsiteY54" fmla="*/ 292444 h 395209"/>
                    <a:gd name="connsiteX55" fmla="*/ 276760 w 621565"/>
                    <a:gd name="connsiteY55" fmla="*/ 297511 h 395209"/>
                    <a:gd name="connsiteX56" fmla="*/ 271109 w 621565"/>
                    <a:gd name="connsiteY56" fmla="*/ 297511 h 395209"/>
                    <a:gd name="connsiteX57" fmla="*/ 264329 w 621565"/>
                    <a:gd name="connsiteY57" fmla="*/ 309671 h 395209"/>
                    <a:gd name="connsiteX58" fmla="*/ 242856 w 621565"/>
                    <a:gd name="connsiteY58" fmla="*/ 284337 h 395209"/>
                    <a:gd name="connsiteX59" fmla="*/ 230425 w 621565"/>
                    <a:gd name="connsiteY59" fmla="*/ 264070 h 395209"/>
                    <a:gd name="connsiteX60" fmla="*/ 225905 w 621565"/>
                    <a:gd name="connsiteY60" fmla="*/ 246843 h 395209"/>
                    <a:gd name="connsiteX61" fmla="*/ 217994 w 621565"/>
                    <a:gd name="connsiteY61" fmla="*/ 228603 h 395209"/>
                    <a:gd name="connsiteX62" fmla="*/ 205563 w 621565"/>
                    <a:gd name="connsiteY62" fmla="*/ 208336 h 395209"/>
                    <a:gd name="connsiteX63" fmla="*/ 189741 w 621565"/>
                    <a:gd name="connsiteY63" fmla="*/ 196175 h 395209"/>
                    <a:gd name="connsiteX64" fmla="*/ 172789 w 621565"/>
                    <a:gd name="connsiteY64" fmla="*/ 187055 h 395209"/>
                    <a:gd name="connsiteX65" fmla="*/ 151317 w 621565"/>
                    <a:gd name="connsiteY65" fmla="*/ 186042 h 395209"/>
                    <a:gd name="connsiteX66" fmla="*/ 129844 w 621565"/>
                    <a:gd name="connsiteY66" fmla="*/ 197189 h 395209"/>
                    <a:gd name="connsiteX67" fmla="*/ 117413 w 621565"/>
                    <a:gd name="connsiteY67" fmla="*/ 207322 h 395209"/>
                    <a:gd name="connsiteX68" fmla="*/ 101591 w 621565"/>
                    <a:gd name="connsiteY68" fmla="*/ 215429 h 395209"/>
                    <a:gd name="connsiteX69" fmla="*/ 83510 w 621565"/>
                    <a:gd name="connsiteY69" fmla="*/ 228603 h 395209"/>
                    <a:gd name="connsiteX70" fmla="*/ 67688 w 621565"/>
                    <a:gd name="connsiteY70" fmla="*/ 224549 h 395209"/>
                    <a:gd name="connsiteX71" fmla="*/ 45085 w 621565"/>
                    <a:gd name="connsiteY71" fmla="*/ 216443 h 395209"/>
                    <a:gd name="connsiteX72" fmla="*/ 22483 w 621565"/>
                    <a:gd name="connsiteY72" fmla="*/ 210362 h 395209"/>
                    <a:gd name="connsiteX73" fmla="*/ 10052 w 621565"/>
                    <a:gd name="connsiteY73" fmla="*/ 204282 h 395209"/>
                    <a:gd name="connsiteX74" fmla="*/ 14573 w 621565"/>
                    <a:gd name="connsiteY74" fmla="*/ 188069 h 395209"/>
                    <a:gd name="connsiteX75" fmla="*/ 27004 w 621565"/>
                    <a:gd name="connsiteY75" fmla="*/ 184015 h 395209"/>
                    <a:gd name="connsiteX76" fmla="*/ 47346 w 621565"/>
                    <a:gd name="connsiteY76" fmla="*/ 169828 h 395209"/>
                    <a:gd name="connsiteX77" fmla="*/ 42826 w 621565"/>
                    <a:gd name="connsiteY77" fmla="*/ 146521 h 395209"/>
                    <a:gd name="connsiteX78" fmla="*/ 52996 w 621565"/>
                    <a:gd name="connsiteY78" fmla="*/ 128281 h 395209"/>
                    <a:gd name="connsiteX79" fmla="*/ 63168 w 621565"/>
                    <a:gd name="connsiteY79" fmla="*/ 108013 h 395209"/>
                    <a:gd name="connsiteX80" fmla="*/ 49606 w 621565"/>
                    <a:gd name="connsiteY80" fmla="*/ 83693 h 395209"/>
                    <a:gd name="connsiteX81" fmla="*/ 55257 w 621565"/>
                    <a:gd name="connsiteY81" fmla="*/ 60386 h 395209"/>
                    <a:gd name="connsiteX82" fmla="*/ 56387 w 621565"/>
                    <a:gd name="connsiteY82" fmla="*/ 49239 h 395209"/>
                    <a:gd name="connsiteX83" fmla="*/ 55257 w 621565"/>
                    <a:gd name="connsiteY83" fmla="*/ 27958 h 395209"/>
                    <a:gd name="connsiteX84" fmla="*/ 73338 w 621565"/>
                    <a:gd name="connsiteY84" fmla="*/ 30998 h 395209"/>
                    <a:gd name="connsiteX85" fmla="*/ 88031 w 621565"/>
                    <a:gd name="connsiteY85" fmla="*/ 24918 h 395209"/>
                    <a:gd name="connsiteX86" fmla="*/ 115153 w 621565"/>
                    <a:gd name="connsiteY86" fmla="*/ 23905 h 395209"/>
                    <a:gd name="connsiteX87" fmla="*/ 153577 w 621565"/>
                    <a:gd name="connsiteY87" fmla="*/ 28972 h 395209"/>
                    <a:gd name="connsiteX88" fmla="*/ 182960 w 621565"/>
                    <a:gd name="connsiteY88" fmla="*/ 29985 h 395209"/>
                    <a:gd name="connsiteX89" fmla="*/ 195392 w 621565"/>
                    <a:gd name="connsiteY89" fmla="*/ 28972 h 395209"/>
                    <a:gd name="connsiteX90" fmla="*/ 199912 w 621565"/>
                    <a:gd name="connsiteY90" fmla="*/ 38092 h 395209"/>
                    <a:gd name="connsiteX91" fmla="*/ 205563 w 621565"/>
                    <a:gd name="connsiteY91" fmla="*/ 27958 h 395209"/>
                    <a:gd name="connsiteX92" fmla="*/ 221385 w 621565"/>
                    <a:gd name="connsiteY92" fmla="*/ 32012 h 395209"/>
                    <a:gd name="connsiteX93" fmla="*/ 237206 w 621565"/>
                    <a:gd name="connsiteY93" fmla="*/ 32012 h 395209"/>
                    <a:gd name="connsiteX94" fmla="*/ 266589 w 621565"/>
                    <a:gd name="connsiteY94" fmla="*/ 35052 h 395209"/>
                    <a:gd name="connsiteX95" fmla="*/ 276760 w 621565"/>
                    <a:gd name="connsiteY95" fmla="*/ 21878 h 395209"/>
                    <a:gd name="connsiteX96" fmla="*/ 286931 w 621565"/>
                    <a:gd name="connsiteY96" fmla="*/ 11745 h 395209"/>
                    <a:gd name="connsiteX97" fmla="*/ 300493 w 621565"/>
                    <a:gd name="connsiteY97" fmla="*/ 10731 h 395209"/>
                    <a:gd name="connsiteX98" fmla="*/ 321965 w 621565"/>
                    <a:gd name="connsiteY98" fmla="*/ 13771 h 395209"/>
                    <a:gd name="connsiteX99" fmla="*/ 337787 w 621565"/>
                    <a:gd name="connsiteY99" fmla="*/ 14785 h 395209"/>
                    <a:gd name="connsiteX100" fmla="*/ 354738 w 621565"/>
                    <a:gd name="connsiteY100" fmla="*/ 18838 h 395209"/>
                    <a:gd name="connsiteX101" fmla="*/ 360389 w 621565"/>
                    <a:gd name="connsiteY101" fmla="*/ 34038 h 395209"/>
                    <a:gd name="connsiteX102" fmla="*/ 367170 w 621565"/>
                    <a:gd name="connsiteY102" fmla="*/ 50252 h 395209"/>
                    <a:gd name="connsiteX103" fmla="*/ 377341 w 621565"/>
                    <a:gd name="connsiteY103" fmla="*/ 63426 h 395209"/>
                    <a:gd name="connsiteX104" fmla="*/ 402204 w 621565"/>
                    <a:gd name="connsiteY104" fmla="*/ 64439 h 395209"/>
                    <a:gd name="connsiteX105" fmla="*/ 425936 w 621565"/>
                    <a:gd name="connsiteY105" fmla="*/ 68492 h 395209"/>
                    <a:gd name="connsiteX106" fmla="*/ 438368 w 621565"/>
                    <a:gd name="connsiteY106" fmla="*/ 82680 h 395209"/>
                    <a:gd name="connsiteX107" fmla="*/ 453059 w 621565"/>
                    <a:gd name="connsiteY107" fmla="*/ 87746 h 395209"/>
                    <a:gd name="connsiteX108" fmla="*/ 463230 w 621565"/>
                    <a:gd name="connsiteY108" fmla="*/ 109027 h 395209"/>
                    <a:gd name="connsiteX109" fmla="*/ 483572 w 621565"/>
                    <a:gd name="connsiteY109" fmla="*/ 102947 h 395209"/>
                    <a:gd name="connsiteX110" fmla="*/ 498264 w 621565"/>
                    <a:gd name="connsiteY110" fmla="*/ 97880 h 395209"/>
                    <a:gd name="connsiteX111" fmla="*/ 516345 w 621565"/>
                    <a:gd name="connsiteY111" fmla="*/ 101933 h 395209"/>
                    <a:gd name="connsiteX112" fmla="*/ 525386 w 621565"/>
                    <a:gd name="connsiteY112" fmla="*/ 110040 h 395209"/>
                    <a:gd name="connsiteX113" fmla="*/ 543469 w 621565"/>
                    <a:gd name="connsiteY113" fmla="*/ 119160 h 395209"/>
                    <a:gd name="connsiteX114" fmla="*/ 589803 w 621565"/>
                    <a:gd name="connsiteY114" fmla="*/ 137401 h 395209"/>
                    <a:gd name="connsiteX115" fmla="*/ 593193 w 621565"/>
                    <a:gd name="connsiteY115" fmla="*/ 155641 h 395209"/>
                    <a:gd name="connsiteX116" fmla="*/ 609015 w 621565"/>
                    <a:gd name="connsiteY116" fmla="*/ 164761 h 395209"/>
                    <a:gd name="connsiteX117" fmla="*/ 602235 w 621565"/>
                    <a:gd name="connsiteY117" fmla="*/ 177935 h 395209"/>
                    <a:gd name="connsiteX118" fmla="*/ 607886 w 621565"/>
                    <a:gd name="connsiteY118" fmla="*/ 201242 h 395209"/>
                    <a:gd name="connsiteX119" fmla="*/ 612406 w 621565"/>
                    <a:gd name="connsiteY119" fmla="*/ 217456 h 395209"/>
                    <a:gd name="connsiteX120" fmla="*/ 606755 w 621565"/>
                    <a:gd name="connsiteY120" fmla="*/ 240763 h 395209"/>
                    <a:gd name="connsiteX121" fmla="*/ 577372 w 621565"/>
                    <a:gd name="connsiteY121" fmla="*/ 249883 h 395209"/>
                    <a:gd name="connsiteX122" fmla="*/ 569461 w 621565"/>
                    <a:gd name="connsiteY122" fmla="*/ 260017 h 395209"/>
                    <a:gd name="connsiteX123" fmla="*/ 558160 w 621565"/>
                    <a:gd name="connsiteY123" fmla="*/ 265084 h 395209"/>
                    <a:gd name="connsiteX124" fmla="*/ 262069 w 621565"/>
                    <a:gd name="connsiteY124" fmla="*/ 309671 h 395209"/>
                    <a:gd name="connsiteX125" fmla="*/ 238336 w 621565"/>
                    <a:gd name="connsiteY125" fmla="*/ 301564 h 395209"/>
                    <a:gd name="connsiteX126" fmla="*/ 222514 w 621565"/>
                    <a:gd name="connsiteY126" fmla="*/ 297511 h 395209"/>
                    <a:gd name="connsiteX127" fmla="*/ 205563 w 621565"/>
                    <a:gd name="connsiteY127" fmla="*/ 316765 h 395209"/>
                    <a:gd name="connsiteX128" fmla="*/ 194261 w 621565"/>
                    <a:gd name="connsiteY128" fmla="*/ 338045 h 395209"/>
                    <a:gd name="connsiteX129" fmla="*/ 201042 w 621565"/>
                    <a:gd name="connsiteY129" fmla="*/ 341085 h 395209"/>
                    <a:gd name="connsiteX130" fmla="*/ 215734 w 621565"/>
                    <a:gd name="connsiteY130" fmla="*/ 342099 h 395209"/>
                    <a:gd name="connsiteX131" fmla="*/ 236076 w 621565"/>
                    <a:gd name="connsiteY131" fmla="*/ 342099 h 395209"/>
                    <a:gd name="connsiteX132" fmla="*/ 234946 w 621565"/>
                    <a:gd name="connsiteY132" fmla="*/ 333992 h 395209"/>
                    <a:gd name="connsiteX133" fmla="*/ 256418 w 621565"/>
                    <a:gd name="connsiteY133" fmla="*/ 321832 h 395209"/>
                    <a:gd name="connsiteX134" fmla="*/ 262069 w 621565"/>
                    <a:gd name="connsiteY134" fmla="*/ 309671 h 39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621565" h="395209">
                      <a:moveTo>
                        <a:pt x="558160" y="265084"/>
                      </a:moveTo>
                      <a:cubicBezTo>
                        <a:pt x="553639" y="265084"/>
                        <a:pt x="549119" y="263057"/>
                        <a:pt x="544598" y="263057"/>
                      </a:cubicBezTo>
                      <a:cubicBezTo>
                        <a:pt x="542338" y="263057"/>
                        <a:pt x="541208" y="263057"/>
                        <a:pt x="537818" y="265084"/>
                      </a:cubicBezTo>
                      <a:cubicBezTo>
                        <a:pt x="534428" y="266097"/>
                        <a:pt x="531037" y="272177"/>
                        <a:pt x="526517" y="273191"/>
                      </a:cubicBezTo>
                      <a:cubicBezTo>
                        <a:pt x="523127" y="274204"/>
                        <a:pt x="521996" y="272177"/>
                        <a:pt x="518606" y="273191"/>
                      </a:cubicBezTo>
                      <a:cubicBezTo>
                        <a:pt x="515216" y="274204"/>
                        <a:pt x="507305" y="275217"/>
                        <a:pt x="502784" y="278257"/>
                      </a:cubicBezTo>
                      <a:cubicBezTo>
                        <a:pt x="500524" y="279271"/>
                        <a:pt x="499394" y="284337"/>
                        <a:pt x="497133" y="285351"/>
                      </a:cubicBezTo>
                      <a:cubicBezTo>
                        <a:pt x="490353" y="287378"/>
                        <a:pt x="484702" y="285351"/>
                        <a:pt x="477922" y="287378"/>
                      </a:cubicBezTo>
                      <a:cubicBezTo>
                        <a:pt x="476791" y="288391"/>
                        <a:pt x="471141" y="294471"/>
                        <a:pt x="470011" y="294471"/>
                      </a:cubicBezTo>
                      <a:cubicBezTo>
                        <a:pt x="459839" y="295484"/>
                        <a:pt x="464360" y="287378"/>
                        <a:pt x="456449" y="289404"/>
                      </a:cubicBezTo>
                      <a:lnTo>
                        <a:pt x="456449" y="291431"/>
                      </a:lnTo>
                      <a:cubicBezTo>
                        <a:pt x="449669" y="294471"/>
                        <a:pt x="441758" y="299538"/>
                        <a:pt x="434977" y="303591"/>
                      </a:cubicBezTo>
                      <a:lnTo>
                        <a:pt x="434977" y="308658"/>
                      </a:lnTo>
                      <a:cubicBezTo>
                        <a:pt x="427066" y="310685"/>
                        <a:pt x="413505" y="308658"/>
                        <a:pt x="405594" y="308658"/>
                      </a:cubicBezTo>
                      <a:lnTo>
                        <a:pt x="405594" y="303591"/>
                      </a:lnTo>
                      <a:cubicBezTo>
                        <a:pt x="399943" y="302578"/>
                        <a:pt x="393163" y="303591"/>
                        <a:pt x="386382" y="303591"/>
                      </a:cubicBezTo>
                      <a:cubicBezTo>
                        <a:pt x="387512" y="305618"/>
                        <a:pt x="385252" y="310685"/>
                        <a:pt x="386382" y="313725"/>
                      </a:cubicBezTo>
                      <a:cubicBezTo>
                        <a:pt x="386382" y="314738"/>
                        <a:pt x="393163" y="318792"/>
                        <a:pt x="394293" y="320818"/>
                      </a:cubicBezTo>
                      <a:cubicBezTo>
                        <a:pt x="395423" y="320818"/>
                        <a:pt x="401073" y="319805"/>
                        <a:pt x="402204" y="320818"/>
                      </a:cubicBezTo>
                      <a:cubicBezTo>
                        <a:pt x="404464" y="321832"/>
                        <a:pt x="403333" y="326898"/>
                        <a:pt x="404464" y="327912"/>
                      </a:cubicBezTo>
                      <a:cubicBezTo>
                        <a:pt x="407854" y="329939"/>
                        <a:pt x="415765" y="327912"/>
                        <a:pt x="418025" y="329939"/>
                      </a:cubicBezTo>
                      <a:cubicBezTo>
                        <a:pt x="422546" y="336019"/>
                        <a:pt x="408984" y="339059"/>
                        <a:pt x="420285" y="344126"/>
                      </a:cubicBezTo>
                      <a:lnTo>
                        <a:pt x="420285" y="349192"/>
                      </a:lnTo>
                      <a:cubicBezTo>
                        <a:pt x="428196" y="348179"/>
                        <a:pt x="430457" y="346152"/>
                        <a:pt x="439497" y="347166"/>
                      </a:cubicBezTo>
                      <a:cubicBezTo>
                        <a:pt x="442888" y="347166"/>
                        <a:pt x="451928" y="350206"/>
                        <a:pt x="458710" y="349192"/>
                      </a:cubicBezTo>
                      <a:cubicBezTo>
                        <a:pt x="460970" y="349192"/>
                        <a:pt x="463230" y="344126"/>
                        <a:pt x="470011" y="344126"/>
                      </a:cubicBezTo>
                      <a:cubicBezTo>
                        <a:pt x="471141" y="344126"/>
                        <a:pt x="477922" y="346152"/>
                        <a:pt x="475661" y="346152"/>
                      </a:cubicBezTo>
                      <a:cubicBezTo>
                        <a:pt x="475661" y="346152"/>
                        <a:pt x="477922" y="357299"/>
                        <a:pt x="473401" y="360339"/>
                      </a:cubicBezTo>
                      <a:cubicBezTo>
                        <a:pt x="465490" y="364393"/>
                        <a:pt x="448538" y="361353"/>
                        <a:pt x="444018" y="362366"/>
                      </a:cubicBezTo>
                      <a:cubicBezTo>
                        <a:pt x="438368" y="363379"/>
                        <a:pt x="430457" y="369460"/>
                        <a:pt x="424806" y="372499"/>
                      </a:cubicBezTo>
                      <a:cubicBezTo>
                        <a:pt x="406724" y="379593"/>
                        <a:pt x="387512" y="385673"/>
                        <a:pt x="368300" y="391753"/>
                      </a:cubicBezTo>
                      <a:cubicBezTo>
                        <a:pt x="377341" y="377566"/>
                        <a:pt x="372820" y="373513"/>
                        <a:pt x="370560" y="355272"/>
                      </a:cubicBezTo>
                      <a:cubicBezTo>
                        <a:pt x="363779" y="352232"/>
                        <a:pt x="356999" y="349192"/>
                        <a:pt x="351348" y="348179"/>
                      </a:cubicBezTo>
                      <a:lnTo>
                        <a:pt x="335526" y="350206"/>
                      </a:lnTo>
                      <a:lnTo>
                        <a:pt x="337787" y="343112"/>
                      </a:lnTo>
                      <a:cubicBezTo>
                        <a:pt x="341177" y="342099"/>
                        <a:pt x="343437" y="339059"/>
                        <a:pt x="345698" y="338045"/>
                      </a:cubicBezTo>
                      <a:lnTo>
                        <a:pt x="370560" y="325885"/>
                      </a:lnTo>
                      <a:cubicBezTo>
                        <a:pt x="377341" y="324872"/>
                        <a:pt x="376211" y="328925"/>
                        <a:pt x="384121" y="327912"/>
                      </a:cubicBezTo>
                      <a:cubicBezTo>
                        <a:pt x="382991" y="322845"/>
                        <a:pt x="385252" y="321832"/>
                        <a:pt x="381862" y="320818"/>
                      </a:cubicBezTo>
                      <a:lnTo>
                        <a:pt x="379601" y="310685"/>
                      </a:lnTo>
                      <a:cubicBezTo>
                        <a:pt x="375080" y="311698"/>
                        <a:pt x="372820" y="314738"/>
                        <a:pt x="368300" y="312711"/>
                      </a:cubicBezTo>
                      <a:lnTo>
                        <a:pt x="366040" y="305618"/>
                      </a:lnTo>
                      <a:cubicBezTo>
                        <a:pt x="361519" y="305618"/>
                        <a:pt x="352478" y="307645"/>
                        <a:pt x="344567" y="307645"/>
                      </a:cubicBezTo>
                      <a:cubicBezTo>
                        <a:pt x="343437" y="311698"/>
                        <a:pt x="344567" y="316765"/>
                        <a:pt x="342307" y="317778"/>
                      </a:cubicBezTo>
                      <a:lnTo>
                        <a:pt x="336657" y="317778"/>
                      </a:lnTo>
                      <a:cubicBezTo>
                        <a:pt x="333266" y="315752"/>
                        <a:pt x="331006" y="309671"/>
                        <a:pt x="328746" y="307645"/>
                      </a:cubicBezTo>
                      <a:cubicBezTo>
                        <a:pt x="326485" y="306631"/>
                        <a:pt x="320835" y="308658"/>
                        <a:pt x="317445" y="307645"/>
                      </a:cubicBezTo>
                      <a:lnTo>
                        <a:pt x="317445" y="307645"/>
                      </a:lnTo>
                      <a:cubicBezTo>
                        <a:pt x="312924" y="306631"/>
                        <a:pt x="308404" y="307645"/>
                        <a:pt x="303883" y="305618"/>
                      </a:cubicBezTo>
                      <a:lnTo>
                        <a:pt x="306143" y="300551"/>
                      </a:lnTo>
                      <a:cubicBezTo>
                        <a:pt x="310664" y="298525"/>
                        <a:pt x="319705" y="300551"/>
                        <a:pt x="325356" y="300551"/>
                      </a:cubicBezTo>
                      <a:cubicBezTo>
                        <a:pt x="325356" y="300551"/>
                        <a:pt x="329876" y="294471"/>
                        <a:pt x="317445" y="295484"/>
                      </a:cubicBezTo>
                      <a:cubicBezTo>
                        <a:pt x="316314" y="292444"/>
                        <a:pt x="314054" y="287378"/>
                        <a:pt x="311794" y="285351"/>
                      </a:cubicBezTo>
                      <a:cubicBezTo>
                        <a:pt x="308404" y="286364"/>
                        <a:pt x="310664" y="289404"/>
                        <a:pt x="309534" y="292444"/>
                      </a:cubicBezTo>
                      <a:cubicBezTo>
                        <a:pt x="300493" y="293458"/>
                        <a:pt x="289192" y="291431"/>
                        <a:pt x="282411" y="292444"/>
                      </a:cubicBezTo>
                      <a:lnTo>
                        <a:pt x="276760" y="297511"/>
                      </a:lnTo>
                      <a:lnTo>
                        <a:pt x="271109" y="297511"/>
                      </a:lnTo>
                      <a:cubicBezTo>
                        <a:pt x="268850" y="298525"/>
                        <a:pt x="266589" y="304605"/>
                        <a:pt x="264329" y="309671"/>
                      </a:cubicBezTo>
                      <a:lnTo>
                        <a:pt x="242856" y="284337"/>
                      </a:lnTo>
                      <a:cubicBezTo>
                        <a:pt x="242856" y="284337"/>
                        <a:pt x="228165" y="276231"/>
                        <a:pt x="230425" y="264070"/>
                      </a:cubicBezTo>
                      <a:cubicBezTo>
                        <a:pt x="231555" y="255963"/>
                        <a:pt x="230425" y="253937"/>
                        <a:pt x="225905" y="246843"/>
                      </a:cubicBezTo>
                      <a:cubicBezTo>
                        <a:pt x="221385" y="239750"/>
                        <a:pt x="215734" y="239750"/>
                        <a:pt x="217994" y="228603"/>
                      </a:cubicBezTo>
                      <a:cubicBezTo>
                        <a:pt x="219124" y="219483"/>
                        <a:pt x="212344" y="212389"/>
                        <a:pt x="205563" y="208336"/>
                      </a:cubicBezTo>
                      <a:cubicBezTo>
                        <a:pt x="198782" y="203269"/>
                        <a:pt x="196522" y="200229"/>
                        <a:pt x="189741" y="196175"/>
                      </a:cubicBezTo>
                      <a:cubicBezTo>
                        <a:pt x="182960" y="193135"/>
                        <a:pt x="180700" y="189082"/>
                        <a:pt x="172789" y="187055"/>
                      </a:cubicBezTo>
                      <a:cubicBezTo>
                        <a:pt x="164879" y="185028"/>
                        <a:pt x="154707" y="181989"/>
                        <a:pt x="151317" y="186042"/>
                      </a:cubicBezTo>
                      <a:cubicBezTo>
                        <a:pt x="146796" y="190095"/>
                        <a:pt x="130975" y="187055"/>
                        <a:pt x="129844" y="197189"/>
                      </a:cubicBezTo>
                      <a:cubicBezTo>
                        <a:pt x="129844" y="197189"/>
                        <a:pt x="118543" y="200229"/>
                        <a:pt x="117413" y="207322"/>
                      </a:cubicBezTo>
                      <a:cubicBezTo>
                        <a:pt x="116284" y="214416"/>
                        <a:pt x="110633" y="215429"/>
                        <a:pt x="101591" y="215429"/>
                      </a:cubicBezTo>
                      <a:cubicBezTo>
                        <a:pt x="92551" y="215429"/>
                        <a:pt x="91421" y="224549"/>
                        <a:pt x="83510" y="228603"/>
                      </a:cubicBezTo>
                      <a:cubicBezTo>
                        <a:pt x="74469" y="232656"/>
                        <a:pt x="73338" y="231643"/>
                        <a:pt x="67688" y="224549"/>
                      </a:cubicBezTo>
                      <a:cubicBezTo>
                        <a:pt x="62037" y="217456"/>
                        <a:pt x="56387" y="216443"/>
                        <a:pt x="45085" y="216443"/>
                      </a:cubicBezTo>
                      <a:cubicBezTo>
                        <a:pt x="33784" y="216443"/>
                        <a:pt x="27004" y="217456"/>
                        <a:pt x="22483" y="210362"/>
                      </a:cubicBezTo>
                      <a:cubicBezTo>
                        <a:pt x="17963" y="203269"/>
                        <a:pt x="10052" y="204282"/>
                        <a:pt x="10052" y="204282"/>
                      </a:cubicBezTo>
                      <a:lnTo>
                        <a:pt x="14573" y="188069"/>
                      </a:lnTo>
                      <a:lnTo>
                        <a:pt x="27004" y="184015"/>
                      </a:lnTo>
                      <a:cubicBezTo>
                        <a:pt x="27004" y="184015"/>
                        <a:pt x="49606" y="177935"/>
                        <a:pt x="47346" y="169828"/>
                      </a:cubicBezTo>
                      <a:cubicBezTo>
                        <a:pt x="45085" y="161721"/>
                        <a:pt x="37175" y="154628"/>
                        <a:pt x="42826" y="146521"/>
                      </a:cubicBezTo>
                      <a:cubicBezTo>
                        <a:pt x="48476" y="138414"/>
                        <a:pt x="49606" y="136387"/>
                        <a:pt x="52996" y="128281"/>
                      </a:cubicBezTo>
                      <a:cubicBezTo>
                        <a:pt x="56387" y="120174"/>
                        <a:pt x="63168" y="108013"/>
                        <a:pt x="63168" y="108013"/>
                      </a:cubicBezTo>
                      <a:cubicBezTo>
                        <a:pt x="63168" y="108013"/>
                        <a:pt x="47346" y="91800"/>
                        <a:pt x="49606" y="83693"/>
                      </a:cubicBezTo>
                      <a:cubicBezTo>
                        <a:pt x="51867" y="75586"/>
                        <a:pt x="58647" y="70519"/>
                        <a:pt x="55257" y="60386"/>
                      </a:cubicBezTo>
                      <a:cubicBezTo>
                        <a:pt x="51867" y="50252"/>
                        <a:pt x="62037" y="55319"/>
                        <a:pt x="56387" y="49239"/>
                      </a:cubicBezTo>
                      <a:cubicBezTo>
                        <a:pt x="50736" y="43158"/>
                        <a:pt x="46216" y="33025"/>
                        <a:pt x="55257" y="27958"/>
                      </a:cubicBezTo>
                      <a:cubicBezTo>
                        <a:pt x="55257" y="27958"/>
                        <a:pt x="67688" y="17825"/>
                        <a:pt x="73338" y="30998"/>
                      </a:cubicBezTo>
                      <a:cubicBezTo>
                        <a:pt x="78989" y="44172"/>
                        <a:pt x="88031" y="24918"/>
                        <a:pt x="88031" y="24918"/>
                      </a:cubicBezTo>
                      <a:cubicBezTo>
                        <a:pt x="88031" y="24918"/>
                        <a:pt x="104982" y="21878"/>
                        <a:pt x="115153" y="23905"/>
                      </a:cubicBezTo>
                      <a:cubicBezTo>
                        <a:pt x="125324" y="25931"/>
                        <a:pt x="144537" y="26945"/>
                        <a:pt x="153577" y="28972"/>
                      </a:cubicBezTo>
                      <a:cubicBezTo>
                        <a:pt x="162618" y="30998"/>
                        <a:pt x="173919" y="29985"/>
                        <a:pt x="182960" y="29985"/>
                      </a:cubicBezTo>
                      <a:cubicBezTo>
                        <a:pt x="192001" y="29985"/>
                        <a:pt x="195392" y="28972"/>
                        <a:pt x="195392" y="28972"/>
                      </a:cubicBezTo>
                      <a:lnTo>
                        <a:pt x="199912" y="38092"/>
                      </a:lnTo>
                      <a:cubicBezTo>
                        <a:pt x="199912" y="38092"/>
                        <a:pt x="203302" y="28972"/>
                        <a:pt x="205563" y="27958"/>
                      </a:cubicBezTo>
                      <a:cubicBezTo>
                        <a:pt x="207823" y="26945"/>
                        <a:pt x="212344" y="37078"/>
                        <a:pt x="221385" y="32012"/>
                      </a:cubicBezTo>
                      <a:cubicBezTo>
                        <a:pt x="230425" y="26945"/>
                        <a:pt x="228165" y="33025"/>
                        <a:pt x="237206" y="32012"/>
                      </a:cubicBezTo>
                      <a:cubicBezTo>
                        <a:pt x="246247" y="30998"/>
                        <a:pt x="256418" y="32012"/>
                        <a:pt x="266589" y="35052"/>
                      </a:cubicBezTo>
                      <a:cubicBezTo>
                        <a:pt x="276760" y="37078"/>
                        <a:pt x="275630" y="34038"/>
                        <a:pt x="276760" y="21878"/>
                      </a:cubicBezTo>
                      <a:cubicBezTo>
                        <a:pt x="277890" y="10731"/>
                        <a:pt x="280151" y="12758"/>
                        <a:pt x="286931" y="11745"/>
                      </a:cubicBezTo>
                      <a:cubicBezTo>
                        <a:pt x="293712" y="10731"/>
                        <a:pt x="300493" y="10731"/>
                        <a:pt x="300493" y="10731"/>
                      </a:cubicBezTo>
                      <a:cubicBezTo>
                        <a:pt x="300493" y="10731"/>
                        <a:pt x="310664" y="30998"/>
                        <a:pt x="321965" y="13771"/>
                      </a:cubicBezTo>
                      <a:cubicBezTo>
                        <a:pt x="327615" y="4651"/>
                        <a:pt x="328746" y="10731"/>
                        <a:pt x="337787" y="14785"/>
                      </a:cubicBezTo>
                      <a:cubicBezTo>
                        <a:pt x="346828" y="18838"/>
                        <a:pt x="354738" y="10731"/>
                        <a:pt x="354738" y="18838"/>
                      </a:cubicBezTo>
                      <a:cubicBezTo>
                        <a:pt x="354738" y="26945"/>
                        <a:pt x="360389" y="34038"/>
                        <a:pt x="360389" y="34038"/>
                      </a:cubicBezTo>
                      <a:cubicBezTo>
                        <a:pt x="360389" y="34038"/>
                        <a:pt x="361519" y="50252"/>
                        <a:pt x="367170" y="50252"/>
                      </a:cubicBezTo>
                      <a:cubicBezTo>
                        <a:pt x="372820" y="50252"/>
                        <a:pt x="368300" y="63426"/>
                        <a:pt x="377341" y="63426"/>
                      </a:cubicBezTo>
                      <a:cubicBezTo>
                        <a:pt x="386382" y="63426"/>
                        <a:pt x="396553" y="60386"/>
                        <a:pt x="402204" y="64439"/>
                      </a:cubicBezTo>
                      <a:cubicBezTo>
                        <a:pt x="413505" y="72546"/>
                        <a:pt x="418025" y="70519"/>
                        <a:pt x="425936" y="68492"/>
                      </a:cubicBezTo>
                      <a:cubicBezTo>
                        <a:pt x="434977" y="65452"/>
                        <a:pt x="432717" y="79639"/>
                        <a:pt x="438368" y="82680"/>
                      </a:cubicBezTo>
                      <a:cubicBezTo>
                        <a:pt x="448538" y="87746"/>
                        <a:pt x="444018" y="86733"/>
                        <a:pt x="453059" y="87746"/>
                      </a:cubicBezTo>
                      <a:cubicBezTo>
                        <a:pt x="462100" y="88760"/>
                        <a:pt x="463230" y="109027"/>
                        <a:pt x="463230" y="109027"/>
                      </a:cubicBezTo>
                      <a:cubicBezTo>
                        <a:pt x="463230" y="109027"/>
                        <a:pt x="474531" y="104973"/>
                        <a:pt x="483572" y="102947"/>
                      </a:cubicBezTo>
                      <a:cubicBezTo>
                        <a:pt x="492613" y="100920"/>
                        <a:pt x="498264" y="97880"/>
                        <a:pt x="498264" y="97880"/>
                      </a:cubicBezTo>
                      <a:cubicBezTo>
                        <a:pt x="498264" y="97880"/>
                        <a:pt x="514085" y="96866"/>
                        <a:pt x="516345" y="101933"/>
                      </a:cubicBezTo>
                      <a:cubicBezTo>
                        <a:pt x="518606" y="107000"/>
                        <a:pt x="514085" y="110040"/>
                        <a:pt x="525386" y="110040"/>
                      </a:cubicBezTo>
                      <a:cubicBezTo>
                        <a:pt x="536687" y="110040"/>
                        <a:pt x="535558" y="116120"/>
                        <a:pt x="543469" y="119160"/>
                      </a:cubicBezTo>
                      <a:cubicBezTo>
                        <a:pt x="551380" y="122200"/>
                        <a:pt x="581892" y="132334"/>
                        <a:pt x="589803" y="137401"/>
                      </a:cubicBezTo>
                      <a:cubicBezTo>
                        <a:pt x="604495" y="145508"/>
                        <a:pt x="585283" y="150574"/>
                        <a:pt x="593193" y="155641"/>
                      </a:cubicBezTo>
                      <a:cubicBezTo>
                        <a:pt x="601104" y="160708"/>
                        <a:pt x="613536" y="156655"/>
                        <a:pt x="609015" y="164761"/>
                      </a:cubicBezTo>
                      <a:cubicBezTo>
                        <a:pt x="604495" y="172868"/>
                        <a:pt x="593193" y="175908"/>
                        <a:pt x="602235" y="177935"/>
                      </a:cubicBezTo>
                      <a:cubicBezTo>
                        <a:pt x="618056" y="180975"/>
                        <a:pt x="602235" y="196175"/>
                        <a:pt x="607886" y="201242"/>
                      </a:cubicBezTo>
                      <a:cubicBezTo>
                        <a:pt x="613536" y="206309"/>
                        <a:pt x="613536" y="209349"/>
                        <a:pt x="612406" y="217456"/>
                      </a:cubicBezTo>
                      <a:cubicBezTo>
                        <a:pt x="611276" y="225563"/>
                        <a:pt x="609015" y="232656"/>
                        <a:pt x="606755" y="240763"/>
                      </a:cubicBezTo>
                      <a:cubicBezTo>
                        <a:pt x="603365" y="248870"/>
                        <a:pt x="586413" y="249883"/>
                        <a:pt x="577372" y="249883"/>
                      </a:cubicBezTo>
                      <a:lnTo>
                        <a:pt x="569461" y="260017"/>
                      </a:lnTo>
                      <a:lnTo>
                        <a:pt x="558160" y="265084"/>
                      </a:lnTo>
                      <a:close/>
                      <a:moveTo>
                        <a:pt x="262069" y="309671"/>
                      </a:moveTo>
                      <a:cubicBezTo>
                        <a:pt x="262069" y="309671"/>
                        <a:pt x="243987" y="300551"/>
                        <a:pt x="238336" y="301564"/>
                      </a:cubicBezTo>
                      <a:cubicBezTo>
                        <a:pt x="231555" y="301564"/>
                        <a:pt x="222514" y="290418"/>
                        <a:pt x="222514" y="297511"/>
                      </a:cubicBezTo>
                      <a:cubicBezTo>
                        <a:pt x="223645" y="305618"/>
                        <a:pt x="205563" y="311698"/>
                        <a:pt x="205563" y="316765"/>
                      </a:cubicBezTo>
                      <a:cubicBezTo>
                        <a:pt x="205563" y="321832"/>
                        <a:pt x="194261" y="338045"/>
                        <a:pt x="194261" y="338045"/>
                      </a:cubicBezTo>
                      <a:lnTo>
                        <a:pt x="201042" y="341085"/>
                      </a:lnTo>
                      <a:cubicBezTo>
                        <a:pt x="201042" y="341085"/>
                        <a:pt x="213474" y="347166"/>
                        <a:pt x="215734" y="342099"/>
                      </a:cubicBezTo>
                      <a:cubicBezTo>
                        <a:pt x="217994" y="337032"/>
                        <a:pt x="236076" y="342099"/>
                        <a:pt x="236076" y="342099"/>
                      </a:cubicBezTo>
                      <a:cubicBezTo>
                        <a:pt x="236076" y="340072"/>
                        <a:pt x="236076" y="333992"/>
                        <a:pt x="234946" y="333992"/>
                      </a:cubicBezTo>
                      <a:cubicBezTo>
                        <a:pt x="241727" y="329939"/>
                        <a:pt x="251898" y="327912"/>
                        <a:pt x="256418" y="321832"/>
                      </a:cubicBezTo>
                      <a:cubicBezTo>
                        <a:pt x="257548" y="319805"/>
                        <a:pt x="259808" y="314738"/>
                        <a:pt x="262069" y="30967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1" name="Freeform: Shape 270">
                  <a:extLst>
                    <a:ext uri="{FF2B5EF4-FFF2-40B4-BE49-F238E27FC236}">
                      <a16:creationId xmlns:a16="http://schemas.microsoft.com/office/drawing/2014/main" id="{1A5CDB5F-390B-4957-8489-33CA92E736E6}"/>
                    </a:ext>
                  </a:extLst>
                </p:cNvPr>
                <p:cNvSpPr/>
                <p:nvPr/>
              </p:nvSpPr>
              <p:spPr>
                <a:xfrm>
                  <a:off x="6901892" y="4094460"/>
                  <a:ext cx="214723" cy="273606"/>
                </a:xfrm>
                <a:custGeom>
                  <a:avLst/>
                  <a:gdLst>
                    <a:gd name="connsiteX0" fmla="*/ 195990 w 214722"/>
                    <a:gd name="connsiteY0" fmla="*/ 196484 h 273606"/>
                    <a:gd name="connsiteX1" fmla="*/ 195990 w 214722"/>
                    <a:gd name="connsiteY1" fmla="*/ 184324 h 273606"/>
                    <a:gd name="connsiteX2" fmla="*/ 192600 w 214722"/>
                    <a:gd name="connsiteY2" fmla="*/ 154937 h 273606"/>
                    <a:gd name="connsiteX3" fmla="*/ 198250 w 214722"/>
                    <a:gd name="connsiteY3" fmla="*/ 129603 h 273606"/>
                    <a:gd name="connsiteX4" fmla="*/ 210681 w 214722"/>
                    <a:gd name="connsiteY4" fmla="*/ 116429 h 273606"/>
                    <a:gd name="connsiteX5" fmla="*/ 215202 w 214722"/>
                    <a:gd name="connsiteY5" fmla="*/ 98189 h 273606"/>
                    <a:gd name="connsiteX6" fmla="*/ 206161 w 214722"/>
                    <a:gd name="connsiteY6" fmla="*/ 77922 h 273606"/>
                    <a:gd name="connsiteX7" fmla="*/ 201641 w 214722"/>
                    <a:gd name="connsiteY7" fmla="*/ 54614 h 273606"/>
                    <a:gd name="connsiteX8" fmla="*/ 202771 w 214722"/>
                    <a:gd name="connsiteY8" fmla="*/ 34347 h 273606"/>
                    <a:gd name="connsiteX9" fmla="*/ 193730 w 214722"/>
                    <a:gd name="connsiteY9" fmla="*/ 26240 h 273606"/>
                    <a:gd name="connsiteX10" fmla="*/ 186949 w 214722"/>
                    <a:gd name="connsiteY10" fmla="*/ 18134 h 273606"/>
                    <a:gd name="connsiteX11" fmla="*/ 185819 w 214722"/>
                    <a:gd name="connsiteY11" fmla="*/ 9013 h 273606"/>
                    <a:gd name="connsiteX12" fmla="*/ 172258 w 214722"/>
                    <a:gd name="connsiteY12" fmla="*/ 18134 h 273606"/>
                    <a:gd name="connsiteX13" fmla="*/ 146265 w 214722"/>
                    <a:gd name="connsiteY13" fmla="*/ 12053 h 273606"/>
                    <a:gd name="connsiteX14" fmla="*/ 131573 w 214722"/>
                    <a:gd name="connsiteY14" fmla="*/ 16107 h 273606"/>
                    <a:gd name="connsiteX15" fmla="*/ 105580 w 214722"/>
                    <a:gd name="connsiteY15" fmla="*/ 31307 h 273606"/>
                    <a:gd name="connsiteX16" fmla="*/ 106710 w 214722"/>
                    <a:gd name="connsiteY16" fmla="*/ 45494 h 273606"/>
                    <a:gd name="connsiteX17" fmla="*/ 94279 w 214722"/>
                    <a:gd name="connsiteY17" fmla="*/ 65761 h 273606"/>
                    <a:gd name="connsiteX18" fmla="*/ 89759 w 214722"/>
                    <a:gd name="connsiteY18" fmla="*/ 79948 h 273606"/>
                    <a:gd name="connsiteX19" fmla="*/ 89759 w 214722"/>
                    <a:gd name="connsiteY19" fmla="*/ 101229 h 273606"/>
                    <a:gd name="connsiteX20" fmla="*/ 94279 w 214722"/>
                    <a:gd name="connsiteY20" fmla="*/ 110349 h 273606"/>
                    <a:gd name="connsiteX21" fmla="*/ 97670 w 214722"/>
                    <a:gd name="connsiteY21" fmla="*/ 117442 h 273606"/>
                    <a:gd name="connsiteX22" fmla="*/ 78457 w 214722"/>
                    <a:gd name="connsiteY22" fmla="*/ 139736 h 273606"/>
                    <a:gd name="connsiteX23" fmla="*/ 78457 w 214722"/>
                    <a:gd name="connsiteY23" fmla="*/ 141763 h 273606"/>
                    <a:gd name="connsiteX24" fmla="*/ 76198 w 214722"/>
                    <a:gd name="connsiteY24" fmla="*/ 143790 h 273606"/>
                    <a:gd name="connsiteX25" fmla="*/ 68287 w 214722"/>
                    <a:gd name="connsiteY25" fmla="*/ 139736 h 273606"/>
                    <a:gd name="connsiteX26" fmla="*/ 60376 w 214722"/>
                    <a:gd name="connsiteY26" fmla="*/ 146830 h 273606"/>
                    <a:gd name="connsiteX27" fmla="*/ 44554 w 214722"/>
                    <a:gd name="connsiteY27" fmla="*/ 154937 h 273606"/>
                    <a:gd name="connsiteX28" fmla="*/ 34383 w 214722"/>
                    <a:gd name="connsiteY28" fmla="*/ 173177 h 273606"/>
                    <a:gd name="connsiteX29" fmla="*/ 27602 w 214722"/>
                    <a:gd name="connsiteY29" fmla="*/ 198511 h 273606"/>
                    <a:gd name="connsiteX30" fmla="*/ 36643 w 214722"/>
                    <a:gd name="connsiteY30" fmla="*/ 198511 h 273606"/>
                    <a:gd name="connsiteX31" fmla="*/ 25342 w 214722"/>
                    <a:gd name="connsiteY31" fmla="*/ 220805 h 273606"/>
                    <a:gd name="connsiteX32" fmla="*/ 18561 w 214722"/>
                    <a:gd name="connsiteY32" fmla="*/ 223845 h 273606"/>
                    <a:gd name="connsiteX33" fmla="*/ 16301 w 214722"/>
                    <a:gd name="connsiteY33" fmla="*/ 227898 h 273606"/>
                    <a:gd name="connsiteX34" fmla="*/ 17431 w 214722"/>
                    <a:gd name="connsiteY34" fmla="*/ 249179 h 273606"/>
                    <a:gd name="connsiteX35" fmla="*/ 18561 w 214722"/>
                    <a:gd name="connsiteY35" fmla="*/ 252219 h 273606"/>
                    <a:gd name="connsiteX36" fmla="*/ 35513 w 214722"/>
                    <a:gd name="connsiteY36" fmla="*/ 261339 h 273606"/>
                    <a:gd name="connsiteX37" fmla="*/ 55855 w 214722"/>
                    <a:gd name="connsiteY37" fmla="*/ 262353 h 273606"/>
                    <a:gd name="connsiteX38" fmla="*/ 73937 w 214722"/>
                    <a:gd name="connsiteY38" fmla="*/ 253232 h 273606"/>
                    <a:gd name="connsiteX39" fmla="*/ 118012 w 214722"/>
                    <a:gd name="connsiteY39" fmla="*/ 252219 h 273606"/>
                    <a:gd name="connsiteX40" fmla="*/ 118012 w 214722"/>
                    <a:gd name="connsiteY40" fmla="*/ 245125 h 273606"/>
                    <a:gd name="connsiteX41" fmla="*/ 104451 w 214722"/>
                    <a:gd name="connsiteY41" fmla="*/ 234992 h 273606"/>
                    <a:gd name="connsiteX42" fmla="*/ 115752 w 214722"/>
                    <a:gd name="connsiteY42" fmla="*/ 217765 h 273606"/>
                    <a:gd name="connsiteX43" fmla="*/ 115752 w 214722"/>
                    <a:gd name="connsiteY43" fmla="*/ 198511 h 273606"/>
                    <a:gd name="connsiteX44" fmla="*/ 115752 w 214722"/>
                    <a:gd name="connsiteY44" fmla="*/ 191418 h 273606"/>
                    <a:gd name="connsiteX45" fmla="*/ 167737 w 214722"/>
                    <a:gd name="connsiteY45" fmla="*/ 186351 h 273606"/>
                    <a:gd name="connsiteX46" fmla="*/ 173388 w 214722"/>
                    <a:gd name="connsiteY46" fmla="*/ 174190 h 273606"/>
                    <a:gd name="connsiteX47" fmla="*/ 179038 w 214722"/>
                    <a:gd name="connsiteY47" fmla="*/ 174190 h 273606"/>
                    <a:gd name="connsiteX48" fmla="*/ 181299 w 214722"/>
                    <a:gd name="connsiteY48" fmla="*/ 181284 h 273606"/>
                    <a:gd name="connsiteX49" fmla="*/ 189210 w 214722"/>
                    <a:gd name="connsiteY49" fmla="*/ 181284 h 273606"/>
                    <a:gd name="connsiteX50" fmla="*/ 186949 w 214722"/>
                    <a:gd name="connsiteY50" fmla="*/ 195471 h 273606"/>
                    <a:gd name="connsiteX51" fmla="*/ 195990 w 214722"/>
                    <a:gd name="connsiteY51" fmla="*/ 196484 h 273606"/>
                    <a:gd name="connsiteX52" fmla="*/ 89759 w 214722"/>
                    <a:gd name="connsiteY52" fmla="*/ 120483 h 273606"/>
                    <a:gd name="connsiteX53" fmla="*/ 82978 w 214722"/>
                    <a:gd name="connsiteY53" fmla="*/ 127576 h 273606"/>
                    <a:gd name="connsiteX54" fmla="*/ 87499 w 214722"/>
                    <a:gd name="connsiteY54" fmla="*/ 124536 h 273606"/>
                    <a:gd name="connsiteX55" fmla="*/ 89759 w 214722"/>
                    <a:gd name="connsiteY55" fmla="*/ 120483 h 273606"/>
                    <a:gd name="connsiteX56" fmla="*/ 136094 w 214722"/>
                    <a:gd name="connsiteY56" fmla="*/ 122509 h 273606"/>
                    <a:gd name="connsiteX57" fmla="*/ 144005 w 214722"/>
                    <a:gd name="connsiteY57" fmla="*/ 122509 h 273606"/>
                    <a:gd name="connsiteX58" fmla="*/ 149655 w 214722"/>
                    <a:gd name="connsiteY58" fmla="*/ 132643 h 273606"/>
                    <a:gd name="connsiteX59" fmla="*/ 147395 w 214722"/>
                    <a:gd name="connsiteY59" fmla="*/ 134670 h 273606"/>
                    <a:gd name="connsiteX60" fmla="*/ 128183 w 214722"/>
                    <a:gd name="connsiteY60" fmla="*/ 132643 h 273606"/>
                    <a:gd name="connsiteX61" fmla="*/ 130443 w 214722"/>
                    <a:gd name="connsiteY61" fmla="*/ 127576 h 273606"/>
                    <a:gd name="connsiteX62" fmla="*/ 136094 w 214722"/>
                    <a:gd name="connsiteY62" fmla="*/ 122509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14722" h="273606">
                      <a:moveTo>
                        <a:pt x="195990" y="196484"/>
                      </a:moveTo>
                      <a:cubicBezTo>
                        <a:pt x="195990" y="196484"/>
                        <a:pt x="191469" y="188377"/>
                        <a:pt x="195990" y="184324"/>
                      </a:cubicBezTo>
                      <a:cubicBezTo>
                        <a:pt x="200511" y="180271"/>
                        <a:pt x="185819" y="161017"/>
                        <a:pt x="192600" y="154937"/>
                      </a:cubicBezTo>
                      <a:cubicBezTo>
                        <a:pt x="199380" y="148857"/>
                        <a:pt x="197120" y="143790"/>
                        <a:pt x="198250" y="129603"/>
                      </a:cubicBezTo>
                      <a:cubicBezTo>
                        <a:pt x="199380" y="115416"/>
                        <a:pt x="208421" y="121496"/>
                        <a:pt x="210681" y="116429"/>
                      </a:cubicBezTo>
                      <a:cubicBezTo>
                        <a:pt x="212942" y="111362"/>
                        <a:pt x="214072" y="105282"/>
                        <a:pt x="215202" y="98189"/>
                      </a:cubicBezTo>
                      <a:cubicBezTo>
                        <a:pt x="216332" y="91095"/>
                        <a:pt x="215202" y="84002"/>
                        <a:pt x="206161" y="77922"/>
                      </a:cubicBezTo>
                      <a:cubicBezTo>
                        <a:pt x="197120" y="71841"/>
                        <a:pt x="199380" y="67788"/>
                        <a:pt x="201641" y="54614"/>
                      </a:cubicBezTo>
                      <a:cubicBezTo>
                        <a:pt x="203901" y="41441"/>
                        <a:pt x="210681" y="40427"/>
                        <a:pt x="202771" y="34347"/>
                      </a:cubicBezTo>
                      <a:cubicBezTo>
                        <a:pt x="194860" y="28267"/>
                        <a:pt x="208421" y="35360"/>
                        <a:pt x="193730" y="26240"/>
                      </a:cubicBezTo>
                      <a:cubicBezTo>
                        <a:pt x="189210" y="23200"/>
                        <a:pt x="186949" y="18134"/>
                        <a:pt x="186949" y="18134"/>
                      </a:cubicBezTo>
                      <a:lnTo>
                        <a:pt x="185819" y="9013"/>
                      </a:lnTo>
                      <a:lnTo>
                        <a:pt x="172258" y="18134"/>
                      </a:lnTo>
                      <a:cubicBezTo>
                        <a:pt x="172258" y="18134"/>
                        <a:pt x="156436" y="6987"/>
                        <a:pt x="146265" y="12053"/>
                      </a:cubicBezTo>
                      <a:cubicBezTo>
                        <a:pt x="138354" y="16107"/>
                        <a:pt x="142874" y="17120"/>
                        <a:pt x="131573" y="16107"/>
                      </a:cubicBezTo>
                      <a:cubicBezTo>
                        <a:pt x="120272" y="15093"/>
                        <a:pt x="108971" y="26240"/>
                        <a:pt x="105580" y="31307"/>
                      </a:cubicBezTo>
                      <a:cubicBezTo>
                        <a:pt x="105580" y="33334"/>
                        <a:pt x="110101" y="37387"/>
                        <a:pt x="106710" y="45494"/>
                      </a:cubicBezTo>
                      <a:cubicBezTo>
                        <a:pt x="103320" y="53601"/>
                        <a:pt x="85238" y="65761"/>
                        <a:pt x="94279" y="65761"/>
                      </a:cubicBezTo>
                      <a:cubicBezTo>
                        <a:pt x="103320" y="65761"/>
                        <a:pt x="93149" y="74882"/>
                        <a:pt x="89759" y="79948"/>
                      </a:cubicBezTo>
                      <a:cubicBezTo>
                        <a:pt x="86368" y="85015"/>
                        <a:pt x="84108" y="101229"/>
                        <a:pt x="89759" y="101229"/>
                      </a:cubicBezTo>
                      <a:cubicBezTo>
                        <a:pt x="94279" y="101229"/>
                        <a:pt x="95409" y="105282"/>
                        <a:pt x="94279" y="110349"/>
                      </a:cubicBezTo>
                      <a:cubicBezTo>
                        <a:pt x="99930" y="108322"/>
                        <a:pt x="97670" y="115416"/>
                        <a:pt x="97670" y="117442"/>
                      </a:cubicBezTo>
                      <a:cubicBezTo>
                        <a:pt x="97670" y="125549"/>
                        <a:pt x="84108" y="136696"/>
                        <a:pt x="78457" y="139736"/>
                      </a:cubicBezTo>
                      <a:lnTo>
                        <a:pt x="78457" y="141763"/>
                      </a:lnTo>
                      <a:lnTo>
                        <a:pt x="76198" y="143790"/>
                      </a:lnTo>
                      <a:cubicBezTo>
                        <a:pt x="71677" y="142776"/>
                        <a:pt x="69417" y="140750"/>
                        <a:pt x="68287" y="139736"/>
                      </a:cubicBezTo>
                      <a:cubicBezTo>
                        <a:pt x="63766" y="143790"/>
                        <a:pt x="60376" y="146830"/>
                        <a:pt x="60376" y="146830"/>
                      </a:cubicBezTo>
                      <a:lnTo>
                        <a:pt x="44554" y="154937"/>
                      </a:lnTo>
                      <a:cubicBezTo>
                        <a:pt x="44554" y="154937"/>
                        <a:pt x="34383" y="166084"/>
                        <a:pt x="34383" y="173177"/>
                      </a:cubicBezTo>
                      <a:cubicBezTo>
                        <a:pt x="34383" y="178244"/>
                        <a:pt x="32123" y="189391"/>
                        <a:pt x="27602" y="198511"/>
                      </a:cubicBezTo>
                      <a:cubicBezTo>
                        <a:pt x="29862" y="198511"/>
                        <a:pt x="34383" y="198511"/>
                        <a:pt x="36643" y="198511"/>
                      </a:cubicBezTo>
                      <a:cubicBezTo>
                        <a:pt x="32123" y="207631"/>
                        <a:pt x="32123" y="213711"/>
                        <a:pt x="25342" y="220805"/>
                      </a:cubicBezTo>
                      <a:cubicBezTo>
                        <a:pt x="24212" y="222831"/>
                        <a:pt x="19692" y="222831"/>
                        <a:pt x="18561" y="223845"/>
                      </a:cubicBezTo>
                      <a:cubicBezTo>
                        <a:pt x="18561" y="224858"/>
                        <a:pt x="17431" y="226885"/>
                        <a:pt x="16301" y="227898"/>
                      </a:cubicBezTo>
                      <a:cubicBezTo>
                        <a:pt x="1609" y="242085"/>
                        <a:pt x="17431" y="249179"/>
                        <a:pt x="17431" y="249179"/>
                      </a:cubicBezTo>
                      <a:lnTo>
                        <a:pt x="18561" y="252219"/>
                      </a:lnTo>
                      <a:cubicBezTo>
                        <a:pt x="18561" y="252219"/>
                        <a:pt x="27602" y="256272"/>
                        <a:pt x="35513" y="261339"/>
                      </a:cubicBezTo>
                      <a:cubicBezTo>
                        <a:pt x="43424" y="266406"/>
                        <a:pt x="50204" y="267419"/>
                        <a:pt x="55855" y="262353"/>
                      </a:cubicBezTo>
                      <a:cubicBezTo>
                        <a:pt x="61506" y="257286"/>
                        <a:pt x="73937" y="253232"/>
                        <a:pt x="73937" y="253232"/>
                      </a:cubicBezTo>
                      <a:lnTo>
                        <a:pt x="118012" y="252219"/>
                      </a:lnTo>
                      <a:cubicBezTo>
                        <a:pt x="122532" y="255259"/>
                        <a:pt x="118012" y="245125"/>
                        <a:pt x="118012" y="245125"/>
                      </a:cubicBezTo>
                      <a:cubicBezTo>
                        <a:pt x="113491" y="242085"/>
                        <a:pt x="107841" y="239045"/>
                        <a:pt x="104451" y="234992"/>
                      </a:cubicBezTo>
                      <a:cubicBezTo>
                        <a:pt x="106710" y="230939"/>
                        <a:pt x="114621" y="220805"/>
                        <a:pt x="115752" y="217765"/>
                      </a:cubicBezTo>
                      <a:cubicBezTo>
                        <a:pt x="115752" y="217765"/>
                        <a:pt x="105580" y="193444"/>
                        <a:pt x="115752" y="198511"/>
                      </a:cubicBezTo>
                      <a:cubicBezTo>
                        <a:pt x="115752" y="197498"/>
                        <a:pt x="114621" y="192431"/>
                        <a:pt x="115752" y="191418"/>
                      </a:cubicBezTo>
                      <a:cubicBezTo>
                        <a:pt x="124793" y="180271"/>
                        <a:pt x="150785" y="181284"/>
                        <a:pt x="167737" y="186351"/>
                      </a:cubicBezTo>
                      <a:cubicBezTo>
                        <a:pt x="168867" y="181284"/>
                        <a:pt x="171127" y="178244"/>
                        <a:pt x="173388" y="174190"/>
                      </a:cubicBezTo>
                      <a:lnTo>
                        <a:pt x="179038" y="174190"/>
                      </a:lnTo>
                      <a:cubicBezTo>
                        <a:pt x="180168" y="177230"/>
                        <a:pt x="179038" y="180271"/>
                        <a:pt x="181299" y="181284"/>
                      </a:cubicBezTo>
                      <a:cubicBezTo>
                        <a:pt x="182428" y="181284"/>
                        <a:pt x="189210" y="180271"/>
                        <a:pt x="189210" y="181284"/>
                      </a:cubicBezTo>
                      <a:cubicBezTo>
                        <a:pt x="191469" y="186351"/>
                        <a:pt x="186949" y="192431"/>
                        <a:pt x="186949" y="195471"/>
                      </a:cubicBezTo>
                      <a:cubicBezTo>
                        <a:pt x="193730" y="196484"/>
                        <a:pt x="193730" y="195471"/>
                        <a:pt x="195990" y="196484"/>
                      </a:cubicBezTo>
                      <a:close/>
                      <a:moveTo>
                        <a:pt x="89759" y="120483"/>
                      </a:moveTo>
                      <a:cubicBezTo>
                        <a:pt x="87499" y="122509"/>
                        <a:pt x="85238" y="125549"/>
                        <a:pt x="82978" y="127576"/>
                      </a:cubicBezTo>
                      <a:cubicBezTo>
                        <a:pt x="85238" y="126563"/>
                        <a:pt x="86368" y="125549"/>
                        <a:pt x="87499" y="124536"/>
                      </a:cubicBezTo>
                      <a:cubicBezTo>
                        <a:pt x="88629" y="123523"/>
                        <a:pt x="89759" y="122509"/>
                        <a:pt x="89759" y="120483"/>
                      </a:cubicBezTo>
                      <a:close/>
                      <a:moveTo>
                        <a:pt x="136094" y="122509"/>
                      </a:moveTo>
                      <a:cubicBezTo>
                        <a:pt x="136094" y="122509"/>
                        <a:pt x="142874" y="122509"/>
                        <a:pt x="144005" y="122509"/>
                      </a:cubicBezTo>
                      <a:cubicBezTo>
                        <a:pt x="145135" y="124536"/>
                        <a:pt x="147395" y="130616"/>
                        <a:pt x="149655" y="132643"/>
                      </a:cubicBezTo>
                      <a:cubicBezTo>
                        <a:pt x="149655" y="132643"/>
                        <a:pt x="148525" y="138723"/>
                        <a:pt x="147395" y="134670"/>
                      </a:cubicBezTo>
                      <a:cubicBezTo>
                        <a:pt x="153046" y="135683"/>
                        <a:pt x="133833" y="133656"/>
                        <a:pt x="128183" y="132643"/>
                      </a:cubicBezTo>
                      <a:cubicBezTo>
                        <a:pt x="128183" y="131629"/>
                        <a:pt x="125923" y="125549"/>
                        <a:pt x="130443" y="127576"/>
                      </a:cubicBezTo>
                      <a:cubicBezTo>
                        <a:pt x="133833" y="124536"/>
                        <a:pt x="131573" y="123523"/>
                        <a:pt x="136094" y="12250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2" name="Freeform: Shape 271">
                  <a:extLst>
                    <a:ext uri="{FF2B5EF4-FFF2-40B4-BE49-F238E27FC236}">
                      <a16:creationId xmlns:a16="http://schemas.microsoft.com/office/drawing/2014/main" id="{27CC7101-00F0-40C5-B6D8-181372931632}"/>
                    </a:ext>
                  </a:extLst>
                </p:cNvPr>
                <p:cNvSpPr/>
                <p:nvPr/>
              </p:nvSpPr>
              <p:spPr>
                <a:xfrm>
                  <a:off x="7730869" y="2505516"/>
                  <a:ext cx="519855" cy="344541"/>
                </a:xfrm>
                <a:custGeom>
                  <a:avLst/>
                  <a:gdLst>
                    <a:gd name="connsiteX0" fmla="*/ 10052 w 519855"/>
                    <a:gd name="connsiteY0" fmla="*/ 62721 h 344541"/>
                    <a:gd name="connsiteX1" fmla="*/ 21353 w 519855"/>
                    <a:gd name="connsiteY1" fmla="*/ 72855 h 344541"/>
                    <a:gd name="connsiteX2" fmla="*/ 27004 w 519855"/>
                    <a:gd name="connsiteY2" fmla="*/ 70828 h 344541"/>
                    <a:gd name="connsiteX3" fmla="*/ 24743 w 519855"/>
                    <a:gd name="connsiteY3" fmla="*/ 60695 h 344541"/>
                    <a:gd name="connsiteX4" fmla="*/ 36045 w 519855"/>
                    <a:gd name="connsiteY4" fmla="*/ 55628 h 344541"/>
                    <a:gd name="connsiteX5" fmla="*/ 41695 w 519855"/>
                    <a:gd name="connsiteY5" fmla="*/ 45494 h 344541"/>
                    <a:gd name="connsiteX6" fmla="*/ 68818 w 519855"/>
                    <a:gd name="connsiteY6" fmla="*/ 52588 h 344541"/>
                    <a:gd name="connsiteX7" fmla="*/ 68818 w 519855"/>
                    <a:gd name="connsiteY7" fmla="*/ 66775 h 344541"/>
                    <a:gd name="connsiteX8" fmla="*/ 95941 w 519855"/>
                    <a:gd name="connsiteY8" fmla="*/ 86029 h 344541"/>
                    <a:gd name="connsiteX9" fmla="*/ 90290 w 519855"/>
                    <a:gd name="connsiteY9" fmla="*/ 100216 h 344541"/>
                    <a:gd name="connsiteX10" fmla="*/ 78989 w 519855"/>
                    <a:gd name="connsiteY10" fmla="*/ 100216 h 344541"/>
                    <a:gd name="connsiteX11" fmla="*/ 78989 w 519855"/>
                    <a:gd name="connsiteY11" fmla="*/ 105282 h 344541"/>
                    <a:gd name="connsiteX12" fmla="*/ 78989 w 519855"/>
                    <a:gd name="connsiteY12" fmla="*/ 112376 h 344541"/>
                    <a:gd name="connsiteX13" fmla="*/ 38305 w 519855"/>
                    <a:gd name="connsiteY13" fmla="*/ 107309 h 344541"/>
                    <a:gd name="connsiteX14" fmla="*/ 36045 w 519855"/>
                    <a:gd name="connsiteY14" fmla="*/ 93122 h 344541"/>
                    <a:gd name="connsiteX15" fmla="*/ 28134 w 519855"/>
                    <a:gd name="connsiteY15" fmla="*/ 93122 h 344541"/>
                    <a:gd name="connsiteX16" fmla="*/ 30394 w 519855"/>
                    <a:gd name="connsiteY16" fmla="*/ 107309 h 344541"/>
                    <a:gd name="connsiteX17" fmla="*/ 16832 w 519855"/>
                    <a:gd name="connsiteY17" fmla="*/ 138723 h 344541"/>
                    <a:gd name="connsiteX18" fmla="*/ 19093 w 519855"/>
                    <a:gd name="connsiteY18" fmla="*/ 143790 h 344541"/>
                    <a:gd name="connsiteX19" fmla="*/ 27004 w 519855"/>
                    <a:gd name="connsiteY19" fmla="*/ 145817 h 344541"/>
                    <a:gd name="connsiteX20" fmla="*/ 40565 w 519855"/>
                    <a:gd name="connsiteY20" fmla="*/ 135683 h 344541"/>
                    <a:gd name="connsiteX21" fmla="*/ 65427 w 519855"/>
                    <a:gd name="connsiteY21" fmla="*/ 137710 h 344541"/>
                    <a:gd name="connsiteX22" fmla="*/ 46215 w 519855"/>
                    <a:gd name="connsiteY22" fmla="*/ 139737 h 344541"/>
                    <a:gd name="connsiteX23" fmla="*/ 43956 w 519855"/>
                    <a:gd name="connsiteY23" fmla="*/ 146830 h 344541"/>
                    <a:gd name="connsiteX24" fmla="*/ 55257 w 519855"/>
                    <a:gd name="connsiteY24" fmla="*/ 171151 h 344541"/>
                    <a:gd name="connsiteX25" fmla="*/ 71078 w 519855"/>
                    <a:gd name="connsiteY25" fmla="*/ 200538 h 344541"/>
                    <a:gd name="connsiteX26" fmla="*/ 59777 w 519855"/>
                    <a:gd name="connsiteY26" fmla="*/ 202565 h 344541"/>
                    <a:gd name="connsiteX27" fmla="*/ 62037 w 519855"/>
                    <a:gd name="connsiteY27" fmla="*/ 237019 h 344541"/>
                    <a:gd name="connsiteX28" fmla="*/ 64298 w 519855"/>
                    <a:gd name="connsiteY28" fmla="*/ 250192 h 344541"/>
                    <a:gd name="connsiteX29" fmla="*/ 89160 w 519855"/>
                    <a:gd name="connsiteY29" fmla="*/ 251206 h 344541"/>
                    <a:gd name="connsiteX30" fmla="*/ 95941 w 519855"/>
                    <a:gd name="connsiteY30" fmla="*/ 238032 h 344541"/>
                    <a:gd name="connsiteX31" fmla="*/ 99331 w 519855"/>
                    <a:gd name="connsiteY31" fmla="*/ 231952 h 344541"/>
                    <a:gd name="connsiteX32" fmla="*/ 106112 w 519855"/>
                    <a:gd name="connsiteY32" fmla="*/ 223845 h 344541"/>
                    <a:gd name="connsiteX33" fmla="*/ 115153 w 519855"/>
                    <a:gd name="connsiteY33" fmla="*/ 216752 h 344541"/>
                    <a:gd name="connsiteX34" fmla="*/ 135495 w 519855"/>
                    <a:gd name="connsiteY34" fmla="*/ 217765 h 344541"/>
                    <a:gd name="connsiteX35" fmla="*/ 150186 w 519855"/>
                    <a:gd name="connsiteY35" fmla="*/ 213712 h 344541"/>
                    <a:gd name="connsiteX36" fmla="*/ 168269 w 519855"/>
                    <a:gd name="connsiteY36" fmla="*/ 207631 h 344541"/>
                    <a:gd name="connsiteX37" fmla="*/ 206692 w 519855"/>
                    <a:gd name="connsiteY37" fmla="*/ 214725 h 344541"/>
                    <a:gd name="connsiteX38" fmla="*/ 230425 w 519855"/>
                    <a:gd name="connsiteY38" fmla="*/ 218778 h 344541"/>
                    <a:gd name="connsiteX39" fmla="*/ 239466 w 519855"/>
                    <a:gd name="connsiteY39" fmla="*/ 221818 h 344541"/>
                    <a:gd name="connsiteX40" fmla="*/ 265459 w 519855"/>
                    <a:gd name="connsiteY40" fmla="*/ 232965 h 344541"/>
                    <a:gd name="connsiteX41" fmla="*/ 289191 w 519855"/>
                    <a:gd name="connsiteY41" fmla="*/ 242085 h 344541"/>
                    <a:gd name="connsiteX42" fmla="*/ 309534 w 519855"/>
                    <a:gd name="connsiteY42" fmla="*/ 253232 h 344541"/>
                    <a:gd name="connsiteX43" fmla="*/ 320835 w 519855"/>
                    <a:gd name="connsiteY43" fmla="*/ 260326 h 344541"/>
                    <a:gd name="connsiteX44" fmla="*/ 328745 w 519855"/>
                    <a:gd name="connsiteY44" fmla="*/ 270460 h 344541"/>
                    <a:gd name="connsiteX45" fmla="*/ 335526 w 519855"/>
                    <a:gd name="connsiteY45" fmla="*/ 284647 h 344541"/>
                    <a:gd name="connsiteX46" fmla="*/ 355868 w 519855"/>
                    <a:gd name="connsiteY46" fmla="*/ 288700 h 344541"/>
                    <a:gd name="connsiteX47" fmla="*/ 355868 w 519855"/>
                    <a:gd name="connsiteY47" fmla="*/ 303900 h 344541"/>
                    <a:gd name="connsiteX48" fmla="*/ 360389 w 519855"/>
                    <a:gd name="connsiteY48" fmla="*/ 318087 h 344541"/>
                    <a:gd name="connsiteX49" fmla="*/ 353608 w 519855"/>
                    <a:gd name="connsiteY49" fmla="*/ 333288 h 344541"/>
                    <a:gd name="connsiteX50" fmla="*/ 369430 w 519855"/>
                    <a:gd name="connsiteY50" fmla="*/ 337341 h 344541"/>
                    <a:gd name="connsiteX51" fmla="*/ 378471 w 519855"/>
                    <a:gd name="connsiteY51" fmla="*/ 332274 h 344541"/>
                    <a:gd name="connsiteX52" fmla="*/ 393162 w 519855"/>
                    <a:gd name="connsiteY52" fmla="*/ 337341 h 344541"/>
                    <a:gd name="connsiteX53" fmla="*/ 421415 w 519855"/>
                    <a:gd name="connsiteY53" fmla="*/ 322141 h 344541"/>
                    <a:gd name="connsiteX54" fmla="*/ 416895 w 519855"/>
                    <a:gd name="connsiteY54" fmla="*/ 307954 h 344541"/>
                    <a:gd name="connsiteX55" fmla="*/ 437237 w 519855"/>
                    <a:gd name="connsiteY55" fmla="*/ 289713 h 344541"/>
                    <a:gd name="connsiteX56" fmla="*/ 442888 w 519855"/>
                    <a:gd name="connsiteY56" fmla="*/ 276540 h 344541"/>
                    <a:gd name="connsiteX57" fmla="*/ 442888 w 519855"/>
                    <a:gd name="connsiteY57" fmla="*/ 257286 h 344541"/>
                    <a:gd name="connsiteX58" fmla="*/ 449668 w 519855"/>
                    <a:gd name="connsiteY58" fmla="*/ 249179 h 344541"/>
                    <a:gd name="connsiteX59" fmla="*/ 455319 w 519855"/>
                    <a:gd name="connsiteY59" fmla="*/ 240059 h 344541"/>
                    <a:gd name="connsiteX60" fmla="*/ 467750 w 519855"/>
                    <a:gd name="connsiteY60" fmla="*/ 244112 h 344541"/>
                    <a:gd name="connsiteX61" fmla="*/ 479052 w 519855"/>
                    <a:gd name="connsiteY61" fmla="*/ 250192 h 344541"/>
                    <a:gd name="connsiteX62" fmla="*/ 496003 w 519855"/>
                    <a:gd name="connsiteY62" fmla="*/ 251206 h 344541"/>
                    <a:gd name="connsiteX63" fmla="*/ 496003 w 519855"/>
                    <a:gd name="connsiteY63" fmla="*/ 236005 h 344541"/>
                    <a:gd name="connsiteX64" fmla="*/ 497133 w 519855"/>
                    <a:gd name="connsiteY64" fmla="*/ 225872 h 344541"/>
                    <a:gd name="connsiteX65" fmla="*/ 517475 w 519855"/>
                    <a:gd name="connsiteY65" fmla="*/ 215738 h 344541"/>
                    <a:gd name="connsiteX66" fmla="*/ 511825 w 519855"/>
                    <a:gd name="connsiteY66" fmla="*/ 210672 h 344541"/>
                    <a:gd name="connsiteX67" fmla="*/ 497133 w 519855"/>
                    <a:gd name="connsiteY67" fmla="*/ 209658 h 344541"/>
                    <a:gd name="connsiteX68" fmla="*/ 485832 w 519855"/>
                    <a:gd name="connsiteY68" fmla="*/ 201551 h 344541"/>
                    <a:gd name="connsiteX69" fmla="*/ 470010 w 519855"/>
                    <a:gd name="connsiteY69" fmla="*/ 201551 h 344541"/>
                    <a:gd name="connsiteX70" fmla="*/ 457579 w 519855"/>
                    <a:gd name="connsiteY70" fmla="*/ 191418 h 344541"/>
                    <a:gd name="connsiteX71" fmla="*/ 437237 w 519855"/>
                    <a:gd name="connsiteY71" fmla="*/ 195471 h 344541"/>
                    <a:gd name="connsiteX72" fmla="*/ 425936 w 519855"/>
                    <a:gd name="connsiteY72" fmla="*/ 184324 h 344541"/>
                    <a:gd name="connsiteX73" fmla="*/ 410114 w 519855"/>
                    <a:gd name="connsiteY73" fmla="*/ 170137 h 344541"/>
                    <a:gd name="connsiteX74" fmla="*/ 397683 w 519855"/>
                    <a:gd name="connsiteY74" fmla="*/ 162030 h 344541"/>
                    <a:gd name="connsiteX75" fmla="*/ 386382 w 519855"/>
                    <a:gd name="connsiteY75" fmla="*/ 152910 h 344541"/>
                    <a:gd name="connsiteX76" fmla="*/ 379601 w 519855"/>
                    <a:gd name="connsiteY76" fmla="*/ 136696 h 344541"/>
                    <a:gd name="connsiteX77" fmla="*/ 369430 w 519855"/>
                    <a:gd name="connsiteY77" fmla="*/ 126563 h 344541"/>
                    <a:gd name="connsiteX78" fmla="*/ 358129 w 519855"/>
                    <a:gd name="connsiteY78" fmla="*/ 116429 h 344541"/>
                    <a:gd name="connsiteX79" fmla="*/ 361519 w 519855"/>
                    <a:gd name="connsiteY79" fmla="*/ 100216 h 344541"/>
                    <a:gd name="connsiteX80" fmla="*/ 345697 w 519855"/>
                    <a:gd name="connsiteY80" fmla="*/ 81975 h 344541"/>
                    <a:gd name="connsiteX81" fmla="*/ 329876 w 519855"/>
                    <a:gd name="connsiteY81" fmla="*/ 85015 h 344541"/>
                    <a:gd name="connsiteX82" fmla="*/ 308403 w 519855"/>
                    <a:gd name="connsiteY82" fmla="*/ 84002 h 344541"/>
                    <a:gd name="connsiteX83" fmla="*/ 299362 w 519855"/>
                    <a:gd name="connsiteY83" fmla="*/ 90082 h 344541"/>
                    <a:gd name="connsiteX84" fmla="*/ 282411 w 519855"/>
                    <a:gd name="connsiteY84" fmla="*/ 98189 h 344541"/>
                    <a:gd name="connsiteX85" fmla="*/ 269980 w 519855"/>
                    <a:gd name="connsiteY85" fmla="*/ 94135 h 344541"/>
                    <a:gd name="connsiteX86" fmla="*/ 263198 w 519855"/>
                    <a:gd name="connsiteY86" fmla="*/ 88055 h 344541"/>
                    <a:gd name="connsiteX87" fmla="*/ 269980 w 519855"/>
                    <a:gd name="connsiteY87" fmla="*/ 79948 h 344541"/>
                    <a:gd name="connsiteX88" fmla="*/ 265459 w 519855"/>
                    <a:gd name="connsiteY88" fmla="*/ 63735 h 344541"/>
                    <a:gd name="connsiteX89" fmla="*/ 248507 w 519855"/>
                    <a:gd name="connsiteY89" fmla="*/ 57655 h 344541"/>
                    <a:gd name="connsiteX90" fmla="*/ 241727 w 519855"/>
                    <a:gd name="connsiteY90" fmla="*/ 34347 h 344541"/>
                    <a:gd name="connsiteX91" fmla="*/ 236076 w 519855"/>
                    <a:gd name="connsiteY91" fmla="*/ 16107 h 344541"/>
                    <a:gd name="connsiteX92" fmla="*/ 225905 w 519855"/>
                    <a:gd name="connsiteY92" fmla="*/ 13067 h 344541"/>
                    <a:gd name="connsiteX93" fmla="*/ 216864 w 519855"/>
                    <a:gd name="connsiteY93" fmla="*/ 9013 h 344541"/>
                    <a:gd name="connsiteX94" fmla="*/ 205563 w 519855"/>
                    <a:gd name="connsiteY94" fmla="*/ 20160 h 344541"/>
                    <a:gd name="connsiteX95" fmla="*/ 196522 w 519855"/>
                    <a:gd name="connsiteY95" fmla="*/ 31307 h 344541"/>
                    <a:gd name="connsiteX96" fmla="*/ 178439 w 519855"/>
                    <a:gd name="connsiteY96" fmla="*/ 30294 h 344541"/>
                    <a:gd name="connsiteX97" fmla="*/ 169399 w 519855"/>
                    <a:gd name="connsiteY97" fmla="*/ 36374 h 344541"/>
                    <a:gd name="connsiteX98" fmla="*/ 170528 w 519855"/>
                    <a:gd name="connsiteY98" fmla="*/ 49548 h 344541"/>
                    <a:gd name="connsiteX99" fmla="*/ 179570 w 519855"/>
                    <a:gd name="connsiteY99" fmla="*/ 55628 h 344541"/>
                    <a:gd name="connsiteX100" fmla="*/ 178439 w 519855"/>
                    <a:gd name="connsiteY100" fmla="*/ 63735 h 344541"/>
                    <a:gd name="connsiteX101" fmla="*/ 142275 w 519855"/>
                    <a:gd name="connsiteY101" fmla="*/ 59681 h 344541"/>
                    <a:gd name="connsiteX102" fmla="*/ 109502 w 519855"/>
                    <a:gd name="connsiteY102" fmla="*/ 58668 h 344541"/>
                    <a:gd name="connsiteX103" fmla="*/ 59777 w 519855"/>
                    <a:gd name="connsiteY103" fmla="*/ 25227 h 344541"/>
                    <a:gd name="connsiteX104" fmla="*/ 22483 w 519855"/>
                    <a:gd name="connsiteY104" fmla="*/ 41441 h 344541"/>
                    <a:gd name="connsiteX105" fmla="*/ 10052 w 519855"/>
                    <a:gd name="connsiteY105" fmla="*/ 62721 h 344541"/>
                    <a:gd name="connsiteX106" fmla="*/ 33784 w 519855"/>
                    <a:gd name="connsiteY106" fmla="*/ 160004 h 344541"/>
                    <a:gd name="connsiteX107" fmla="*/ 33784 w 519855"/>
                    <a:gd name="connsiteY107" fmla="*/ 172164 h 344541"/>
                    <a:gd name="connsiteX108" fmla="*/ 33784 w 519855"/>
                    <a:gd name="connsiteY108" fmla="*/ 160004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519855" h="344541">
                      <a:moveTo>
                        <a:pt x="10052" y="62721"/>
                      </a:moveTo>
                      <a:cubicBezTo>
                        <a:pt x="14572" y="65761"/>
                        <a:pt x="16832" y="67788"/>
                        <a:pt x="21353" y="72855"/>
                      </a:cubicBezTo>
                      <a:cubicBezTo>
                        <a:pt x="21353" y="72855"/>
                        <a:pt x="25873" y="70828"/>
                        <a:pt x="27004" y="70828"/>
                      </a:cubicBezTo>
                      <a:cubicBezTo>
                        <a:pt x="29263" y="68802"/>
                        <a:pt x="24743" y="62721"/>
                        <a:pt x="24743" y="60695"/>
                      </a:cubicBezTo>
                      <a:cubicBezTo>
                        <a:pt x="28134" y="58668"/>
                        <a:pt x="32654" y="58668"/>
                        <a:pt x="36045" y="55628"/>
                      </a:cubicBezTo>
                      <a:cubicBezTo>
                        <a:pt x="37174" y="54614"/>
                        <a:pt x="40565" y="47521"/>
                        <a:pt x="41695" y="45494"/>
                      </a:cubicBezTo>
                      <a:cubicBezTo>
                        <a:pt x="50736" y="47521"/>
                        <a:pt x="60907" y="50561"/>
                        <a:pt x="68818" y="52588"/>
                      </a:cubicBezTo>
                      <a:cubicBezTo>
                        <a:pt x="68818" y="56641"/>
                        <a:pt x="66558" y="63735"/>
                        <a:pt x="68818" y="66775"/>
                      </a:cubicBezTo>
                      <a:cubicBezTo>
                        <a:pt x="73338" y="73868"/>
                        <a:pt x="89160" y="80962"/>
                        <a:pt x="95941" y="86029"/>
                      </a:cubicBezTo>
                      <a:cubicBezTo>
                        <a:pt x="91420" y="93122"/>
                        <a:pt x="97071" y="96162"/>
                        <a:pt x="90290" y="100216"/>
                      </a:cubicBezTo>
                      <a:cubicBezTo>
                        <a:pt x="88030" y="101229"/>
                        <a:pt x="82379" y="99202"/>
                        <a:pt x="78989" y="100216"/>
                      </a:cubicBezTo>
                      <a:cubicBezTo>
                        <a:pt x="78989" y="100216"/>
                        <a:pt x="72209" y="107309"/>
                        <a:pt x="78989" y="105282"/>
                      </a:cubicBezTo>
                      <a:cubicBezTo>
                        <a:pt x="78989" y="105282"/>
                        <a:pt x="78989" y="112376"/>
                        <a:pt x="78989" y="112376"/>
                      </a:cubicBezTo>
                      <a:cubicBezTo>
                        <a:pt x="62037" y="109336"/>
                        <a:pt x="56387" y="108322"/>
                        <a:pt x="38305" y="107309"/>
                      </a:cubicBezTo>
                      <a:cubicBezTo>
                        <a:pt x="37174" y="105282"/>
                        <a:pt x="37174" y="98189"/>
                        <a:pt x="36045" y="93122"/>
                      </a:cubicBezTo>
                      <a:cubicBezTo>
                        <a:pt x="34914" y="93122"/>
                        <a:pt x="28134" y="94135"/>
                        <a:pt x="28134" y="93122"/>
                      </a:cubicBezTo>
                      <a:cubicBezTo>
                        <a:pt x="28134" y="93122"/>
                        <a:pt x="31524" y="104269"/>
                        <a:pt x="30394" y="107309"/>
                      </a:cubicBezTo>
                      <a:cubicBezTo>
                        <a:pt x="29263" y="112376"/>
                        <a:pt x="22483" y="135683"/>
                        <a:pt x="16832" y="138723"/>
                      </a:cubicBezTo>
                      <a:cubicBezTo>
                        <a:pt x="14572" y="139737"/>
                        <a:pt x="20223" y="141763"/>
                        <a:pt x="19093" y="143790"/>
                      </a:cubicBezTo>
                      <a:cubicBezTo>
                        <a:pt x="25873" y="141763"/>
                        <a:pt x="22483" y="146830"/>
                        <a:pt x="27004" y="145817"/>
                      </a:cubicBezTo>
                      <a:cubicBezTo>
                        <a:pt x="29263" y="145817"/>
                        <a:pt x="36045" y="136696"/>
                        <a:pt x="40565" y="135683"/>
                      </a:cubicBezTo>
                      <a:cubicBezTo>
                        <a:pt x="48476" y="133656"/>
                        <a:pt x="62037" y="137710"/>
                        <a:pt x="65427" y="137710"/>
                      </a:cubicBezTo>
                      <a:cubicBezTo>
                        <a:pt x="58647" y="138723"/>
                        <a:pt x="51866" y="136696"/>
                        <a:pt x="46215" y="139737"/>
                      </a:cubicBezTo>
                      <a:cubicBezTo>
                        <a:pt x="45085" y="140750"/>
                        <a:pt x="45085" y="145817"/>
                        <a:pt x="43956" y="146830"/>
                      </a:cubicBezTo>
                      <a:cubicBezTo>
                        <a:pt x="54126" y="157977"/>
                        <a:pt x="56387" y="157977"/>
                        <a:pt x="55257" y="171151"/>
                      </a:cubicBezTo>
                      <a:cubicBezTo>
                        <a:pt x="64298" y="176217"/>
                        <a:pt x="78989" y="181284"/>
                        <a:pt x="71078" y="200538"/>
                      </a:cubicBezTo>
                      <a:cubicBezTo>
                        <a:pt x="69948" y="203578"/>
                        <a:pt x="64298" y="201551"/>
                        <a:pt x="59777" y="202565"/>
                      </a:cubicBezTo>
                      <a:cubicBezTo>
                        <a:pt x="57516" y="219792"/>
                        <a:pt x="58647" y="221818"/>
                        <a:pt x="62037" y="237019"/>
                      </a:cubicBezTo>
                      <a:cubicBezTo>
                        <a:pt x="63167" y="241072"/>
                        <a:pt x="63167" y="245126"/>
                        <a:pt x="64298" y="250192"/>
                      </a:cubicBezTo>
                      <a:lnTo>
                        <a:pt x="89160" y="251206"/>
                      </a:lnTo>
                      <a:lnTo>
                        <a:pt x="95941" y="238032"/>
                      </a:lnTo>
                      <a:lnTo>
                        <a:pt x="99331" y="231952"/>
                      </a:lnTo>
                      <a:lnTo>
                        <a:pt x="106112" y="223845"/>
                      </a:lnTo>
                      <a:lnTo>
                        <a:pt x="115153" y="216752"/>
                      </a:lnTo>
                      <a:lnTo>
                        <a:pt x="135495" y="217765"/>
                      </a:lnTo>
                      <a:lnTo>
                        <a:pt x="150186" y="213712"/>
                      </a:lnTo>
                      <a:lnTo>
                        <a:pt x="168269" y="207631"/>
                      </a:lnTo>
                      <a:lnTo>
                        <a:pt x="206692" y="214725"/>
                      </a:lnTo>
                      <a:lnTo>
                        <a:pt x="230425" y="218778"/>
                      </a:lnTo>
                      <a:lnTo>
                        <a:pt x="239466" y="221818"/>
                      </a:lnTo>
                      <a:lnTo>
                        <a:pt x="265459" y="232965"/>
                      </a:lnTo>
                      <a:lnTo>
                        <a:pt x="289191" y="242085"/>
                      </a:lnTo>
                      <a:lnTo>
                        <a:pt x="309534" y="253232"/>
                      </a:lnTo>
                      <a:lnTo>
                        <a:pt x="320835" y="260326"/>
                      </a:lnTo>
                      <a:lnTo>
                        <a:pt x="328745" y="270460"/>
                      </a:lnTo>
                      <a:lnTo>
                        <a:pt x="335526" y="284647"/>
                      </a:lnTo>
                      <a:lnTo>
                        <a:pt x="355868" y="288700"/>
                      </a:lnTo>
                      <a:lnTo>
                        <a:pt x="355868" y="303900"/>
                      </a:lnTo>
                      <a:lnTo>
                        <a:pt x="360389" y="318087"/>
                      </a:lnTo>
                      <a:lnTo>
                        <a:pt x="353608" y="333288"/>
                      </a:lnTo>
                      <a:lnTo>
                        <a:pt x="369430" y="337341"/>
                      </a:lnTo>
                      <a:lnTo>
                        <a:pt x="378471" y="332274"/>
                      </a:lnTo>
                      <a:lnTo>
                        <a:pt x="393162" y="337341"/>
                      </a:lnTo>
                      <a:lnTo>
                        <a:pt x="421415" y="322141"/>
                      </a:lnTo>
                      <a:lnTo>
                        <a:pt x="416895" y="307954"/>
                      </a:lnTo>
                      <a:lnTo>
                        <a:pt x="437237" y="289713"/>
                      </a:lnTo>
                      <a:lnTo>
                        <a:pt x="442888" y="276540"/>
                      </a:lnTo>
                      <a:lnTo>
                        <a:pt x="442888" y="257286"/>
                      </a:lnTo>
                      <a:lnTo>
                        <a:pt x="449668" y="249179"/>
                      </a:lnTo>
                      <a:lnTo>
                        <a:pt x="455319" y="240059"/>
                      </a:lnTo>
                      <a:lnTo>
                        <a:pt x="467750" y="244112"/>
                      </a:lnTo>
                      <a:lnTo>
                        <a:pt x="479052" y="250192"/>
                      </a:lnTo>
                      <a:lnTo>
                        <a:pt x="496003" y="251206"/>
                      </a:lnTo>
                      <a:lnTo>
                        <a:pt x="496003" y="236005"/>
                      </a:lnTo>
                      <a:lnTo>
                        <a:pt x="497133" y="225872"/>
                      </a:lnTo>
                      <a:lnTo>
                        <a:pt x="517475" y="215738"/>
                      </a:lnTo>
                      <a:lnTo>
                        <a:pt x="511825" y="210672"/>
                      </a:lnTo>
                      <a:lnTo>
                        <a:pt x="497133" y="209658"/>
                      </a:lnTo>
                      <a:lnTo>
                        <a:pt x="485832" y="201551"/>
                      </a:lnTo>
                      <a:lnTo>
                        <a:pt x="470010" y="201551"/>
                      </a:lnTo>
                      <a:lnTo>
                        <a:pt x="457579" y="191418"/>
                      </a:lnTo>
                      <a:lnTo>
                        <a:pt x="437237" y="195471"/>
                      </a:lnTo>
                      <a:lnTo>
                        <a:pt x="425936" y="184324"/>
                      </a:lnTo>
                      <a:lnTo>
                        <a:pt x="410114" y="170137"/>
                      </a:lnTo>
                      <a:lnTo>
                        <a:pt x="397683" y="162030"/>
                      </a:lnTo>
                      <a:lnTo>
                        <a:pt x="386382" y="152910"/>
                      </a:lnTo>
                      <a:lnTo>
                        <a:pt x="379601" y="136696"/>
                      </a:lnTo>
                      <a:lnTo>
                        <a:pt x="369430" y="126563"/>
                      </a:lnTo>
                      <a:lnTo>
                        <a:pt x="358129" y="116429"/>
                      </a:lnTo>
                      <a:lnTo>
                        <a:pt x="361519" y="100216"/>
                      </a:lnTo>
                      <a:lnTo>
                        <a:pt x="345697" y="81975"/>
                      </a:lnTo>
                      <a:lnTo>
                        <a:pt x="329876" y="85015"/>
                      </a:lnTo>
                      <a:lnTo>
                        <a:pt x="308403" y="84002"/>
                      </a:lnTo>
                      <a:lnTo>
                        <a:pt x="299362" y="90082"/>
                      </a:lnTo>
                      <a:lnTo>
                        <a:pt x="282411" y="98189"/>
                      </a:lnTo>
                      <a:lnTo>
                        <a:pt x="269980" y="94135"/>
                      </a:lnTo>
                      <a:lnTo>
                        <a:pt x="263198" y="88055"/>
                      </a:lnTo>
                      <a:lnTo>
                        <a:pt x="269980" y="79948"/>
                      </a:lnTo>
                      <a:lnTo>
                        <a:pt x="265459" y="63735"/>
                      </a:lnTo>
                      <a:lnTo>
                        <a:pt x="248507" y="57655"/>
                      </a:lnTo>
                      <a:lnTo>
                        <a:pt x="241727" y="34347"/>
                      </a:lnTo>
                      <a:lnTo>
                        <a:pt x="236076" y="16107"/>
                      </a:lnTo>
                      <a:lnTo>
                        <a:pt x="225905" y="13067"/>
                      </a:lnTo>
                      <a:lnTo>
                        <a:pt x="216864" y="9013"/>
                      </a:lnTo>
                      <a:lnTo>
                        <a:pt x="205563" y="20160"/>
                      </a:lnTo>
                      <a:lnTo>
                        <a:pt x="196522" y="31307"/>
                      </a:lnTo>
                      <a:lnTo>
                        <a:pt x="178439" y="30294"/>
                      </a:lnTo>
                      <a:lnTo>
                        <a:pt x="169399" y="36374"/>
                      </a:lnTo>
                      <a:lnTo>
                        <a:pt x="170528" y="49548"/>
                      </a:lnTo>
                      <a:lnTo>
                        <a:pt x="179570" y="55628"/>
                      </a:lnTo>
                      <a:lnTo>
                        <a:pt x="178439" y="63735"/>
                      </a:lnTo>
                      <a:lnTo>
                        <a:pt x="142275" y="59681"/>
                      </a:lnTo>
                      <a:cubicBezTo>
                        <a:pt x="142275" y="59681"/>
                        <a:pt x="116283" y="60695"/>
                        <a:pt x="109502" y="58668"/>
                      </a:cubicBezTo>
                      <a:cubicBezTo>
                        <a:pt x="102721" y="56641"/>
                        <a:pt x="94811" y="22187"/>
                        <a:pt x="59777" y="25227"/>
                      </a:cubicBezTo>
                      <a:cubicBezTo>
                        <a:pt x="47346" y="26241"/>
                        <a:pt x="24743" y="22187"/>
                        <a:pt x="22483" y="41441"/>
                      </a:cubicBezTo>
                      <a:cubicBezTo>
                        <a:pt x="20223" y="61708"/>
                        <a:pt x="10052" y="62721"/>
                        <a:pt x="10052" y="62721"/>
                      </a:cubicBezTo>
                      <a:close/>
                      <a:moveTo>
                        <a:pt x="33784" y="160004"/>
                      </a:moveTo>
                      <a:cubicBezTo>
                        <a:pt x="31524" y="161017"/>
                        <a:pt x="23613" y="176217"/>
                        <a:pt x="33784" y="172164"/>
                      </a:cubicBezTo>
                      <a:cubicBezTo>
                        <a:pt x="38305" y="170137"/>
                        <a:pt x="41695" y="155950"/>
                        <a:pt x="33784" y="16000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4" name="Freeform: Shape 273">
                  <a:extLst>
                    <a:ext uri="{FF2B5EF4-FFF2-40B4-BE49-F238E27FC236}">
                      <a16:creationId xmlns:a16="http://schemas.microsoft.com/office/drawing/2014/main" id="{8D682C08-CD0B-409A-835F-CFD744B9FE6A}"/>
                    </a:ext>
                  </a:extLst>
                </p:cNvPr>
                <p:cNvSpPr/>
                <p:nvPr/>
              </p:nvSpPr>
              <p:spPr>
                <a:xfrm>
                  <a:off x="6814341" y="2546112"/>
                  <a:ext cx="678072" cy="293873"/>
                </a:xfrm>
                <a:custGeom>
                  <a:avLst/>
                  <a:gdLst>
                    <a:gd name="connsiteX0" fmla="*/ 73339 w 678071"/>
                    <a:gd name="connsiteY0" fmla="*/ 23140 h 293873"/>
                    <a:gd name="connsiteX1" fmla="*/ 52996 w 678071"/>
                    <a:gd name="connsiteY1" fmla="*/ 25166 h 293873"/>
                    <a:gd name="connsiteX2" fmla="*/ 36045 w 678071"/>
                    <a:gd name="connsiteY2" fmla="*/ 24153 h 293873"/>
                    <a:gd name="connsiteX3" fmla="*/ 33785 w 678071"/>
                    <a:gd name="connsiteY3" fmla="*/ 31246 h 293873"/>
                    <a:gd name="connsiteX4" fmla="*/ 46216 w 678071"/>
                    <a:gd name="connsiteY4" fmla="*/ 37326 h 293873"/>
                    <a:gd name="connsiteX5" fmla="*/ 42826 w 678071"/>
                    <a:gd name="connsiteY5" fmla="*/ 51514 h 293873"/>
                    <a:gd name="connsiteX6" fmla="*/ 24743 w 678071"/>
                    <a:gd name="connsiteY6" fmla="*/ 54553 h 293873"/>
                    <a:gd name="connsiteX7" fmla="*/ 11183 w 678071"/>
                    <a:gd name="connsiteY7" fmla="*/ 72794 h 293873"/>
                    <a:gd name="connsiteX8" fmla="*/ 15703 w 678071"/>
                    <a:gd name="connsiteY8" fmla="*/ 75834 h 293873"/>
                    <a:gd name="connsiteX9" fmla="*/ 24743 w 678071"/>
                    <a:gd name="connsiteY9" fmla="*/ 75834 h 293873"/>
                    <a:gd name="connsiteX10" fmla="*/ 13442 w 678071"/>
                    <a:gd name="connsiteY10" fmla="*/ 83941 h 293873"/>
                    <a:gd name="connsiteX11" fmla="*/ 19093 w 678071"/>
                    <a:gd name="connsiteY11" fmla="*/ 96101 h 293873"/>
                    <a:gd name="connsiteX12" fmla="*/ 40565 w 678071"/>
                    <a:gd name="connsiteY12" fmla="*/ 78874 h 293873"/>
                    <a:gd name="connsiteX13" fmla="*/ 59778 w 678071"/>
                    <a:gd name="connsiteY13" fmla="*/ 73807 h 293873"/>
                    <a:gd name="connsiteX14" fmla="*/ 67689 w 678071"/>
                    <a:gd name="connsiteY14" fmla="*/ 63674 h 293873"/>
                    <a:gd name="connsiteX15" fmla="*/ 106112 w 678071"/>
                    <a:gd name="connsiteY15" fmla="*/ 58607 h 293873"/>
                    <a:gd name="connsiteX16" fmla="*/ 111763 w 678071"/>
                    <a:gd name="connsiteY16" fmla="*/ 48473 h 293873"/>
                    <a:gd name="connsiteX17" fmla="*/ 76729 w 678071"/>
                    <a:gd name="connsiteY17" fmla="*/ 29220 h 293873"/>
                    <a:gd name="connsiteX18" fmla="*/ 75599 w 678071"/>
                    <a:gd name="connsiteY18" fmla="*/ 25166 h 293873"/>
                    <a:gd name="connsiteX19" fmla="*/ 73339 w 678071"/>
                    <a:gd name="connsiteY19" fmla="*/ 23140 h 293873"/>
                    <a:gd name="connsiteX20" fmla="*/ 346828 w 678071"/>
                    <a:gd name="connsiteY20" fmla="*/ 290666 h 293873"/>
                    <a:gd name="connsiteX21" fmla="*/ 360389 w 678071"/>
                    <a:gd name="connsiteY21" fmla="*/ 290666 h 293873"/>
                    <a:gd name="connsiteX22" fmla="*/ 373951 w 678071"/>
                    <a:gd name="connsiteY22" fmla="*/ 277492 h 293873"/>
                    <a:gd name="connsiteX23" fmla="*/ 382991 w 678071"/>
                    <a:gd name="connsiteY23" fmla="*/ 268372 h 293873"/>
                    <a:gd name="connsiteX24" fmla="*/ 382991 w 678071"/>
                    <a:gd name="connsiteY24" fmla="*/ 253171 h 293873"/>
                    <a:gd name="connsiteX25" fmla="*/ 401074 w 678071"/>
                    <a:gd name="connsiteY25" fmla="*/ 254185 h 293873"/>
                    <a:gd name="connsiteX26" fmla="*/ 415765 w 678071"/>
                    <a:gd name="connsiteY26" fmla="*/ 246078 h 293873"/>
                    <a:gd name="connsiteX27" fmla="*/ 438368 w 678071"/>
                    <a:gd name="connsiteY27" fmla="*/ 247091 h 293873"/>
                    <a:gd name="connsiteX28" fmla="*/ 485833 w 678071"/>
                    <a:gd name="connsiteY28" fmla="*/ 232904 h 293873"/>
                    <a:gd name="connsiteX29" fmla="*/ 532167 w 678071"/>
                    <a:gd name="connsiteY29" fmla="*/ 227838 h 293873"/>
                    <a:gd name="connsiteX30" fmla="*/ 563811 w 678071"/>
                    <a:gd name="connsiteY30" fmla="*/ 214664 h 293873"/>
                    <a:gd name="connsiteX31" fmla="*/ 566071 w 678071"/>
                    <a:gd name="connsiteY31" fmla="*/ 222771 h 293873"/>
                    <a:gd name="connsiteX32" fmla="*/ 575112 w 678071"/>
                    <a:gd name="connsiteY32" fmla="*/ 225811 h 293873"/>
                    <a:gd name="connsiteX33" fmla="*/ 584153 w 678071"/>
                    <a:gd name="connsiteY33" fmla="*/ 223784 h 293873"/>
                    <a:gd name="connsiteX34" fmla="*/ 606755 w 678071"/>
                    <a:gd name="connsiteY34" fmla="*/ 226824 h 293873"/>
                    <a:gd name="connsiteX35" fmla="*/ 615797 w 678071"/>
                    <a:gd name="connsiteY35" fmla="*/ 217704 h 293873"/>
                    <a:gd name="connsiteX36" fmla="*/ 622577 w 678071"/>
                    <a:gd name="connsiteY36" fmla="*/ 220744 h 293873"/>
                    <a:gd name="connsiteX37" fmla="*/ 627098 w 678071"/>
                    <a:gd name="connsiteY37" fmla="*/ 229864 h 293873"/>
                    <a:gd name="connsiteX38" fmla="*/ 640659 w 678071"/>
                    <a:gd name="connsiteY38" fmla="*/ 222771 h 293873"/>
                    <a:gd name="connsiteX39" fmla="*/ 651960 w 678071"/>
                    <a:gd name="connsiteY39" fmla="*/ 226824 h 293873"/>
                    <a:gd name="connsiteX40" fmla="*/ 654220 w 678071"/>
                    <a:gd name="connsiteY40" fmla="*/ 213651 h 293873"/>
                    <a:gd name="connsiteX41" fmla="*/ 646309 w 678071"/>
                    <a:gd name="connsiteY41" fmla="*/ 194397 h 293873"/>
                    <a:gd name="connsiteX42" fmla="*/ 636139 w 678071"/>
                    <a:gd name="connsiteY42" fmla="*/ 171090 h 293873"/>
                    <a:gd name="connsiteX43" fmla="*/ 645179 w 678071"/>
                    <a:gd name="connsiteY43" fmla="*/ 155889 h 293873"/>
                    <a:gd name="connsiteX44" fmla="*/ 644050 w 678071"/>
                    <a:gd name="connsiteY44" fmla="*/ 146769 h 293873"/>
                    <a:gd name="connsiteX45" fmla="*/ 644050 w 678071"/>
                    <a:gd name="connsiteY45" fmla="*/ 131569 h 293873"/>
                    <a:gd name="connsiteX46" fmla="*/ 654220 w 678071"/>
                    <a:gd name="connsiteY46" fmla="*/ 123462 h 293873"/>
                    <a:gd name="connsiteX47" fmla="*/ 666652 w 678071"/>
                    <a:gd name="connsiteY47" fmla="*/ 128529 h 293873"/>
                    <a:gd name="connsiteX48" fmla="*/ 671172 w 678071"/>
                    <a:gd name="connsiteY48" fmla="*/ 118395 h 293873"/>
                    <a:gd name="connsiteX49" fmla="*/ 661001 w 678071"/>
                    <a:gd name="connsiteY49" fmla="*/ 100155 h 293873"/>
                    <a:gd name="connsiteX50" fmla="*/ 622577 w 678071"/>
                    <a:gd name="connsiteY50" fmla="*/ 80901 h 293873"/>
                    <a:gd name="connsiteX51" fmla="*/ 631618 w 678071"/>
                    <a:gd name="connsiteY51" fmla="*/ 64687 h 293873"/>
                    <a:gd name="connsiteX52" fmla="*/ 629357 w 678071"/>
                    <a:gd name="connsiteY52" fmla="*/ 41380 h 293873"/>
                    <a:gd name="connsiteX53" fmla="*/ 622577 w 678071"/>
                    <a:gd name="connsiteY53" fmla="*/ 40367 h 293873"/>
                    <a:gd name="connsiteX54" fmla="*/ 615797 w 678071"/>
                    <a:gd name="connsiteY54" fmla="*/ 33273 h 293873"/>
                    <a:gd name="connsiteX55" fmla="*/ 595454 w 678071"/>
                    <a:gd name="connsiteY55" fmla="*/ 36313 h 293873"/>
                    <a:gd name="connsiteX56" fmla="*/ 579633 w 678071"/>
                    <a:gd name="connsiteY56" fmla="*/ 30233 h 293873"/>
                    <a:gd name="connsiteX57" fmla="*/ 559291 w 678071"/>
                    <a:gd name="connsiteY57" fmla="*/ 30233 h 293873"/>
                    <a:gd name="connsiteX58" fmla="*/ 546859 w 678071"/>
                    <a:gd name="connsiteY58" fmla="*/ 26180 h 293873"/>
                    <a:gd name="connsiteX59" fmla="*/ 543469 w 678071"/>
                    <a:gd name="connsiteY59" fmla="*/ 30233 h 293873"/>
                    <a:gd name="connsiteX60" fmla="*/ 535558 w 678071"/>
                    <a:gd name="connsiteY60" fmla="*/ 32260 h 293873"/>
                    <a:gd name="connsiteX61" fmla="*/ 529907 w 678071"/>
                    <a:gd name="connsiteY61" fmla="*/ 42393 h 293873"/>
                    <a:gd name="connsiteX62" fmla="*/ 510695 w 678071"/>
                    <a:gd name="connsiteY62" fmla="*/ 47460 h 293873"/>
                    <a:gd name="connsiteX63" fmla="*/ 489223 w 678071"/>
                    <a:gd name="connsiteY63" fmla="*/ 54553 h 293873"/>
                    <a:gd name="connsiteX64" fmla="*/ 470011 w 678071"/>
                    <a:gd name="connsiteY64" fmla="*/ 47460 h 293873"/>
                    <a:gd name="connsiteX65" fmla="*/ 462100 w 678071"/>
                    <a:gd name="connsiteY65" fmla="*/ 54553 h 293873"/>
                    <a:gd name="connsiteX66" fmla="*/ 427066 w 678071"/>
                    <a:gd name="connsiteY66" fmla="*/ 56580 h 293873"/>
                    <a:gd name="connsiteX67" fmla="*/ 419155 w 678071"/>
                    <a:gd name="connsiteY67" fmla="*/ 49487 h 293873"/>
                    <a:gd name="connsiteX68" fmla="*/ 405594 w 678071"/>
                    <a:gd name="connsiteY68" fmla="*/ 49487 h 293873"/>
                    <a:gd name="connsiteX69" fmla="*/ 399943 w 678071"/>
                    <a:gd name="connsiteY69" fmla="*/ 42393 h 293873"/>
                    <a:gd name="connsiteX70" fmla="*/ 375080 w 678071"/>
                    <a:gd name="connsiteY70" fmla="*/ 37326 h 293873"/>
                    <a:gd name="connsiteX71" fmla="*/ 372821 w 678071"/>
                    <a:gd name="connsiteY71" fmla="*/ 44420 h 293873"/>
                    <a:gd name="connsiteX72" fmla="*/ 364910 w 678071"/>
                    <a:gd name="connsiteY72" fmla="*/ 44420 h 293873"/>
                    <a:gd name="connsiteX73" fmla="*/ 351348 w 678071"/>
                    <a:gd name="connsiteY73" fmla="*/ 22126 h 293873"/>
                    <a:gd name="connsiteX74" fmla="*/ 321965 w 678071"/>
                    <a:gd name="connsiteY74" fmla="*/ 17059 h 293873"/>
                    <a:gd name="connsiteX75" fmla="*/ 321965 w 678071"/>
                    <a:gd name="connsiteY75" fmla="*/ 9966 h 293873"/>
                    <a:gd name="connsiteX76" fmla="*/ 294842 w 678071"/>
                    <a:gd name="connsiteY76" fmla="*/ 17059 h 293873"/>
                    <a:gd name="connsiteX77" fmla="*/ 256418 w 678071"/>
                    <a:gd name="connsiteY77" fmla="*/ 9966 h 293873"/>
                    <a:gd name="connsiteX78" fmla="*/ 256418 w 678071"/>
                    <a:gd name="connsiteY78" fmla="*/ 11993 h 293873"/>
                    <a:gd name="connsiteX79" fmla="*/ 227035 w 678071"/>
                    <a:gd name="connsiteY79" fmla="*/ 19086 h 293873"/>
                    <a:gd name="connsiteX80" fmla="*/ 221385 w 678071"/>
                    <a:gd name="connsiteY80" fmla="*/ 29220 h 293873"/>
                    <a:gd name="connsiteX81" fmla="*/ 199912 w 678071"/>
                    <a:gd name="connsiteY81" fmla="*/ 34286 h 293873"/>
                    <a:gd name="connsiteX82" fmla="*/ 199912 w 678071"/>
                    <a:gd name="connsiteY82" fmla="*/ 39353 h 293873"/>
                    <a:gd name="connsiteX83" fmla="*/ 184091 w 678071"/>
                    <a:gd name="connsiteY83" fmla="*/ 49487 h 293873"/>
                    <a:gd name="connsiteX84" fmla="*/ 156968 w 678071"/>
                    <a:gd name="connsiteY84" fmla="*/ 47460 h 293873"/>
                    <a:gd name="connsiteX85" fmla="*/ 156968 w 678071"/>
                    <a:gd name="connsiteY85" fmla="*/ 45433 h 293873"/>
                    <a:gd name="connsiteX86" fmla="*/ 145666 w 678071"/>
                    <a:gd name="connsiteY86" fmla="*/ 50500 h 293873"/>
                    <a:gd name="connsiteX87" fmla="*/ 116284 w 678071"/>
                    <a:gd name="connsiteY87" fmla="*/ 48473 h 293873"/>
                    <a:gd name="connsiteX88" fmla="*/ 110633 w 678071"/>
                    <a:gd name="connsiteY88" fmla="*/ 58607 h 293873"/>
                    <a:gd name="connsiteX89" fmla="*/ 137755 w 678071"/>
                    <a:gd name="connsiteY89" fmla="*/ 65700 h 293873"/>
                    <a:gd name="connsiteX90" fmla="*/ 112893 w 678071"/>
                    <a:gd name="connsiteY90" fmla="*/ 65700 h 293873"/>
                    <a:gd name="connsiteX91" fmla="*/ 110633 w 678071"/>
                    <a:gd name="connsiteY91" fmla="*/ 67727 h 293873"/>
                    <a:gd name="connsiteX92" fmla="*/ 112893 w 678071"/>
                    <a:gd name="connsiteY92" fmla="*/ 72794 h 293873"/>
                    <a:gd name="connsiteX93" fmla="*/ 91421 w 678071"/>
                    <a:gd name="connsiteY93" fmla="*/ 79887 h 293873"/>
                    <a:gd name="connsiteX94" fmla="*/ 66558 w 678071"/>
                    <a:gd name="connsiteY94" fmla="*/ 74821 h 293873"/>
                    <a:gd name="connsiteX95" fmla="*/ 66558 w 678071"/>
                    <a:gd name="connsiteY95" fmla="*/ 84954 h 293873"/>
                    <a:gd name="connsiteX96" fmla="*/ 12312 w 678071"/>
                    <a:gd name="connsiteY96" fmla="*/ 104208 h 293873"/>
                    <a:gd name="connsiteX97" fmla="*/ 10052 w 678071"/>
                    <a:gd name="connsiteY97" fmla="*/ 128529 h 293873"/>
                    <a:gd name="connsiteX98" fmla="*/ 34915 w 678071"/>
                    <a:gd name="connsiteY98" fmla="*/ 126502 h 293873"/>
                    <a:gd name="connsiteX99" fmla="*/ 32654 w 678071"/>
                    <a:gd name="connsiteY99" fmla="*/ 160956 h 293873"/>
                    <a:gd name="connsiteX100" fmla="*/ 43956 w 678071"/>
                    <a:gd name="connsiteY100" fmla="*/ 166023 h 293873"/>
                    <a:gd name="connsiteX101" fmla="*/ 43956 w 678071"/>
                    <a:gd name="connsiteY101" fmla="*/ 171090 h 293873"/>
                    <a:gd name="connsiteX102" fmla="*/ 36045 w 678071"/>
                    <a:gd name="connsiteY102" fmla="*/ 178183 h 293873"/>
                    <a:gd name="connsiteX103" fmla="*/ 28134 w 678071"/>
                    <a:gd name="connsiteY103" fmla="*/ 173116 h 293873"/>
                    <a:gd name="connsiteX104" fmla="*/ 20223 w 678071"/>
                    <a:gd name="connsiteY104" fmla="*/ 171090 h 293873"/>
                    <a:gd name="connsiteX105" fmla="*/ 20223 w 678071"/>
                    <a:gd name="connsiteY105" fmla="*/ 176156 h 293873"/>
                    <a:gd name="connsiteX106" fmla="*/ 22484 w 678071"/>
                    <a:gd name="connsiteY106" fmla="*/ 190343 h 293873"/>
                    <a:gd name="connsiteX107" fmla="*/ 38305 w 678071"/>
                    <a:gd name="connsiteY107" fmla="*/ 188317 h 293873"/>
                    <a:gd name="connsiteX108" fmla="*/ 46216 w 678071"/>
                    <a:gd name="connsiteY108" fmla="*/ 195410 h 293873"/>
                    <a:gd name="connsiteX109" fmla="*/ 46216 w 678071"/>
                    <a:gd name="connsiteY109" fmla="*/ 231891 h 293873"/>
                    <a:gd name="connsiteX110" fmla="*/ 75599 w 678071"/>
                    <a:gd name="connsiteY110" fmla="*/ 233918 h 293873"/>
                    <a:gd name="connsiteX111" fmla="*/ 75599 w 678071"/>
                    <a:gd name="connsiteY111" fmla="*/ 246078 h 293873"/>
                    <a:gd name="connsiteX112" fmla="*/ 91421 w 678071"/>
                    <a:gd name="connsiteY112" fmla="*/ 241011 h 293873"/>
                    <a:gd name="connsiteX113" fmla="*/ 93681 w 678071"/>
                    <a:gd name="connsiteY113" fmla="*/ 251145 h 293873"/>
                    <a:gd name="connsiteX114" fmla="*/ 109502 w 678071"/>
                    <a:gd name="connsiteY114" fmla="*/ 253171 h 293873"/>
                    <a:gd name="connsiteX115" fmla="*/ 109502 w 678071"/>
                    <a:gd name="connsiteY115" fmla="*/ 263305 h 293873"/>
                    <a:gd name="connsiteX116" fmla="*/ 134365 w 678071"/>
                    <a:gd name="connsiteY116" fmla="*/ 282559 h 293873"/>
                    <a:gd name="connsiteX117" fmla="*/ 167139 w 678071"/>
                    <a:gd name="connsiteY117" fmla="*/ 248105 h 293873"/>
                    <a:gd name="connsiteX118" fmla="*/ 215734 w 678071"/>
                    <a:gd name="connsiteY118" fmla="*/ 260265 h 293873"/>
                    <a:gd name="connsiteX119" fmla="*/ 237206 w 678071"/>
                    <a:gd name="connsiteY119" fmla="*/ 277492 h 293873"/>
                    <a:gd name="connsiteX120" fmla="*/ 291452 w 678071"/>
                    <a:gd name="connsiteY120" fmla="*/ 267358 h 293873"/>
                    <a:gd name="connsiteX121" fmla="*/ 305014 w 678071"/>
                    <a:gd name="connsiteY121" fmla="*/ 253171 h 293873"/>
                    <a:gd name="connsiteX122" fmla="*/ 326485 w 678071"/>
                    <a:gd name="connsiteY122" fmla="*/ 255198 h 293873"/>
                    <a:gd name="connsiteX123" fmla="*/ 340047 w 678071"/>
                    <a:gd name="connsiteY123" fmla="*/ 237971 h 293873"/>
                    <a:gd name="connsiteX124" fmla="*/ 347958 w 678071"/>
                    <a:gd name="connsiteY124" fmla="*/ 237971 h 293873"/>
                    <a:gd name="connsiteX125" fmla="*/ 347958 w 678071"/>
                    <a:gd name="connsiteY125" fmla="*/ 262292 h 293873"/>
                    <a:gd name="connsiteX126" fmla="*/ 340047 w 678071"/>
                    <a:gd name="connsiteY126" fmla="*/ 267358 h 293873"/>
                    <a:gd name="connsiteX127" fmla="*/ 342307 w 678071"/>
                    <a:gd name="connsiteY127" fmla="*/ 274452 h 293873"/>
                    <a:gd name="connsiteX128" fmla="*/ 342307 w 678071"/>
                    <a:gd name="connsiteY128" fmla="*/ 281545 h 293873"/>
                    <a:gd name="connsiteX129" fmla="*/ 346828 w 678071"/>
                    <a:gd name="connsiteY129" fmla="*/ 290666 h 293873"/>
                    <a:gd name="connsiteX130" fmla="*/ 603365 w 678071"/>
                    <a:gd name="connsiteY130" fmla="*/ 150822 h 293873"/>
                    <a:gd name="connsiteX131" fmla="*/ 601104 w 678071"/>
                    <a:gd name="connsiteY131" fmla="*/ 162983 h 293873"/>
                    <a:gd name="connsiteX132" fmla="*/ 606755 w 678071"/>
                    <a:gd name="connsiteY132" fmla="*/ 170076 h 293873"/>
                    <a:gd name="connsiteX133" fmla="*/ 604495 w 678071"/>
                    <a:gd name="connsiteY133" fmla="*/ 177170 h 293873"/>
                    <a:gd name="connsiteX134" fmla="*/ 558160 w 678071"/>
                    <a:gd name="connsiteY134" fmla="*/ 177170 h 293873"/>
                    <a:gd name="connsiteX135" fmla="*/ 560420 w 678071"/>
                    <a:gd name="connsiteY135" fmla="*/ 172103 h 293873"/>
                    <a:gd name="connsiteX136" fmla="*/ 566071 w 678071"/>
                    <a:gd name="connsiteY136" fmla="*/ 161969 h 293873"/>
                    <a:gd name="connsiteX137" fmla="*/ 598845 w 678071"/>
                    <a:gd name="connsiteY137" fmla="*/ 159943 h 293873"/>
                    <a:gd name="connsiteX138" fmla="*/ 603365 w 678071"/>
                    <a:gd name="connsiteY138" fmla="*/ 150822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678071" h="293873">
                      <a:moveTo>
                        <a:pt x="73339" y="23140"/>
                      </a:moveTo>
                      <a:cubicBezTo>
                        <a:pt x="73339" y="23140"/>
                        <a:pt x="57517" y="28206"/>
                        <a:pt x="52996" y="25166"/>
                      </a:cubicBezTo>
                      <a:cubicBezTo>
                        <a:pt x="48476" y="22126"/>
                        <a:pt x="41695" y="20099"/>
                        <a:pt x="36045" y="24153"/>
                      </a:cubicBezTo>
                      <a:cubicBezTo>
                        <a:pt x="30394" y="29220"/>
                        <a:pt x="33785" y="31246"/>
                        <a:pt x="33785" y="31246"/>
                      </a:cubicBezTo>
                      <a:lnTo>
                        <a:pt x="46216" y="37326"/>
                      </a:lnTo>
                      <a:cubicBezTo>
                        <a:pt x="46216" y="37326"/>
                        <a:pt x="51867" y="46447"/>
                        <a:pt x="42826" y="51514"/>
                      </a:cubicBezTo>
                      <a:cubicBezTo>
                        <a:pt x="33785" y="56580"/>
                        <a:pt x="24743" y="45433"/>
                        <a:pt x="24743" y="54553"/>
                      </a:cubicBezTo>
                      <a:cubicBezTo>
                        <a:pt x="24743" y="63674"/>
                        <a:pt x="11183" y="72794"/>
                        <a:pt x="11183" y="72794"/>
                      </a:cubicBezTo>
                      <a:lnTo>
                        <a:pt x="15703" y="75834"/>
                      </a:lnTo>
                      <a:lnTo>
                        <a:pt x="24743" y="75834"/>
                      </a:lnTo>
                      <a:lnTo>
                        <a:pt x="13442" y="83941"/>
                      </a:lnTo>
                      <a:cubicBezTo>
                        <a:pt x="14573" y="89008"/>
                        <a:pt x="10052" y="97115"/>
                        <a:pt x="19093" y="96101"/>
                      </a:cubicBezTo>
                      <a:cubicBezTo>
                        <a:pt x="22484" y="95088"/>
                        <a:pt x="37175" y="80901"/>
                        <a:pt x="40565" y="78874"/>
                      </a:cubicBezTo>
                      <a:cubicBezTo>
                        <a:pt x="46216" y="76847"/>
                        <a:pt x="54127" y="76847"/>
                        <a:pt x="59778" y="73807"/>
                      </a:cubicBezTo>
                      <a:cubicBezTo>
                        <a:pt x="63168" y="71781"/>
                        <a:pt x="64298" y="64687"/>
                        <a:pt x="67689" y="63674"/>
                      </a:cubicBezTo>
                      <a:cubicBezTo>
                        <a:pt x="78990" y="59620"/>
                        <a:pt x="94811" y="61647"/>
                        <a:pt x="106112" y="58607"/>
                      </a:cubicBezTo>
                      <a:cubicBezTo>
                        <a:pt x="106112" y="58607"/>
                        <a:pt x="110633" y="50500"/>
                        <a:pt x="111763" y="48473"/>
                      </a:cubicBezTo>
                      <a:cubicBezTo>
                        <a:pt x="100462" y="44420"/>
                        <a:pt x="82380" y="38340"/>
                        <a:pt x="76729" y="29220"/>
                      </a:cubicBezTo>
                      <a:cubicBezTo>
                        <a:pt x="75599" y="26180"/>
                        <a:pt x="75599" y="28206"/>
                        <a:pt x="75599" y="25166"/>
                      </a:cubicBezTo>
                      <a:lnTo>
                        <a:pt x="73339" y="23140"/>
                      </a:lnTo>
                      <a:close/>
                      <a:moveTo>
                        <a:pt x="346828" y="290666"/>
                      </a:moveTo>
                      <a:cubicBezTo>
                        <a:pt x="347958" y="291679"/>
                        <a:pt x="352478" y="292692"/>
                        <a:pt x="360389" y="290666"/>
                      </a:cubicBezTo>
                      <a:cubicBezTo>
                        <a:pt x="372821" y="287626"/>
                        <a:pt x="362649" y="276479"/>
                        <a:pt x="373951" y="277492"/>
                      </a:cubicBezTo>
                      <a:cubicBezTo>
                        <a:pt x="385252" y="278505"/>
                        <a:pt x="385252" y="273439"/>
                        <a:pt x="382991" y="268372"/>
                      </a:cubicBezTo>
                      <a:cubicBezTo>
                        <a:pt x="381862" y="263305"/>
                        <a:pt x="376211" y="258238"/>
                        <a:pt x="382991" y="253171"/>
                      </a:cubicBezTo>
                      <a:cubicBezTo>
                        <a:pt x="389773" y="248105"/>
                        <a:pt x="395423" y="258238"/>
                        <a:pt x="401074" y="254185"/>
                      </a:cubicBezTo>
                      <a:cubicBezTo>
                        <a:pt x="406724" y="250131"/>
                        <a:pt x="408984" y="246078"/>
                        <a:pt x="415765" y="246078"/>
                      </a:cubicBezTo>
                      <a:cubicBezTo>
                        <a:pt x="422546" y="246078"/>
                        <a:pt x="430457" y="252158"/>
                        <a:pt x="438368" y="247091"/>
                      </a:cubicBezTo>
                      <a:cubicBezTo>
                        <a:pt x="446279" y="242024"/>
                        <a:pt x="467750" y="248105"/>
                        <a:pt x="485833" y="232904"/>
                      </a:cubicBezTo>
                      <a:cubicBezTo>
                        <a:pt x="490353" y="228851"/>
                        <a:pt x="524256" y="233918"/>
                        <a:pt x="532167" y="227838"/>
                      </a:cubicBezTo>
                      <a:cubicBezTo>
                        <a:pt x="540078" y="221757"/>
                        <a:pt x="557030" y="213651"/>
                        <a:pt x="563811" y="214664"/>
                      </a:cubicBezTo>
                      <a:lnTo>
                        <a:pt x="566071" y="222771"/>
                      </a:lnTo>
                      <a:cubicBezTo>
                        <a:pt x="566071" y="224797"/>
                        <a:pt x="569461" y="225811"/>
                        <a:pt x="575112" y="225811"/>
                      </a:cubicBezTo>
                      <a:cubicBezTo>
                        <a:pt x="578502" y="225811"/>
                        <a:pt x="581893" y="225811"/>
                        <a:pt x="584153" y="223784"/>
                      </a:cubicBezTo>
                      <a:cubicBezTo>
                        <a:pt x="590934" y="218717"/>
                        <a:pt x="601104" y="233918"/>
                        <a:pt x="606755" y="226824"/>
                      </a:cubicBezTo>
                      <a:cubicBezTo>
                        <a:pt x="612406" y="220744"/>
                        <a:pt x="615797" y="217704"/>
                        <a:pt x="615797" y="217704"/>
                      </a:cubicBezTo>
                      <a:lnTo>
                        <a:pt x="622577" y="220744"/>
                      </a:lnTo>
                      <a:lnTo>
                        <a:pt x="627098" y="229864"/>
                      </a:lnTo>
                      <a:lnTo>
                        <a:pt x="640659" y="222771"/>
                      </a:lnTo>
                      <a:lnTo>
                        <a:pt x="651960" y="226824"/>
                      </a:lnTo>
                      <a:cubicBezTo>
                        <a:pt x="651960" y="226824"/>
                        <a:pt x="658741" y="219731"/>
                        <a:pt x="654220" y="213651"/>
                      </a:cubicBezTo>
                      <a:cubicBezTo>
                        <a:pt x="649700" y="207570"/>
                        <a:pt x="651960" y="199464"/>
                        <a:pt x="646309" y="194397"/>
                      </a:cubicBezTo>
                      <a:cubicBezTo>
                        <a:pt x="640659" y="189330"/>
                        <a:pt x="631618" y="178183"/>
                        <a:pt x="636139" y="171090"/>
                      </a:cubicBezTo>
                      <a:cubicBezTo>
                        <a:pt x="640659" y="163996"/>
                        <a:pt x="646309" y="161969"/>
                        <a:pt x="645179" y="155889"/>
                      </a:cubicBezTo>
                      <a:cubicBezTo>
                        <a:pt x="644050" y="149809"/>
                        <a:pt x="648570" y="152849"/>
                        <a:pt x="644050" y="146769"/>
                      </a:cubicBezTo>
                      <a:cubicBezTo>
                        <a:pt x="639529" y="140689"/>
                        <a:pt x="635008" y="136635"/>
                        <a:pt x="644050" y="131569"/>
                      </a:cubicBezTo>
                      <a:cubicBezTo>
                        <a:pt x="653090" y="126502"/>
                        <a:pt x="648570" y="118395"/>
                        <a:pt x="654220" y="123462"/>
                      </a:cubicBezTo>
                      <a:cubicBezTo>
                        <a:pt x="659871" y="128529"/>
                        <a:pt x="666652" y="128529"/>
                        <a:pt x="666652" y="128529"/>
                      </a:cubicBezTo>
                      <a:lnTo>
                        <a:pt x="671172" y="118395"/>
                      </a:lnTo>
                      <a:cubicBezTo>
                        <a:pt x="672303" y="118395"/>
                        <a:pt x="675693" y="107248"/>
                        <a:pt x="661001" y="100155"/>
                      </a:cubicBezTo>
                      <a:cubicBezTo>
                        <a:pt x="651960" y="96101"/>
                        <a:pt x="616926" y="91034"/>
                        <a:pt x="622577" y="80901"/>
                      </a:cubicBezTo>
                      <a:cubicBezTo>
                        <a:pt x="628228" y="70767"/>
                        <a:pt x="621447" y="70767"/>
                        <a:pt x="631618" y="64687"/>
                      </a:cubicBezTo>
                      <a:cubicBezTo>
                        <a:pt x="641789" y="58607"/>
                        <a:pt x="629357" y="41380"/>
                        <a:pt x="629357" y="41380"/>
                      </a:cubicBezTo>
                      <a:lnTo>
                        <a:pt x="622577" y="40367"/>
                      </a:lnTo>
                      <a:cubicBezTo>
                        <a:pt x="622577" y="40367"/>
                        <a:pt x="624837" y="30233"/>
                        <a:pt x="615797" y="33273"/>
                      </a:cubicBezTo>
                      <a:cubicBezTo>
                        <a:pt x="606755" y="36313"/>
                        <a:pt x="595454" y="36313"/>
                        <a:pt x="595454" y="36313"/>
                      </a:cubicBezTo>
                      <a:cubicBezTo>
                        <a:pt x="595454" y="36313"/>
                        <a:pt x="588673" y="30233"/>
                        <a:pt x="579633" y="30233"/>
                      </a:cubicBezTo>
                      <a:cubicBezTo>
                        <a:pt x="570592" y="30233"/>
                        <a:pt x="568331" y="26180"/>
                        <a:pt x="559291" y="30233"/>
                      </a:cubicBezTo>
                      <a:cubicBezTo>
                        <a:pt x="550249" y="34286"/>
                        <a:pt x="546859" y="26180"/>
                        <a:pt x="546859" y="26180"/>
                      </a:cubicBezTo>
                      <a:cubicBezTo>
                        <a:pt x="545729" y="28206"/>
                        <a:pt x="545729" y="29220"/>
                        <a:pt x="543469" y="30233"/>
                      </a:cubicBezTo>
                      <a:cubicBezTo>
                        <a:pt x="541208" y="32260"/>
                        <a:pt x="536688" y="30233"/>
                        <a:pt x="535558" y="32260"/>
                      </a:cubicBezTo>
                      <a:cubicBezTo>
                        <a:pt x="533297" y="35300"/>
                        <a:pt x="533297" y="39353"/>
                        <a:pt x="529907" y="42393"/>
                      </a:cubicBezTo>
                      <a:cubicBezTo>
                        <a:pt x="524256" y="46447"/>
                        <a:pt x="517476" y="44420"/>
                        <a:pt x="510695" y="47460"/>
                      </a:cubicBezTo>
                      <a:cubicBezTo>
                        <a:pt x="501654" y="51514"/>
                        <a:pt x="503914" y="58607"/>
                        <a:pt x="489223" y="54553"/>
                      </a:cubicBezTo>
                      <a:cubicBezTo>
                        <a:pt x="483572" y="53540"/>
                        <a:pt x="481312" y="46447"/>
                        <a:pt x="470011" y="47460"/>
                      </a:cubicBezTo>
                      <a:cubicBezTo>
                        <a:pt x="468881" y="47460"/>
                        <a:pt x="462100" y="54553"/>
                        <a:pt x="462100" y="54553"/>
                      </a:cubicBezTo>
                      <a:cubicBezTo>
                        <a:pt x="453059" y="57594"/>
                        <a:pt x="438368" y="58607"/>
                        <a:pt x="427066" y="56580"/>
                      </a:cubicBezTo>
                      <a:cubicBezTo>
                        <a:pt x="424806" y="56580"/>
                        <a:pt x="420285" y="49487"/>
                        <a:pt x="419155" y="49487"/>
                      </a:cubicBezTo>
                      <a:cubicBezTo>
                        <a:pt x="414635" y="48473"/>
                        <a:pt x="410115" y="50500"/>
                        <a:pt x="405594" y="49487"/>
                      </a:cubicBezTo>
                      <a:cubicBezTo>
                        <a:pt x="402204" y="48473"/>
                        <a:pt x="402204" y="43407"/>
                        <a:pt x="399943" y="42393"/>
                      </a:cubicBezTo>
                      <a:cubicBezTo>
                        <a:pt x="393163" y="37326"/>
                        <a:pt x="386382" y="39353"/>
                        <a:pt x="375080" y="37326"/>
                      </a:cubicBezTo>
                      <a:lnTo>
                        <a:pt x="372821" y="44420"/>
                      </a:lnTo>
                      <a:cubicBezTo>
                        <a:pt x="369430" y="45433"/>
                        <a:pt x="367170" y="42393"/>
                        <a:pt x="364910" y="44420"/>
                      </a:cubicBezTo>
                      <a:cubicBezTo>
                        <a:pt x="360389" y="37326"/>
                        <a:pt x="355869" y="31246"/>
                        <a:pt x="351348" y="22126"/>
                      </a:cubicBezTo>
                      <a:cubicBezTo>
                        <a:pt x="332136" y="23140"/>
                        <a:pt x="336657" y="24153"/>
                        <a:pt x="321965" y="17059"/>
                      </a:cubicBezTo>
                      <a:cubicBezTo>
                        <a:pt x="321965" y="16046"/>
                        <a:pt x="323095" y="10979"/>
                        <a:pt x="321965" y="9966"/>
                      </a:cubicBezTo>
                      <a:cubicBezTo>
                        <a:pt x="314054" y="13006"/>
                        <a:pt x="306143" y="18073"/>
                        <a:pt x="294842" y="17059"/>
                      </a:cubicBezTo>
                      <a:cubicBezTo>
                        <a:pt x="286931" y="16046"/>
                        <a:pt x="277890" y="5912"/>
                        <a:pt x="256418" y="9966"/>
                      </a:cubicBezTo>
                      <a:lnTo>
                        <a:pt x="256418" y="11993"/>
                      </a:lnTo>
                      <a:cubicBezTo>
                        <a:pt x="249637" y="13006"/>
                        <a:pt x="232686" y="15033"/>
                        <a:pt x="227035" y="19086"/>
                      </a:cubicBezTo>
                      <a:cubicBezTo>
                        <a:pt x="224775" y="20099"/>
                        <a:pt x="223645" y="27193"/>
                        <a:pt x="221385" y="29220"/>
                      </a:cubicBezTo>
                      <a:cubicBezTo>
                        <a:pt x="214604" y="32260"/>
                        <a:pt x="206693" y="30233"/>
                        <a:pt x="199912" y="34286"/>
                      </a:cubicBezTo>
                      <a:lnTo>
                        <a:pt x="199912" y="39353"/>
                      </a:lnTo>
                      <a:cubicBezTo>
                        <a:pt x="194261" y="42393"/>
                        <a:pt x="188611" y="47460"/>
                        <a:pt x="184091" y="49487"/>
                      </a:cubicBezTo>
                      <a:cubicBezTo>
                        <a:pt x="175050" y="51514"/>
                        <a:pt x="162618" y="47460"/>
                        <a:pt x="156968" y="47460"/>
                      </a:cubicBezTo>
                      <a:lnTo>
                        <a:pt x="156968" y="45433"/>
                      </a:lnTo>
                      <a:cubicBezTo>
                        <a:pt x="151317" y="45433"/>
                        <a:pt x="149057" y="49487"/>
                        <a:pt x="145666" y="50500"/>
                      </a:cubicBezTo>
                      <a:cubicBezTo>
                        <a:pt x="137755" y="51514"/>
                        <a:pt x="126454" y="48473"/>
                        <a:pt x="116284" y="48473"/>
                      </a:cubicBezTo>
                      <a:lnTo>
                        <a:pt x="110633" y="58607"/>
                      </a:lnTo>
                      <a:cubicBezTo>
                        <a:pt x="118544" y="59620"/>
                        <a:pt x="130975" y="64687"/>
                        <a:pt x="137755" y="65700"/>
                      </a:cubicBezTo>
                      <a:cubicBezTo>
                        <a:pt x="133235" y="65700"/>
                        <a:pt x="116284" y="64687"/>
                        <a:pt x="112893" y="65700"/>
                      </a:cubicBezTo>
                      <a:lnTo>
                        <a:pt x="110633" y="67727"/>
                      </a:lnTo>
                      <a:cubicBezTo>
                        <a:pt x="109502" y="67727"/>
                        <a:pt x="112893" y="71781"/>
                        <a:pt x="112893" y="72794"/>
                      </a:cubicBezTo>
                      <a:cubicBezTo>
                        <a:pt x="108373" y="73807"/>
                        <a:pt x="95942" y="79887"/>
                        <a:pt x="91421" y="79887"/>
                      </a:cubicBezTo>
                      <a:cubicBezTo>
                        <a:pt x="78990" y="79887"/>
                        <a:pt x="81249" y="71781"/>
                        <a:pt x="66558" y="74821"/>
                      </a:cubicBezTo>
                      <a:cubicBezTo>
                        <a:pt x="66558" y="74821"/>
                        <a:pt x="66558" y="83941"/>
                        <a:pt x="66558" y="84954"/>
                      </a:cubicBezTo>
                      <a:cubicBezTo>
                        <a:pt x="33785" y="81914"/>
                        <a:pt x="31525" y="90021"/>
                        <a:pt x="12312" y="104208"/>
                      </a:cubicBezTo>
                      <a:cubicBezTo>
                        <a:pt x="20223" y="110288"/>
                        <a:pt x="11183" y="123462"/>
                        <a:pt x="10052" y="128529"/>
                      </a:cubicBezTo>
                      <a:cubicBezTo>
                        <a:pt x="15703" y="128529"/>
                        <a:pt x="25874" y="126502"/>
                        <a:pt x="34915" y="126502"/>
                      </a:cubicBezTo>
                      <a:cubicBezTo>
                        <a:pt x="39436" y="146769"/>
                        <a:pt x="39436" y="146769"/>
                        <a:pt x="32654" y="160956"/>
                      </a:cubicBezTo>
                      <a:cubicBezTo>
                        <a:pt x="36045" y="163996"/>
                        <a:pt x="38305" y="162983"/>
                        <a:pt x="43956" y="166023"/>
                      </a:cubicBezTo>
                      <a:lnTo>
                        <a:pt x="43956" y="171090"/>
                      </a:lnTo>
                      <a:cubicBezTo>
                        <a:pt x="39436" y="173116"/>
                        <a:pt x="39436" y="175143"/>
                        <a:pt x="36045" y="178183"/>
                      </a:cubicBezTo>
                      <a:cubicBezTo>
                        <a:pt x="36045" y="178183"/>
                        <a:pt x="24743" y="174130"/>
                        <a:pt x="28134" y="173116"/>
                      </a:cubicBezTo>
                      <a:cubicBezTo>
                        <a:pt x="25874" y="173116"/>
                        <a:pt x="23614" y="172103"/>
                        <a:pt x="20223" y="171090"/>
                      </a:cubicBezTo>
                      <a:lnTo>
                        <a:pt x="20223" y="176156"/>
                      </a:lnTo>
                      <a:cubicBezTo>
                        <a:pt x="29264" y="176156"/>
                        <a:pt x="22484" y="188317"/>
                        <a:pt x="22484" y="190343"/>
                      </a:cubicBezTo>
                      <a:cubicBezTo>
                        <a:pt x="30394" y="190343"/>
                        <a:pt x="31525" y="189330"/>
                        <a:pt x="38305" y="188317"/>
                      </a:cubicBezTo>
                      <a:cubicBezTo>
                        <a:pt x="39436" y="191357"/>
                        <a:pt x="45086" y="192370"/>
                        <a:pt x="46216" y="195410"/>
                      </a:cubicBezTo>
                      <a:cubicBezTo>
                        <a:pt x="51867" y="211624"/>
                        <a:pt x="49606" y="220744"/>
                        <a:pt x="46216" y="231891"/>
                      </a:cubicBezTo>
                      <a:cubicBezTo>
                        <a:pt x="58647" y="232904"/>
                        <a:pt x="65428" y="232904"/>
                        <a:pt x="75599" y="233918"/>
                      </a:cubicBezTo>
                      <a:cubicBezTo>
                        <a:pt x="72209" y="234931"/>
                        <a:pt x="72209" y="245065"/>
                        <a:pt x="75599" y="246078"/>
                      </a:cubicBezTo>
                      <a:cubicBezTo>
                        <a:pt x="77859" y="247091"/>
                        <a:pt x="88031" y="243038"/>
                        <a:pt x="91421" y="241011"/>
                      </a:cubicBezTo>
                      <a:cubicBezTo>
                        <a:pt x="92551" y="242024"/>
                        <a:pt x="92551" y="250131"/>
                        <a:pt x="93681" y="251145"/>
                      </a:cubicBezTo>
                      <a:cubicBezTo>
                        <a:pt x="98201" y="254185"/>
                        <a:pt x="102722" y="252158"/>
                        <a:pt x="109502" y="253171"/>
                      </a:cubicBezTo>
                      <a:cubicBezTo>
                        <a:pt x="109502" y="254185"/>
                        <a:pt x="112893" y="261278"/>
                        <a:pt x="109502" y="263305"/>
                      </a:cubicBezTo>
                      <a:cubicBezTo>
                        <a:pt x="118544" y="269385"/>
                        <a:pt x="125324" y="275465"/>
                        <a:pt x="134365" y="282559"/>
                      </a:cubicBezTo>
                      <a:cubicBezTo>
                        <a:pt x="155838" y="269385"/>
                        <a:pt x="156968" y="273439"/>
                        <a:pt x="167139" y="248105"/>
                      </a:cubicBezTo>
                      <a:cubicBezTo>
                        <a:pt x="182960" y="249118"/>
                        <a:pt x="201042" y="251145"/>
                        <a:pt x="215734" y="260265"/>
                      </a:cubicBezTo>
                      <a:cubicBezTo>
                        <a:pt x="220255" y="262292"/>
                        <a:pt x="232686" y="276479"/>
                        <a:pt x="237206" y="277492"/>
                      </a:cubicBezTo>
                      <a:cubicBezTo>
                        <a:pt x="255288" y="281545"/>
                        <a:pt x="282411" y="273439"/>
                        <a:pt x="291452" y="267358"/>
                      </a:cubicBezTo>
                      <a:cubicBezTo>
                        <a:pt x="295972" y="264318"/>
                        <a:pt x="300493" y="254185"/>
                        <a:pt x="305014" y="253171"/>
                      </a:cubicBezTo>
                      <a:cubicBezTo>
                        <a:pt x="312924" y="251145"/>
                        <a:pt x="319705" y="254185"/>
                        <a:pt x="326485" y="255198"/>
                      </a:cubicBezTo>
                      <a:lnTo>
                        <a:pt x="340047" y="237971"/>
                      </a:lnTo>
                      <a:cubicBezTo>
                        <a:pt x="342307" y="236958"/>
                        <a:pt x="346828" y="238985"/>
                        <a:pt x="347958" y="237971"/>
                      </a:cubicBezTo>
                      <a:cubicBezTo>
                        <a:pt x="349088" y="246078"/>
                        <a:pt x="353609" y="254185"/>
                        <a:pt x="347958" y="262292"/>
                      </a:cubicBezTo>
                      <a:cubicBezTo>
                        <a:pt x="346828" y="263305"/>
                        <a:pt x="340047" y="266345"/>
                        <a:pt x="340047" y="267358"/>
                      </a:cubicBezTo>
                      <a:cubicBezTo>
                        <a:pt x="338917" y="269385"/>
                        <a:pt x="341177" y="277492"/>
                        <a:pt x="342307" y="274452"/>
                      </a:cubicBezTo>
                      <a:cubicBezTo>
                        <a:pt x="342307" y="274452"/>
                        <a:pt x="342307" y="281545"/>
                        <a:pt x="342307" y="281545"/>
                      </a:cubicBezTo>
                      <a:cubicBezTo>
                        <a:pt x="345698" y="281545"/>
                        <a:pt x="346828" y="285599"/>
                        <a:pt x="346828" y="290666"/>
                      </a:cubicBezTo>
                      <a:close/>
                      <a:moveTo>
                        <a:pt x="603365" y="150822"/>
                      </a:moveTo>
                      <a:cubicBezTo>
                        <a:pt x="615797" y="145756"/>
                        <a:pt x="601104" y="162983"/>
                        <a:pt x="601104" y="162983"/>
                      </a:cubicBezTo>
                      <a:cubicBezTo>
                        <a:pt x="599975" y="169063"/>
                        <a:pt x="605625" y="168050"/>
                        <a:pt x="606755" y="170076"/>
                      </a:cubicBezTo>
                      <a:cubicBezTo>
                        <a:pt x="607886" y="176156"/>
                        <a:pt x="603365" y="173116"/>
                        <a:pt x="604495" y="177170"/>
                      </a:cubicBezTo>
                      <a:cubicBezTo>
                        <a:pt x="585283" y="172103"/>
                        <a:pt x="581893" y="175143"/>
                        <a:pt x="558160" y="177170"/>
                      </a:cubicBezTo>
                      <a:cubicBezTo>
                        <a:pt x="558160" y="177170"/>
                        <a:pt x="561550" y="172103"/>
                        <a:pt x="560420" y="172103"/>
                      </a:cubicBezTo>
                      <a:cubicBezTo>
                        <a:pt x="560420" y="172103"/>
                        <a:pt x="564941" y="162983"/>
                        <a:pt x="566071" y="161969"/>
                      </a:cubicBezTo>
                      <a:cubicBezTo>
                        <a:pt x="575112" y="157916"/>
                        <a:pt x="587544" y="160956"/>
                        <a:pt x="598845" y="159943"/>
                      </a:cubicBezTo>
                      <a:cubicBezTo>
                        <a:pt x="598845" y="157916"/>
                        <a:pt x="601104" y="151836"/>
                        <a:pt x="603365" y="1508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5" name="Freeform: Shape 274">
                  <a:extLst>
                    <a:ext uri="{FF2B5EF4-FFF2-40B4-BE49-F238E27FC236}">
                      <a16:creationId xmlns:a16="http://schemas.microsoft.com/office/drawing/2014/main" id="{D22F2029-B0AD-4F3D-8066-9473ABD7A950}"/>
                    </a:ext>
                  </a:extLst>
                </p:cNvPr>
                <p:cNvSpPr/>
                <p:nvPr/>
              </p:nvSpPr>
              <p:spPr>
                <a:xfrm>
                  <a:off x="6140790" y="2758856"/>
                  <a:ext cx="158217" cy="293873"/>
                </a:xfrm>
                <a:custGeom>
                  <a:avLst/>
                  <a:gdLst>
                    <a:gd name="connsiteX0" fmla="*/ 152447 w 158216"/>
                    <a:gd name="connsiteY0" fmla="*/ 176217 h 293873"/>
                    <a:gd name="connsiteX1" fmla="*/ 137755 w 158216"/>
                    <a:gd name="connsiteY1" fmla="*/ 169124 h 293873"/>
                    <a:gd name="connsiteX2" fmla="*/ 121933 w 158216"/>
                    <a:gd name="connsiteY2" fmla="*/ 162030 h 293873"/>
                    <a:gd name="connsiteX3" fmla="*/ 121933 w 158216"/>
                    <a:gd name="connsiteY3" fmla="*/ 144803 h 293873"/>
                    <a:gd name="connsiteX4" fmla="*/ 137755 w 158216"/>
                    <a:gd name="connsiteY4" fmla="*/ 125549 h 293873"/>
                    <a:gd name="connsiteX5" fmla="*/ 137755 w 158216"/>
                    <a:gd name="connsiteY5" fmla="*/ 115416 h 293873"/>
                    <a:gd name="connsiteX6" fmla="*/ 145666 w 158216"/>
                    <a:gd name="connsiteY6" fmla="*/ 115416 h 293873"/>
                    <a:gd name="connsiteX7" fmla="*/ 140016 w 158216"/>
                    <a:gd name="connsiteY7" fmla="*/ 96162 h 293873"/>
                    <a:gd name="connsiteX8" fmla="*/ 145666 w 158216"/>
                    <a:gd name="connsiteY8" fmla="*/ 81975 h 293873"/>
                    <a:gd name="connsiteX9" fmla="*/ 132105 w 158216"/>
                    <a:gd name="connsiteY9" fmla="*/ 81975 h 293873"/>
                    <a:gd name="connsiteX10" fmla="*/ 132105 w 158216"/>
                    <a:gd name="connsiteY10" fmla="*/ 59681 h 293873"/>
                    <a:gd name="connsiteX11" fmla="*/ 134365 w 158216"/>
                    <a:gd name="connsiteY11" fmla="*/ 59681 h 293873"/>
                    <a:gd name="connsiteX12" fmla="*/ 147927 w 158216"/>
                    <a:gd name="connsiteY12" fmla="*/ 23201 h 293873"/>
                    <a:gd name="connsiteX13" fmla="*/ 136626 w 158216"/>
                    <a:gd name="connsiteY13" fmla="*/ 28267 h 293873"/>
                    <a:gd name="connsiteX14" fmla="*/ 125324 w 158216"/>
                    <a:gd name="connsiteY14" fmla="*/ 26241 h 293873"/>
                    <a:gd name="connsiteX15" fmla="*/ 123064 w 158216"/>
                    <a:gd name="connsiteY15" fmla="*/ 14080 h 293873"/>
                    <a:gd name="connsiteX16" fmla="*/ 117413 w 158216"/>
                    <a:gd name="connsiteY16" fmla="*/ 12054 h 293873"/>
                    <a:gd name="connsiteX17" fmla="*/ 111763 w 158216"/>
                    <a:gd name="connsiteY17" fmla="*/ 14080 h 293873"/>
                    <a:gd name="connsiteX18" fmla="*/ 109502 w 158216"/>
                    <a:gd name="connsiteY18" fmla="*/ 9013 h 293873"/>
                    <a:gd name="connsiteX19" fmla="*/ 82379 w 158216"/>
                    <a:gd name="connsiteY19" fmla="*/ 19147 h 293873"/>
                    <a:gd name="connsiteX20" fmla="*/ 32654 w 158216"/>
                    <a:gd name="connsiteY20" fmla="*/ 20160 h 293873"/>
                    <a:gd name="connsiteX21" fmla="*/ 36045 w 158216"/>
                    <a:gd name="connsiteY21" fmla="*/ 49548 h 293873"/>
                    <a:gd name="connsiteX22" fmla="*/ 40565 w 158216"/>
                    <a:gd name="connsiteY22" fmla="*/ 68801 h 293873"/>
                    <a:gd name="connsiteX23" fmla="*/ 49606 w 158216"/>
                    <a:gd name="connsiteY23" fmla="*/ 100216 h 293873"/>
                    <a:gd name="connsiteX24" fmla="*/ 39435 w 158216"/>
                    <a:gd name="connsiteY24" fmla="*/ 116429 h 293873"/>
                    <a:gd name="connsiteX25" fmla="*/ 22483 w 158216"/>
                    <a:gd name="connsiteY25" fmla="*/ 136696 h 293873"/>
                    <a:gd name="connsiteX26" fmla="*/ 10052 w 158216"/>
                    <a:gd name="connsiteY26" fmla="*/ 145817 h 293873"/>
                    <a:gd name="connsiteX27" fmla="*/ 16832 w 158216"/>
                    <a:gd name="connsiteY27" fmla="*/ 181284 h 293873"/>
                    <a:gd name="connsiteX28" fmla="*/ 31524 w 158216"/>
                    <a:gd name="connsiteY28" fmla="*/ 186351 h 293873"/>
                    <a:gd name="connsiteX29" fmla="*/ 40565 w 158216"/>
                    <a:gd name="connsiteY29" fmla="*/ 214725 h 293873"/>
                    <a:gd name="connsiteX30" fmla="*/ 60907 w 158216"/>
                    <a:gd name="connsiteY30" fmla="*/ 219792 h 293873"/>
                    <a:gd name="connsiteX31" fmla="*/ 73338 w 158216"/>
                    <a:gd name="connsiteY31" fmla="*/ 291740 h 293873"/>
                    <a:gd name="connsiteX32" fmla="*/ 78989 w 158216"/>
                    <a:gd name="connsiteY32" fmla="*/ 290727 h 293873"/>
                    <a:gd name="connsiteX33" fmla="*/ 94811 w 158216"/>
                    <a:gd name="connsiteY33" fmla="*/ 277553 h 293873"/>
                    <a:gd name="connsiteX34" fmla="*/ 101591 w 158216"/>
                    <a:gd name="connsiteY34" fmla="*/ 261339 h 293873"/>
                    <a:gd name="connsiteX35" fmla="*/ 100462 w 158216"/>
                    <a:gd name="connsiteY35" fmla="*/ 232965 h 293873"/>
                    <a:gd name="connsiteX36" fmla="*/ 116283 w 158216"/>
                    <a:gd name="connsiteY36" fmla="*/ 226885 h 293873"/>
                    <a:gd name="connsiteX37" fmla="*/ 140016 w 158216"/>
                    <a:gd name="connsiteY37" fmla="*/ 211685 h 293873"/>
                    <a:gd name="connsiteX38" fmla="*/ 145666 w 158216"/>
                    <a:gd name="connsiteY38" fmla="*/ 192431 h 293873"/>
                    <a:gd name="connsiteX39" fmla="*/ 152447 w 158216"/>
                    <a:gd name="connsiteY39" fmla="*/ 176217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8216" h="293873">
                      <a:moveTo>
                        <a:pt x="152447" y="176217"/>
                      </a:moveTo>
                      <a:cubicBezTo>
                        <a:pt x="147927" y="172164"/>
                        <a:pt x="140016" y="169124"/>
                        <a:pt x="137755" y="169124"/>
                      </a:cubicBezTo>
                      <a:cubicBezTo>
                        <a:pt x="132105" y="167097"/>
                        <a:pt x="124194" y="166084"/>
                        <a:pt x="121933" y="162030"/>
                      </a:cubicBezTo>
                      <a:cubicBezTo>
                        <a:pt x="118543" y="155950"/>
                        <a:pt x="121933" y="144803"/>
                        <a:pt x="121933" y="144803"/>
                      </a:cubicBezTo>
                      <a:cubicBezTo>
                        <a:pt x="124194" y="141763"/>
                        <a:pt x="137755" y="126563"/>
                        <a:pt x="137755" y="125549"/>
                      </a:cubicBezTo>
                      <a:cubicBezTo>
                        <a:pt x="138885" y="122510"/>
                        <a:pt x="136626" y="118456"/>
                        <a:pt x="137755" y="115416"/>
                      </a:cubicBezTo>
                      <a:cubicBezTo>
                        <a:pt x="137755" y="115416"/>
                        <a:pt x="145666" y="115416"/>
                        <a:pt x="145666" y="115416"/>
                      </a:cubicBezTo>
                      <a:cubicBezTo>
                        <a:pt x="146796" y="112376"/>
                        <a:pt x="142276" y="96162"/>
                        <a:pt x="140016" y="96162"/>
                      </a:cubicBezTo>
                      <a:cubicBezTo>
                        <a:pt x="140016" y="96162"/>
                        <a:pt x="144536" y="82989"/>
                        <a:pt x="145666" y="81975"/>
                      </a:cubicBezTo>
                      <a:cubicBezTo>
                        <a:pt x="143406" y="80962"/>
                        <a:pt x="135495" y="81975"/>
                        <a:pt x="132105" y="81975"/>
                      </a:cubicBezTo>
                      <a:cubicBezTo>
                        <a:pt x="132105" y="75895"/>
                        <a:pt x="129844" y="65761"/>
                        <a:pt x="132105" y="59681"/>
                      </a:cubicBezTo>
                      <a:cubicBezTo>
                        <a:pt x="133235" y="59681"/>
                        <a:pt x="134365" y="59681"/>
                        <a:pt x="134365" y="59681"/>
                      </a:cubicBezTo>
                      <a:cubicBezTo>
                        <a:pt x="137755" y="57655"/>
                        <a:pt x="169399" y="25227"/>
                        <a:pt x="147927" y="23201"/>
                      </a:cubicBezTo>
                      <a:lnTo>
                        <a:pt x="136626" y="28267"/>
                      </a:lnTo>
                      <a:cubicBezTo>
                        <a:pt x="130975" y="28267"/>
                        <a:pt x="128715" y="25227"/>
                        <a:pt x="125324" y="26241"/>
                      </a:cubicBezTo>
                      <a:cubicBezTo>
                        <a:pt x="123064" y="21174"/>
                        <a:pt x="125324" y="20160"/>
                        <a:pt x="123064" y="14080"/>
                      </a:cubicBezTo>
                      <a:lnTo>
                        <a:pt x="117413" y="12054"/>
                      </a:lnTo>
                      <a:cubicBezTo>
                        <a:pt x="115153" y="12054"/>
                        <a:pt x="117413" y="16107"/>
                        <a:pt x="111763" y="14080"/>
                      </a:cubicBezTo>
                      <a:lnTo>
                        <a:pt x="109502" y="9013"/>
                      </a:lnTo>
                      <a:cubicBezTo>
                        <a:pt x="97071" y="9013"/>
                        <a:pt x="91421" y="16107"/>
                        <a:pt x="82379" y="19147"/>
                      </a:cubicBezTo>
                      <a:cubicBezTo>
                        <a:pt x="65427" y="23201"/>
                        <a:pt x="48476" y="23201"/>
                        <a:pt x="32654" y="20160"/>
                      </a:cubicBezTo>
                      <a:cubicBezTo>
                        <a:pt x="32654" y="20160"/>
                        <a:pt x="28134" y="46508"/>
                        <a:pt x="36045" y="49548"/>
                      </a:cubicBezTo>
                      <a:cubicBezTo>
                        <a:pt x="42825" y="53601"/>
                        <a:pt x="40565" y="59681"/>
                        <a:pt x="40565" y="68801"/>
                      </a:cubicBezTo>
                      <a:cubicBezTo>
                        <a:pt x="40565" y="77922"/>
                        <a:pt x="47346" y="89069"/>
                        <a:pt x="49606" y="100216"/>
                      </a:cubicBezTo>
                      <a:cubicBezTo>
                        <a:pt x="51867" y="111363"/>
                        <a:pt x="39435" y="109336"/>
                        <a:pt x="39435" y="116429"/>
                      </a:cubicBezTo>
                      <a:cubicBezTo>
                        <a:pt x="39435" y="123523"/>
                        <a:pt x="30394" y="135683"/>
                        <a:pt x="22483" y="136696"/>
                      </a:cubicBezTo>
                      <a:cubicBezTo>
                        <a:pt x="14572" y="137710"/>
                        <a:pt x="10052" y="135683"/>
                        <a:pt x="10052" y="145817"/>
                      </a:cubicBezTo>
                      <a:cubicBezTo>
                        <a:pt x="10052" y="155950"/>
                        <a:pt x="16832" y="181284"/>
                        <a:pt x="16832" y="181284"/>
                      </a:cubicBezTo>
                      <a:cubicBezTo>
                        <a:pt x="16832" y="181284"/>
                        <a:pt x="27004" y="178244"/>
                        <a:pt x="31524" y="186351"/>
                      </a:cubicBezTo>
                      <a:cubicBezTo>
                        <a:pt x="36045" y="194458"/>
                        <a:pt x="40565" y="214725"/>
                        <a:pt x="40565" y="214725"/>
                      </a:cubicBezTo>
                      <a:lnTo>
                        <a:pt x="60907" y="219792"/>
                      </a:lnTo>
                      <a:lnTo>
                        <a:pt x="73338" y="291740"/>
                      </a:lnTo>
                      <a:lnTo>
                        <a:pt x="78989" y="290727"/>
                      </a:lnTo>
                      <a:cubicBezTo>
                        <a:pt x="78989" y="290727"/>
                        <a:pt x="93680" y="285660"/>
                        <a:pt x="94811" y="277553"/>
                      </a:cubicBezTo>
                      <a:cubicBezTo>
                        <a:pt x="95941" y="269446"/>
                        <a:pt x="104982" y="271473"/>
                        <a:pt x="101591" y="261339"/>
                      </a:cubicBezTo>
                      <a:cubicBezTo>
                        <a:pt x="98201" y="251206"/>
                        <a:pt x="100462" y="232965"/>
                        <a:pt x="100462" y="232965"/>
                      </a:cubicBezTo>
                      <a:cubicBezTo>
                        <a:pt x="100462" y="232965"/>
                        <a:pt x="107242" y="226885"/>
                        <a:pt x="116283" y="226885"/>
                      </a:cubicBezTo>
                      <a:cubicBezTo>
                        <a:pt x="125324" y="226885"/>
                        <a:pt x="128715" y="216752"/>
                        <a:pt x="140016" y="211685"/>
                      </a:cubicBezTo>
                      <a:cubicBezTo>
                        <a:pt x="151317" y="206618"/>
                        <a:pt x="145666" y="192431"/>
                        <a:pt x="145666" y="192431"/>
                      </a:cubicBezTo>
                      <a:lnTo>
                        <a:pt x="152447" y="17621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6" name="Freeform: Shape 275">
                  <a:extLst>
                    <a:ext uri="{FF2B5EF4-FFF2-40B4-BE49-F238E27FC236}">
                      <a16:creationId xmlns:a16="http://schemas.microsoft.com/office/drawing/2014/main" id="{4E2879A1-0C13-4277-8740-9787A811CAC2}"/>
                    </a:ext>
                  </a:extLst>
                </p:cNvPr>
                <p:cNvSpPr/>
                <p:nvPr/>
              </p:nvSpPr>
              <p:spPr>
                <a:xfrm>
                  <a:off x="3722334" y="3837367"/>
                  <a:ext cx="33904" cy="40534"/>
                </a:xfrm>
                <a:custGeom>
                  <a:avLst/>
                  <a:gdLst>
                    <a:gd name="connsiteX0" fmla="*/ 15703 w 33903"/>
                    <a:gd name="connsiteY0" fmla="*/ 9727 h 40534"/>
                    <a:gd name="connsiteX1" fmla="*/ 10052 w 33903"/>
                    <a:gd name="connsiteY1" fmla="*/ 14794 h 40534"/>
                    <a:gd name="connsiteX2" fmla="*/ 15703 w 33903"/>
                    <a:gd name="connsiteY2" fmla="*/ 34047 h 40534"/>
                    <a:gd name="connsiteX3" fmla="*/ 29264 w 33903"/>
                    <a:gd name="connsiteY3" fmla="*/ 34047 h 40534"/>
                    <a:gd name="connsiteX4" fmla="*/ 31524 w 33903"/>
                    <a:gd name="connsiteY4" fmla="*/ 9727 h 40534"/>
                    <a:gd name="connsiteX5" fmla="*/ 15703 w 33903"/>
                    <a:gd name="connsiteY5" fmla="*/ 9727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3" h="40534">
                      <a:moveTo>
                        <a:pt x="15703" y="9727"/>
                      </a:moveTo>
                      <a:cubicBezTo>
                        <a:pt x="16832" y="10740"/>
                        <a:pt x="10052" y="14794"/>
                        <a:pt x="10052" y="14794"/>
                      </a:cubicBezTo>
                      <a:cubicBezTo>
                        <a:pt x="11182" y="18847"/>
                        <a:pt x="13442" y="26954"/>
                        <a:pt x="15703" y="34047"/>
                      </a:cubicBezTo>
                      <a:cubicBezTo>
                        <a:pt x="20223" y="34047"/>
                        <a:pt x="24743" y="33034"/>
                        <a:pt x="29264" y="34047"/>
                      </a:cubicBezTo>
                      <a:lnTo>
                        <a:pt x="31524" y="9727"/>
                      </a:lnTo>
                      <a:cubicBezTo>
                        <a:pt x="27004" y="7700"/>
                        <a:pt x="20223" y="10740"/>
                        <a:pt x="15703" y="972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7" name="Freeform: Shape 276">
                  <a:extLst>
                    <a:ext uri="{FF2B5EF4-FFF2-40B4-BE49-F238E27FC236}">
                      <a16:creationId xmlns:a16="http://schemas.microsoft.com/office/drawing/2014/main" id="{44CCAB2B-3DD0-4349-80B9-C8706D16E798}"/>
                    </a:ext>
                  </a:extLst>
                </p:cNvPr>
                <p:cNvSpPr/>
                <p:nvPr/>
              </p:nvSpPr>
              <p:spPr>
                <a:xfrm>
                  <a:off x="5876354" y="3798560"/>
                  <a:ext cx="90410" cy="253339"/>
                </a:xfrm>
                <a:custGeom>
                  <a:avLst/>
                  <a:gdLst>
                    <a:gd name="connsiteX0" fmla="*/ 56376 w 90409"/>
                    <a:gd name="connsiteY0" fmla="*/ 243099 h 253339"/>
                    <a:gd name="connsiteX1" fmla="*/ 63156 w 90409"/>
                    <a:gd name="connsiteY1" fmla="*/ 232965 h 253339"/>
                    <a:gd name="connsiteX2" fmla="*/ 65416 w 90409"/>
                    <a:gd name="connsiteY2" fmla="*/ 243099 h 253339"/>
                    <a:gd name="connsiteX3" fmla="*/ 65416 w 90409"/>
                    <a:gd name="connsiteY3" fmla="*/ 250192 h 253339"/>
                    <a:gd name="connsiteX4" fmla="*/ 71067 w 90409"/>
                    <a:gd name="connsiteY4" fmla="*/ 240059 h 253339"/>
                    <a:gd name="connsiteX5" fmla="*/ 83498 w 90409"/>
                    <a:gd name="connsiteY5" fmla="*/ 240059 h 253339"/>
                    <a:gd name="connsiteX6" fmla="*/ 77847 w 90409"/>
                    <a:gd name="connsiteY6" fmla="*/ 220805 h 253339"/>
                    <a:gd name="connsiteX7" fmla="*/ 73327 w 90409"/>
                    <a:gd name="connsiteY7" fmla="*/ 212698 h 253339"/>
                    <a:gd name="connsiteX8" fmla="*/ 72197 w 90409"/>
                    <a:gd name="connsiteY8" fmla="*/ 191418 h 253339"/>
                    <a:gd name="connsiteX9" fmla="*/ 73327 w 90409"/>
                    <a:gd name="connsiteY9" fmla="*/ 170137 h 253339"/>
                    <a:gd name="connsiteX10" fmla="*/ 74457 w 90409"/>
                    <a:gd name="connsiteY10" fmla="*/ 144803 h 253339"/>
                    <a:gd name="connsiteX11" fmla="*/ 74457 w 90409"/>
                    <a:gd name="connsiteY11" fmla="*/ 115416 h 253339"/>
                    <a:gd name="connsiteX12" fmla="*/ 74457 w 90409"/>
                    <a:gd name="connsiteY12" fmla="*/ 92109 h 253339"/>
                    <a:gd name="connsiteX13" fmla="*/ 71067 w 90409"/>
                    <a:gd name="connsiteY13" fmla="*/ 73868 h 253339"/>
                    <a:gd name="connsiteX14" fmla="*/ 69936 w 90409"/>
                    <a:gd name="connsiteY14" fmla="*/ 52588 h 253339"/>
                    <a:gd name="connsiteX15" fmla="*/ 42814 w 90409"/>
                    <a:gd name="connsiteY15" fmla="*/ 46508 h 253339"/>
                    <a:gd name="connsiteX16" fmla="*/ 46204 w 90409"/>
                    <a:gd name="connsiteY16" fmla="*/ 13067 h 253339"/>
                    <a:gd name="connsiteX17" fmla="*/ 29252 w 90409"/>
                    <a:gd name="connsiteY17" fmla="*/ 12053 h 253339"/>
                    <a:gd name="connsiteX18" fmla="*/ 13430 w 90409"/>
                    <a:gd name="connsiteY18" fmla="*/ 9013 h 253339"/>
                    <a:gd name="connsiteX19" fmla="*/ 12301 w 90409"/>
                    <a:gd name="connsiteY19" fmla="*/ 38401 h 253339"/>
                    <a:gd name="connsiteX20" fmla="*/ 24732 w 90409"/>
                    <a:gd name="connsiteY20" fmla="*/ 57654 h 253339"/>
                    <a:gd name="connsiteX21" fmla="*/ 23602 w 90409"/>
                    <a:gd name="connsiteY21" fmla="*/ 88055 h 253339"/>
                    <a:gd name="connsiteX22" fmla="*/ 29252 w 90409"/>
                    <a:gd name="connsiteY22" fmla="*/ 103255 h 253339"/>
                    <a:gd name="connsiteX23" fmla="*/ 24732 w 90409"/>
                    <a:gd name="connsiteY23" fmla="*/ 129603 h 253339"/>
                    <a:gd name="connsiteX24" fmla="*/ 36033 w 90409"/>
                    <a:gd name="connsiteY24" fmla="*/ 150883 h 253339"/>
                    <a:gd name="connsiteX25" fmla="*/ 31513 w 90409"/>
                    <a:gd name="connsiteY25" fmla="*/ 182298 h 253339"/>
                    <a:gd name="connsiteX26" fmla="*/ 32643 w 90409"/>
                    <a:gd name="connsiteY26" fmla="*/ 197498 h 253339"/>
                    <a:gd name="connsiteX27" fmla="*/ 32643 w 90409"/>
                    <a:gd name="connsiteY27" fmla="*/ 206618 h 253339"/>
                    <a:gd name="connsiteX28" fmla="*/ 56376 w 90409"/>
                    <a:gd name="connsiteY28" fmla="*/ 243099 h 2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0409" h="253339">
                      <a:moveTo>
                        <a:pt x="56376" y="243099"/>
                      </a:moveTo>
                      <a:cubicBezTo>
                        <a:pt x="58635" y="239046"/>
                        <a:pt x="60896" y="236005"/>
                        <a:pt x="63156" y="232965"/>
                      </a:cubicBezTo>
                      <a:cubicBezTo>
                        <a:pt x="59766" y="236005"/>
                        <a:pt x="65416" y="241072"/>
                        <a:pt x="65416" y="243099"/>
                      </a:cubicBezTo>
                      <a:cubicBezTo>
                        <a:pt x="57505" y="244112"/>
                        <a:pt x="54115" y="254246"/>
                        <a:pt x="65416" y="250192"/>
                      </a:cubicBezTo>
                      <a:cubicBezTo>
                        <a:pt x="67677" y="249179"/>
                        <a:pt x="68807" y="241072"/>
                        <a:pt x="71067" y="240059"/>
                      </a:cubicBezTo>
                      <a:cubicBezTo>
                        <a:pt x="72197" y="239046"/>
                        <a:pt x="77847" y="242085"/>
                        <a:pt x="83498" y="240059"/>
                      </a:cubicBezTo>
                      <a:cubicBezTo>
                        <a:pt x="83498" y="240059"/>
                        <a:pt x="83498" y="227899"/>
                        <a:pt x="77847" y="220805"/>
                      </a:cubicBezTo>
                      <a:cubicBezTo>
                        <a:pt x="72197" y="213712"/>
                        <a:pt x="73327" y="212698"/>
                        <a:pt x="73327" y="212698"/>
                      </a:cubicBezTo>
                      <a:cubicBezTo>
                        <a:pt x="73327" y="212698"/>
                        <a:pt x="74457" y="199524"/>
                        <a:pt x="72197" y="191418"/>
                      </a:cubicBezTo>
                      <a:cubicBezTo>
                        <a:pt x="69936" y="183311"/>
                        <a:pt x="68807" y="181284"/>
                        <a:pt x="73327" y="170137"/>
                      </a:cubicBezTo>
                      <a:cubicBezTo>
                        <a:pt x="77847" y="158990"/>
                        <a:pt x="74457" y="156964"/>
                        <a:pt x="74457" y="144803"/>
                      </a:cubicBezTo>
                      <a:cubicBezTo>
                        <a:pt x="74457" y="132643"/>
                        <a:pt x="68807" y="130616"/>
                        <a:pt x="74457" y="115416"/>
                      </a:cubicBezTo>
                      <a:cubicBezTo>
                        <a:pt x="80108" y="100216"/>
                        <a:pt x="74457" y="92109"/>
                        <a:pt x="74457" y="92109"/>
                      </a:cubicBezTo>
                      <a:cubicBezTo>
                        <a:pt x="74457" y="92109"/>
                        <a:pt x="68807" y="81975"/>
                        <a:pt x="71067" y="73868"/>
                      </a:cubicBezTo>
                      <a:cubicBezTo>
                        <a:pt x="73327" y="65761"/>
                        <a:pt x="69936" y="52588"/>
                        <a:pt x="69936" y="52588"/>
                      </a:cubicBezTo>
                      <a:lnTo>
                        <a:pt x="42814" y="46508"/>
                      </a:lnTo>
                      <a:lnTo>
                        <a:pt x="46204" y="13067"/>
                      </a:lnTo>
                      <a:cubicBezTo>
                        <a:pt x="46204" y="13067"/>
                        <a:pt x="36033" y="13067"/>
                        <a:pt x="29252" y="12053"/>
                      </a:cubicBezTo>
                      <a:cubicBezTo>
                        <a:pt x="22472" y="11040"/>
                        <a:pt x="13430" y="9013"/>
                        <a:pt x="13430" y="9013"/>
                      </a:cubicBezTo>
                      <a:cubicBezTo>
                        <a:pt x="13430" y="9013"/>
                        <a:pt x="6650" y="37387"/>
                        <a:pt x="12301" y="38401"/>
                      </a:cubicBezTo>
                      <a:cubicBezTo>
                        <a:pt x="17951" y="39414"/>
                        <a:pt x="24732" y="46508"/>
                        <a:pt x="24732" y="57654"/>
                      </a:cubicBezTo>
                      <a:cubicBezTo>
                        <a:pt x="24732" y="68801"/>
                        <a:pt x="29252" y="80962"/>
                        <a:pt x="23602" y="88055"/>
                      </a:cubicBezTo>
                      <a:cubicBezTo>
                        <a:pt x="17951" y="96162"/>
                        <a:pt x="32643" y="97176"/>
                        <a:pt x="29252" y="103255"/>
                      </a:cubicBezTo>
                      <a:cubicBezTo>
                        <a:pt x="25862" y="109336"/>
                        <a:pt x="16821" y="118456"/>
                        <a:pt x="24732" y="129603"/>
                      </a:cubicBezTo>
                      <a:cubicBezTo>
                        <a:pt x="33773" y="140750"/>
                        <a:pt x="36033" y="140750"/>
                        <a:pt x="36033" y="150883"/>
                      </a:cubicBezTo>
                      <a:cubicBezTo>
                        <a:pt x="36033" y="161017"/>
                        <a:pt x="31513" y="177231"/>
                        <a:pt x="31513" y="182298"/>
                      </a:cubicBezTo>
                      <a:cubicBezTo>
                        <a:pt x="31513" y="187364"/>
                        <a:pt x="26992" y="193444"/>
                        <a:pt x="32643" y="197498"/>
                      </a:cubicBezTo>
                      <a:cubicBezTo>
                        <a:pt x="38293" y="201551"/>
                        <a:pt x="26992" y="201551"/>
                        <a:pt x="32643" y="206618"/>
                      </a:cubicBezTo>
                      <a:cubicBezTo>
                        <a:pt x="38293" y="211685"/>
                        <a:pt x="56376" y="243099"/>
                        <a:pt x="56376" y="24309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8" name="Freeform: Shape 277">
                  <a:extLst>
                    <a:ext uri="{FF2B5EF4-FFF2-40B4-BE49-F238E27FC236}">
                      <a16:creationId xmlns:a16="http://schemas.microsoft.com/office/drawing/2014/main" id="{4D590739-BCF0-4319-9FC5-5DDFDCD533E9}"/>
                    </a:ext>
                  </a:extLst>
                </p:cNvPr>
                <p:cNvSpPr/>
                <p:nvPr/>
              </p:nvSpPr>
              <p:spPr>
                <a:xfrm>
                  <a:off x="9332248" y="3478339"/>
                  <a:ext cx="271229" cy="597881"/>
                </a:xfrm>
                <a:custGeom>
                  <a:avLst/>
                  <a:gdLst>
                    <a:gd name="connsiteX0" fmla="*/ 102722 w 271228"/>
                    <a:gd name="connsiteY0" fmla="*/ 14080 h 597880"/>
                    <a:gd name="connsiteX1" fmla="*/ 102722 w 271228"/>
                    <a:gd name="connsiteY1" fmla="*/ 23200 h 597880"/>
                    <a:gd name="connsiteX2" fmla="*/ 110633 w 271228"/>
                    <a:gd name="connsiteY2" fmla="*/ 24214 h 597880"/>
                    <a:gd name="connsiteX3" fmla="*/ 125324 w 271228"/>
                    <a:gd name="connsiteY3" fmla="*/ 20160 h 597880"/>
                    <a:gd name="connsiteX4" fmla="*/ 127585 w 271228"/>
                    <a:gd name="connsiteY4" fmla="*/ 33334 h 597880"/>
                    <a:gd name="connsiteX5" fmla="*/ 118544 w 271228"/>
                    <a:gd name="connsiteY5" fmla="*/ 47521 h 597880"/>
                    <a:gd name="connsiteX6" fmla="*/ 120804 w 271228"/>
                    <a:gd name="connsiteY6" fmla="*/ 56641 h 597880"/>
                    <a:gd name="connsiteX7" fmla="*/ 123064 w 271228"/>
                    <a:gd name="connsiteY7" fmla="*/ 65761 h 597880"/>
                    <a:gd name="connsiteX8" fmla="*/ 129845 w 271228"/>
                    <a:gd name="connsiteY8" fmla="*/ 71842 h 597880"/>
                    <a:gd name="connsiteX9" fmla="*/ 135496 w 271228"/>
                    <a:gd name="connsiteY9" fmla="*/ 82989 h 597880"/>
                    <a:gd name="connsiteX10" fmla="*/ 130975 w 271228"/>
                    <a:gd name="connsiteY10" fmla="*/ 93122 h 597880"/>
                    <a:gd name="connsiteX11" fmla="*/ 140016 w 271228"/>
                    <a:gd name="connsiteY11" fmla="*/ 98189 h 597880"/>
                    <a:gd name="connsiteX12" fmla="*/ 146797 w 271228"/>
                    <a:gd name="connsiteY12" fmla="*/ 93122 h 597880"/>
                    <a:gd name="connsiteX13" fmla="*/ 155838 w 271228"/>
                    <a:gd name="connsiteY13" fmla="*/ 82989 h 597880"/>
                    <a:gd name="connsiteX14" fmla="*/ 177310 w 271228"/>
                    <a:gd name="connsiteY14" fmla="*/ 67788 h 597880"/>
                    <a:gd name="connsiteX15" fmla="*/ 187481 w 271228"/>
                    <a:gd name="connsiteY15" fmla="*/ 72855 h 597880"/>
                    <a:gd name="connsiteX16" fmla="*/ 186351 w 271228"/>
                    <a:gd name="connsiteY16" fmla="*/ 78935 h 597880"/>
                    <a:gd name="connsiteX17" fmla="*/ 193132 w 271228"/>
                    <a:gd name="connsiteY17" fmla="*/ 86029 h 597880"/>
                    <a:gd name="connsiteX18" fmla="*/ 205563 w 271228"/>
                    <a:gd name="connsiteY18" fmla="*/ 92109 h 597880"/>
                    <a:gd name="connsiteX19" fmla="*/ 220255 w 271228"/>
                    <a:gd name="connsiteY19" fmla="*/ 92109 h 597880"/>
                    <a:gd name="connsiteX20" fmla="*/ 237206 w 271228"/>
                    <a:gd name="connsiteY20" fmla="*/ 112376 h 597880"/>
                    <a:gd name="connsiteX21" fmla="*/ 237206 w 271228"/>
                    <a:gd name="connsiteY21" fmla="*/ 128590 h 597880"/>
                    <a:gd name="connsiteX22" fmla="*/ 238336 w 271228"/>
                    <a:gd name="connsiteY22" fmla="*/ 146830 h 597880"/>
                    <a:gd name="connsiteX23" fmla="*/ 246247 w 271228"/>
                    <a:gd name="connsiteY23" fmla="*/ 157977 h 597880"/>
                    <a:gd name="connsiteX24" fmla="*/ 257548 w 271228"/>
                    <a:gd name="connsiteY24" fmla="*/ 166084 h 597880"/>
                    <a:gd name="connsiteX25" fmla="*/ 260939 w 271228"/>
                    <a:gd name="connsiteY25" fmla="*/ 174191 h 597880"/>
                    <a:gd name="connsiteX26" fmla="*/ 263199 w 271228"/>
                    <a:gd name="connsiteY26" fmla="*/ 187364 h 597880"/>
                    <a:gd name="connsiteX27" fmla="*/ 265459 w 271228"/>
                    <a:gd name="connsiteY27" fmla="*/ 193444 h 597880"/>
                    <a:gd name="connsiteX28" fmla="*/ 259809 w 271228"/>
                    <a:gd name="connsiteY28" fmla="*/ 206618 h 597880"/>
                    <a:gd name="connsiteX29" fmla="*/ 256419 w 271228"/>
                    <a:gd name="connsiteY29" fmla="*/ 217765 h 597880"/>
                    <a:gd name="connsiteX30" fmla="*/ 247377 w 271228"/>
                    <a:gd name="connsiteY30" fmla="*/ 226885 h 597880"/>
                    <a:gd name="connsiteX31" fmla="*/ 237206 w 271228"/>
                    <a:gd name="connsiteY31" fmla="*/ 234992 h 597880"/>
                    <a:gd name="connsiteX32" fmla="*/ 220255 w 271228"/>
                    <a:gd name="connsiteY32" fmla="*/ 246139 h 597880"/>
                    <a:gd name="connsiteX33" fmla="*/ 208953 w 271228"/>
                    <a:gd name="connsiteY33" fmla="*/ 246139 h 597880"/>
                    <a:gd name="connsiteX34" fmla="*/ 194262 w 271228"/>
                    <a:gd name="connsiteY34" fmla="*/ 245126 h 597880"/>
                    <a:gd name="connsiteX35" fmla="*/ 178440 w 271228"/>
                    <a:gd name="connsiteY35" fmla="*/ 253232 h 597880"/>
                    <a:gd name="connsiteX36" fmla="*/ 168269 w 271228"/>
                    <a:gd name="connsiteY36" fmla="*/ 258299 h 597880"/>
                    <a:gd name="connsiteX37" fmla="*/ 163749 w 271228"/>
                    <a:gd name="connsiteY37" fmla="*/ 277553 h 597880"/>
                    <a:gd name="connsiteX38" fmla="*/ 164879 w 271228"/>
                    <a:gd name="connsiteY38" fmla="*/ 301873 h 597880"/>
                    <a:gd name="connsiteX39" fmla="*/ 177310 w 271228"/>
                    <a:gd name="connsiteY39" fmla="*/ 318087 h 597880"/>
                    <a:gd name="connsiteX40" fmla="*/ 180700 w 271228"/>
                    <a:gd name="connsiteY40" fmla="*/ 333288 h 597880"/>
                    <a:gd name="connsiteX41" fmla="*/ 181830 w 271228"/>
                    <a:gd name="connsiteY41" fmla="*/ 357608 h 597880"/>
                    <a:gd name="connsiteX42" fmla="*/ 175050 w 271228"/>
                    <a:gd name="connsiteY42" fmla="*/ 350515 h 597880"/>
                    <a:gd name="connsiteX43" fmla="*/ 172789 w 271228"/>
                    <a:gd name="connsiteY43" fmla="*/ 338354 h 597880"/>
                    <a:gd name="connsiteX44" fmla="*/ 161488 w 271228"/>
                    <a:gd name="connsiteY44" fmla="*/ 336328 h 597880"/>
                    <a:gd name="connsiteX45" fmla="*/ 145666 w 271228"/>
                    <a:gd name="connsiteY45" fmla="*/ 306940 h 597880"/>
                    <a:gd name="connsiteX46" fmla="*/ 126455 w 271228"/>
                    <a:gd name="connsiteY46" fmla="*/ 308967 h 597880"/>
                    <a:gd name="connsiteX47" fmla="*/ 91421 w 271228"/>
                    <a:gd name="connsiteY47" fmla="*/ 279580 h 597880"/>
                    <a:gd name="connsiteX48" fmla="*/ 85770 w 271228"/>
                    <a:gd name="connsiteY48" fmla="*/ 284647 h 597880"/>
                    <a:gd name="connsiteX49" fmla="*/ 85770 w 271228"/>
                    <a:gd name="connsiteY49" fmla="*/ 331261 h 597880"/>
                    <a:gd name="connsiteX50" fmla="*/ 88031 w 271228"/>
                    <a:gd name="connsiteY50" fmla="*/ 338354 h 597880"/>
                    <a:gd name="connsiteX51" fmla="*/ 80120 w 271228"/>
                    <a:gd name="connsiteY51" fmla="*/ 348488 h 597880"/>
                    <a:gd name="connsiteX52" fmla="*/ 77859 w 271228"/>
                    <a:gd name="connsiteY52" fmla="*/ 386996 h 597880"/>
                    <a:gd name="connsiteX53" fmla="*/ 72209 w 271228"/>
                    <a:gd name="connsiteY53" fmla="*/ 392062 h 597880"/>
                    <a:gd name="connsiteX54" fmla="*/ 64298 w 271228"/>
                    <a:gd name="connsiteY54" fmla="*/ 445770 h 597880"/>
                    <a:gd name="connsiteX55" fmla="*/ 77859 w 271228"/>
                    <a:gd name="connsiteY55" fmla="*/ 452864 h 597880"/>
                    <a:gd name="connsiteX56" fmla="*/ 83510 w 271228"/>
                    <a:gd name="connsiteY56" fmla="*/ 477184 h 597880"/>
                    <a:gd name="connsiteX57" fmla="*/ 94811 w 271228"/>
                    <a:gd name="connsiteY57" fmla="*/ 475158 h 597880"/>
                    <a:gd name="connsiteX58" fmla="*/ 114023 w 271228"/>
                    <a:gd name="connsiteY58" fmla="*/ 521772 h 597880"/>
                    <a:gd name="connsiteX59" fmla="*/ 133235 w 271228"/>
                    <a:gd name="connsiteY59" fmla="*/ 523799 h 597880"/>
                    <a:gd name="connsiteX60" fmla="*/ 135496 w 271228"/>
                    <a:gd name="connsiteY60" fmla="*/ 535959 h 597880"/>
                    <a:gd name="connsiteX61" fmla="*/ 151317 w 271228"/>
                    <a:gd name="connsiteY61" fmla="*/ 548119 h 597880"/>
                    <a:gd name="connsiteX62" fmla="*/ 156968 w 271228"/>
                    <a:gd name="connsiteY62" fmla="*/ 562306 h 597880"/>
                    <a:gd name="connsiteX63" fmla="*/ 150187 w 271228"/>
                    <a:gd name="connsiteY63" fmla="*/ 569400 h 597880"/>
                    <a:gd name="connsiteX64" fmla="*/ 149057 w 271228"/>
                    <a:gd name="connsiteY64" fmla="*/ 584600 h 597880"/>
                    <a:gd name="connsiteX65" fmla="*/ 137756 w 271228"/>
                    <a:gd name="connsiteY65" fmla="*/ 583587 h 597880"/>
                    <a:gd name="connsiteX66" fmla="*/ 135496 w 271228"/>
                    <a:gd name="connsiteY66" fmla="*/ 591694 h 597880"/>
                    <a:gd name="connsiteX67" fmla="*/ 125324 w 271228"/>
                    <a:gd name="connsiteY67" fmla="*/ 592707 h 597880"/>
                    <a:gd name="connsiteX68" fmla="*/ 125324 w 271228"/>
                    <a:gd name="connsiteY68" fmla="*/ 576493 h 597880"/>
                    <a:gd name="connsiteX69" fmla="*/ 108373 w 271228"/>
                    <a:gd name="connsiteY69" fmla="*/ 567373 h 597880"/>
                    <a:gd name="connsiteX70" fmla="*/ 92551 w 271228"/>
                    <a:gd name="connsiteY70" fmla="*/ 571426 h 597880"/>
                    <a:gd name="connsiteX71" fmla="*/ 90291 w 271228"/>
                    <a:gd name="connsiteY71" fmla="*/ 536972 h 597880"/>
                    <a:gd name="connsiteX72" fmla="*/ 82380 w 271228"/>
                    <a:gd name="connsiteY72" fmla="*/ 531906 h 597880"/>
                    <a:gd name="connsiteX73" fmla="*/ 80120 w 271228"/>
                    <a:gd name="connsiteY73" fmla="*/ 517719 h 597880"/>
                    <a:gd name="connsiteX74" fmla="*/ 68818 w 271228"/>
                    <a:gd name="connsiteY74" fmla="*/ 510625 h 597880"/>
                    <a:gd name="connsiteX75" fmla="*/ 33785 w 271228"/>
                    <a:gd name="connsiteY75" fmla="*/ 459957 h 597880"/>
                    <a:gd name="connsiteX76" fmla="*/ 41696 w 271228"/>
                    <a:gd name="connsiteY76" fmla="*/ 428543 h 597880"/>
                    <a:gd name="connsiteX77" fmla="*/ 49606 w 271228"/>
                    <a:gd name="connsiteY77" fmla="*/ 423476 h 597880"/>
                    <a:gd name="connsiteX78" fmla="*/ 41696 w 271228"/>
                    <a:gd name="connsiteY78" fmla="*/ 397129 h 597880"/>
                    <a:gd name="connsiteX79" fmla="*/ 52997 w 271228"/>
                    <a:gd name="connsiteY79" fmla="*/ 382942 h 597880"/>
                    <a:gd name="connsiteX80" fmla="*/ 51867 w 271228"/>
                    <a:gd name="connsiteY80" fmla="*/ 370782 h 597880"/>
                    <a:gd name="connsiteX81" fmla="*/ 54127 w 271228"/>
                    <a:gd name="connsiteY81" fmla="*/ 371795 h 597880"/>
                    <a:gd name="connsiteX82" fmla="*/ 57517 w 271228"/>
                    <a:gd name="connsiteY82" fmla="*/ 357608 h 597880"/>
                    <a:gd name="connsiteX83" fmla="*/ 63168 w 271228"/>
                    <a:gd name="connsiteY83" fmla="*/ 337341 h 597880"/>
                    <a:gd name="connsiteX84" fmla="*/ 77859 w 271228"/>
                    <a:gd name="connsiteY84" fmla="*/ 321128 h 597880"/>
                    <a:gd name="connsiteX85" fmla="*/ 76729 w 271228"/>
                    <a:gd name="connsiteY85" fmla="*/ 298834 h 597880"/>
                    <a:gd name="connsiteX86" fmla="*/ 67689 w 271228"/>
                    <a:gd name="connsiteY86" fmla="*/ 277553 h 597880"/>
                    <a:gd name="connsiteX87" fmla="*/ 43956 w 271228"/>
                    <a:gd name="connsiteY87" fmla="*/ 258299 h 597880"/>
                    <a:gd name="connsiteX88" fmla="*/ 33785 w 271228"/>
                    <a:gd name="connsiteY88" fmla="*/ 229925 h 597880"/>
                    <a:gd name="connsiteX89" fmla="*/ 28134 w 271228"/>
                    <a:gd name="connsiteY89" fmla="*/ 198511 h 597880"/>
                    <a:gd name="connsiteX90" fmla="*/ 46216 w 271228"/>
                    <a:gd name="connsiteY90" fmla="*/ 192431 h 597880"/>
                    <a:gd name="connsiteX91" fmla="*/ 46216 w 271228"/>
                    <a:gd name="connsiteY91" fmla="*/ 172164 h 597880"/>
                    <a:gd name="connsiteX92" fmla="*/ 31525 w 271228"/>
                    <a:gd name="connsiteY92" fmla="*/ 158990 h 597880"/>
                    <a:gd name="connsiteX93" fmla="*/ 15703 w 271228"/>
                    <a:gd name="connsiteY93" fmla="*/ 141763 h 597880"/>
                    <a:gd name="connsiteX94" fmla="*/ 10052 w 271228"/>
                    <a:gd name="connsiteY94" fmla="*/ 112376 h 597880"/>
                    <a:gd name="connsiteX95" fmla="*/ 15703 w 271228"/>
                    <a:gd name="connsiteY95" fmla="*/ 91095 h 597880"/>
                    <a:gd name="connsiteX96" fmla="*/ 19094 w 271228"/>
                    <a:gd name="connsiteY96" fmla="*/ 76908 h 597880"/>
                    <a:gd name="connsiteX97" fmla="*/ 11183 w 271228"/>
                    <a:gd name="connsiteY97" fmla="*/ 58668 h 597880"/>
                    <a:gd name="connsiteX98" fmla="*/ 14573 w 271228"/>
                    <a:gd name="connsiteY98" fmla="*/ 47521 h 597880"/>
                    <a:gd name="connsiteX99" fmla="*/ 28134 w 271228"/>
                    <a:gd name="connsiteY99" fmla="*/ 45494 h 597880"/>
                    <a:gd name="connsiteX100" fmla="*/ 40565 w 271228"/>
                    <a:gd name="connsiteY100" fmla="*/ 33334 h 597880"/>
                    <a:gd name="connsiteX101" fmla="*/ 50737 w 271228"/>
                    <a:gd name="connsiteY101" fmla="*/ 32321 h 597880"/>
                    <a:gd name="connsiteX102" fmla="*/ 49606 w 271228"/>
                    <a:gd name="connsiteY102" fmla="*/ 21174 h 597880"/>
                    <a:gd name="connsiteX103" fmla="*/ 55257 w 271228"/>
                    <a:gd name="connsiteY103" fmla="*/ 9013 h 597880"/>
                    <a:gd name="connsiteX104" fmla="*/ 64298 w 271228"/>
                    <a:gd name="connsiteY104" fmla="*/ 9013 h 597880"/>
                    <a:gd name="connsiteX105" fmla="*/ 74469 w 271228"/>
                    <a:gd name="connsiteY105" fmla="*/ 15094 h 597880"/>
                    <a:gd name="connsiteX106" fmla="*/ 102722 w 271228"/>
                    <a:gd name="connsiteY106" fmla="*/ 14080 h 597880"/>
                    <a:gd name="connsiteX107" fmla="*/ 71079 w 271228"/>
                    <a:gd name="connsiteY107" fmla="*/ 62722 h 597880"/>
                    <a:gd name="connsiteX108" fmla="*/ 71079 w 271228"/>
                    <a:gd name="connsiteY108" fmla="*/ 72855 h 597880"/>
                    <a:gd name="connsiteX109" fmla="*/ 71079 w 271228"/>
                    <a:gd name="connsiteY109" fmla="*/ 62722 h 59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1228" h="597880">
                      <a:moveTo>
                        <a:pt x="102722" y="14080"/>
                      </a:moveTo>
                      <a:lnTo>
                        <a:pt x="102722" y="23200"/>
                      </a:lnTo>
                      <a:lnTo>
                        <a:pt x="110633" y="24214"/>
                      </a:lnTo>
                      <a:lnTo>
                        <a:pt x="125324" y="20160"/>
                      </a:lnTo>
                      <a:lnTo>
                        <a:pt x="127585" y="33334"/>
                      </a:lnTo>
                      <a:lnTo>
                        <a:pt x="118544" y="47521"/>
                      </a:lnTo>
                      <a:lnTo>
                        <a:pt x="120804" y="56641"/>
                      </a:lnTo>
                      <a:lnTo>
                        <a:pt x="123064" y="65761"/>
                      </a:lnTo>
                      <a:lnTo>
                        <a:pt x="129845" y="71842"/>
                      </a:lnTo>
                      <a:lnTo>
                        <a:pt x="135496" y="82989"/>
                      </a:lnTo>
                      <a:lnTo>
                        <a:pt x="130975" y="93122"/>
                      </a:lnTo>
                      <a:lnTo>
                        <a:pt x="140016" y="98189"/>
                      </a:lnTo>
                      <a:lnTo>
                        <a:pt x="146797" y="93122"/>
                      </a:lnTo>
                      <a:lnTo>
                        <a:pt x="155838" y="82989"/>
                      </a:lnTo>
                      <a:lnTo>
                        <a:pt x="177310" y="67788"/>
                      </a:lnTo>
                      <a:lnTo>
                        <a:pt x="187481" y="72855"/>
                      </a:lnTo>
                      <a:lnTo>
                        <a:pt x="186351" y="78935"/>
                      </a:lnTo>
                      <a:lnTo>
                        <a:pt x="193132" y="86029"/>
                      </a:lnTo>
                      <a:lnTo>
                        <a:pt x="205563" y="92109"/>
                      </a:lnTo>
                      <a:lnTo>
                        <a:pt x="220255" y="92109"/>
                      </a:lnTo>
                      <a:lnTo>
                        <a:pt x="237206" y="112376"/>
                      </a:lnTo>
                      <a:lnTo>
                        <a:pt x="237206" y="128590"/>
                      </a:lnTo>
                      <a:lnTo>
                        <a:pt x="238336" y="146830"/>
                      </a:lnTo>
                      <a:lnTo>
                        <a:pt x="246247" y="157977"/>
                      </a:lnTo>
                      <a:lnTo>
                        <a:pt x="257548" y="166084"/>
                      </a:lnTo>
                      <a:lnTo>
                        <a:pt x="260939" y="174191"/>
                      </a:lnTo>
                      <a:lnTo>
                        <a:pt x="263199" y="187364"/>
                      </a:lnTo>
                      <a:lnTo>
                        <a:pt x="265459" y="193444"/>
                      </a:lnTo>
                      <a:lnTo>
                        <a:pt x="259809" y="206618"/>
                      </a:lnTo>
                      <a:lnTo>
                        <a:pt x="256419" y="217765"/>
                      </a:lnTo>
                      <a:lnTo>
                        <a:pt x="247377" y="226885"/>
                      </a:lnTo>
                      <a:lnTo>
                        <a:pt x="237206" y="234992"/>
                      </a:lnTo>
                      <a:lnTo>
                        <a:pt x="220255" y="246139"/>
                      </a:lnTo>
                      <a:lnTo>
                        <a:pt x="208953" y="246139"/>
                      </a:lnTo>
                      <a:lnTo>
                        <a:pt x="194262" y="245126"/>
                      </a:lnTo>
                      <a:lnTo>
                        <a:pt x="178440" y="253232"/>
                      </a:lnTo>
                      <a:lnTo>
                        <a:pt x="168269" y="258299"/>
                      </a:lnTo>
                      <a:lnTo>
                        <a:pt x="163749" y="277553"/>
                      </a:lnTo>
                      <a:lnTo>
                        <a:pt x="164879" y="301873"/>
                      </a:lnTo>
                      <a:lnTo>
                        <a:pt x="177310" y="318087"/>
                      </a:lnTo>
                      <a:lnTo>
                        <a:pt x="180700" y="333288"/>
                      </a:lnTo>
                      <a:lnTo>
                        <a:pt x="181830" y="357608"/>
                      </a:lnTo>
                      <a:cubicBezTo>
                        <a:pt x="178440" y="353555"/>
                        <a:pt x="177310" y="354568"/>
                        <a:pt x="175050" y="350515"/>
                      </a:cubicBezTo>
                      <a:cubicBezTo>
                        <a:pt x="173919" y="348488"/>
                        <a:pt x="173919" y="339368"/>
                        <a:pt x="172789" y="338354"/>
                      </a:cubicBezTo>
                      <a:cubicBezTo>
                        <a:pt x="169399" y="336328"/>
                        <a:pt x="164879" y="339368"/>
                        <a:pt x="161488" y="336328"/>
                      </a:cubicBezTo>
                      <a:cubicBezTo>
                        <a:pt x="153577" y="327207"/>
                        <a:pt x="151317" y="317074"/>
                        <a:pt x="145666" y="306940"/>
                      </a:cubicBezTo>
                      <a:cubicBezTo>
                        <a:pt x="142276" y="306940"/>
                        <a:pt x="134365" y="308967"/>
                        <a:pt x="126455" y="308967"/>
                      </a:cubicBezTo>
                      <a:cubicBezTo>
                        <a:pt x="118544" y="281606"/>
                        <a:pt x="124194" y="284647"/>
                        <a:pt x="91421" y="279580"/>
                      </a:cubicBezTo>
                      <a:cubicBezTo>
                        <a:pt x="90291" y="286673"/>
                        <a:pt x="91421" y="281606"/>
                        <a:pt x="85770" y="284647"/>
                      </a:cubicBezTo>
                      <a:cubicBezTo>
                        <a:pt x="92551" y="304914"/>
                        <a:pt x="81250" y="309981"/>
                        <a:pt x="85770" y="331261"/>
                      </a:cubicBezTo>
                      <a:cubicBezTo>
                        <a:pt x="85770" y="332274"/>
                        <a:pt x="89160" y="334301"/>
                        <a:pt x="88031" y="338354"/>
                      </a:cubicBezTo>
                      <a:cubicBezTo>
                        <a:pt x="88031" y="340381"/>
                        <a:pt x="80120" y="345448"/>
                        <a:pt x="80120" y="348488"/>
                      </a:cubicBezTo>
                      <a:cubicBezTo>
                        <a:pt x="75599" y="361662"/>
                        <a:pt x="80120" y="372808"/>
                        <a:pt x="77859" y="386996"/>
                      </a:cubicBezTo>
                      <a:lnTo>
                        <a:pt x="72209" y="392062"/>
                      </a:lnTo>
                      <a:cubicBezTo>
                        <a:pt x="68818" y="401183"/>
                        <a:pt x="59778" y="432597"/>
                        <a:pt x="64298" y="445770"/>
                      </a:cubicBezTo>
                      <a:cubicBezTo>
                        <a:pt x="66558" y="450837"/>
                        <a:pt x="75599" y="448810"/>
                        <a:pt x="77859" y="452864"/>
                      </a:cubicBezTo>
                      <a:cubicBezTo>
                        <a:pt x="81250" y="456917"/>
                        <a:pt x="82380" y="472118"/>
                        <a:pt x="83510" y="477184"/>
                      </a:cubicBezTo>
                      <a:cubicBezTo>
                        <a:pt x="86901" y="476171"/>
                        <a:pt x="88031" y="473131"/>
                        <a:pt x="94811" y="475158"/>
                      </a:cubicBezTo>
                      <a:cubicBezTo>
                        <a:pt x="97071" y="493398"/>
                        <a:pt x="99332" y="514678"/>
                        <a:pt x="114023" y="521772"/>
                      </a:cubicBezTo>
                      <a:cubicBezTo>
                        <a:pt x="118544" y="523799"/>
                        <a:pt x="127585" y="520759"/>
                        <a:pt x="133235" y="523799"/>
                      </a:cubicBezTo>
                      <a:cubicBezTo>
                        <a:pt x="136626" y="525825"/>
                        <a:pt x="134365" y="532919"/>
                        <a:pt x="135496" y="535959"/>
                      </a:cubicBezTo>
                      <a:cubicBezTo>
                        <a:pt x="137756" y="540012"/>
                        <a:pt x="149057" y="544066"/>
                        <a:pt x="151317" y="548119"/>
                      </a:cubicBezTo>
                      <a:cubicBezTo>
                        <a:pt x="154708" y="552173"/>
                        <a:pt x="153577" y="558253"/>
                        <a:pt x="156968" y="562306"/>
                      </a:cubicBezTo>
                      <a:lnTo>
                        <a:pt x="150187" y="569400"/>
                      </a:lnTo>
                      <a:lnTo>
                        <a:pt x="149057" y="584600"/>
                      </a:lnTo>
                      <a:lnTo>
                        <a:pt x="137756" y="583587"/>
                      </a:lnTo>
                      <a:lnTo>
                        <a:pt x="135496" y="591694"/>
                      </a:lnTo>
                      <a:lnTo>
                        <a:pt x="125324" y="592707"/>
                      </a:lnTo>
                      <a:lnTo>
                        <a:pt x="125324" y="576493"/>
                      </a:lnTo>
                      <a:lnTo>
                        <a:pt x="108373" y="567373"/>
                      </a:lnTo>
                      <a:lnTo>
                        <a:pt x="92551" y="571426"/>
                      </a:lnTo>
                      <a:cubicBezTo>
                        <a:pt x="90291" y="559266"/>
                        <a:pt x="94811" y="547106"/>
                        <a:pt x="90291" y="536972"/>
                      </a:cubicBezTo>
                      <a:cubicBezTo>
                        <a:pt x="89160" y="534946"/>
                        <a:pt x="83510" y="533932"/>
                        <a:pt x="82380" y="531906"/>
                      </a:cubicBezTo>
                      <a:cubicBezTo>
                        <a:pt x="78990" y="526839"/>
                        <a:pt x="82380" y="522785"/>
                        <a:pt x="80120" y="517719"/>
                      </a:cubicBezTo>
                      <a:cubicBezTo>
                        <a:pt x="78990" y="515692"/>
                        <a:pt x="71079" y="512652"/>
                        <a:pt x="68818" y="510625"/>
                      </a:cubicBezTo>
                      <a:cubicBezTo>
                        <a:pt x="56387" y="497452"/>
                        <a:pt x="36045" y="481238"/>
                        <a:pt x="33785" y="459957"/>
                      </a:cubicBezTo>
                      <a:cubicBezTo>
                        <a:pt x="32654" y="448810"/>
                        <a:pt x="37175" y="435637"/>
                        <a:pt x="41696" y="428543"/>
                      </a:cubicBezTo>
                      <a:cubicBezTo>
                        <a:pt x="42826" y="427530"/>
                        <a:pt x="49606" y="424490"/>
                        <a:pt x="49606" y="423476"/>
                      </a:cubicBezTo>
                      <a:cubicBezTo>
                        <a:pt x="51867" y="410303"/>
                        <a:pt x="39436" y="411316"/>
                        <a:pt x="41696" y="397129"/>
                      </a:cubicBezTo>
                      <a:cubicBezTo>
                        <a:pt x="41696" y="395102"/>
                        <a:pt x="51867" y="385982"/>
                        <a:pt x="52997" y="382942"/>
                      </a:cubicBezTo>
                      <a:cubicBezTo>
                        <a:pt x="54127" y="379902"/>
                        <a:pt x="52997" y="375849"/>
                        <a:pt x="51867" y="370782"/>
                      </a:cubicBezTo>
                      <a:lnTo>
                        <a:pt x="54127" y="371795"/>
                      </a:lnTo>
                      <a:lnTo>
                        <a:pt x="57517" y="357608"/>
                      </a:lnTo>
                      <a:lnTo>
                        <a:pt x="63168" y="337341"/>
                      </a:lnTo>
                      <a:lnTo>
                        <a:pt x="77859" y="321128"/>
                      </a:lnTo>
                      <a:lnTo>
                        <a:pt x="76729" y="298834"/>
                      </a:lnTo>
                      <a:lnTo>
                        <a:pt x="67689" y="277553"/>
                      </a:lnTo>
                      <a:lnTo>
                        <a:pt x="43956" y="258299"/>
                      </a:lnTo>
                      <a:lnTo>
                        <a:pt x="33785" y="229925"/>
                      </a:lnTo>
                      <a:lnTo>
                        <a:pt x="28134" y="198511"/>
                      </a:lnTo>
                      <a:lnTo>
                        <a:pt x="46216" y="192431"/>
                      </a:lnTo>
                      <a:lnTo>
                        <a:pt x="46216" y="172164"/>
                      </a:lnTo>
                      <a:lnTo>
                        <a:pt x="31525" y="158990"/>
                      </a:lnTo>
                      <a:lnTo>
                        <a:pt x="15703" y="141763"/>
                      </a:lnTo>
                      <a:lnTo>
                        <a:pt x="10052" y="112376"/>
                      </a:lnTo>
                      <a:lnTo>
                        <a:pt x="15703" y="91095"/>
                      </a:lnTo>
                      <a:lnTo>
                        <a:pt x="19094" y="76908"/>
                      </a:lnTo>
                      <a:lnTo>
                        <a:pt x="11183" y="58668"/>
                      </a:lnTo>
                      <a:lnTo>
                        <a:pt x="14573" y="47521"/>
                      </a:lnTo>
                      <a:lnTo>
                        <a:pt x="28134" y="45494"/>
                      </a:lnTo>
                      <a:lnTo>
                        <a:pt x="40565" y="33334"/>
                      </a:lnTo>
                      <a:lnTo>
                        <a:pt x="50737" y="32321"/>
                      </a:lnTo>
                      <a:lnTo>
                        <a:pt x="49606" y="21174"/>
                      </a:lnTo>
                      <a:lnTo>
                        <a:pt x="55257" y="9013"/>
                      </a:lnTo>
                      <a:lnTo>
                        <a:pt x="64298" y="9013"/>
                      </a:lnTo>
                      <a:lnTo>
                        <a:pt x="74469" y="15094"/>
                      </a:lnTo>
                      <a:lnTo>
                        <a:pt x="102722" y="14080"/>
                      </a:lnTo>
                      <a:close/>
                      <a:moveTo>
                        <a:pt x="71079" y="62722"/>
                      </a:moveTo>
                      <a:cubicBezTo>
                        <a:pt x="82380" y="60695"/>
                        <a:pt x="73339" y="71842"/>
                        <a:pt x="71079" y="72855"/>
                      </a:cubicBezTo>
                      <a:cubicBezTo>
                        <a:pt x="64298" y="72855"/>
                        <a:pt x="64298" y="62722"/>
                        <a:pt x="71079" y="627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9" name="Freeform: Shape 278">
                  <a:extLst>
                    <a:ext uri="{FF2B5EF4-FFF2-40B4-BE49-F238E27FC236}">
                      <a16:creationId xmlns:a16="http://schemas.microsoft.com/office/drawing/2014/main" id="{BCDFC97D-0F33-40D0-B447-6945FDD97C92}"/>
                    </a:ext>
                  </a:extLst>
                </p:cNvPr>
                <p:cNvSpPr/>
                <p:nvPr/>
              </p:nvSpPr>
              <p:spPr>
                <a:xfrm>
                  <a:off x="6931874" y="4336652"/>
                  <a:ext cx="395542" cy="415476"/>
                </a:xfrm>
                <a:custGeom>
                  <a:avLst/>
                  <a:gdLst>
                    <a:gd name="connsiteX0" fmla="*/ 353608 w 395541"/>
                    <a:gd name="connsiteY0" fmla="*/ 118456 h 415476"/>
                    <a:gd name="connsiteX1" fmla="*/ 347957 w 395541"/>
                    <a:gd name="connsiteY1" fmla="*/ 135683 h 415476"/>
                    <a:gd name="connsiteX2" fmla="*/ 342307 w 395541"/>
                    <a:gd name="connsiteY2" fmla="*/ 137710 h 415476"/>
                    <a:gd name="connsiteX3" fmla="*/ 344567 w 395541"/>
                    <a:gd name="connsiteY3" fmla="*/ 144803 h 415476"/>
                    <a:gd name="connsiteX4" fmla="*/ 336656 w 395541"/>
                    <a:gd name="connsiteY4" fmla="*/ 169124 h 415476"/>
                    <a:gd name="connsiteX5" fmla="*/ 328746 w 395541"/>
                    <a:gd name="connsiteY5" fmla="*/ 176217 h 415476"/>
                    <a:gd name="connsiteX6" fmla="*/ 328746 w 395541"/>
                    <a:gd name="connsiteY6" fmla="*/ 178244 h 415476"/>
                    <a:gd name="connsiteX7" fmla="*/ 334396 w 395541"/>
                    <a:gd name="connsiteY7" fmla="*/ 197498 h 415476"/>
                    <a:gd name="connsiteX8" fmla="*/ 361519 w 395541"/>
                    <a:gd name="connsiteY8" fmla="*/ 221818 h 415476"/>
                    <a:gd name="connsiteX9" fmla="*/ 353608 w 395541"/>
                    <a:gd name="connsiteY9" fmla="*/ 246139 h 415476"/>
                    <a:gd name="connsiteX10" fmla="*/ 353608 w 395541"/>
                    <a:gd name="connsiteY10" fmla="*/ 294780 h 415476"/>
                    <a:gd name="connsiteX11" fmla="*/ 361519 w 395541"/>
                    <a:gd name="connsiteY11" fmla="*/ 329234 h 415476"/>
                    <a:gd name="connsiteX12" fmla="*/ 382991 w 395541"/>
                    <a:gd name="connsiteY12" fmla="*/ 343421 h 415476"/>
                    <a:gd name="connsiteX13" fmla="*/ 382991 w 395541"/>
                    <a:gd name="connsiteY13" fmla="*/ 350514 h 415476"/>
                    <a:gd name="connsiteX14" fmla="*/ 388642 w 395541"/>
                    <a:gd name="connsiteY14" fmla="*/ 350514 h 415476"/>
                    <a:gd name="connsiteX15" fmla="*/ 387512 w 395541"/>
                    <a:gd name="connsiteY15" fmla="*/ 364702 h 415476"/>
                    <a:gd name="connsiteX16" fmla="*/ 354738 w 395541"/>
                    <a:gd name="connsiteY16" fmla="*/ 380915 h 415476"/>
                    <a:gd name="connsiteX17" fmla="*/ 327615 w 395541"/>
                    <a:gd name="connsiteY17" fmla="*/ 386995 h 415476"/>
                    <a:gd name="connsiteX18" fmla="*/ 309534 w 395541"/>
                    <a:gd name="connsiteY18" fmla="*/ 397129 h 415476"/>
                    <a:gd name="connsiteX19" fmla="*/ 297102 w 395541"/>
                    <a:gd name="connsiteY19" fmla="*/ 397129 h 415476"/>
                    <a:gd name="connsiteX20" fmla="*/ 281281 w 395541"/>
                    <a:gd name="connsiteY20" fmla="*/ 405236 h 415476"/>
                    <a:gd name="connsiteX21" fmla="*/ 255288 w 395541"/>
                    <a:gd name="connsiteY21" fmla="*/ 410303 h 415476"/>
                    <a:gd name="connsiteX22" fmla="*/ 229295 w 395541"/>
                    <a:gd name="connsiteY22" fmla="*/ 415370 h 415476"/>
                    <a:gd name="connsiteX23" fmla="*/ 212343 w 395541"/>
                    <a:gd name="connsiteY23" fmla="*/ 401182 h 415476"/>
                    <a:gd name="connsiteX24" fmla="*/ 197652 w 395541"/>
                    <a:gd name="connsiteY24" fmla="*/ 405236 h 415476"/>
                    <a:gd name="connsiteX25" fmla="*/ 181830 w 395541"/>
                    <a:gd name="connsiteY25" fmla="*/ 408276 h 415476"/>
                    <a:gd name="connsiteX26" fmla="*/ 184090 w 395541"/>
                    <a:gd name="connsiteY26" fmla="*/ 399156 h 415476"/>
                    <a:gd name="connsiteX27" fmla="*/ 184090 w 395541"/>
                    <a:gd name="connsiteY27" fmla="*/ 331261 h 415476"/>
                    <a:gd name="connsiteX28" fmla="*/ 170529 w 395541"/>
                    <a:gd name="connsiteY28" fmla="*/ 324167 h 415476"/>
                    <a:gd name="connsiteX29" fmla="*/ 162618 w 395541"/>
                    <a:gd name="connsiteY29" fmla="*/ 314034 h 415476"/>
                    <a:gd name="connsiteX30" fmla="*/ 156968 w 395541"/>
                    <a:gd name="connsiteY30" fmla="*/ 314034 h 415476"/>
                    <a:gd name="connsiteX31" fmla="*/ 126454 w 395541"/>
                    <a:gd name="connsiteY31" fmla="*/ 309980 h 415476"/>
                    <a:gd name="connsiteX32" fmla="*/ 103852 w 395541"/>
                    <a:gd name="connsiteY32" fmla="*/ 303900 h 415476"/>
                    <a:gd name="connsiteX33" fmla="*/ 89160 w 395541"/>
                    <a:gd name="connsiteY33" fmla="*/ 294780 h 415476"/>
                    <a:gd name="connsiteX34" fmla="*/ 86900 w 395541"/>
                    <a:gd name="connsiteY34" fmla="*/ 277553 h 415476"/>
                    <a:gd name="connsiteX35" fmla="*/ 81249 w 395541"/>
                    <a:gd name="connsiteY35" fmla="*/ 268433 h 415476"/>
                    <a:gd name="connsiteX36" fmla="*/ 69948 w 395541"/>
                    <a:gd name="connsiteY36" fmla="*/ 266406 h 415476"/>
                    <a:gd name="connsiteX37" fmla="*/ 69948 w 395541"/>
                    <a:gd name="connsiteY37" fmla="*/ 256272 h 415476"/>
                    <a:gd name="connsiteX38" fmla="*/ 62037 w 395541"/>
                    <a:gd name="connsiteY38" fmla="*/ 254246 h 415476"/>
                    <a:gd name="connsiteX39" fmla="*/ 56387 w 395541"/>
                    <a:gd name="connsiteY39" fmla="*/ 240059 h 415476"/>
                    <a:gd name="connsiteX40" fmla="*/ 45085 w 395541"/>
                    <a:gd name="connsiteY40" fmla="*/ 234992 h 415476"/>
                    <a:gd name="connsiteX41" fmla="*/ 50736 w 395541"/>
                    <a:gd name="connsiteY41" fmla="*/ 208645 h 415476"/>
                    <a:gd name="connsiteX42" fmla="*/ 10052 w 395541"/>
                    <a:gd name="connsiteY42" fmla="*/ 182298 h 415476"/>
                    <a:gd name="connsiteX43" fmla="*/ 12312 w 395541"/>
                    <a:gd name="connsiteY43" fmla="*/ 152910 h 415476"/>
                    <a:gd name="connsiteX44" fmla="*/ 10052 w 395541"/>
                    <a:gd name="connsiteY44" fmla="*/ 150883 h 415476"/>
                    <a:gd name="connsiteX45" fmla="*/ 12312 w 395541"/>
                    <a:gd name="connsiteY45" fmla="*/ 145817 h 415476"/>
                    <a:gd name="connsiteX46" fmla="*/ 14572 w 395541"/>
                    <a:gd name="connsiteY46" fmla="*/ 138723 h 415476"/>
                    <a:gd name="connsiteX47" fmla="*/ 10052 w 395541"/>
                    <a:gd name="connsiteY47" fmla="*/ 130616 h 415476"/>
                    <a:gd name="connsiteX48" fmla="*/ 23614 w 395541"/>
                    <a:gd name="connsiteY48" fmla="*/ 130616 h 415476"/>
                    <a:gd name="connsiteX49" fmla="*/ 40565 w 395541"/>
                    <a:gd name="connsiteY49" fmla="*/ 125549 h 415476"/>
                    <a:gd name="connsiteX50" fmla="*/ 45085 w 395541"/>
                    <a:gd name="connsiteY50" fmla="*/ 106296 h 415476"/>
                    <a:gd name="connsiteX51" fmla="*/ 60907 w 395541"/>
                    <a:gd name="connsiteY51" fmla="*/ 96162 h 415476"/>
                    <a:gd name="connsiteX52" fmla="*/ 67688 w 395541"/>
                    <a:gd name="connsiteY52" fmla="*/ 81975 h 415476"/>
                    <a:gd name="connsiteX53" fmla="*/ 56387 w 395541"/>
                    <a:gd name="connsiteY53" fmla="*/ 78935 h 415476"/>
                    <a:gd name="connsiteX54" fmla="*/ 52996 w 395541"/>
                    <a:gd name="connsiteY54" fmla="*/ 57654 h 415476"/>
                    <a:gd name="connsiteX55" fmla="*/ 54126 w 395541"/>
                    <a:gd name="connsiteY55" fmla="*/ 47521 h 415476"/>
                    <a:gd name="connsiteX56" fmla="*/ 55257 w 395541"/>
                    <a:gd name="connsiteY56" fmla="*/ 28267 h 415476"/>
                    <a:gd name="connsiteX57" fmla="*/ 45085 w 395541"/>
                    <a:gd name="connsiteY57" fmla="*/ 10027 h 415476"/>
                    <a:gd name="connsiteX58" fmla="*/ 89160 w 395541"/>
                    <a:gd name="connsiteY58" fmla="*/ 9013 h 415476"/>
                    <a:gd name="connsiteX59" fmla="*/ 81249 w 395541"/>
                    <a:gd name="connsiteY59" fmla="*/ 33334 h 415476"/>
                    <a:gd name="connsiteX60" fmla="*/ 89160 w 395541"/>
                    <a:gd name="connsiteY60" fmla="*/ 55628 h 415476"/>
                    <a:gd name="connsiteX61" fmla="*/ 110632 w 395541"/>
                    <a:gd name="connsiteY61" fmla="*/ 67788 h 415476"/>
                    <a:gd name="connsiteX62" fmla="*/ 104982 w 395541"/>
                    <a:gd name="connsiteY62" fmla="*/ 57654 h 415476"/>
                    <a:gd name="connsiteX63" fmla="*/ 118543 w 395541"/>
                    <a:gd name="connsiteY63" fmla="*/ 55628 h 415476"/>
                    <a:gd name="connsiteX64" fmla="*/ 120804 w 395541"/>
                    <a:gd name="connsiteY64" fmla="*/ 50561 h 415476"/>
                    <a:gd name="connsiteX65" fmla="*/ 118543 w 395541"/>
                    <a:gd name="connsiteY65" fmla="*/ 45494 h 415476"/>
                    <a:gd name="connsiteX66" fmla="*/ 151317 w 395541"/>
                    <a:gd name="connsiteY66" fmla="*/ 55628 h 415476"/>
                    <a:gd name="connsiteX67" fmla="*/ 151317 w 395541"/>
                    <a:gd name="connsiteY67" fmla="*/ 69815 h 415476"/>
                    <a:gd name="connsiteX68" fmla="*/ 159228 w 395541"/>
                    <a:gd name="connsiteY68" fmla="*/ 74882 h 415476"/>
                    <a:gd name="connsiteX69" fmla="*/ 180700 w 395541"/>
                    <a:gd name="connsiteY69" fmla="*/ 48534 h 415476"/>
                    <a:gd name="connsiteX70" fmla="*/ 182960 w 395541"/>
                    <a:gd name="connsiteY70" fmla="*/ 43468 h 415476"/>
                    <a:gd name="connsiteX71" fmla="*/ 182960 w 395541"/>
                    <a:gd name="connsiteY71" fmla="*/ 38401 h 415476"/>
                    <a:gd name="connsiteX72" fmla="*/ 169399 w 395541"/>
                    <a:gd name="connsiteY72" fmla="*/ 38401 h 415476"/>
                    <a:gd name="connsiteX73" fmla="*/ 167138 w 395541"/>
                    <a:gd name="connsiteY73" fmla="*/ 33334 h 415476"/>
                    <a:gd name="connsiteX74" fmla="*/ 172789 w 395541"/>
                    <a:gd name="connsiteY74" fmla="*/ 28267 h 415476"/>
                    <a:gd name="connsiteX75" fmla="*/ 159228 w 395541"/>
                    <a:gd name="connsiteY75" fmla="*/ 26240 h 415476"/>
                    <a:gd name="connsiteX76" fmla="*/ 172789 w 395541"/>
                    <a:gd name="connsiteY76" fmla="*/ 11040 h 415476"/>
                    <a:gd name="connsiteX77" fmla="*/ 282411 w 395541"/>
                    <a:gd name="connsiteY77" fmla="*/ 56641 h 415476"/>
                    <a:gd name="connsiteX78" fmla="*/ 288061 w 395541"/>
                    <a:gd name="connsiteY78" fmla="*/ 72855 h 415476"/>
                    <a:gd name="connsiteX79" fmla="*/ 294842 w 395541"/>
                    <a:gd name="connsiteY79" fmla="*/ 89069 h 415476"/>
                    <a:gd name="connsiteX80" fmla="*/ 305013 w 395541"/>
                    <a:gd name="connsiteY80" fmla="*/ 95149 h 415476"/>
                    <a:gd name="connsiteX81" fmla="*/ 353608 w 395541"/>
                    <a:gd name="connsiteY81" fmla="*/ 118456 h 415476"/>
                    <a:gd name="connsiteX82" fmla="*/ 127584 w 395541"/>
                    <a:gd name="connsiteY82" fmla="*/ 240059 h 415476"/>
                    <a:gd name="connsiteX83" fmla="*/ 141146 w 395541"/>
                    <a:gd name="connsiteY83" fmla="*/ 254246 h 415476"/>
                    <a:gd name="connsiteX84" fmla="*/ 129844 w 395541"/>
                    <a:gd name="connsiteY84" fmla="*/ 254246 h 415476"/>
                    <a:gd name="connsiteX85" fmla="*/ 127584 w 395541"/>
                    <a:gd name="connsiteY85" fmla="*/ 240059 h 415476"/>
                    <a:gd name="connsiteX86" fmla="*/ 350218 w 395541"/>
                    <a:gd name="connsiteY86" fmla="*/ 179257 h 415476"/>
                    <a:gd name="connsiteX87" fmla="*/ 350218 w 395541"/>
                    <a:gd name="connsiteY87" fmla="*/ 191418 h 415476"/>
                    <a:gd name="connsiteX88" fmla="*/ 361519 w 395541"/>
                    <a:gd name="connsiteY88" fmla="*/ 191418 h 415476"/>
                    <a:gd name="connsiteX89" fmla="*/ 350218 w 395541"/>
                    <a:gd name="connsiteY89" fmla="*/ 179257 h 415476"/>
                    <a:gd name="connsiteX90" fmla="*/ 201042 w 395541"/>
                    <a:gd name="connsiteY90" fmla="*/ 96162 h 415476"/>
                    <a:gd name="connsiteX91" fmla="*/ 198782 w 395541"/>
                    <a:gd name="connsiteY91" fmla="*/ 108322 h 415476"/>
                    <a:gd name="connsiteX92" fmla="*/ 201042 w 395541"/>
                    <a:gd name="connsiteY92" fmla="*/ 96162 h 415476"/>
                    <a:gd name="connsiteX93" fmla="*/ 141146 w 395541"/>
                    <a:gd name="connsiteY93" fmla="*/ 23200 h 415476"/>
                    <a:gd name="connsiteX94" fmla="*/ 149057 w 395541"/>
                    <a:gd name="connsiteY94" fmla="*/ 33334 h 415476"/>
                    <a:gd name="connsiteX95" fmla="*/ 156968 w 395541"/>
                    <a:gd name="connsiteY95" fmla="*/ 26240 h 415476"/>
                    <a:gd name="connsiteX96" fmla="*/ 141146 w 395541"/>
                    <a:gd name="connsiteY96" fmla="*/ 23200 h 41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95541" h="415476">
                      <a:moveTo>
                        <a:pt x="353608" y="118456"/>
                      </a:moveTo>
                      <a:cubicBezTo>
                        <a:pt x="350218" y="123523"/>
                        <a:pt x="351348" y="130616"/>
                        <a:pt x="347957" y="135683"/>
                      </a:cubicBezTo>
                      <a:lnTo>
                        <a:pt x="342307" y="137710"/>
                      </a:lnTo>
                      <a:cubicBezTo>
                        <a:pt x="341177" y="140750"/>
                        <a:pt x="345698" y="144803"/>
                        <a:pt x="344567" y="144803"/>
                      </a:cubicBezTo>
                      <a:cubicBezTo>
                        <a:pt x="336656" y="147843"/>
                        <a:pt x="340047" y="161017"/>
                        <a:pt x="336656" y="169124"/>
                      </a:cubicBezTo>
                      <a:cubicBezTo>
                        <a:pt x="336656" y="170137"/>
                        <a:pt x="328746" y="176217"/>
                        <a:pt x="328746" y="176217"/>
                      </a:cubicBezTo>
                      <a:lnTo>
                        <a:pt x="328746" y="178244"/>
                      </a:lnTo>
                      <a:cubicBezTo>
                        <a:pt x="335526" y="181284"/>
                        <a:pt x="331006" y="191418"/>
                        <a:pt x="334396" y="197498"/>
                      </a:cubicBezTo>
                      <a:cubicBezTo>
                        <a:pt x="336656" y="202565"/>
                        <a:pt x="360389" y="216752"/>
                        <a:pt x="361519" y="221818"/>
                      </a:cubicBezTo>
                      <a:cubicBezTo>
                        <a:pt x="363779" y="231952"/>
                        <a:pt x="354738" y="240059"/>
                        <a:pt x="353608" y="246139"/>
                      </a:cubicBezTo>
                      <a:cubicBezTo>
                        <a:pt x="349088" y="263366"/>
                        <a:pt x="351348" y="276540"/>
                        <a:pt x="353608" y="294780"/>
                      </a:cubicBezTo>
                      <a:cubicBezTo>
                        <a:pt x="354738" y="302887"/>
                        <a:pt x="356999" y="322141"/>
                        <a:pt x="361519" y="329234"/>
                      </a:cubicBezTo>
                      <a:cubicBezTo>
                        <a:pt x="363779" y="332274"/>
                        <a:pt x="380731" y="338354"/>
                        <a:pt x="382991" y="343421"/>
                      </a:cubicBezTo>
                      <a:cubicBezTo>
                        <a:pt x="382991" y="344435"/>
                        <a:pt x="381861" y="350514"/>
                        <a:pt x="382991" y="350514"/>
                      </a:cubicBezTo>
                      <a:lnTo>
                        <a:pt x="388642" y="350514"/>
                      </a:lnTo>
                      <a:cubicBezTo>
                        <a:pt x="389772" y="355581"/>
                        <a:pt x="389772" y="359635"/>
                        <a:pt x="387512" y="364702"/>
                      </a:cubicBezTo>
                      <a:cubicBezTo>
                        <a:pt x="387512" y="364702"/>
                        <a:pt x="361519" y="375848"/>
                        <a:pt x="354738" y="380915"/>
                      </a:cubicBezTo>
                      <a:cubicBezTo>
                        <a:pt x="347957" y="385982"/>
                        <a:pt x="337787" y="385982"/>
                        <a:pt x="327615" y="386995"/>
                      </a:cubicBezTo>
                      <a:cubicBezTo>
                        <a:pt x="317445" y="388009"/>
                        <a:pt x="317445" y="396116"/>
                        <a:pt x="309534" y="397129"/>
                      </a:cubicBezTo>
                      <a:cubicBezTo>
                        <a:pt x="300493" y="398142"/>
                        <a:pt x="303883" y="401182"/>
                        <a:pt x="297102" y="397129"/>
                      </a:cubicBezTo>
                      <a:cubicBezTo>
                        <a:pt x="290322" y="393076"/>
                        <a:pt x="288061" y="402196"/>
                        <a:pt x="281281" y="405236"/>
                      </a:cubicBezTo>
                      <a:cubicBezTo>
                        <a:pt x="272240" y="408276"/>
                        <a:pt x="264329" y="410303"/>
                        <a:pt x="255288" y="410303"/>
                      </a:cubicBezTo>
                      <a:cubicBezTo>
                        <a:pt x="246247" y="410303"/>
                        <a:pt x="240596" y="413343"/>
                        <a:pt x="229295" y="415370"/>
                      </a:cubicBezTo>
                      <a:cubicBezTo>
                        <a:pt x="217994" y="417396"/>
                        <a:pt x="220254" y="404223"/>
                        <a:pt x="212343" y="401182"/>
                      </a:cubicBezTo>
                      <a:cubicBezTo>
                        <a:pt x="204433" y="398142"/>
                        <a:pt x="207823" y="400169"/>
                        <a:pt x="197652" y="405236"/>
                      </a:cubicBezTo>
                      <a:cubicBezTo>
                        <a:pt x="187481" y="410303"/>
                        <a:pt x="181830" y="408276"/>
                        <a:pt x="181830" y="408276"/>
                      </a:cubicBezTo>
                      <a:cubicBezTo>
                        <a:pt x="181830" y="404223"/>
                        <a:pt x="184090" y="402196"/>
                        <a:pt x="184090" y="399156"/>
                      </a:cubicBezTo>
                      <a:cubicBezTo>
                        <a:pt x="187481" y="373822"/>
                        <a:pt x="180700" y="354568"/>
                        <a:pt x="184090" y="331261"/>
                      </a:cubicBezTo>
                      <a:cubicBezTo>
                        <a:pt x="180700" y="329234"/>
                        <a:pt x="173919" y="326194"/>
                        <a:pt x="170529" y="324167"/>
                      </a:cubicBezTo>
                      <a:cubicBezTo>
                        <a:pt x="167138" y="321127"/>
                        <a:pt x="169399" y="315047"/>
                        <a:pt x="162618" y="314034"/>
                      </a:cubicBezTo>
                      <a:lnTo>
                        <a:pt x="156968" y="314034"/>
                      </a:lnTo>
                      <a:lnTo>
                        <a:pt x="126454" y="309980"/>
                      </a:lnTo>
                      <a:cubicBezTo>
                        <a:pt x="126454" y="310994"/>
                        <a:pt x="108373" y="308967"/>
                        <a:pt x="103852" y="303900"/>
                      </a:cubicBezTo>
                      <a:cubicBezTo>
                        <a:pt x="99331" y="298834"/>
                        <a:pt x="94811" y="294780"/>
                        <a:pt x="89160" y="294780"/>
                      </a:cubicBezTo>
                      <a:cubicBezTo>
                        <a:pt x="83510" y="294780"/>
                        <a:pt x="86900" y="277553"/>
                        <a:pt x="86900" y="277553"/>
                      </a:cubicBezTo>
                      <a:cubicBezTo>
                        <a:pt x="84640" y="273500"/>
                        <a:pt x="82379" y="269446"/>
                        <a:pt x="81249" y="268433"/>
                      </a:cubicBezTo>
                      <a:cubicBezTo>
                        <a:pt x="78989" y="266406"/>
                        <a:pt x="72209" y="268433"/>
                        <a:pt x="69948" y="266406"/>
                      </a:cubicBezTo>
                      <a:cubicBezTo>
                        <a:pt x="67688" y="264379"/>
                        <a:pt x="71078" y="259312"/>
                        <a:pt x="69948" y="256272"/>
                      </a:cubicBezTo>
                      <a:cubicBezTo>
                        <a:pt x="69948" y="256272"/>
                        <a:pt x="62037" y="254246"/>
                        <a:pt x="62037" y="254246"/>
                      </a:cubicBezTo>
                      <a:cubicBezTo>
                        <a:pt x="58647" y="251206"/>
                        <a:pt x="59777" y="243099"/>
                        <a:pt x="56387" y="240059"/>
                      </a:cubicBezTo>
                      <a:cubicBezTo>
                        <a:pt x="56387" y="240059"/>
                        <a:pt x="45085" y="234992"/>
                        <a:pt x="45085" y="234992"/>
                      </a:cubicBezTo>
                      <a:cubicBezTo>
                        <a:pt x="41695" y="224858"/>
                        <a:pt x="49606" y="214725"/>
                        <a:pt x="50736" y="208645"/>
                      </a:cubicBezTo>
                      <a:cubicBezTo>
                        <a:pt x="32654" y="199524"/>
                        <a:pt x="32654" y="190404"/>
                        <a:pt x="10052" y="182298"/>
                      </a:cubicBezTo>
                      <a:cubicBezTo>
                        <a:pt x="11182" y="168110"/>
                        <a:pt x="15703" y="142776"/>
                        <a:pt x="12312" y="152910"/>
                      </a:cubicBezTo>
                      <a:cubicBezTo>
                        <a:pt x="7792" y="150883"/>
                        <a:pt x="16832" y="147843"/>
                        <a:pt x="10052" y="150883"/>
                      </a:cubicBezTo>
                      <a:cubicBezTo>
                        <a:pt x="10052" y="150883"/>
                        <a:pt x="11182" y="141763"/>
                        <a:pt x="12312" y="145817"/>
                      </a:cubicBezTo>
                      <a:cubicBezTo>
                        <a:pt x="12312" y="145817"/>
                        <a:pt x="15703" y="137710"/>
                        <a:pt x="14572" y="138723"/>
                      </a:cubicBezTo>
                      <a:cubicBezTo>
                        <a:pt x="10052" y="139736"/>
                        <a:pt x="10052" y="133656"/>
                        <a:pt x="10052" y="130616"/>
                      </a:cubicBezTo>
                      <a:cubicBezTo>
                        <a:pt x="14572" y="130616"/>
                        <a:pt x="21353" y="131630"/>
                        <a:pt x="23614" y="130616"/>
                      </a:cubicBezTo>
                      <a:cubicBezTo>
                        <a:pt x="29264" y="129603"/>
                        <a:pt x="40565" y="125549"/>
                        <a:pt x="40565" y="125549"/>
                      </a:cubicBezTo>
                      <a:lnTo>
                        <a:pt x="45085" y="106296"/>
                      </a:lnTo>
                      <a:cubicBezTo>
                        <a:pt x="45085" y="106296"/>
                        <a:pt x="56387" y="101229"/>
                        <a:pt x="60907" y="96162"/>
                      </a:cubicBezTo>
                      <a:cubicBezTo>
                        <a:pt x="65427" y="91095"/>
                        <a:pt x="67688" y="81975"/>
                        <a:pt x="67688" y="81975"/>
                      </a:cubicBezTo>
                      <a:cubicBezTo>
                        <a:pt x="67688" y="81975"/>
                        <a:pt x="67688" y="85015"/>
                        <a:pt x="56387" y="78935"/>
                      </a:cubicBezTo>
                      <a:cubicBezTo>
                        <a:pt x="45085" y="73868"/>
                        <a:pt x="52996" y="57654"/>
                        <a:pt x="52996" y="57654"/>
                      </a:cubicBezTo>
                      <a:cubicBezTo>
                        <a:pt x="52996" y="57654"/>
                        <a:pt x="56387" y="56641"/>
                        <a:pt x="54126" y="47521"/>
                      </a:cubicBezTo>
                      <a:cubicBezTo>
                        <a:pt x="51867" y="38401"/>
                        <a:pt x="55257" y="28267"/>
                        <a:pt x="55257" y="28267"/>
                      </a:cubicBezTo>
                      <a:lnTo>
                        <a:pt x="45085" y="10027"/>
                      </a:lnTo>
                      <a:lnTo>
                        <a:pt x="89160" y="9013"/>
                      </a:lnTo>
                      <a:cubicBezTo>
                        <a:pt x="88030" y="15094"/>
                        <a:pt x="81249" y="29281"/>
                        <a:pt x="81249" y="33334"/>
                      </a:cubicBezTo>
                      <a:cubicBezTo>
                        <a:pt x="81249" y="40428"/>
                        <a:pt x="91421" y="57654"/>
                        <a:pt x="89160" y="55628"/>
                      </a:cubicBezTo>
                      <a:cubicBezTo>
                        <a:pt x="94811" y="62721"/>
                        <a:pt x="98201" y="72855"/>
                        <a:pt x="110632" y="67788"/>
                      </a:cubicBezTo>
                      <a:cubicBezTo>
                        <a:pt x="110632" y="67788"/>
                        <a:pt x="106112" y="59681"/>
                        <a:pt x="104982" y="57654"/>
                      </a:cubicBezTo>
                      <a:cubicBezTo>
                        <a:pt x="108373" y="56641"/>
                        <a:pt x="112893" y="56641"/>
                        <a:pt x="118543" y="55628"/>
                      </a:cubicBezTo>
                      <a:cubicBezTo>
                        <a:pt x="119674" y="54614"/>
                        <a:pt x="119674" y="51574"/>
                        <a:pt x="120804" y="50561"/>
                      </a:cubicBezTo>
                      <a:cubicBezTo>
                        <a:pt x="120804" y="50561"/>
                        <a:pt x="114023" y="46507"/>
                        <a:pt x="118543" y="45494"/>
                      </a:cubicBezTo>
                      <a:cubicBezTo>
                        <a:pt x="127584" y="43468"/>
                        <a:pt x="143406" y="52588"/>
                        <a:pt x="151317" y="55628"/>
                      </a:cubicBezTo>
                      <a:cubicBezTo>
                        <a:pt x="151317" y="59681"/>
                        <a:pt x="150186" y="66775"/>
                        <a:pt x="151317" y="69815"/>
                      </a:cubicBezTo>
                      <a:cubicBezTo>
                        <a:pt x="151317" y="70828"/>
                        <a:pt x="159228" y="72855"/>
                        <a:pt x="159228" y="74882"/>
                      </a:cubicBezTo>
                      <a:cubicBezTo>
                        <a:pt x="155837" y="52588"/>
                        <a:pt x="152447" y="47521"/>
                        <a:pt x="180700" y="48534"/>
                      </a:cubicBezTo>
                      <a:cubicBezTo>
                        <a:pt x="181830" y="44481"/>
                        <a:pt x="178439" y="43468"/>
                        <a:pt x="182960" y="43468"/>
                      </a:cubicBezTo>
                      <a:lnTo>
                        <a:pt x="182960" y="38401"/>
                      </a:lnTo>
                      <a:cubicBezTo>
                        <a:pt x="179570" y="37387"/>
                        <a:pt x="172789" y="39414"/>
                        <a:pt x="169399" y="38401"/>
                      </a:cubicBezTo>
                      <a:cubicBezTo>
                        <a:pt x="168269" y="38401"/>
                        <a:pt x="167138" y="34347"/>
                        <a:pt x="167138" y="33334"/>
                      </a:cubicBezTo>
                      <a:cubicBezTo>
                        <a:pt x="170529" y="34347"/>
                        <a:pt x="170529" y="29281"/>
                        <a:pt x="172789" y="28267"/>
                      </a:cubicBezTo>
                      <a:cubicBezTo>
                        <a:pt x="166008" y="27254"/>
                        <a:pt x="163748" y="27254"/>
                        <a:pt x="159228" y="26240"/>
                      </a:cubicBezTo>
                      <a:cubicBezTo>
                        <a:pt x="170529" y="20160"/>
                        <a:pt x="172789" y="16107"/>
                        <a:pt x="172789" y="11040"/>
                      </a:cubicBezTo>
                      <a:lnTo>
                        <a:pt x="282411" y="56641"/>
                      </a:lnTo>
                      <a:cubicBezTo>
                        <a:pt x="282411" y="56641"/>
                        <a:pt x="289192" y="64748"/>
                        <a:pt x="288061" y="72855"/>
                      </a:cubicBezTo>
                      <a:cubicBezTo>
                        <a:pt x="286931" y="80962"/>
                        <a:pt x="286931" y="88055"/>
                        <a:pt x="294842" y="89069"/>
                      </a:cubicBezTo>
                      <a:cubicBezTo>
                        <a:pt x="302753" y="90082"/>
                        <a:pt x="305013" y="95149"/>
                        <a:pt x="305013" y="95149"/>
                      </a:cubicBezTo>
                      <a:lnTo>
                        <a:pt x="353608" y="118456"/>
                      </a:lnTo>
                      <a:close/>
                      <a:moveTo>
                        <a:pt x="127584" y="240059"/>
                      </a:moveTo>
                      <a:cubicBezTo>
                        <a:pt x="135495" y="242085"/>
                        <a:pt x="136626" y="249179"/>
                        <a:pt x="141146" y="254246"/>
                      </a:cubicBezTo>
                      <a:cubicBezTo>
                        <a:pt x="137755" y="254246"/>
                        <a:pt x="133235" y="253232"/>
                        <a:pt x="129844" y="254246"/>
                      </a:cubicBezTo>
                      <a:cubicBezTo>
                        <a:pt x="130975" y="254246"/>
                        <a:pt x="114023" y="237019"/>
                        <a:pt x="127584" y="240059"/>
                      </a:cubicBezTo>
                      <a:close/>
                      <a:moveTo>
                        <a:pt x="350218" y="179257"/>
                      </a:moveTo>
                      <a:cubicBezTo>
                        <a:pt x="349088" y="187364"/>
                        <a:pt x="349088" y="183311"/>
                        <a:pt x="350218" y="191418"/>
                      </a:cubicBezTo>
                      <a:cubicBezTo>
                        <a:pt x="353608" y="208645"/>
                        <a:pt x="361519" y="191418"/>
                        <a:pt x="361519" y="191418"/>
                      </a:cubicBezTo>
                      <a:cubicBezTo>
                        <a:pt x="359259" y="187364"/>
                        <a:pt x="352478" y="182298"/>
                        <a:pt x="350218" y="179257"/>
                      </a:cubicBezTo>
                      <a:close/>
                      <a:moveTo>
                        <a:pt x="201042" y="96162"/>
                      </a:moveTo>
                      <a:cubicBezTo>
                        <a:pt x="211213" y="91095"/>
                        <a:pt x="199912" y="107309"/>
                        <a:pt x="198782" y="108322"/>
                      </a:cubicBezTo>
                      <a:cubicBezTo>
                        <a:pt x="185221" y="114402"/>
                        <a:pt x="196522" y="98189"/>
                        <a:pt x="201042" y="96162"/>
                      </a:cubicBezTo>
                      <a:close/>
                      <a:moveTo>
                        <a:pt x="141146" y="23200"/>
                      </a:moveTo>
                      <a:cubicBezTo>
                        <a:pt x="141146" y="23200"/>
                        <a:pt x="144536" y="32321"/>
                        <a:pt x="149057" y="33334"/>
                      </a:cubicBezTo>
                      <a:cubicBezTo>
                        <a:pt x="162618" y="36374"/>
                        <a:pt x="156968" y="26240"/>
                        <a:pt x="156968" y="26240"/>
                      </a:cubicBezTo>
                      <a:cubicBezTo>
                        <a:pt x="151317" y="24214"/>
                        <a:pt x="147927" y="25227"/>
                        <a:pt x="141146" y="2320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0" name="Freeform: Shape 279">
                  <a:extLst>
                    <a:ext uri="{FF2B5EF4-FFF2-40B4-BE49-F238E27FC236}">
                      <a16:creationId xmlns:a16="http://schemas.microsoft.com/office/drawing/2014/main" id="{C3855586-D2E0-45CD-8567-E2719D34BE50}"/>
                    </a:ext>
                  </a:extLst>
                </p:cNvPr>
                <p:cNvSpPr/>
                <p:nvPr/>
              </p:nvSpPr>
              <p:spPr>
                <a:xfrm>
                  <a:off x="8246721" y="2596719"/>
                  <a:ext cx="271229" cy="233072"/>
                </a:xfrm>
                <a:custGeom>
                  <a:avLst/>
                  <a:gdLst>
                    <a:gd name="connsiteX0" fmla="*/ 123675 w 271228"/>
                    <a:gd name="connsiteY0" fmla="*/ 47521 h 233072"/>
                    <a:gd name="connsiteX1" fmla="*/ 123675 w 271228"/>
                    <a:gd name="connsiteY1" fmla="*/ 32321 h 233072"/>
                    <a:gd name="connsiteX2" fmla="*/ 140627 w 271228"/>
                    <a:gd name="connsiteY2" fmla="*/ 27254 h 233072"/>
                    <a:gd name="connsiteX3" fmla="*/ 131586 w 271228"/>
                    <a:gd name="connsiteY3" fmla="*/ 9013 h 233072"/>
                    <a:gd name="connsiteX4" fmla="*/ 114635 w 271228"/>
                    <a:gd name="connsiteY4" fmla="*/ 17120 h 233072"/>
                    <a:gd name="connsiteX5" fmla="*/ 99943 w 271228"/>
                    <a:gd name="connsiteY5" fmla="*/ 23201 h 233072"/>
                    <a:gd name="connsiteX6" fmla="*/ 85252 w 271228"/>
                    <a:gd name="connsiteY6" fmla="*/ 12054 h 233072"/>
                    <a:gd name="connsiteX7" fmla="*/ 69430 w 271228"/>
                    <a:gd name="connsiteY7" fmla="*/ 18134 h 233072"/>
                    <a:gd name="connsiteX8" fmla="*/ 79601 w 271228"/>
                    <a:gd name="connsiteY8" fmla="*/ 33334 h 233072"/>
                    <a:gd name="connsiteX9" fmla="*/ 71690 w 271228"/>
                    <a:gd name="connsiteY9" fmla="*/ 43468 h 233072"/>
                    <a:gd name="connsiteX10" fmla="*/ 64910 w 271228"/>
                    <a:gd name="connsiteY10" fmla="*/ 61708 h 233072"/>
                    <a:gd name="connsiteX11" fmla="*/ 60389 w 271228"/>
                    <a:gd name="connsiteY11" fmla="*/ 70828 h 233072"/>
                    <a:gd name="connsiteX12" fmla="*/ 37787 w 271228"/>
                    <a:gd name="connsiteY12" fmla="*/ 81975 h 233072"/>
                    <a:gd name="connsiteX13" fmla="*/ 19705 w 271228"/>
                    <a:gd name="connsiteY13" fmla="*/ 78935 h 233072"/>
                    <a:gd name="connsiteX14" fmla="*/ 15184 w 271228"/>
                    <a:gd name="connsiteY14" fmla="*/ 97176 h 233072"/>
                    <a:gd name="connsiteX15" fmla="*/ 32136 w 271228"/>
                    <a:gd name="connsiteY15" fmla="*/ 108322 h 233072"/>
                    <a:gd name="connsiteX16" fmla="*/ 50218 w 271228"/>
                    <a:gd name="connsiteY16" fmla="*/ 111363 h 233072"/>
                    <a:gd name="connsiteX17" fmla="*/ 45698 w 271228"/>
                    <a:gd name="connsiteY17" fmla="*/ 132643 h 233072"/>
                    <a:gd name="connsiteX18" fmla="*/ 49088 w 271228"/>
                    <a:gd name="connsiteY18" fmla="*/ 147843 h 233072"/>
                    <a:gd name="connsiteX19" fmla="*/ 34396 w 271228"/>
                    <a:gd name="connsiteY19" fmla="*/ 158990 h 233072"/>
                    <a:gd name="connsiteX20" fmla="*/ 27615 w 271228"/>
                    <a:gd name="connsiteY20" fmla="*/ 175204 h 233072"/>
                    <a:gd name="connsiteX21" fmla="*/ 38916 w 271228"/>
                    <a:gd name="connsiteY21" fmla="*/ 174191 h 233072"/>
                    <a:gd name="connsiteX22" fmla="*/ 51348 w 271228"/>
                    <a:gd name="connsiteY22" fmla="*/ 175204 h 233072"/>
                    <a:gd name="connsiteX23" fmla="*/ 66040 w 271228"/>
                    <a:gd name="connsiteY23" fmla="*/ 169124 h 233072"/>
                    <a:gd name="connsiteX24" fmla="*/ 75080 w 271228"/>
                    <a:gd name="connsiteY24" fmla="*/ 161017 h 233072"/>
                    <a:gd name="connsiteX25" fmla="*/ 84121 w 271228"/>
                    <a:gd name="connsiteY25" fmla="*/ 152910 h 233072"/>
                    <a:gd name="connsiteX26" fmla="*/ 95422 w 271228"/>
                    <a:gd name="connsiteY26" fmla="*/ 156964 h 233072"/>
                    <a:gd name="connsiteX27" fmla="*/ 102204 w 271228"/>
                    <a:gd name="connsiteY27" fmla="*/ 168111 h 233072"/>
                    <a:gd name="connsiteX28" fmla="*/ 112374 w 271228"/>
                    <a:gd name="connsiteY28" fmla="*/ 178244 h 233072"/>
                    <a:gd name="connsiteX29" fmla="*/ 103333 w 271228"/>
                    <a:gd name="connsiteY29" fmla="*/ 191418 h 233072"/>
                    <a:gd name="connsiteX30" fmla="*/ 97683 w 271228"/>
                    <a:gd name="connsiteY30" fmla="*/ 211685 h 233072"/>
                    <a:gd name="connsiteX31" fmla="*/ 114635 w 271228"/>
                    <a:gd name="connsiteY31" fmla="*/ 226885 h 233072"/>
                    <a:gd name="connsiteX32" fmla="*/ 131586 w 271228"/>
                    <a:gd name="connsiteY32" fmla="*/ 221818 h 233072"/>
                    <a:gd name="connsiteX33" fmla="*/ 149669 w 271228"/>
                    <a:gd name="connsiteY33" fmla="*/ 210672 h 233072"/>
                    <a:gd name="connsiteX34" fmla="*/ 156449 w 271228"/>
                    <a:gd name="connsiteY34" fmla="*/ 197498 h 233072"/>
                    <a:gd name="connsiteX35" fmla="*/ 170011 w 271228"/>
                    <a:gd name="connsiteY35" fmla="*/ 194458 h 233072"/>
                    <a:gd name="connsiteX36" fmla="*/ 193743 w 271228"/>
                    <a:gd name="connsiteY36" fmla="*/ 183311 h 233072"/>
                    <a:gd name="connsiteX37" fmla="*/ 206175 w 271228"/>
                    <a:gd name="connsiteY37" fmla="*/ 180271 h 233072"/>
                    <a:gd name="connsiteX38" fmla="*/ 233297 w 271228"/>
                    <a:gd name="connsiteY38" fmla="*/ 186351 h 233072"/>
                    <a:gd name="connsiteX39" fmla="*/ 259290 w 271228"/>
                    <a:gd name="connsiteY39" fmla="*/ 182298 h 233072"/>
                    <a:gd name="connsiteX40" fmla="*/ 271721 w 271228"/>
                    <a:gd name="connsiteY40" fmla="*/ 178244 h 233072"/>
                    <a:gd name="connsiteX41" fmla="*/ 270591 w 271228"/>
                    <a:gd name="connsiteY41" fmla="*/ 168111 h 233072"/>
                    <a:gd name="connsiteX42" fmla="*/ 261550 w 271228"/>
                    <a:gd name="connsiteY42" fmla="*/ 162030 h 233072"/>
                    <a:gd name="connsiteX43" fmla="*/ 260420 w 271228"/>
                    <a:gd name="connsiteY43" fmla="*/ 145817 h 233072"/>
                    <a:gd name="connsiteX44" fmla="*/ 251379 w 271228"/>
                    <a:gd name="connsiteY44" fmla="*/ 129603 h 233072"/>
                    <a:gd name="connsiteX45" fmla="*/ 255900 w 271228"/>
                    <a:gd name="connsiteY45" fmla="*/ 114403 h 233072"/>
                    <a:gd name="connsiteX46" fmla="*/ 259290 w 271228"/>
                    <a:gd name="connsiteY46" fmla="*/ 105282 h 233072"/>
                    <a:gd name="connsiteX47" fmla="*/ 253639 w 271228"/>
                    <a:gd name="connsiteY47" fmla="*/ 100216 h 233072"/>
                    <a:gd name="connsiteX48" fmla="*/ 229907 w 271228"/>
                    <a:gd name="connsiteY48" fmla="*/ 109336 h 233072"/>
                    <a:gd name="connsiteX49" fmla="*/ 219736 w 271228"/>
                    <a:gd name="connsiteY49" fmla="*/ 100216 h 233072"/>
                    <a:gd name="connsiteX50" fmla="*/ 220866 w 271228"/>
                    <a:gd name="connsiteY50" fmla="*/ 90082 h 233072"/>
                    <a:gd name="connsiteX51" fmla="*/ 218606 w 271228"/>
                    <a:gd name="connsiteY51" fmla="*/ 73868 h 233072"/>
                    <a:gd name="connsiteX52" fmla="*/ 190353 w 271228"/>
                    <a:gd name="connsiteY52" fmla="*/ 74882 h 233072"/>
                    <a:gd name="connsiteX53" fmla="*/ 170011 w 271228"/>
                    <a:gd name="connsiteY53" fmla="*/ 75895 h 233072"/>
                    <a:gd name="connsiteX54" fmla="*/ 154189 w 271228"/>
                    <a:gd name="connsiteY54" fmla="*/ 70828 h 233072"/>
                    <a:gd name="connsiteX55" fmla="*/ 131586 w 271228"/>
                    <a:gd name="connsiteY55" fmla="*/ 71842 h 233072"/>
                    <a:gd name="connsiteX56" fmla="*/ 120285 w 271228"/>
                    <a:gd name="connsiteY56" fmla="*/ 62721 h 233072"/>
                    <a:gd name="connsiteX57" fmla="*/ 96553 w 271228"/>
                    <a:gd name="connsiteY57" fmla="*/ 63735 h 233072"/>
                    <a:gd name="connsiteX58" fmla="*/ 86382 w 271228"/>
                    <a:gd name="connsiteY58" fmla="*/ 49548 h 233072"/>
                    <a:gd name="connsiteX59" fmla="*/ 106724 w 271228"/>
                    <a:gd name="connsiteY59" fmla="*/ 43468 h 233072"/>
                    <a:gd name="connsiteX60" fmla="*/ 119155 w 271228"/>
                    <a:gd name="connsiteY60" fmla="*/ 49548 h 233072"/>
                    <a:gd name="connsiteX61" fmla="*/ 123675 w 271228"/>
                    <a:gd name="connsiteY61" fmla="*/ 47521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71228" h="233072">
                      <a:moveTo>
                        <a:pt x="123675" y="47521"/>
                      </a:moveTo>
                      <a:lnTo>
                        <a:pt x="123675" y="32321"/>
                      </a:lnTo>
                      <a:lnTo>
                        <a:pt x="140627" y="27254"/>
                      </a:lnTo>
                      <a:lnTo>
                        <a:pt x="131586" y="9013"/>
                      </a:lnTo>
                      <a:cubicBezTo>
                        <a:pt x="131586" y="9013"/>
                        <a:pt x="120285" y="10027"/>
                        <a:pt x="114635" y="17120"/>
                      </a:cubicBezTo>
                      <a:cubicBezTo>
                        <a:pt x="114635" y="17120"/>
                        <a:pt x="108984" y="26241"/>
                        <a:pt x="99943" y="23201"/>
                      </a:cubicBezTo>
                      <a:cubicBezTo>
                        <a:pt x="90902" y="20160"/>
                        <a:pt x="85252" y="12054"/>
                        <a:pt x="85252" y="12054"/>
                      </a:cubicBezTo>
                      <a:cubicBezTo>
                        <a:pt x="85252" y="12054"/>
                        <a:pt x="69430" y="12054"/>
                        <a:pt x="69430" y="18134"/>
                      </a:cubicBezTo>
                      <a:cubicBezTo>
                        <a:pt x="69430" y="24214"/>
                        <a:pt x="79601" y="33334"/>
                        <a:pt x="79601" y="33334"/>
                      </a:cubicBezTo>
                      <a:cubicBezTo>
                        <a:pt x="79601" y="33334"/>
                        <a:pt x="80731" y="43468"/>
                        <a:pt x="71690" y="43468"/>
                      </a:cubicBezTo>
                      <a:cubicBezTo>
                        <a:pt x="62649" y="43468"/>
                        <a:pt x="60389" y="67788"/>
                        <a:pt x="64910" y="61708"/>
                      </a:cubicBezTo>
                      <a:cubicBezTo>
                        <a:pt x="69430" y="55628"/>
                        <a:pt x="68300" y="69815"/>
                        <a:pt x="60389" y="70828"/>
                      </a:cubicBezTo>
                      <a:cubicBezTo>
                        <a:pt x="52478" y="71842"/>
                        <a:pt x="35526" y="90082"/>
                        <a:pt x="37787" y="81975"/>
                      </a:cubicBezTo>
                      <a:cubicBezTo>
                        <a:pt x="38916" y="76908"/>
                        <a:pt x="26485" y="76908"/>
                        <a:pt x="19705" y="78935"/>
                      </a:cubicBezTo>
                      <a:cubicBezTo>
                        <a:pt x="11794" y="81975"/>
                        <a:pt x="5013" y="88055"/>
                        <a:pt x="15184" y="97176"/>
                      </a:cubicBezTo>
                      <a:cubicBezTo>
                        <a:pt x="25356" y="106296"/>
                        <a:pt x="21965" y="108322"/>
                        <a:pt x="32136" y="108322"/>
                      </a:cubicBezTo>
                      <a:cubicBezTo>
                        <a:pt x="42307" y="108322"/>
                        <a:pt x="54738" y="103256"/>
                        <a:pt x="50218" y="111363"/>
                      </a:cubicBezTo>
                      <a:cubicBezTo>
                        <a:pt x="45698" y="119469"/>
                        <a:pt x="37787" y="129603"/>
                        <a:pt x="45698" y="132643"/>
                      </a:cubicBezTo>
                      <a:cubicBezTo>
                        <a:pt x="54738" y="136696"/>
                        <a:pt x="54738" y="141763"/>
                        <a:pt x="49088" y="147843"/>
                      </a:cubicBezTo>
                      <a:cubicBezTo>
                        <a:pt x="43437" y="153923"/>
                        <a:pt x="34396" y="153923"/>
                        <a:pt x="34396" y="158990"/>
                      </a:cubicBezTo>
                      <a:cubicBezTo>
                        <a:pt x="34396" y="164057"/>
                        <a:pt x="27615" y="175204"/>
                        <a:pt x="27615" y="175204"/>
                      </a:cubicBezTo>
                      <a:lnTo>
                        <a:pt x="38916" y="174191"/>
                      </a:lnTo>
                      <a:lnTo>
                        <a:pt x="51348" y="175204"/>
                      </a:lnTo>
                      <a:lnTo>
                        <a:pt x="66040" y="169124"/>
                      </a:lnTo>
                      <a:lnTo>
                        <a:pt x="75080" y="161017"/>
                      </a:lnTo>
                      <a:lnTo>
                        <a:pt x="84121" y="152910"/>
                      </a:lnTo>
                      <a:lnTo>
                        <a:pt x="95422" y="156964"/>
                      </a:lnTo>
                      <a:lnTo>
                        <a:pt x="102204" y="168111"/>
                      </a:lnTo>
                      <a:lnTo>
                        <a:pt x="112374" y="178244"/>
                      </a:lnTo>
                      <a:lnTo>
                        <a:pt x="103333" y="191418"/>
                      </a:lnTo>
                      <a:lnTo>
                        <a:pt x="97683" y="211685"/>
                      </a:lnTo>
                      <a:lnTo>
                        <a:pt x="114635" y="226885"/>
                      </a:lnTo>
                      <a:lnTo>
                        <a:pt x="131586" y="221818"/>
                      </a:lnTo>
                      <a:lnTo>
                        <a:pt x="149669" y="210672"/>
                      </a:lnTo>
                      <a:lnTo>
                        <a:pt x="156449" y="197498"/>
                      </a:lnTo>
                      <a:lnTo>
                        <a:pt x="170011" y="194458"/>
                      </a:lnTo>
                      <a:lnTo>
                        <a:pt x="193743" y="183311"/>
                      </a:lnTo>
                      <a:lnTo>
                        <a:pt x="206175" y="180271"/>
                      </a:lnTo>
                      <a:lnTo>
                        <a:pt x="233297" y="186351"/>
                      </a:lnTo>
                      <a:lnTo>
                        <a:pt x="259290" y="182298"/>
                      </a:lnTo>
                      <a:lnTo>
                        <a:pt x="271721" y="178244"/>
                      </a:lnTo>
                      <a:lnTo>
                        <a:pt x="270591" y="168111"/>
                      </a:lnTo>
                      <a:lnTo>
                        <a:pt x="261550" y="162030"/>
                      </a:lnTo>
                      <a:lnTo>
                        <a:pt x="260420" y="145817"/>
                      </a:lnTo>
                      <a:lnTo>
                        <a:pt x="251379" y="129603"/>
                      </a:lnTo>
                      <a:lnTo>
                        <a:pt x="255900" y="114403"/>
                      </a:lnTo>
                      <a:lnTo>
                        <a:pt x="259290" y="105282"/>
                      </a:lnTo>
                      <a:lnTo>
                        <a:pt x="253639" y="100216"/>
                      </a:lnTo>
                      <a:lnTo>
                        <a:pt x="229907" y="109336"/>
                      </a:lnTo>
                      <a:lnTo>
                        <a:pt x="219736" y="100216"/>
                      </a:lnTo>
                      <a:lnTo>
                        <a:pt x="220866" y="90082"/>
                      </a:lnTo>
                      <a:cubicBezTo>
                        <a:pt x="220866" y="90082"/>
                        <a:pt x="220866" y="80962"/>
                        <a:pt x="218606" y="73868"/>
                      </a:cubicBezTo>
                      <a:cubicBezTo>
                        <a:pt x="208434" y="69815"/>
                        <a:pt x="198264" y="70828"/>
                        <a:pt x="190353" y="74882"/>
                      </a:cubicBezTo>
                      <a:cubicBezTo>
                        <a:pt x="182442" y="78935"/>
                        <a:pt x="170011" y="75895"/>
                        <a:pt x="170011" y="75895"/>
                      </a:cubicBezTo>
                      <a:cubicBezTo>
                        <a:pt x="170011" y="75895"/>
                        <a:pt x="158710" y="78935"/>
                        <a:pt x="154189" y="70828"/>
                      </a:cubicBezTo>
                      <a:cubicBezTo>
                        <a:pt x="149669" y="62721"/>
                        <a:pt x="140627" y="70828"/>
                        <a:pt x="131586" y="71842"/>
                      </a:cubicBezTo>
                      <a:cubicBezTo>
                        <a:pt x="122546" y="72855"/>
                        <a:pt x="120285" y="62721"/>
                        <a:pt x="120285" y="62721"/>
                      </a:cubicBezTo>
                      <a:lnTo>
                        <a:pt x="96553" y="63735"/>
                      </a:lnTo>
                      <a:lnTo>
                        <a:pt x="86382" y="49548"/>
                      </a:lnTo>
                      <a:lnTo>
                        <a:pt x="106724" y="43468"/>
                      </a:lnTo>
                      <a:lnTo>
                        <a:pt x="119155" y="49548"/>
                      </a:lnTo>
                      <a:lnTo>
                        <a:pt x="123675" y="4752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1" name="Freeform: Shape 280">
                  <a:extLst>
                    <a:ext uri="{FF2B5EF4-FFF2-40B4-BE49-F238E27FC236}">
                      <a16:creationId xmlns:a16="http://schemas.microsoft.com/office/drawing/2014/main" id="{A3C0F260-FE15-444D-8EEF-F22D359EFE49}"/>
                    </a:ext>
                  </a:extLst>
                </p:cNvPr>
                <p:cNvSpPr/>
                <p:nvPr/>
              </p:nvSpPr>
              <p:spPr>
                <a:xfrm>
                  <a:off x="10110292" y="3259454"/>
                  <a:ext cx="79108" cy="141870"/>
                </a:xfrm>
                <a:custGeom>
                  <a:avLst/>
                  <a:gdLst>
                    <a:gd name="connsiteX0" fmla="*/ 60386 w 79108"/>
                    <a:gd name="connsiteY0" fmla="*/ 9013 h 141869"/>
                    <a:gd name="connsiteX1" fmla="*/ 49085 w 79108"/>
                    <a:gd name="connsiteY1" fmla="*/ 19147 h 141869"/>
                    <a:gd name="connsiteX2" fmla="*/ 43434 w 79108"/>
                    <a:gd name="connsiteY2" fmla="*/ 36374 h 141869"/>
                    <a:gd name="connsiteX3" fmla="*/ 27612 w 79108"/>
                    <a:gd name="connsiteY3" fmla="*/ 53601 h 141869"/>
                    <a:gd name="connsiteX4" fmla="*/ 27612 w 79108"/>
                    <a:gd name="connsiteY4" fmla="*/ 67788 h 141869"/>
                    <a:gd name="connsiteX5" fmla="*/ 16311 w 79108"/>
                    <a:gd name="connsiteY5" fmla="*/ 77922 h 141869"/>
                    <a:gd name="connsiteX6" fmla="*/ 10660 w 79108"/>
                    <a:gd name="connsiteY6" fmla="*/ 112376 h 141869"/>
                    <a:gd name="connsiteX7" fmla="*/ 24222 w 79108"/>
                    <a:gd name="connsiteY7" fmla="*/ 129603 h 141869"/>
                    <a:gd name="connsiteX8" fmla="*/ 35523 w 79108"/>
                    <a:gd name="connsiteY8" fmla="*/ 139737 h 141869"/>
                    <a:gd name="connsiteX9" fmla="*/ 41174 w 79108"/>
                    <a:gd name="connsiteY9" fmla="*/ 125549 h 141869"/>
                    <a:gd name="connsiteX10" fmla="*/ 54735 w 79108"/>
                    <a:gd name="connsiteY10" fmla="*/ 118456 h 141869"/>
                    <a:gd name="connsiteX11" fmla="*/ 54735 w 79108"/>
                    <a:gd name="connsiteY11" fmla="*/ 106296 h 141869"/>
                    <a:gd name="connsiteX12" fmla="*/ 60386 w 79108"/>
                    <a:gd name="connsiteY12" fmla="*/ 99202 h 141869"/>
                    <a:gd name="connsiteX13" fmla="*/ 62646 w 79108"/>
                    <a:gd name="connsiteY13" fmla="*/ 69815 h 141869"/>
                    <a:gd name="connsiteX14" fmla="*/ 78468 w 79108"/>
                    <a:gd name="connsiteY14" fmla="*/ 23201 h 141869"/>
                    <a:gd name="connsiteX15" fmla="*/ 60386 w 79108"/>
                    <a:gd name="connsiteY15" fmla="*/ 9013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108" h="141869">
                      <a:moveTo>
                        <a:pt x="60386" y="9013"/>
                      </a:moveTo>
                      <a:cubicBezTo>
                        <a:pt x="58126" y="12054"/>
                        <a:pt x="51344" y="15094"/>
                        <a:pt x="49085" y="19147"/>
                      </a:cubicBezTo>
                      <a:cubicBezTo>
                        <a:pt x="45694" y="25227"/>
                        <a:pt x="46824" y="31307"/>
                        <a:pt x="43434" y="36374"/>
                      </a:cubicBezTo>
                      <a:cubicBezTo>
                        <a:pt x="38913" y="42454"/>
                        <a:pt x="31002" y="44481"/>
                        <a:pt x="27612" y="53601"/>
                      </a:cubicBezTo>
                      <a:cubicBezTo>
                        <a:pt x="25352" y="59681"/>
                        <a:pt x="28742" y="64748"/>
                        <a:pt x="27612" y="67788"/>
                      </a:cubicBezTo>
                      <a:cubicBezTo>
                        <a:pt x="26482" y="71842"/>
                        <a:pt x="18571" y="74882"/>
                        <a:pt x="16311" y="77922"/>
                      </a:cubicBezTo>
                      <a:cubicBezTo>
                        <a:pt x="12921" y="82989"/>
                        <a:pt x="8400" y="103256"/>
                        <a:pt x="10660" y="112376"/>
                      </a:cubicBezTo>
                      <a:cubicBezTo>
                        <a:pt x="11790" y="119470"/>
                        <a:pt x="19701" y="125549"/>
                        <a:pt x="24222" y="129603"/>
                      </a:cubicBezTo>
                      <a:cubicBezTo>
                        <a:pt x="28742" y="133657"/>
                        <a:pt x="32133" y="135683"/>
                        <a:pt x="35523" y="139737"/>
                      </a:cubicBezTo>
                      <a:cubicBezTo>
                        <a:pt x="36653" y="136696"/>
                        <a:pt x="37784" y="128590"/>
                        <a:pt x="41174" y="125549"/>
                      </a:cubicBezTo>
                      <a:cubicBezTo>
                        <a:pt x="43434" y="122510"/>
                        <a:pt x="52475" y="121496"/>
                        <a:pt x="54735" y="118456"/>
                      </a:cubicBezTo>
                      <a:cubicBezTo>
                        <a:pt x="55865" y="115416"/>
                        <a:pt x="53605" y="109336"/>
                        <a:pt x="54735" y="106296"/>
                      </a:cubicBezTo>
                      <a:lnTo>
                        <a:pt x="60386" y="99202"/>
                      </a:lnTo>
                      <a:cubicBezTo>
                        <a:pt x="62646" y="87042"/>
                        <a:pt x="60386" y="81975"/>
                        <a:pt x="62646" y="69815"/>
                      </a:cubicBezTo>
                      <a:cubicBezTo>
                        <a:pt x="64906" y="62722"/>
                        <a:pt x="79597" y="28267"/>
                        <a:pt x="78468" y="23201"/>
                      </a:cubicBezTo>
                      <a:cubicBezTo>
                        <a:pt x="77338" y="9013"/>
                        <a:pt x="67166" y="12054"/>
                        <a:pt x="60386"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2" name="Freeform: Shape 281">
                  <a:extLst>
                    <a:ext uri="{FF2B5EF4-FFF2-40B4-BE49-F238E27FC236}">
                      <a16:creationId xmlns:a16="http://schemas.microsoft.com/office/drawing/2014/main" id="{8944E2C0-D990-4609-8D07-E854992402F4}"/>
                    </a:ext>
                  </a:extLst>
                </p:cNvPr>
                <p:cNvSpPr/>
                <p:nvPr/>
              </p:nvSpPr>
              <p:spPr>
                <a:xfrm>
                  <a:off x="7149987" y="2750662"/>
                  <a:ext cx="248626" cy="233072"/>
                </a:xfrm>
                <a:custGeom>
                  <a:avLst/>
                  <a:gdLst>
                    <a:gd name="connsiteX0" fmla="*/ 11182 w 248626"/>
                    <a:gd name="connsiteY0" fmla="*/ 86115 h 233072"/>
                    <a:gd name="connsiteX1" fmla="*/ 10052 w 248626"/>
                    <a:gd name="connsiteY1" fmla="*/ 94222 h 233072"/>
                    <a:gd name="connsiteX2" fmla="*/ 10052 w 248626"/>
                    <a:gd name="connsiteY2" fmla="*/ 101315 h 233072"/>
                    <a:gd name="connsiteX3" fmla="*/ 17963 w 248626"/>
                    <a:gd name="connsiteY3" fmla="*/ 103342 h 233072"/>
                    <a:gd name="connsiteX4" fmla="*/ 17963 w 248626"/>
                    <a:gd name="connsiteY4" fmla="*/ 120569 h 233072"/>
                    <a:gd name="connsiteX5" fmla="*/ 15703 w 248626"/>
                    <a:gd name="connsiteY5" fmla="*/ 122596 h 233072"/>
                    <a:gd name="connsiteX6" fmla="*/ 13442 w 248626"/>
                    <a:gd name="connsiteY6" fmla="*/ 127662 h 233072"/>
                    <a:gd name="connsiteX7" fmla="*/ 19093 w 248626"/>
                    <a:gd name="connsiteY7" fmla="*/ 129689 h 233072"/>
                    <a:gd name="connsiteX8" fmla="*/ 23614 w 248626"/>
                    <a:gd name="connsiteY8" fmla="*/ 137796 h 233072"/>
                    <a:gd name="connsiteX9" fmla="*/ 39435 w 248626"/>
                    <a:gd name="connsiteY9" fmla="*/ 129689 h 233072"/>
                    <a:gd name="connsiteX10" fmla="*/ 55257 w 248626"/>
                    <a:gd name="connsiteY10" fmla="*/ 142863 h 233072"/>
                    <a:gd name="connsiteX11" fmla="*/ 38305 w 248626"/>
                    <a:gd name="connsiteY11" fmla="*/ 173264 h 233072"/>
                    <a:gd name="connsiteX12" fmla="*/ 33784 w 248626"/>
                    <a:gd name="connsiteY12" fmla="*/ 194544 h 233072"/>
                    <a:gd name="connsiteX13" fmla="*/ 22483 w 248626"/>
                    <a:gd name="connsiteY13" fmla="*/ 202651 h 233072"/>
                    <a:gd name="connsiteX14" fmla="*/ 15703 w 248626"/>
                    <a:gd name="connsiteY14" fmla="*/ 217851 h 233072"/>
                    <a:gd name="connsiteX15" fmla="*/ 16832 w 248626"/>
                    <a:gd name="connsiteY15" fmla="*/ 227985 h 233072"/>
                    <a:gd name="connsiteX16" fmla="*/ 38305 w 248626"/>
                    <a:gd name="connsiteY16" fmla="*/ 222918 h 233072"/>
                    <a:gd name="connsiteX17" fmla="*/ 67688 w 248626"/>
                    <a:gd name="connsiteY17" fmla="*/ 228998 h 233072"/>
                    <a:gd name="connsiteX18" fmla="*/ 121934 w 248626"/>
                    <a:gd name="connsiteY18" fmla="*/ 193531 h 233072"/>
                    <a:gd name="connsiteX19" fmla="*/ 195392 w 248626"/>
                    <a:gd name="connsiteY19" fmla="*/ 141850 h 233072"/>
                    <a:gd name="connsiteX20" fmla="*/ 202172 w 248626"/>
                    <a:gd name="connsiteY20" fmla="*/ 131716 h 233072"/>
                    <a:gd name="connsiteX21" fmla="*/ 210083 w 248626"/>
                    <a:gd name="connsiteY21" fmla="*/ 113476 h 233072"/>
                    <a:gd name="connsiteX22" fmla="*/ 210083 w 248626"/>
                    <a:gd name="connsiteY22" fmla="*/ 97262 h 233072"/>
                    <a:gd name="connsiteX23" fmla="*/ 216864 w 248626"/>
                    <a:gd name="connsiteY23" fmla="*/ 76995 h 233072"/>
                    <a:gd name="connsiteX24" fmla="*/ 214603 w 248626"/>
                    <a:gd name="connsiteY24" fmla="*/ 60781 h 233072"/>
                    <a:gd name="connsiteX25" fmla="*/ 231555 w 248626"/>
                    <a:gd name="connsiteY25" fmla="*/ 42541 h 233072"/>
                    <a:gd name="connsiteX26" fmla="*/ 239466 w 248626"/>
                    <a:gd name="connsiteY26" fmla="*/ 21260 h 233072"/>
                    <a:gd name="connsiteX27" fmla="*/ 230425 w 248626"/>
                    <a:gd name="connsiteY27" fmla="*/ 19233 h 233072"/>
                    <a:gd name="connsiteX28" fmla="*/ 230425 w 248626"/>
                    <a:gd name="connsiteY28" fmla="*/ 17207 h 233072"/>
                    <a:gd name="connsiteX29" fmla="*/ 228165 w 248626"/>
                    <a:gd name="connsiteY29" fmla="*/ 9100 h 233072"/>
                    <a:gd name="connsiteX30" fmla="*/ 196522 w 248626"/>
                    <a:gd name="connsiteY30" fmla="*/ 22273 h 233072"/>
                    <a:gd name="connsiteX31" fmla="*/ 150187 w 248626"/>
                    <a:gd name="connsiteY31" fmla="*/ 27340 h 233072"/>
                    <a:gd name="connsiteX32" fmla="*/ 102722 w 248626"/>
                    <a:gd name="connsiteY32" fmla="*/ 41527 h 233072"/>
                    <a:gd name="connsiteX33" fmla="*/ 80120 w 248626"/>
                    <a:gd name="connsiteY33" fmla="*/ 40514 h 233072"/>
                    <a:gd name="connsiteX34" fmla="*/ 65428 w 248626"/>
                    <a:gd name="connsiteY34" fmla="*/ 48621 h 233072"/>
                    <a:gd name="connsiteX35" fmla="*/ 47346 w 248626"/>
                    <a:gd name="connsiteY35" fmla="*/ 47607 h 233072"/>
                    <a:gd name="connsiteX36" fmla="*/ 47346 w 248626"/>
                    <a:gd name="connsiteY36" fmla="*/ 62808 h 233072"/>
                    <a:gd name="connsiteX37" fmla="*/ 38305 w 248626"/>
                    <a:gd name="connsiteY37" fmla="*/ 71928 h 233072"/>
                    <a:gd name="connsiteX38" fmla="*/ 24743 w 248626"/>
                    <a:gd name="connsiteY38" fmla="*/ 85102 h 233072"/>
                    <a:gd name="connsiteX39" fmla="*/ 11182 w 248626"/>
                    <a:gd name="connsiteY39" fmla="*/ 86115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8626" h="233072">
                      <a:moveTo>
                        <a:pt x="11182" y="86115"/>
                      </a:moveTo>
                      <a:cubicBezTo>
                        <a:pt x="11182" y="90168"/>
                        <a:pt x="11182" y="94222"/>
                        <a:pt x="10052" y="94222"/>
                      </a:cubicBezTo>
                      <a:cubicBezTo>
                        <a:pt x="10052" y="94222"/>
                        <a:pt x="10052" y="101315"/>
                        <a:pt x="10052" y="101315"/>
                      </a:cubicBezTo>
                      <a:cubicBezTo>
                        <a:pt x="11182" y="103342"/>
                        <a:pt x="15703" y="102329"/>
                        <a:pt x="17963" y="103342"/>
                      </a:cubicBezTo>
                      <a:cubicBezTo>
                        <a:pt x="17963" y="108409"/>
                        <a:pt x="16832" y="114489"/>
                        <a:pt x="17963" y="120569"/>
                      </a:cubicBezTo>
                      <a:cubicBezTo>
                        <a:pt x="13442" y="117529"/>
                        <a:pt x="15703" y="122596"/>
                        <a:pt x="15703" y="122596"/>
                      </a:cubicBezTo>
                      <a:cubicBezTo>
                        <a:pt x="12312" y="119556"/>
                        <a:pt x="13442" y="126649"/>
                        <a:pt x="13442" y="127662"/>
                      </a:cubicBezTo>
                      <a:cubicBezTo>
                        <a:pt x="14573" y="127662"/>
                        <a:pt x="19093" y="129689"/>
                        <a:pt x="19093" y="129689"/>
                      </a:cubicBezTo>
                      <a:cubicBezTo>
                        <a:pt x="19093" y="130703"/>
                        <a:pt x="22483" y="134756"/>
                        <a:pt x="23614" y="137796"/>
                      </a:cubicBezTo>
                      <a:cubicBezTo>
                        <a:pt x="23614" y="137796"/>
                        <a:pt x="33784" y="125636"/>
                        <a:pt x="39435" y="129689"/>
                      </a:cubicBezTo>
                      <a:cubicBezTo>
                        <a:pt x="45085" y="133743"/>
                        <a:pt x="57517" y="133743"/>
                        <a:pt x="55257" y="142863"/>
                      </a:cubicBezTo>
                      <a:cubicBezTo>
                        <a:pt x="52996" y="151983"/>
                        <a:pt x="46216" y="164143"/>
                        <a:pt x="38305" y="173264"/>
                      </a:cubicBezTo>
                      <a:cubicBezTo>
                        <a:pt x="36045" y="176304"/>
                        <a:pt x="37175" y="189477"/>
                        <a:pt x="33784" y="194544"/>
                      </a:cubicBezTo>
                      <a:cubicBezTo>
                        <a:pt x="30394" y="199611"/>
                        <a:pt x="25874" y="197584"/>
                        <a:pt x="22483" y="202651"/>
                      </a:cubicBezTo>
                      <a:cubicBezTo>
                        <a:pt x="19093" y="208731"/>
                        <a:pt x="15703" y="217851"/>
                        <a:pt x="15703" y="217851"/>
                      </a:cubicBezTo>
                      <a:lnTo>
                        <a:pt x="16832" y="227985"/>
                      </a:lnTo>
                      <a:cubicBezTo>
                        <a:pt x="16832" y="227985"/>
                        <a:pt x="32654" y="217851"/>
                        <a:pt x="38305" y="222918"/>
                      </a:cubicBezTo>
                      <a:cubicBezTo>
                        <a:pt x="43956" y="227985"/>
                        <a:pt x="67688" y="228998"/>
                        <a:pt x="67688" y="228998"/>
                      </a:cubicBezTo>
                      <a:lnTo>
                        <a:pt x="121934" y="193531"/>
                      </a:lnTo>
                      <a:lnTo>
                        <a:pt x="195392" y="141850"/>
                      </a:lnTo>
                      <a:cubicBezTo>
                        <a:pt x="195392" y="141850"/>
                        <a:pt x="199912" y="138809"/>
                        <a:pt x="202172" y="131716"/>
                      </a:cubicBezTo>
                      <a:cubicBezTo>
                        <a:pt x="204433" y="124623"/>
                        <a:pt x="204433" y="122596"/>
                        <a:pt x="210083" y="113476"/>
                      </a:cubicBezTo>
                      <a:cubicBezTo>
                        <a:pt x="215734" y="104355"/>
                        <a:pt x="214603" y="108409"/>
                        <a:pt x="210083" y="97262"/>
                      </a:cubicBezTo>
                      <a:cubicBezTo>
                        <a:pt x="205563" y="86115"/>
                        <a:pt x="215734" y="86115"/>
                        <a:pt x="216864" y="76995"/>
                      </a:cubicBezTo>
                      <a:cubicBezTo>
                        <a:pt x="217994" y="68888"/>
                        <a:pt x="214603" y="70915"/>
                        <a:pt x="214603" y="60781"/>
                      </a:cubicBezTo>
                      <a:cubicBezTo>
                        <a:pt x="214603" y="50647"/>
                        <a:pt x="223645" y="47607"/>
                        <a:pt x="231555" y="42541"/>
                      </a:cubicBezTo>
                      <a:cubicBezTo>
                        <a:pt x="239466" y="36461"/>
                        <a:pt x="239466" y="21260"/>
                        <a:pt x="239466" y="21260"/>
                      </a:cubicBezTo>
                      <a:cubicBezTo>
                        <a:pt x="234946" y="21260"/>
                        <a:pt x="230425" y="19233"/>
                        <a:pt x="230425" y="19233"/>
                      </a:cubicBezTo>
                      <a:lnTo>
                        <a:pt x="230425" y="17207"/>
                      </a:lnTo>
                      <a:lnTo>
                        <a:pt x="228165" y="9100"/>
                      </a:lnTo>
                      <a:cubicBezTo>
                        <a:pt x="221385" y="8086"/>
                        <a:pt x="205563" y="16193"/>
                        <a:pt x="196522" y="22273"/>
                      </a:cubicBezTo>
                      <a:cubicBezTo>
                        <a:pt x="188611" y="28354"/>
                        <a:pt x="155838" y="23287"/>
                        <a:pt x="150187" y="27340"/>
                      </a:cubicBezTo>
                      <a:cubicBezTo>
                        <a:pt x="132105" y="42541"/>
                        <a:pt x="110633" y="36461"/>
                        <a:pt x="102722" y="41527"/>
                      </a:cubicBezTo>
                      <a:cubicBezTo>
                        <a:pt x="94811" y="46594"/>
                        <a:pt x="86900" y="40514"/>
                        <a:pt x="80120" y="40514"/>
                      </a:cubicBezTo>
                      <a:cubicBezTo>
                        <a:pt x="73338" y="40514"/>
                        <a:pt x="71079" y="44567"/>
                        <a:pt x="65428" y="48621"/>
                      </a:cubicBezTo>
                      <a:cubicBezTo>
                        <a:pt x="59778" y="52674"/>
                        <a:pt x="54127" y="42541"/>
                        <a:pt x="47346" y="47607"/>
                      </a:cubicBezTo>
                      <a:cubicBezTo>
                        <a:pt x="40565" y="52674"/>
                        <a:pt x="46216" y="57741"/>
                        <a:pt x="47346" y="62808"/>
                      </a:cubicBezTo>
                      <a:cubicBezTo>
                        <a:pt x="48476" y="67874"/>
                        <a:pt x="48476" y="72941"/>
                        <a:pt x="38305" y="71928"/>
                      </a:cubicBezTo>
                      <a:cubicBezTo>
                        <a:pt x="27004" y="70915"/>
                        <a:pt x="37175" y="82061"/>
                        <a:pt x="24743" y="85102"/>
                      </a:cubicBezTo>
                      <a:cubicBezTo>
                        <a:pt x="16832" y="87128"/>
                        <a:pt x="13442" y="87128"/>
                        <a:pt x="11182" y="8611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3" name="Freeform: Shape 282">
                  <a:extLst>
                    <a:ext uri="{FF2B5EF4-FFF2-40B4-BE49-F238E27FC236}">
                      <a16:creationId xmlns:a16="http://schemas.microsoft.com/office/drawing/2014/main" id="{8164407B-AFEF-4A95-B725-5B1D81F4FEC3}"/>
                    </a:ext>
                  </a:extLst>
                </p:cNvPr>
                <p:cNvSpPr/>
                <p:nvPr/>
              </p:nvSpPr>
              <p:spPr>
                <a:xfrm>
                  <a:off x="6093700" y="2281952"/>
                  <a:ext cx="180819" cy="121603"/>
                </a:xfrm>
                <a:custGeom>
                  <a:avLst/>
                  <a:gdLst>
                    <a:gd name="connsiteX0" fmla="*/ 171284 w 180819"/>
                    <a:gd name="connsiteY0" fmla="*/ 59294 h 121602"/>
                    <a:gd name="connsiteX1" fmla="*/ 172415 w 180819"/>
                    <a:gd name="connsiteY1" fmla="*/ 52201 h 121602"/>
                    <a:gd name="connsiteX2" fmla="*/ 169024 w 180819"/>
                    <a:gd name="connsiteY2" fmla="*/ 51187 h 121602"/>
                    <a:gd name="connsiteX3" fmla="*/ 166764 w 180819"/>
                    <a:gd name="connsiteY3" fmla="*/ 51187 h 121602"/>
                    <a:gd name="connsiteX4" fmla="*/ 162243 w 180819"/>
                    <a:gd name="connsiteY4" fmla="*/ 34974 h 121602"/>
                    <a:gd name="connsiteX5" fmla="*/ 135120 w 180819"/>
                    <a:gd name="connsiteY5" fmla="*/ 16733 h 121602"/>
                    <a:gd name="connsiteX6" fmla="*/ 121559 w 180819"/>
                    <a:gd name="connsiteY6" fmla="*/ 10653 h 121602"/>
                    <a:gd name="connsiteX7" fmla="*/ 105737 w 180819"/>
                    <a:gd name="connsiteY7" fmla="*/ 15720 h 121602"/>
                    <a:gd name="connsiteX8" fmla="*/ 88785 w 180819"/>
                    <a:gd name="connsiteY8" fmla="*/ 22813 h 121602"/>
                    <a:gd name="connsiteX9" fmla="*/ 77484 w 180819"/>
                    <a:gd name="connsiteY9" fmla="*/ 24840 h 121602"/>
                    <a:gd name="connsiteX10" fmla="*/ 71834 w 180819"/>
                    <a:gd name="connsiteY10" fmla="*/ 32947 h 121602"/>
                    <a:gd name="connsiteX11" fmla="*/ 61662 w 180819"/>
                    <a:gd name="connsiteY11" fmla="*/ 39027 h 121602"/>
                    <a:gd name="connsiteX12" fmla="*/ 35670 w 180819"/>
                    <a:gd name="connsiteY12" fmla="*/ 63348 h 121602"/>
                    <a:gd name="connsiteX13" fmla="*/ 16458 w 180819"/>
                    <a:gd name="connsiteY13" fmla="*/ 84628 h 121602"/>
                    <a:gd name="connsiteX14" fmla="*/ 19848 w 180819"/>
                    <a:gd name="connsiteY14" fmla="*/ 98815 h 121602"/>
                    <a:gd name="connsiteX15" fmla="*/ 35670 w 180819"/>
                    <a:gd name="connsiteY15" fmla="*/ 99829 h 121602"/>
                    <a:gd name="connsiteX16" fmla="*/ 56012 w 180819"/>
                    <a:gd name="connsiteY16" fmla="*/ 110975 h 121602"/>
                    <a:gd name="connsiteX17" fmla="*/ 67313 w 180819"/>
                    <a:gd name="connsiteY17" fmla="*/ 114016 h 121602"/>
                    <a:gd name="connsiteX18" fmla="*/ 89915 w 180819"/>
                    <a:gd name="connsiteY18" fmla="*/ 100842 h 121602"/>
                    <a:gd name="connsiteX19" fmla="*/ 96696 w 180819"/>
                    <a:gd name="connsiteY19" fmla="*/ 91722 h 121602"/>
                    <a:gd name="connsiteX20" fmla="*/ 111388 w 180819"/>
                    <a:gd name="connsiteY20" fmla="*/ 101855 h 121602"/>
                    <a:gd name="connsiteX21" fmla="*/ 128340 w 180819"/>
                    <a:gd name="connsiteY21" fmla="*/ 105909 h 121602"/>
                    <a:gd name="connsiteX22" fmla="*/ 129469 w 180819"/>
                    <a:gd name="connsiteY22" fmla="*/ 94762 h 121602"/>
                    <a:gd name="connsiteX23" fmla="*/ 144162 w 180819"/>
                    <a:gd name="connsiteY23" fmla="*/ 83615 h 121602"/>
                    <a:gd name="connsiteX24" fmla="*/ 161113 w 180819"/>
                    <a:gd name="connsiteY24" fmla="*/ 75508 h 121602"/>
                    <a:gd name="connsiteX25" fmla="*/ 172415 w 180819"/>
                    <a:gd name="connsiteY25" fmla="*/ 74495 h 121602"/>
                    <a:gd name="connsiteX26" fmla="*/ 167894 w 180819"/>
                    <a:gd name="connsiteY26" fmla="*/ 64361 h 121602"/>
                    <a:gd name="connsiteX27" fmla="*/ 171284 w 180819"/>
                    <a:gd name="connsiteY27" fmla="*/ 59294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0819" h="121602">
                      <a:moveTo>
                        <a:pt x="171284" y="59294"/>
                      </a:moveTo>
                      <a:cubicBezTo>
                        <a:pt x="173544" y="56254"/>
                        <a:pt x="173544" y="55241"/>
                        <a:pt x="172415" y="52201"/>
                      </a:cubicBezTo>
                      <a:cubicBezTo>
                        <a:pt x="172415" y="52201"/>
                        <a:pt x="170154" y="51187"/>
                        <a:pt x="169024" y="51187"/>
                      </a:cubicBezTo>
                      <a:cubicBezTo>
                        <a:pt x="167894" y="51187"/>
                        <a:pt x="167894" y="51187"/>
                        <a:pt x="166764" y="51187"/>
                      </a:cubicBezTo>
                      <a:cubicBezTo>
                        <a:pt x="154332" y="45107"/>
                        <a:pt x="162243" y="34974"/>
                        <a:pt x="162243" y="34974"/>
                      </a:cubicBezTo>
                      <a:lnTo>
                        <a:pt x="135120" y="16733"/>
                      </a:lnTo>
                      <a:cubicBezTo>
                        <a:pt x="135120" y="16733"/>
                        <a:pt x="132860" y="15720"/>
                        <a:pt x="121559" y="10653"/>
                      </a:cubicBezTo>
                      <a:cubicBezTo>
                        <a:pt x="110258" y="5586"/>
                        <a:pt x="110258" y="13693"/>
                        <a:pt x="105737" y="15720"/>
                      </a:cubicBezTo>
                      <a:cubicBezTo>
                        <a:pt x="98957" y="19773"/>
                        <a:pt x="88785" y="22813"/>
                        <a:pt x="88785" y="22813"/>
                      </a:cubicBezTo>
                      <a:cubicBezTo>
                        <a:pt x="88785" y="22813"/>
                        <a:pt x="84265" y="29907"/>
                        <a:pt x="77484" y="24840"/>
                      </a:cubicBezTo>
                      <a:cubicBezTo>
                        <a:pt x="70704" y="19773"/>
                        <a:pt x="71834" y="32947"/>
                        <a:pt x="71834" y="32947"/>
                      </a:cubicBezTo>
                      <a:cubicBezTo>
                        <a:pt x="71834" y="32947"/>
                        <a:pt x="75224" y="37001"/>
                        <a:pt x="61662" y="39027"/>
                      </a:cubicBezTo>
                      <a:cubicBezTo>
                        <a:pt x="48101" y="41054"/>
                        <a:pt x="41320" y="54228"/>
                        <a:pt x="35670" y="63348"/>
                      </a:cubicBezTo>
                      <a:cubicBezTo>
                        <a:pt x="30019" y="72468"/>
                        <a:pt x="22108" y="77535"/>
                        <a:pt x="16458" y="84628"/>
                      </a:cubicBezTo>
                      <a:cubicBezTo>
                        <a:pt x="10807" y="91722"/>
                        <a:pt x="4026" y="108949"/>
                        <a:pt x="19848" y="98815"/>
                      </a:cubicBezTo>
                      <a:cubicBezTo>
                        <a:pt x="35670" y="88682"/>
                        <a:pt x="35670" y="99829"/>
                        <a:pt x="35670" y="99829"/>
                      </a:cubicBezTo>
                      <a:cubicBezTo>
                        <a:pt x="35670" y="107935"/>
                        <a:pt x="52622" y="103882"/>
                        <a:pt x="56012" y="110975"/>
                      </a:cubicBezTo>
                      <a:cubicBezTo>
                        <a:pt x="59403" y="117056"/>
                        <a:pt x="67313" y="114016"/>
                        <a:pt x="67313" y="114016"/>
                      </a:cubicBezTo>
                      <a:cubicBezTo>
                        <a:pt x="72964" y="105909"/>
                        <a:pt x="89915" y="108949"/>
                        <a:pt x="89915" y="100842"/>
                      </a:cubicBezTo>
                      <a:cubicBezTo>
                        <a:pt x="89915" y="92735"/>
                        <a:pt x="89915" y="82602"/>
                        <a:pt x="96696" y="91722"/>
                      </a:cubicBezTo>
                      <a:cubicBezTo>
                        <a:pt x="103477" y="100842"/>
                        <a:pt x="100087" y="99829"/>
                        <a:pt x="111388" y="101855"/>
                      </a:cubicBezTo>
                      <a:cubicBezTo>
                        <a:pt x="122689" y="104895"/>
                        <a:pt x="122689" y="109962"/>
                        <a:pt x="128340" y="105909"/>
                      </a:cubicBezTo>
                      <a:cubicBezTo>
                        <a:pt x="133990" y="101855"/>
                        <a:pt x="129469" y="105909"/>
                        <a:pt x="129469" y="94762"/>
                      </a:cubicBezTo>
                      <a:cubicBezTo>
                        <a:pt x="129469" y="83615"/>
                        <a:pt x="143031" y="92735"/>
                        <a:pt x="144162" y="83615"/>
                      </a:cubicBezTo>
                      <a:cubicBezTo>
                        <a:pt x="147552" y="77535"/>
                        <a:pt x="154332" y="72468"/>
                        <a:pt x="161113" y="75508"/>
                      </a:cubicBezTo>
                      <a:cubicBezTo>
                        <a:pt x="167894" y="78548"/>
                        <a:pt x="165633" y="81588"/>
                        <a:pt x="172415" y="74495"/>
                      </a:cubicBezTo>
                      <a:cubicBezTo>
                        <a:pt x="179195" y="67401"/>
                        <a:pt x="159983" y="70441"/>
                        <a:pt x="167894" y="64361"/>
                      </a:cubicBezTo>
                      <a:lnTo>
                        <a:pt x="171284" y="5929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4" name="Freeform: Shape 283">
                  <a:extLst>
                    <a:ext uri="{FF2B5EF4-FFF2-40B4-BE49-F238E27FC236}">
                      <a16:creationId xmlns:a16="http://schemas.microsoft.com/office/drawing/2014/main" id="{D54F63E6-35CD-45A4-98AF-6EA5954FF7FB}"/>
                    </a:ext>
                  </a:extLst>
                </p:cNvPr>
                <p:cNvSpPr/>
                <p:nvPr/>
              </p:nvSpPr>
              <p:spPr>
                <a:xfrm>
                  <a:off x="6289966" y="1180046"/>
                  <a:ext cx="452048" cy="770151"/>
                </a:xfrm>
                <a:custGeom>
                  <a:avLst/>
                  <a:gdLst>
                    <a:gd name="connsiteX0" fmla="*/ 449668 w 452047"/>
                    <a:gd name="connsiteY0" fmla="*/ 177231 h 770151"/>
                    <a:gd name="connsiteX1" fmla="*/ 439497 w 452047"/>
                    <a:gd name="connsiteY1" fmla="*/ 153923 h 770151"/>
                    <a:gd name="connsiteX2" fmla="*/ 436107 w 452047"/>
                    <a:gd name="connsiteY2" fmla="*/ 142777 h 770151"/>
                    <a:gd name="connsiteX3" fmla="*/ 440627 w 452047"/>
                    <a:gd name="connsiteY3" fmla="*/ 119469 h 770151"/>
                    <a:gd name="connsiteX4" fmla="*/ 437237 w 452047"/>
                    <a:gd name="connsiteY4" fmla="*/ 100216 h 770151"/>
                    <a:gd name="connsiteX5" fmla="*/ 433847 w 452047"/>
                    <a:gd name="connsiteY5" fmla="*/ 81975 h 770151"/>
                    <a:gd name="connsiteX6" fmla="*/ 429326 w 452047"/>
                    <a:gd name="connsiteY6" fmla="*/ 67788 h 770151"/>
                    <a:gd name="connsiteX7" fmla="*/ 413504 w 452047"/>
                    <a:gd name="connsiteY7" fmla="*/ 49548 h 770151"/>
                    <a:gd name="connsiteX8" fmla="*/ 385251 w 452047"/>
                    <a:gd name="connsiteY8" fmla="*/ 39414 h 770151"/>
                    <a:gd name="connsiteX9" fmla="*/ 363779 w 452047"/>
                    <a:gd name="connsiteY9" fmla="*/ 20160 h 770151"/>
                    <a:gd name="connsiteX10" fmla="*/ 340046 w 452047"/>
                    <a:gd name="connsiteY10" fmla="*/ 9013 h 770151"/>
                    <a:gd name="connsiteX11" fmla="*/ 324225 w 452047"/>
                    <a:gd name="connsiteY11" fmla="*/ 9013 h 770151"/>
                    <a:gd name="connsiteX12" fmla="*/ 331006 w 452047"/>
                    <a:gd name="connsiteY12" fmla="*/ 21174 h 770151"/>
                    <a:gd name="connsiteX13" fmla="*/ 325355 w 452047"/>
                    <a:gd name="connsiteY13" fmla="*/ 40427 h 770151"/>
                    <a:gd name="connsiteX14" fmla="*/ 312924 w 452047"/>
                    <a:gd name="connsiteY14" fmla="*/ 55628 h 770151"/>
                    <a:gd name="connsiteX15" fmla="*/ 288061 w 452047"/>
                    <a:gd name="connsiteY15" fmla="*/ 50561 h 770151"/>
                    <a:gd name="connsiteX16" fmla="*/ 276760 w 452047"/>
                    <a:gd name="connsiteY16" fmla="*/ 59681 h 770151"/>
                    <a:gd name="connsiteX17" fmla="*/ 275630 w 452047"/>
                    <a:gd name="connsiteY17" fmla="*/ 76908 h 770151"/>
                    <a:gd name="connsiteX18" fmla="*/ 249637 w 452047"/>
                    <a:gd name="connsiteY18" fmla="*/ 58668 h 770151"/>
                    <a:gd name="connsiteX19" fmla="*/ 237206 w 452047"/>
                    <a:gd name="connsiteY19" fmla="*/ 71842 h 770151"/>
                    <a:gd name="connsiteX20" fmla="*/ 228165 w 452047"/>
                    <a:gd name="connsiteY20" fmla="*/ 97176 h 770151"/>
                    <a:gd name="connsiteX21" fmla="*/ 216864 w 452047"/>
                    <a:gd name="connsiteY21" fmla="*/ 112376 h 770151"/>
                    <a:gd name="connsiteX22" fmla="*/ 199912 w 452047"/>
                    <a:gd name="connsiteY22" fmla="*/ 127576 h 770151"/>
                    <a:gd name="connsiteX23" fmla="*/ 185221 w 452047"/>
                    <a:gd name="connsiteY23" fmla="*/ 133656 h 770151"/>
                    <a:gd name="connsiteX24" fmla="*/ 175049 w 452047"/>
                    <a:gd name="connsiteY24" fmla="*/ 157977 h 770151"/>
                    <a:gd name="connsiteX25" fmla="*/ 156968 w 452047"/>
                    <a:gd name="connsiteY25" fmla="*/ 198511 h 770151"/>
                    <a:gd name="connsiteX26" fmla="*/ 135495 w 452047"/>
                    <a:gd name="connsiteY26" fmla="*/ 213712 h 770151"/>
                    <a:gd name="connsiteX27" fmla="*/ 136625 w 452047"/>
                    <a:gd name="connsiteY27" fmla="*/ 247152 h 770151"/>
                    <a:gd name="connsiteX28" fmla="*/ 124194 w 452047"/>
                    <a:gd name="connsiteY28" fmla="*/ 266406 h 770151"/>
                    <a:gd name="connsiteX29" fmla="*/ 100462 w 452047"/>
                    <a:gd name="connsiteY29" fmla="*/ 251206 h 770151"/>
                    <a:gd name="connsiteX30" fmla="*/ 73338 w 452047"/>
                    <a:gd name="connsiteY30" fmla="*/ 271473 h 770151"/>
                    <a:gd name="connsiteX31" fmla="*/ 55257 w 452047"/>
                    <a:gd name="connsiteY31" fmla="*/ 299847 h 770151"/>
                    <a:gd name="connsiteX32" fmla="*/ 37174 w 452047"/>
                    <a:gd name="connsiteY32" fmla="*/ 323154 h 770151"/>
                    <a:gd name="connsiteX33" fmla="*/ 41695 w 452047"/>
                    <a:gd name="connsiteY33" fmla="*/ 344435 h 770151"/>
                    <a:gd name="connsiteX34" fmla="*/ 40565 w 452047"/>
                    <a:gd name="connsiteY34" fmla="*/ 370782 h 770151"/>
                    <a:gd name="connsiteX35" fmla="*/ 39435 w 452047"/>
                    <a:gd name="connsiteY35" fmla="*/ 399156 h 770151"/>
                    <a:gd name="connsiteX36" fmla="*/ 40565 w 452047"/>
                    <a:gd name="connsiteY36" fmla="*/ 417396 h 770151"/>
                    <a:gd name="connsiteX37" fmla="*/ 50736 w 452047"/>
                    <a:gd name="connsiteY37" fmla="*/ 432597 h 770151"/>
                    <a:gd name="connsiteX38" fmla="*/ 46215 w 452047"/>
                    <a:gd name="connsiteY38" fmla="*/ 453877 h 770151"/>
                    <a:gd name="connsiteX39" fmla="*/ 34914 w 452047"/>
                    <a:gd name="connsiteY39" fmla="*/ 456917 h 770151"/>
                    <a:gd name="connsiteX40" fmla="*/ 33784 w 452047"/>
                    <a:gd name="connsiteY40" fmla="*/ 477184 h 770151"/>
                    <a:gd name="connsiteX41" fmla="*/ 33784 w 452047"/>
                    <a:gd name="connsiteY41" fmla="*/ 496438 h 770151"/>
                    <a:gd name="connsiteX42" fmla="*/ 33784 w 452047"/>
                    <a:gd name="connsiteY42" fmla="*/ 511638 h 770151"/>
                    <a:gd name="connsiteX43" fmla="*/ 23613 w 452047"/>
                    <a:gd name="connsiteY43" fmla="*/ 525825 h 770151"/>
                    <a:gd name="connsiteX44" fmla="*/ 20223 w 452047"/>
                    <a:gd name="connsiteY44" fmla="*/ 535959 h 770151"/>
                    <a:gd name="connsiteX45" fmla="*/ 28134 w 452047"/>
                    <a:gd name="connsiteY45" fmla="*/ 555213 h 770151"/>
                    <a:gd name="connsiteX46" fmla="*/ 21353 w 452047"/>
                    <a:gd name="connsiteY46" fmla="*/ 574467 h 770151"/>
                    <a:gd name="connsiteX47" fmla="*/ 11182 w 452047"/>
                    <a:gd name="connsiteY47" fmla="*/ 573453 h 770151"/>
                    <a:gd name="connsiteX48" fmla="*/ 10052 w 452047"/>
                    <a:gd name="connsiteY48" fmla="*/ 591694 h 770151"/>
                    <a:gd name="connsiteX49" fmla="*/ 21353 w 452047"/>
                    <a:gd name="connsiteY49" fmla="*/ 593720 h 770151"/>
                    <a:gd name="connsiteX50" fmla="*/ 29263 w 452047"/>
                    <a:gd name="connsiteY50" fmla="*/ 607907 h 770151"/>
                    <a:gd name="connsiteX51" fmla="*/ 31524 w 452047"/>
                    <a:gd name="connsiteY51" fmla="*/ 607907 h 770151"/>
                    <a:gd name="connsiteX52" fmla="*/ 20223 w 452047"/>
                    <a:gd name="connsiteY52" fmla="*/ 627161 h 770151"/>
                    <a:gd name="connsiteX53" fmla="*/ 28134 w 452047"/>
                    <a:gd name="connsiteY53" fmla="*/ 632228 h 770151"/>
                    <a:gd name="connsiteX54" fmla="*/ 28134 w 452047"/>
                    <a:gd name="connsiteY54" fmla="*/ 642362 h 770151"/>
                    <a:gd name="connsiteX55" fmla="*/ 39435 w 452047"/>
                    <a:gd name="connsiteY55" fmla="*/ 642362 h 770151"/>
                    <a:gd name="connsiteX56" fmla="*/ 41695 w 452047"/>
                    <a:gd name="connsiteY56" fmla="*/ 654522 h 770151"/>
                    <a:gd name="connsiteX57" fmla="*/ 60907 w 452047"/>
                    <a:gd name="connsiteY57" fmla="*/ 671749 h 770151"/>
                    <a:gd name="connsiteX58" fmla="*/ 63167 w 452047"/>
                    <a:gd name="connsiteY58" fmla="*/ 681882 h 770151"/>
                    <a:gd name="connsiteX59" fmla="*/ 74468 w 452047"/>
                    <a:gd name="connsiteY59" fmla="*/ 683909 h 770151"/>
                    <a:gd name="connsiteX60" fmla="*/ 72209 w 452047"/>
                    <a:gd name="connsiteY60" fmla="*/ 691003 h 770151"/>
                    <a:gd name="connsiteX61" fmla="*/ 64298 w 452047"/>
                    <a:gd name="connsiteY61" fmla="*/ 691003 h 770151"/>
                    <a:gd name="connsiteX62" fmla="*/ 66558 w 452047"/>
                    <a:gd name="connsiteY62" fmla="*/ 703163 h 770151"/>
                    <a:gd name="connsiteX63" fmla="*/ 58647 w 452047"/>
                    <a:gd name="connsiteY63" fmla="*/ 708230 h 770151"/>
                    <a:gd name="connsiteX64" fmla="*/ 60907 w 452047"/>
                    <a:gd name="connsiteY64" fmla="*/ 725457 h 770151"/>
                    <a:gd name="connsiteX65" fmla="*/ 72209 w 452047"/>
                    <a:gd name="connsiteY65" fmla="*/ 749777 h 770151"/>
                    <a:gd name="connsiteX66" fmla="*/ 115153 w 452047"/>
                    <a:gd name="connsiteY66" fmla="*/ 739644 h 770151"/>
                    <a:gd name="connsiteX67" fmla="*/ 117413 w 452047"/>
                    <a:gd name="connsiteY67" fmla="*/ 713297 h 770151"/>
                    <a:gd name="connsiteX68" fmla="*/ 128715 w 452047"/>
                    <a:gd name="connsiteY68" fmla="*/ 713297 h 770151"/>
                    <a:gd name="connsiteX69" fmla="*/ 128715 w 452047"/>
                    <a:gd name="connsiteY69" fmla="*/ 703163 h 770151"/>
                    <a:gd name="connsiteX70" fmla="*/ 177310 w 452047"/>
                    <a:gd name="connsiteY70" fmla="*/ 703163 h 770151"/>
                    <a:gd name="connsiteX71" fmla="*/ 182960 w 452047"/>
                    <a:gd name="connsiteY71" fmla="*/ 693029 h 770151"/>
                    <a:gd name="connsiteX72" fmla="*/ 185221 w 452047"/>
                    <a:gd name="connsiteY72" fmla="*/ 698096 h 770151"/>
                    <a:gd name="connsiteX73" fmla="*/ 193131 w 452047"/>
                    <a:gd name="connsiteY73" fmla="*/ 700123 h 770151"/>
                    <a:gd name="connsiteX74" fmla="*/ 204432 w 452047"/>
                    <a:gd name="connsiteY74" fmla="*/ 673775 h 770151"/>
                    <a:gd name="connsiteX75" fmla="*/ 202172 w 452047"/>
                    <a:gd name="connsiteY75" fmla="*/ 671749 h 770151"/>
                    <a:gd name="connsiteX76" fmla="*/ 190871 w 452047"/>
                    <a:gd name="connsiteY76" fmla="*/ 685936 h 770151"/>
                    <a:gd name="connsiteX77" fmla="*/ 188611 w 452047"/>
                    <a:gd name="connsiteY77" fmla="*/ 678842 h 770151"/>
                    <a:gd name="connsiteX78" fmla="*/ 194261 w 452047"/>
                    <a:gd name="connsiteY78" fmla="*/ 652495 h 770151"/>
                    <a:gd name="connsiteX79" fmla="*/ 202172 w 452047"/>
                    <a:gd name="connsiteY79" fmla="*/ 642362 h 770151"/>
                    <a:gd name="connsiteX80" fmla="*/ 199912 w 452047"/>
                    <a:gd name="connsiteY80" fmla="*/ 630201 h 770151"/>
                    <a:gd name="connsiteX81" fmla="*/ 205563 w 452047"/>
                    <a:gd name="connsiteY81" fmla="*/ 628174 h 770151"/>
                    <a:gd name="connsiteX82" fmla="*/ 203302 w 452047"/>
                    <a:gd name="connsiteY82" fmla="*/ 589667 h 770151"/>
                    <a:gd name="connsiteX83" fmla="*/ 214603 w 452047"/>
                    <a:gd name="connsiteY83" fmla="*/ 584600 h 770151"/>
                    <a:gd name="connsiteX84" fmla="*/ 193131 w 452047"/>
                    <a:gd name="connsiteY84" fmla="*/ 574467 h 770151"/>
                    <a:gd name="connsiteX85" fmla="*/ 241727 w 452047"/>
                    <a:gd name="connsiteY85" fmla="*/ 567373 h 770151"/>
                    <a:gd name="connsiteX86" fmla="*/ 243986 w 452047"/>
                    <a:gd name="connsiteY86" fmla="*/ 574467 h 770151"/>
                    <a:gd name="connsiteX87" fmla="*/ 246247 w 452047"/>
                    <a:gd name="connsiteY87" fmla="*/ 574467 h 770151"/>
                    <a:gd name="connsiteX88" fmla="*/ 251897 w 452047"/>
                    <a:gd name="connsiteY88" fmla="*/ 564333 h 770151"/>
                    <a:gd name="connsiteX89" fmla="*/ 267719 w 452047"/>
                    <a:gd name="connsiteY89" fmla="*/ 562306 h 770151"/>
                    <a:gd name="connsiteX90" fmla="*/ 269980 w 452047"/>
                    <a:gd name="connsiteY90" fmla="*/ 552173 h 770151"/>
                    <a:gd name="connsiteX91" fmla="*/ 281281 w 452047"/>
                    <a:gd name="connsiteY91" fmla="*/ 550146 h 770151"/>
                    <a:gd name="connsiteX92" fmla="*/ 279020 w 452047"/>
                    <a:gd name="connsiteY92" fmla="*/ 543053 h 770151"/>
                    <a:gd name="connsiteX93" fmla="*/ 263198 w 452047"/>
                    <a:gd name="connsiteY93" fmla="*/ 541026 h 770151"/>
                    <a:gd name="connsiteX94" fmla="*/ 288061 w 452047"/>
                    <a:gd name="connsiteY94" fmla="*/ 530892 h 770151"/>
                    <a:gd name="connsiteX95" fmla="*/ 285801 w 452047"/>
                    <a:gd name="connsiteY95" fmla="*/ 504545 h 770151"/>
                    <a:gd name="connsiteX96" fmla="*/ 274500 w 452047"/>
                    <a:gd name="connsiteY96" fmla="*/ 502518 h 770151"/>
                    <a:gd name="connsiteX97" fmla="*/ 272239 w 452047"/>
                    <a:gd name="connsiteY97" fmla="*/ 490358 h 770151"/>
                    <a:gd name="connsiteX98" fmla="*/ 253028 w 452047"/>
                    <a:gd name="connsiteY98" fmla="*/ 476171 h 770151"/>
                    <a:gd name="connsiteX99" fmla="*/ 245117 w 452047"/>
                    <a:gd name="connsiteY99" fmla="*/ 483264 h 770151"/>
                    <a:gd name="connsiteX100" fmla="*/ 231555 w 452047"/>
                    <a:gd name="connsiteY100" fmla="*/ 481238 h 770151"/>
                    <a:gd name="connsiteX101" fmla="*/ 225905 w 452047"/>
                    <a:gd name="connsiteY101" fmla="*/ 474144 h 770151"/>
                    <a:gd name="connsiteX102" fmla="*/ 223644 w 452047"/>
                    <a:gd name="connsiteY102" fmla="*/ 430570 h 770151"/>
                    <a:gd name="connsiteX103" fmla="*/ 223644 w 452047"/>
                    <a:gd name="connsiteY103" fmla="*/ 420436 h 770151"/>
                    <a:gd name="connsiteX104" fmla="*/ 231555 w 452047"/>
                    <a:gd name="connsiteY104" fmla="*/ 418410 h 770151"/>
                    <a:gd name="connsiteX105" fmla="*/ 233816 w 452047"/>
                    <a:gd name="connsiteY105" fmla="*/ 376862 h 770151"/>
                    <a:gd name="connsiteX106" fmla="*/ 228165 w 452047"/>
                    <a:gd name="connsiteY106" fmla="*/ 374835 h 770151"/>
                    <a:gd name="connsiteX107" fmla="*/ 228165 w 452047"/>
                    <a:gd name="connsiteY107" fmla="*/ 367742 h 770151"/>
                    <a:gd name="connsiteX108" fmla="*/ 239466 w 452047"/>
                    <a:gd name="connsiteY108" fmla="*/ 369768 h 770151"/>
                    <a:gd name="connsiteX109" fmla="*/ 241727 w 452047"/>
                    <a:gd name="connsiteY109" fmla="*/ 364702 h 770151"/>
                    <a:gd name="connsiteX110" fmla="*/ 253028 w 452047"/>
                    <a:gd name="connsiteY110" fmla="*/ 362675 h 770151"/>
                    <a:gd name="connsiteX111" fmla="*/ 258678 w 452047"/>
                    <a:gd name="connsiteY111" fmla="*/ 350515 h 770151"/>
                    <a:gd name="connsiteX112" fmla="*/ 253028 w 452047"/>
                    <a:gd name="connsiteY112" fmla="*/ 350515 h 770151"/>
                    <a:gd name="connsiteX113" fmla="*/ 253028 w 452047"/>
                    <a:gd name="connsiteY113" fmla="*/ 345448 h 770151"/>
                    <a:gd name="connsiteX114" fmla="*/ 277890 w 452047"/>
                    <a:gd name="connsiteY114" fmla="*/ 335314 h 770151"/>
                    <a:gd name="connsiteX115" fmla="*/ 272239 w 452047"/>
                    <a:gd name="connsiteY115" fmla="*/ 330248 h 770151"/>
                    <a:gd name="connsiteX116" fmla="*/ 283540 w 452047"/>
                    <a:gd name="connsiteY116" fmla="*/ 316061 h 770151"/>
                    <a:gd name="connsiteX117" fmla="*/ 294842 w 452047"/>
                    <a:gd name="connsiteY117" fmla="*/ 318087 h 770151"/>
                    <a:gd name="connsiteX118" fmla="*/ 319704 w 452047"/>
                    <a:gd name="connsiteY118" fmla="*/ 303900 h 770151"/>
                    <a:gd name="connsiteX119" fmla="*/ 335526 w 452047"/>
                    <a:gd name="connsiteY119" fmla="*/ 303900 h 770151"/>
                    <a:gd name="connsiteX120" fmla="*/ 354738 w 452047"/>
                    <a:gd name="connsiteY120" fmla="*/ 279580 h 770151"/>
                    <a:gd name="connsiteX121" fmla="*/ 368299 w 452047"/>
                    <a:gd name="connsiteY121" fmla="*/ 274513 h 770151"/>
                    <a:gd name="connsiteX122" fmla="*/ 370560 w 452047"/>
                    <a:gd name="connsiteY122" fmla="*/ 264379 h 770151"/>
                    <a:gd name="connsiteX123" fmla="*/ 362649 w 452047"/>
                    <a:gd name="connsiteY123" fmla="*/ 262353 h 770151"/>
                    <a:gd name="connsiteX124" fmla="*/ 364909 w 452047"/>
                    <a:gd name="connsiteY124" fmla="*/ 252219 h 770151"/>
                    <a:gd name="connsiteX125" fmla="*/ 359259 w 452047"/>
                    <a:gd name="connsiteY125" fmla="*/ 232965 h 770151"/>
                    <a:gd name="connsiteX126" fmla="*/ 372820 w 452047"/>
                    <a:gd name="connsiteY126" fmla="*/ 222832 h 770151"/>
                    <a:gd name="connsiteX127" fmla="*/ 375080 w 452047"/>
                    <a:gd name="connsiteY127" fmla="*/ 212698 h 770151"/>
                    <a:gd name="connsiteX128" fmla="*/ 377341 w 452047"/>
                    <a:gd name="connsiteY128" fmla="*/ 210671 h 770151"/>
                    <a:gd name="connsiteX129" fmla="*/ 375080 w 452047"/>
                    <a:gd name="connsiteY129" fmla="*/ 203578 h 770151"/>
                    <a:gd name="connsiteX130" fmla="*/ 388642 w 452047"/>
                    <a:gd name="connsiteY130" fmla="*/ 203578 h 770151"/>
                    <a:gd name="connsiteX131" fmla="*/ 404463 w 452047"/>
                    <a:gd name="connsiteY131" fmla="*/ 174191 h 770151"/>
                    <a:gd name="connsiteX132" fmla="*/ 410114 w 452047"/>
                    <a:gd name="connsiteY132" fmla="*/ 181284 h 770151"/>
                    <a:gd name="connsiteX133" fmla="*/ 421415 w 452047"/>
                    <a:gd name="connsiteY133" fmla="*/ 176217 h 770151"/>
                    <a:gd name="connsiteX134" fmla="*/ 427066 w 452047"/>
                    <a:gd name="connsiteY134" fmla="*/ 186351 h 770151"/>
                    <a:gd name="connsiteX135" fmla="*/ 432716 w 452047"/>
                    <a:gd name="connsiteY135" fmla="*/ 179257 h 770151"/>
                    <a:gd name="connsiteX136" fmla="*/ 449668 w 452047"/>
                    <a:gd name="connsiteY136" fmla="*/ 177231 h 770151"/>
                    <a:gd name="connsiteX137" fmla="*/ 129844 w 452047"/>
                    <a:gd name="connsiteY137" fmla="*/ 747751 h 770151"/>
                    <a:gd name="connsiteX138" fmla="*/ 129844 w 452047"/>
                    <a:gd name="connsiteY138" fmla="*/ 759911 h 770151"/>
                    <a:gd name="connsiteX139" fmla="*/ 129844 w 452047"/>
                    <a:gd name="connsiteY139" fmla="*/ 747751 h 770151"/>
                    <a:gd name="connsiteX140" fmla="*/ 284671 w 452047"/>
                    <a:gd name="connsiteY140" fmla="*/ 619054 h 770151"/>
                    <a:gd name="connsiteX141" fmla="*/ 282411 w 452047"/>
                    <a:gd name="connsiteY141" fmla="*/ 629188 h 770151"/>
                    <a:gd name="connsiteX142" fmla="*/ 271109 w 452047"/>
                    <a:gd name="connsiteY142" fmla="*/ 627161 h 770151"/>
                    <a:gd name="connsiteX143" fmla="*/ 263198 w 452047"/>
                    <a:gd name="connsiteY143" fmla="*/ 677829 h 770151"/>
                    <a:gd name="connsiteX144" fmla="*/ 279020 w 452047"/>
                    <a:gd name="connsiteY144" fmla="*/ 658575 h 770151"/>
                    <a:gd name="connsiteX145" fmla="*/ 276760 w 452047"/>
                    <a:gd name="connsiteY145" fmla="*/ 646415 h 770151"/>
                    <a:gd name="connsiteX146" fmla="*/ 292582 w 452047"/>
                    <a:gd name="connsiteY146" fmla="*/ 620068 h 770151"/>
                    <a:gd name="connsiteX147" fmla="*/ 284671 w 452047"/>
                    <a:gd name="connsiteY147" fmla="*/ 619054 h 770151"/>
                    <a:gd name="connsiteX148" fmla="*/ 137755 w 452047"/>
                    <a:gd name="connsiteY148" fmla="*/ 563320 h 770151"/>
                    <a:gd name="connsiteX149" fmla="*/ 140016 w 452047"/>
                    <a:gd name="connsiteY149" fmla="*/ 570413 h 770151"/>
                    <a:gd name="connsiteX150" fmla="*/ 128715 w 452047"/>
                    <a:gd name="connsiteY150" fmla="*/ 582573 h 770151"/>
                    <a:gd name="connsiteX151" fmla="*/ 120804 w 452047"/>
                    <a:gd name="connsiteY151" fmla="*/ 594734 h 770151"/>
                    <a:gd name="connsiteX152" fmla="*/ 128715 w 452047"/>
                    <a:gd name="connsiteY152" fmla="*/ 568386 h 770151"/>
                    <a:gd name="connsiteX153" fmla="*/ 137755 w 452047"/>
                    <a:gd name="connsiteY153" fmla="*/ 563320 h 770151"/>
                    <a:gd name="connsiteX154" fmla="*/ 86900 w 452047"/>
                    <a:gd name="connsiteY154" fmla="*/ 526839 h 770151"/>
                    <a:gd name="connsiteX155" fmla="*/ 92551 w 452047"/>
                    <a:gd name="connsiteY155" fmla="*/ 526839 h 770151"/>
                    <a:gd name="connsiteX156" fmla="*/ 92551 w 452047"/>
                    <a:gd name="connsiteY156" fmla="*/ 533932 h 770151"/>
                    <a:gd name="connsiteX157" fmla="*/ 106112 w 452047"/>
                    <a:gd name="connsiteY157" fmla="*/ 535959 h 770151"/>
                    <a:gd name="connsiteX158" fmla="*/ 92551 w 452047"/>
                    <a:gd name="connsiteY158" fmla="*/ 570413 h 770151"/>
                    <a:gd name="connsiteX159" fmla="*/ 86900 w 452047"/>
                    <a:gd name="connsiteY159" fmla="*/ 577507 h 770151"/>
                    <a:gd name="connsiteX160" fmla="*/ 73338 w 452047"/>
                    <a:gd name="connsiteY160" fmla="*/ 577507 h 770151"/>
                    <a:gd name="connsiteX161" fmla="*/ 71078 w 452047"/>
                    <a:gd name="connsiteY161" fmla="*/ 582573 h 770151"/>
                    <a:gd name="connsiteX162" fmla="*/ 55257 w 452047"/>
                    <a:gd name="connsiteY162" fmla="*/ 582573 h 770151"/>
                    <a:gd name="connsiteX163" fmla="*/ 57516 w 452047"/>
                    <a:gd name="connsiteY163" fmla="*/ 560280 h 770151"/>
                    <a:gd name="connsiteX164" fmla="*/ 63167 w 452047"/>
                    <a:gd name="connsiteY164" fmla="*/ 555213 h 770151"/>
                    <a:gd name="connsiteX165" fmla="*/ 82379 w 452047"/>
                    <a:gd name="connsiteY165" fmla="*/ 550146 h 770151"/>
                    <a:gd name="connsiteX166" fmla="*/ 82379 w 452047"/>
                    <a:gd name="connsiteY166" fmla="*/ 532919 h 770151"/>
                    <a:gd name="connsiteX167" fmla="*/ 86900 w 452047"/>
                    <a:gd name="connsiteY167" fmla="*/ 526839 h 770151"/>
                    <a:gd name="connsiteX168" fmla="*/ 224775 w 452047"/>
                    <a:gd name="connsiteY168" fmla="*/ 524812 h 770151"/>
                    <a:gd name="connsiteX169" fmla="*/ 232685 w 452047"/>
                    <a:gd name="connsiteY169" fmla="*/ 529879 h 770151"/>
                    <a:gd name="connsiteX170" fmla="*/ 240596 w 452047"/>
                    <a:gd name="connsiteY170" fmla="*/ 527852 h 770151"/>
                    <a:gd name="connsiteX171" fmla="*/ 251897 w 452047"/>
                    <a:gd name="connsiteY171" fmla="*/ 537986 h 770151"/>
                    <a:gd name="connsiteX172" fmla="*/ 224775 w 452047"/>
                    <a:gd name="connsiteY172" fmla="*/ 535959 h 770151"/>
                    <a:gd name="connsiteX173" fmla="*/ 222514 w 452047"/>
                    <a:gd name="connsiteY173" fmla="*/ 530892 h 770151"/>
                    <a:gd name="connsiteX174" fmla="*/ 224775 w 452047"/>
                    <a:gd name="connsiteY174" fmla="*/ 524812 h 770151"/>
                    <a:gd name="connsiteX175" fmla="*/ 208953 w 452047"/>
                    <a:gd name="connsiteY175" fmla="*/ 524812 h 770151"/>
                    <a:gd name="connsiteX176" fmla="*/ 208953 w 452047"/>
                    <a:gd name="connsiteY176" fmla="*/ 529879 h 770151"/>
                    <a:gd name="connsiteX177" fmla="*/ 208953 w 452047"/>
                    <a:gd name="connsiteY177" fmla="*/ 524812 h 77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452047" h="770151">
                      <a:moveTo>
                        <a:pt x="449668" y="177231"/>
                      </a:moveTo>
                      <a:lnTo>
                        <a:pt x="439497" y="153923"/>
                      </a:lnTo>
                      <a:cubicBezTo>
                        <a:pt x="439497" y="153923"/>
                        <a:pt x="436107" y="148857"/>
                        <a:pt x="436107" y="142777"/>
                      </a:cubicBezTo>
                      <a:cubicBezTo>
                        <a:pt x="436107" y="137710"/>
                        <a:pt x="440627" y="130616"/>
                        <a:pt x="440627" y="119469"/>
                      </a:cubicBezTo>
                      <a:cubicBezTo>
                        <a:pt x="440627" y="108322"/>
                        <a:pt x="445148" y="109336"/>
                        <a:pt x="437237" y="100216"/>
                      </a:cubicBezTo>
                      <a:cubicBezTo>
                        <a:pt x="429326" y="90082"/>
                        <a:pt x="438367" y="90082"/>
                        <a:pt x="433847" y="81975"/>
                      </a:cubicBezTo>
                      <a:cubicBezTo>
                        <a:pt x="429326" y="73868"/>
                        <a:pt x="434977" y="71842"/>
                        <a:pt x="429326" y="67788"/>
                      </a:cubicBezTo>
                      <a:cubicBezTo>
                        <a:pt x="422546" y="63735"/>
                        <a:pt x="418025" y="57655"/>
                        <a:pt x="413504" y="49548"/>
                      </a:cubicBezTo>
                      <a:cubicBezTo>
                        <a:pt x="408984" y="41441"/>
                        <a:pt x="394293" y="39414"/>
                        <a:pt x="385251" y="39414"/>
                      </a:cubicBezTo>
                      <a:cubicBezTo>
                        <a:pt x="376210" y="39414"/>
                        <a:pt x="364909" y="27254"/>
                        <a:pt x="363779" y="20160"/>
                      </a:cubicBezTo>
                      <a:cubicBezTo>
                        <a:pt x="362649" y="13067"/>
                        <a:pt x="340046" y="9013"/>
                        <a:pt x="340046" y="9013"/>
                      </a:cubicBezTo>
                      <a:lnTo>
                        <a:pt x="324225" y="9013"/>
                      </a:lnTo>
                      <a:lnTo>
                        <a:pt x="331006" y="21174"/>
                      </a:lnTo>
                      <a:lnTo>
                        <a:pt x="325355" y="40427"/>
                      </a:lnTo>
                      <a:cubicBezTo>
                        <a:pt x="325355" y="40427"/>
                        <a:pt x="320835" y="56641"/>
                        <a:pt x="312924" y="55628"/>
                      </a:cubicBezTo>
                      <a:cubicBezTo>
                        <a:pt x="306143" y="54614"/>
                        <a:pt x="290322" y="48534"/>
                        <a:pt x="288061" y="50561"/>
                      </a:cubicBezTo>
                      <a:cubicBezTo>
                        <a:pt x="284671" y="52588"/>
                        <a:pt x="274500" y="51574"/>
                        <a:pt x="276760" y="59681"/>
                      </a:cubicBezTo>
                      <a:cubicBezTo>
                        <a:pt x="280150" y="66775"/>
                        <a:pt x="271109" y="71842"/>
                        <a:pt x="275630" y="76908"/>
                      </a:cubicBezTo>
                      <a:cubicBezTo>
                        <a:pt x="284671" y="88055"/>
                        <a:pt x="249637" y="58668"/>
                        <a:pt x="249637" y="58668"/>
                      </a:cubicBezTo>
                      <a:cubicBezTo>
                        <a:pt x="249637" y="58668"/>
                        <a:pt x="239466" y="63735"/>
                        <a:pt x="237206" y="71842"/>
                      </a:cubicBezTo>
                      <a:cubicBezTo>
                        <a:pt x="234945" y="79948"/>
                        <a:pt x="228165" y="90082"/>
                        <a:pt x="228165" y="97176"/>
                      </a:cubicBezTo>
                      <a:cubicBezTo>
                        <a:pt x="228165" y="104269"/>
                        <a:pt x="222514" y="107309"/>
                        <a:pt x="216864" y="112376"/>
                      </a:cubicBezTo>
                      <a:cubicBezTo>
                        <a:pt x="211213" y="117443"/>
                        <a:pt x="199912" y="120483"/>
                        <a:pt x="199912" y="127576"/>
                      </a:cubicBezTo>
                      <a:cubicBezTo>
                        <a:pt x="199912" y="134670"/>
                        <a:pt x="194261" y="133656"/>
                        <a:pt x="185221" y="133656"/>
                      </a:cubicBezTo>
                      <a:cubicBezTo>
                        <a:pt x="176179" y="133656"/>
                        <a:pt x="175049" y="151897"/>
                        <a:pt x="175049" y="157977"/>
                      </a:cubicBezTo>
                      <a:cubicBezTo>
                        <a:pt x="175049" y="164057"/>
                        <a:pt x="164878" y="193444"/>
                        <a:pt x="156968" y="198511"/>
                      </a:cubicBezTo>
                      <a:cubicBezTo>
                        <a:pt x="149057" y="203578"/>
                        <a:pt x="135495" y="207631"/>
                        <a:pt x="135495" y="213712"/>
                      </a:cubicBezTo>
                      <a:cubicBezTo>
                        <a:pt x="135495" y="219792"/>
                        <a:pt x="141146" y="234992"/>
                        <a:pt x="136625" y="247152"/>
                      </a:cubicBezTo>
                      <a:cubicBezTo>
                        <a:pt x="132105" y="258299"/>
                        <a:pt x="132105" y="270460"/>
                        <a:pt x="124194" y="266406"/>
                      </a:cubicBezTo>
                      <a:cubicBezTo>
                        <a:pt x="116283" y="262353"/>
                        <a:pt x="108372" y="247152"/>
                        <a:pt x="100462" y="251206"/>
                      </a:cubicBezTo>
                      <a:cubicBezTo>
                        <a:pt x="92551" y="255259"/>
                        <a:pt x="73338" y="264379"/>
                        <a:pt x="73338" y="271473"/>
                      </a:cubicBezTo>
                      <a:cubicBezTo>
                        <a:pt x="73338" y="278566"/>
                        <a:pt x="55257" y="291740"/>
                        <a:pt x="55257" y="299847"/>
                      </a:cubicBezTo>
                      <a:cubicBezTo>
                        <a:pt x="55257" y="307954"/>
                        <a:pt x="32654" y="315047"/>
                        <a:pt x="37174" y="323154"/>
                      </a:cubicBezTo>
                      <a:cubicBezTo>
                        <a:pt x="41695" y="331261"/>
                        <a:pt x="43956" y="338354"/>
                        <a:pt x="41695" y="344435"/>
                      </a:cubicBezTo>
                      <a:cubicBezTo>
                        <a:pt x="38305" y="350515"/>
                        <a:pt x="40565" y="362675"/>
                        <a:pt x="40565" y="370782"/>
                      </a:cubicBezTo>
                      <a:cubicBezTo>
                        <a:pt x="40565" y="378889"/>
                        <a:pt x="45085" y="390036"/>
                        <a:pt x="39435" y="399156"/>
                      </a:cubicBezTo>
                      <a:cubicBezTo>
                        <a:pt x="33784" y="408276"/>
                        <a:pt x="34914" y="417396"/>
                        <a:pt x="40565" y="417396"/>
                      </a:cubicBezTo>
                      <a:cubicBezTo>
                        <a:pt x="46215" y="417396"/>
                        <a:pt x="50736" y="421450"/>
                        <a:pt x="50736" y="432597"/>
                      </a:cubicBezTo>
                      <a:cubicBezTo>
                        <a:pt x="50736" y="443744"/>
                        <a:pt x="55257" y="448810"/>
                        <a:pt x="46215" y="453877"/>
                      </a:cubicBezTo>
                      <a:cubicBezTo>
                        <a:pt x="37174" y="458944"/>
                        <a:pt x="34914" y="456917"/>
                        <a:pt x="34914" y="456917"/>
                      </a:cubicBezTo>
                      <a:cubicBezTo>
                        <a:pt x="34914" y="456917"/>
                        <a:pt x="33784" y="470091"/>
                        <a:pt x="33784" y="477184"/>
                      </a:cubicBezTo>
                      <a:cubicBezTo>
                        <a:pt x="33784" y="484278"/>
                        <a:pt x="27004" y="488331"/>
                        <a:pt x="33784" y="496438"/>
                      </a:cubicBezTo>
                      <a:cubicBezTo>
                        <a:pt x="40565" y="504545"/>
                        <a:pt x="42825" y="507585"/>
                        <a:pt x="33784" y="511638"/>
                      </a:cubicBezTo>
                      <a:cubicBezTo>
                        <a:pt x="24743" y="515692"/>
                        <a:pt x="33784" y="521772"/>
                        <a:pt x="23613" y="525825"/>
                      </a:cubicBezTo>
                      <a:cubicBezTo>
                        <a:pt x="13442" y="529879"/>
                        <a:pt x="20223" y="526839"/>
                        <a:pt x="20223" y="535959"/>
                      </a:cubicBezTo>
                      <a:cubicBezTo>
                        <a:pt x="20223" y="545079"/>
                        <a:pt x="28134" y="547106"/>
                        <a:pt x="28134" y="555213"/>
                      </a:cubicBezTo>
                      <a:cubicBezTo>
                        <a:pt x="28134" y="563320"/>
                        <a:pt x="28134" y="576493"/>
                        <a:pt x="21353" y="574467"/>
                      </a:cubicBezTo>
                      <a:cubicBezTo>
                        <a:pt x="14572" y="572440"/>
                        <a:pt x="11182" y="573453"/>
                        <a:pt x="11182" y="573453"/>
                      </a:cubicBezTo>
                      <a:cubicBezTo>
                        <a:pt x="11182" y="578520"/>
                        <a:pt x="11182" y="583587"/>
                        <a:pt x="10052" y="591694"/>
                      </a:cubicBezTo>
                      <a:cubicBezTo>
                        <a:pt x="12312" y="592707"/>
                        <a:pt x="17962" y="592707"/>
                        <a:pt x="21353" y="593720"/>
                      </a:cubicBezTo>
                      <a:cubicBezTo>
                        <a:pt x="21353" y="593720"/>
                        <a:pt x="28134" y="606894"/>
                        <a:pt x="29263" y="607907"/>
                      </a:cubicBezTo>
                      <a:lnTo>
                        <a:pt x="31524" y="607907"/>
                      </a:lnTo>
                      <a:cubicBezTo>
                        <a:pt x="31524" y="611961"/>
                        <a:pt x="20223" y="623108"/>
                        <a:pt x="20223" y="627161"/>
                      </a:cubicBezTo>
                      <a:cubicBezTo>
                        <a:pt x="20223" y="628174"/>
                        <a:pt x="28134" y="631215"/>
                        <a:pt x="28134" y="632228"/>
                      </a:cubicBezTo>
                      <a:cubicBezTo>
                        <a:pt x="29263" y="635268"/>
                        <a:pt x="27004" y="639321"/>
                        <a:pt x="28134" y="642362"/>
                      </a:cubicBezTo>
                      <a:cubicBezTo>
                        <a:pt x="29263" y="642362"/>
                        <a:pt x="38305" y="641348"/>
                        <a:pt x="39435" y="642362"/>
                      </a:cubicBezTo>
                      <a:cubicBezTo>
                        <a:pt x="42825" y="646415"/>
                        <a:pt x="39435" y="650468"/>
                        <a:pt x="41695" y="654522"/>
                      </a:cubicBezTo>
                      <a:cubicBezTo>
                        <a:pt x="45085" y="660602"/>
                        <a:pt x="56387" y="665669"/>
                        <a:pt x="60907" y="671749"/>
                      </a:cubicBezTo>
                      <a:cubicBezTo>
                        <a:pt x="62037" y="673775"/>
                        <a:pt x="62037" y="679856"/>
                        <a:pt x="63167" y="681882"/>
                      </a:cubicBezTo>
                      <a:cubicBezTo>
                        <a:pt x="65427" y="683909"/>
                        <a:pt x="71078" y="681882"/>
                        <a:pt x="74468" y="683909"/>
                      </a:cubicBezTo>
                      <a:lnTo>
                        <a:pt x="72209" y="691003"/>
                      </a:lnTo>
                      <a:cubicBezTo>
                        <a:pt x="71078" y="691003"/>
                        <a:pt x="65427" y="691003"/>
                        <a:pt x="64298" y="691003"/>
                      </a:cubicBezTo>
                      <a:cubicBezTo>
                        <a:pt x="63167" y="697083"/>
                        <a:pt x="66558" y="699109"/>
                        <a:pt x="66558" y="703163"/>
                      </a:cubicBezTo>
                      <a:cubicBezTo>
                        <a:pt x="65427" y="704176"/>
                        <a:pt x="58647" y="707216"/>
                        <a:pt x="58647" y="708230"/>
                      </a:cubicBezTo>
                      <a:cubicBezTo>
                        <a:pt x="57516" y="713297"/>
                        <a:pt x="60907" y="725457"/>
                        <a:pt x="60907" y="725457"/>
                      </a:cubicBezTo>
                      <a:cubicBezTo>
                        <a:pt x="59777" y="734577"/>
                        <a:pt x="59777" y="747751"/>
                        <a:pt x="72209" y="749777"/>
                      </a:cubicBezTo>
                      <a:cubicBezTo>
                        <a:pt x="84640" y="751804"/>
                        <a:pt x="107242" y="743697"/>
                        <a:pt x="115153" y="739644"/>
                      </a:cubicBezTo>
                      <a:cubicBezTo>
                        <a:pt x="114022" y="725457"/>
                        <a:pt x="115153" y="724443"/>
                        <a:pt x="117413" y="713297"/>
                      </a:cubicBezTo>
                      <a:cubicBezTo>
                        <a:pt x="119673" y="713297"/>
                        <a:pt x="126454" y="714310"/>
                        <a:pt x="128715" y="713297"/>
                      </a:cubicBezTo>
                      <a:cubicBezTo>
                        <a:pt x="129844" y="712283"/>
                        <a:pt x="127584" y="704176"/>
                        <a:pt x="128715" y="703163"/>
                      </a:cubicBezTo>
                      <a:cubicBezTo>
                        <a:pt x="140016" y="698096"/>
                        <a:pt x="160358" y="703163"/>
                        <a:pt x="177310" y="703163"/>
                      </a:cubicBezTo>
                      <a:cubicBezTo>
                        <a:pt x="178439" y="702150"/>
                        <a:pt x="181830" y="694043"/>
                        <a:pt x="182960" y="693029"/>
                      </a:cubicBezTo>
                      <a:cubicBezTo>
                        <a:pt x="182960" y="693029"/>
                        <a:pt x="188611" y="695056"/>
                        <a:pt x="185221" y="698096"/>
                      </a:cubicBezTo>
                      <a:cubicBezTo>
                        <a:pt x="188611" y="699109"/>
                        <a:pt x="189741" y="699109"/>
                        <a:pt x="193131" y="700123"/>
                      </a:cubicBezTo>
                      <a:cubicBezTo>
                        <a:pt x="196522" y="692016"/>
                        <a:pt x="201042" y="682896"/>
                        <a:pt x="204432" y="673775"/>
                      </a:cubicBezTo>
                      <a:cubicBezTo>
                        <a:pt x="202172" y="672762"/>
                        <a:pt x="206692" y="668709"/>
                        <a:pt x="202172" y="671749"/>
                      </a:cubicBezTo>
                      <a:cubicBezTo>
                        <a:pt x="197652" y="673775"/>
                        <a:pt x="195391" y="683909"/>
                        <a:pt x="190871" y="685936"/>
                      </a:cubicBezTo>
                      <a:cubicBezTo>
                        <a:pt x="186350" y="687963"/>
                        <a:pt x="187480" y="679856"/>
                        <a:pt x="188611" y="678842"/>
                      </a:cubicBezTo>
                      <a:cubicBezTo>
                        <a:pt x="188611" y="674789"/>
                        <a:pt x="192001" y="659589"/>
                        <a:pt x="194261" y="652495"/>
                      </a:cubicBezTo>
                      <a:cubicBezTo>
                        <a:pt x="194261" y="650468"/>
                        <a:pt x="202172" y="644388"/>
                        <a:pt x="202172" y="642362"/>
                      </a:cubicBezTo>
                      <a:cubicBezTo>
                        <a:pt x="204432" y="635268"/>
                        <a:pt x="198781" y="636281"/>
                        <a:pt x="199912" y="630201"/>
                      </a:cubicBezTo>
                      <a:lnTo>
                        <a:pt x="205563" y="628174"/>
                      </a:lnTo>
                      <a:cubicBezTo>
                        <a:pt x="211213" y="613988"/>
                        <a:pt x="205563" y="598787"/>
                        <a:pt x="203302" y="589667"/>
                      </a:cubicBezTo>
                      <a:cubicBezTo>
                        <a:pt x="205563" y="588654"/>
                        <a:pt x="212343" y="585613"/>
                        <a:pt x="214603" y="584600"/>
                      </a:cubicBezTo>
                      <a:cubicBezTo>
                        <a:pt x="208953" y="582573"/>
                        <a:pt x="198781" y="576493"/>
                        <a:pt x="193131" y="574467"/>
                      </a:cubicBezTo>
                      <a:cubicBezTo>
                        <a:pt x="213474" y="575480"/>
                        <a:pt x="222514" y="570413"/>
                        <a:pt x="241727" y="567373"/>
                      </a:cubicBezTo>
                      <a:lnTo>
                        <a:pt x="243986" y="574467"/>
                      </a:lnTo>
                      <a:lnTo>
                        <a:pt x="246247" y="574467"/>
                      </a:lnTo>
                      <a:cubicBezTo>
                        <a:pt x="249637" y="573453"/>
                        <a:pt x="249637" y="566360"/>
                        <a:pt x="251897" y="564333"/>
                      </a:cubicBezTo>
                      <a:cubicBezTo>
                        <a:pt x="256418" y="561293"/>
                        <a:pt x="263198" y="564333"/>
                        <a:pt x="267719" y="562306"/>
                      </a:cubicBezTo>
                      <a:cubicBezTo>
                        <a:pt x="272239" y="560280"/>
                        <a:pt x="266589" y="555213"/>
                        <a:pt x="269980" y="552173"/>
                      </a:cubicBezTo>
                      <a:cubicBezTo>
                        <a:pt x="273370" y="549133"/>
                        <a:pt x="274500" y="551159"/>
                        <a:pt x="281281" y="550146"/>
                      </a:cubicBezTo>
                      <a:lnTo>
                        <a:pt x="279020" y="543053"/>
                      </a:lnTo>
                      <a:cubicBezTo>
                        <a:pt x="272239" y="543053"/>
                        <a:pt x="265459" y="541026"/>
                        <a:pt x="263198" y="541026"/>
                      </a:cubicBezTo>
                      <a:cubicBezTo>
                        <a:pt x="271109" y="537986"/>
                        <a:pt x="279020" y="533932"/>
                        <a:pt x="288061" y="530892"/>
                      </a:cubicBezTo>
                      <a:cubicBezTo>
                        <a:pt x="286931" y="524812"/>
                        <a:pt x="290322" y="511638"/>
                        <a:pt x="285801" y="504545"/>
                      </a:cubicBezTo>
                      <a:cubicBezTo>
                        <a:pt x="283540" y="500492"/>
                        <a:pt x="279020" y="504545"/>
                        <a:pt x="274500" y="502518"/>
                      </a:cubicBezTo>
                      <a:cubicBezTo>
                        <a:pt x="268849" y="499478"/>
                        <a:pt x="272239" y="492385"/>
                        <a:pt x="272239" y="490358"/>
                      </a:cubicBezTo>
                      <a:cubicBezTo>
                        <a:pt x="258678" y="487318"/>
                        <a:pt x="260938" y="488331"/>
                        <a:pt x="253028" y="476171"/>
                      </a:cubicBezTo>
                      <a:cubicBezTo>
                        <a:pt x="249637" y="477184"/>
                        <a:pt x="246247" y="483264"/>
                        <a:pt x="245117" y="483264"/>
                      </a:cubicBezTo>
                      <a:cubicBezTo>
                        <a:pt x="239466" y="484278"/>
                        <a:pt x="239466" y="480224"/>
                        <a:pt x="231555" y="481238"/>
                      </a:cubicBezTo>
                      <a:cubicBezTo>
                        <a:pt x="229295" y="478198"/>
                        <a:pt x="229295" y="476171"/>
                        <a:pt x="225905" y="474144"/>
                      </a:cubicBezTo>
                      <a:cubicBezTo>
                        <a:pt x="231555" y="455904"/>
                        <a:pt x="224775" y="443744"/>
                        <a:pt x="223644" y="430570"/>
                      </a:cubicBezTo>
                      <a:cubicBezTo>
                        <a:pt x="223644" y="429557"/>
                        <a:pt x="223644" y="421450"/>
                        <a:pt x="223644" y="420436"/>
                      </a:cubicBezTo>
                      <a:cubicBezTo>
                        <a:pt x="225905" y="419423"/>
                        <a:pt x="230425" y="418410"/>
                        <a:pt x="231555" y="418410"/>
                      </a:cubicBezTo>
                      <a:cubicBezTo>
                        <a:pt x="220254" y="409289"/>
                        <a:pt x="238336" y="392062"/>
                        <a:pt x="233816" y="376862"/>
                      </a:cubicBezTo>
                      <a:cubicBezTo>
                        <a:pt x="233816" y="376862"/>
                        <a:pt x="229295" y="374835"/>
                        <a:pt x="228165" y="374835"/>
                      </a:cubicBezTo>
                      <a:cubicBezTo>
                        <a:pt x="228165" y="372809"/>
                        <a:pt x="229295" y="369768"/>
                        <a:pt x="228165" y="367742"/>
                      </a:cubicBezTo>
                      <a:cubicBezTo>
                        <a:pt x="231555" y="366728"/>
                        <a:pt x="232685" y="371795"/>
                        <a:pt x="239466" y="369768"/>
                      </a:cubicBezTo>
                      <a:cubicBezTo>
                        <a:pt x="239466" y="369768"/>
                        <a:pt x="241727" y="364702"/>
                        <a:pt x="241727" y="364702"/>
                      </a:cubicBezTo>
                      <a:cubicBezTo>
                        <a:pt x="245117" y="362675"/>
                        <a:pt x="249637" y="364702"/>
                        <a:pt x="253028" y="362675"/>
                      </a:cubicBezTo>
                      <a:cubicBezTo>
                        <a:pt x="255287" y="360648"/>
                        <a:pt x="256418" y="353555"/>
                        <a:pt x="258678" y="350515"/>
                      </a:cubicBezTo>
                      <a:lnTo>
                        <a:pt x="253028" y="350515"/>
                      </a:lnTo>
                      <a:lnTo>
                        <a:pt x="253028" y="345448"/>
                      </a:lnTo>
                      <a:cubicBezTo>
                        <a:pt x="264329" y="342408"/>
                        <a:pt x="273370" y="344435"/>
                        <a:pt x="277890" y="335314"/>
                      </a:cubicBezTo>
                      <a:cubicBezTo>
                        <a:pt x="279020" y="332274"/>
                        <a:pt x="273370" y="331261"/>
                        <a:pt x="272239" y="330248"/>
                      </a:cubicBezTo>
                      <a:lnTo>
                        <a:pt x="283540" y="316061"/>
                      </a:lnTo>
                      <a:cubicBezTo>
                        <a:pt x="289191" y="313020"/>
                        <a:pt x="291451" y="319101"/>
                        <a:pt x="294842" y="318087"/>
                      </a:cubicBezTo>
                      <a:cubicBezTo>
                        <a:pt x="305013" y="317074"/>
                        <a:pt x="311793" y="306940"/>
                        <a:pt x="319704" y="303900"/>
                      </a:cubicBezTo>
                      <a:cubicBezTo>
                        <a:pt x="326485" y="300860"/>
                        <a:pt x="333266" y="304914"/>
                        <a:pt x="335526" y="303900"/>
                      </a:cubicBezTo>
                      <a:cubicBezTo>
                        <a:pt x="347957" y="299847"/>
                        <a:pt x="346828" y="287687"/>
                        <a:pt x="354738" y="279580"/>
                      </a:cubicBezTo>
                      <a:cubicBezTo>
                        <a:pt x="358129" y="276540"/>
                        <a:pt x="363779" y="277553"/>
                        <a:pt x="368299" y="274513"/>
                      </a:cubicBezTo>
                      <a:cubicBezTo>
                        <a:pt x="367170" y="270460"/>
                        <a:pt x="369430" y="268433"/>
                        <a:pt x="370560" y="264379"/>
                      </a:cubicBezTo>
                      <a:cubicBezTo>
                        <a:pt x="369430" y="263366"/>
                        <a:pt x="362649" y="262353"/>
                        <a:pt x="362649" y="262353"/>
                      </a:cubicBezTo>
                      <a:cubicBezTo>
                        <a:pt x="361519" y="257286"/>
                        <a:pt x="363779" y="257286"/>
                        <a:pt x="364909" y="252219"/>
                      </a:cubicBezTo>
                      <a:cubicBezTo>
                        <a:pt x="362649" y="250192"/>
                        <a:pt x="356998" y="239045"/>
                        <a:pt x="359259" y="232965"/>
                      </a:cubicBezTo>
                      <a:lnTo>
                        <a:pt x="372820" y="222832"/>
                      </a:lnTo>
                      <a:cubicBezTo>
                        <a:pt x="376210" y="215738"/>
                        <a:pt x="363779" y="216752"/>
                        <a:pt x="375080" y="212698"/>
                      </a:cubicBezTo>
                      <a:lnTo>
                        <a:pt x="377341" y="210671"/>
                      </a:lnTo>
                      <a:cubicBezTo>
                        <a:pt x="380731" y="208645"/>
                        <a:pt x="369430" y="206618"/>
                        <a:pt x="375080" y="203578"/>
                      </a:cubicBezTo>
                      <a:cubicBezTo>
                        <a:pt x="381861" y="198511"/>
                        <a:pt x="381861" y="205605"/>
                        <a:pt x="388642" y="203578"/>
                      </a:cubicBezTo>
                      <a:cubicBezTo>
                        <a:pt x="399943" y="200538"/>
                        <a:pt x="402203" y="185338"/>
                        <a:pt x="404463" y="174191"/>
                      </a:cubicBezTo>
                      <a:cubicBezTo>
                        <a:pt x="407854" y="175204"/>
                        <a:pt x="407854" y="178244"/>
                        <a:pt x="410114" y="181284"/>
                      </a:cubicBezTo>
                      <a:cubicBezTo>
                        <a:pt x="412374" y="180271"/>
                        <a:pt x="420285" y="176217"/>
                        <a:pt x="421415" y="176217"/>
                      </a:cubicBezTo>
                      <a:cubicBezTo>
                        <a:pt x="421415" y="176217"/>
                        <a:pt x="427066" y="186351"/>
                        <a:pt x="427066" y="186351"/>
                      </a:cubicBezTo>
                      <a:cubicBezTo>
                        <a:pt x="432716" y="186351"/>
                        <a:pt x="430456" y="182297"/>
                        <a:pt x="432716" y="179257"/>
                      </a:cubicBezTo>
                      <a:cubicBezTo>
                        <a:pt x="437237" y="175204"/>
                        <a:pt x="444018" y="177231"/>
                        <a:pt x="449668" y="177231"/>
                      </a:cubicBezTo>
                      <a:close/>
                      <a:moveTo>
                        <a:pt x="129844" y="747751"/>
                      </a:moveTo>
                      <a:cubicBezTo>
                        <a:pt x="130974" y="750791"/>
                        <a:pt x="129844" y="756871"/>
                        <a:pt x="129844" y="759911"/>
                      </a:cubicBezTo>
                      <a:cubicBezTo>
                        <a:pt x="162618" y="775111"/>
                        <a:pt x="155837" y="757884"/>
                        <a:pt x="129844" y="747751"/>
                      </a:cubicBezTo>
                      <a:close/>
                      <a:moveTo>
                        <a:pt x="284671" y="619054"/>
                      </a:moveTo>
                      <a:cubicBezTo>
                        <a:pt x="283540" y="619054"/>
                        <a:pt x="282411" y="627161"/>
                        <a:pt x="282411" y="629188"/>
                      </a:cubicBezTo>
                      <a:cubicBezTo>
                        <a:pt x="281281" y="629188"/>
                        <a:pt x="274500" y="627161"/>
                        <a:pt x="271109" y="627161"/>
                      </a:cubicBezTo>
                      <a:cubicBezTo>
                        <a:pt x="250767" y="652495"/>
                        <a:pt x="242856" y="647428"/>
                        <a:pt x="263198" y="677829"/>
                      </a:cubicBezTo>
                      <a:cubicBezTo>
                        <a:pt x="265459" y="674789"/>
                        <a:pt x="279020" y="660602"/>
                        <a:pt x="279020" y="658575"/>
                      </a:cubicBezTo>
                      <a:cubicBezTo>
                        <a:pt x="281281" y="651482"/>
                        <a:pt x="275630" y="652495"/>
                        <a:pt x="276760" y="646415"/>
                      </a:cubicBezTo>
                      <a:cubicBezTo>
                        <a:pt x="277890" y="639321"/>
                        <a:pt x="289191" y="626148"/>
                        <a:pt x="292582" y="620068"/>
                      </a:cubicBezTo>
                      <a:cubicBezTo>
                        <a:pt x="290322" y="619054"/>
                        <a:pt x="286931" y="618041"/>
                        <a:pt x="284671" y="619054"/>
                      </a:cubicBezTo>
                      <a:close/>
                      <a:moveTo>
                        <a:pt x="137755" y="563320"/>
                      </a:moveTo>
                      <a:cubicBezTo>
                        <a:pt x="136625" y="566360"/>
                        <a:pt x="141146" y="565346"/>
                        <a:pt x="140016" y="570413"/>
                      </a:cubicBezTo>
                      <a:cubicBezTo>
                        <a:pt x="140016" y="576493"/>
                        <a:pt x="129844" y="581560"/>
                        <a:pt x="128715" y="582573"/>
                      </a:cubicBezTo>
                      <a:cubicBezTo>
                        <a:pt x="128715" y="582573"/>
                        <a:pt x="117413" y="619054"/>
                        <a:pt x="120804" y="594734"/>
                      </a:cubicBezTo>
                      <a:cubicBezTo>
                        <a:pt x="121933" y="588654"/>
                        <a:pt x="125324" y="574467"/>
                        <a:pt x="128715" y="568386"/>
                      </a:cubicBezTo>
                      <a:cubicBezTo>
                        <a:pt x="130974" y="566360"/>
                        <a:pt x="136625" y="565346"/>
                        <a:pt x="137755" y="563320"/>
                      </a:cubicBezTo>
                      <a:close/>
                      <a:moveTo>
                        <a:pt x="86900" y="526839"/>
                      </a:moveTo>
                      <a:lnTo>
                        <a:pt x="92551" y="526839"/>
                      </a:lnTo>
                      <a:cubicBezTo>
                        <a:pt x="92551" y="527852"/>
                        <a:pt x="91420" y="533932"/>
                        <a:pt x="92551" y="533932"/>
                      </a:cubicBezTo>
                      <a:cubicBezTo>
                        <a:pt x="95941" y="535959"/>
                        <a:pt x="103852" y="533932"/>
                        <a:pt x="106112" y="535959"/>
                      </a:cubicBezTo>
                      <a:cubicBezTo>
                        <a:pt x="119673" y="553186"/>
                        <a:pt x="103852" y="562306"/>
                        <a:pt x="92551" y="570413"/>
                      </a:cubicBezTo>
                      <a:cubicBezTo>
                        <a:pt x="90290" y="571427"/>
                        <a:pt x="89160" y="576493"/>
                        <a:pt x="86900" y="577507"/>
                      </a:cubicBezTo>
                      <a:cubicBezTo>
                        <a:pt x="81249" y="579533"/>
                        <a:pt x="80119" y="575480"/>
                        <a:pt x="73338" y="577507"/>
                      </a:cubicBezTo>
                      <a:cubicBezTo>
                        <a:pt x="73338" y="577507"/>
                        <a:pt x="71078" y="581560"/>
                        <a:pt x="71078" y="582573"/>
                      </a:cubicBezTo>
                      <a:cubicBezTo>
                        <a:pt x="66558" y="581560"/>
                        <a:pt x="59777" y="582573"/>
                        <a:pt x="55257" y="582573"/>
                      </a:cubicBezTo>
                      <a:cubicBezTo>
                        <a:pt x="56387" y="576493"/>
                        <a:pt x="55257" y="568386"/>
                        <a:pt x="57516" y="560280"/>
                      </a:cubicBezTo>
                      <a:cubicBezTo>
                        <a:pt x="57516" y="559266"/>
                        <a:pt x="62037" y="558253"/>
                        <a:pt x="63167" y="555213"/>
                      </a:cubicBezTo>
                      <a:cubicBezTo>
                        <a:pt x="73338" y="552173"/>
                        <a:pt x="75599" y="555213"/>
                        <a:pt x="82379" y="550146"/>
                      </a:cubicBezTo>
                      <a:cubicBezTo>
                        <a:pt x="84640" y="549133"/>
                        <a:pt x="83510" y="533932"/>
                        <a:pt x="82379" y="532919"/>
                      </a:cubicBezTo>
                      <a:lnTo>
                        <a:pt x="86900" y="526839"/>
                      </a:lnTo>
                      <a:close/>
                      <a:moveTo>
                        <a:pt x="224775" y="524812"/>
                      </a:moveTo>
                      <a:cubicBezTo>
                        <a:pt x="227034" y="524812"/>
                        <a:pt x="231555" y="529879"/>
                        <a:pt x="232685" y="529879"/>
                      </a:cubicBezTo>
                      <a:cubicBezTo>
                        <a:pt x="233816" y="529879"/>
                        <a:pt x="238336" y="528865"/>
                        <a:pt x="240596" y="527852"/>
                      </a:cubicBezTo>
                      <a:cubicBezTo>
                        <a:pt x="243986" y="530892"/>
                        <a:pt x="248507" y="535959"/>
                        <a:pt x="251897" y="537986"/>
                      </a:cubicBezTo>
                      <a:cubicBezTo>
                        <a:pt x="241727" y="536972"/>
                        <a:pt x="236076" y="536972"/>
                        <a:pt x="224775" y="535959"/>
                      </a:cubicBezTo>
                      <a:cubicBezTo>
                        <a:pt x="223644" y="531906"/>
                        <a:pt x="227034" y="531906"/>
                        <a:pt x="222514" y="530892"/>
                      </a:cubicBezTo>
                      <a:cubicBezTo>
                        <a:pt x="223644" y="525825"/>
                        <a:pt x="219124" y="524812"/>
                        <a:pt x="224775" y="524812"/>
                      </a:cubicBezTo>
                      <a:close/>
                      <a:moveTo>
                        <a:pt x="208953" y="524812"/>
                      </a:moveTo>
                      <a:cubicBezTo>
                        <a:pt x="220254" y="522785"/>
                        <a:pt x="210083" y="529879"/>
                        <a:pt x="208953" y="529879"/>
                      </a:cubicBezTo>
                      <a:cubicBezTo>
                        <a:pt x="203302" y="529879"/>
                        <a:pt x="205563" y="524812"/>
                        <a:pt x="208953" y="52481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5" name="Freeform: Shape 284">
                  <a:extLst>
                    <a:ext uri="{FF2B5EF4-FFF2-40B4-BE49-F238E27FC236}">
                      <a16:creationId xmlns:a16="http://schemas.microsoft.com/office/drawing/2014/main" id="{663896D8-59E0-4BC5-BE4F-12BBEA11E2AE}"/>
                    </a:ext>
                  </a:extLst>
                </p:cNvPr>
                <p:cNvSpPr/>
                <p:nvPr/>
              </p:nvSpPr>
              <p:spPr>
                <a:xfrm>
                  <a:off x="6967190" y="5284141"/>
                  <a:ext cx="56506" cy="70935"/>
                </a:xfrm>
                <a:custGeom>
                  <a:avLst/>
                  <a:gdLst>
                    <a:gd name="connsiteX0" fmla="*/ 51584 w 56505"/>
                    <a:gd name="connsiteY0" fmla="*/ 45494 h 70934"/>
                    <a:gd name="connsiteX1" fmla="*/ 54974 w 56505"/>
                    <a:gd name="connsiteY1" fmla="*/ 24214 h 70934"/>
                    <a:gd name="connsiteX2" fmla="*/ 39153 w 56505"/>
                    <a:gd name="connsiteY2" fmla="*/ 9013 h 70934"/>
                    <a:gd name="connsiteX3" fmla="*/ 22201 w 56505"/>
                    <a:gd name="connsiteY3" fmla="*/ 13067 h 70934"/>
                    <a:gd name="connsiteX4" fmla="*/ 10900 w 56505"/>
                    <a:gd name="connsiteY4" fmla="*/ 28267 h 70934"/>
                    <a:gd name="connsiteX5" fmla="*/ 14290 w 56505"/>
                    <a:gd name="connsiteY5" fmla="*/ 48534 h 70934"/>
                    <a:gd name="connsiteX6" fmla="*/ 26721 w 56505"/>
                    <a:gd name="connsiteY6" fmla="*/ 58668 h 70934"/>
                    <a:gd name="connsiteX7" fmla="*/ 52714 w 56505"/>
                    <a:gd name="connsiteY7" fmla="*/ 66775 h 70934"/>
                    <a:gd name="connsiteX8" fmla="*/ 51584 w 56505"/>
                    <a:gd name="connsiteY8" fmla="*/ 45494 h 7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05" h="70934">
                      <a:moveTo>
                        <a:pt x="51584" y="45494"/>
                      </a:moveTo>
                      <a:cubicBezTo>
                        <a:pt x="51584" y="45494"/>
                        <a:pt x="54974" y="32321"/>
                        <a:pt x="54974" y="24214"/>
                      </a:cubicBezTo>
                      <a:cubicBezTo>
                        <a:pt x="54974" y="16107"/>
                        <a:pt x="39153" y="9013"/>
                        <a:pt x="39153" y="9013"/>
                      </a:cubicBezTo>
                      <a:cubicBezTo>
                        <a:pt x="39153" y="9013"/>
                        <a:pt x="27852" y="17120"/>
                        <a:pt x="22201" y="13067"/>
                      </a:cubicBezTo>
                      <a:cubicBezTo>
                        <a:pt x="16550" y="9013"/>
                        <a:pt x="10900" y="16107"/>
                        <a:pt x="10900" y="28267"/>
                      </a:cubicBezTo>
                      <a:cubicBezTo>
                        <a:pt x="10900" y="40428"/>
                        <a:pt x="7509" y="38401"/>
                        <a:pt x="14290" y="48534"/>
                      </a:cubicBezTo>
                      <a:cubicBezTo>
                        <a:pt x="21070" y="58668"/>
                        <a:pt x="17680" y="53601"/>
                        <a:pt x="26721" y="58668"/>
                      </a:cubicBezTo>
                      <a:cubicBezTo>
                        <a:pt x="36892" y="63735"/>
                        <a:pt x="52714" y="66775"/>
                        <a:pt x="52714" y="66775"/>
                      </a:cubicBezTo>
                      <a:lnTo>
                        <a:pt x="51584" y="4549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7" name="Freeform: Shape 286">
                  <a:extLst>
                    <a:ext uri="{FF2B5EF4-FFF2-40B4-BE49-F238E27FC236}">
                      <a16:creationId xmlns:a16="http://schemas.microsoft.com/office/drawing/2014/main" id="{7CE9DA93-BA31-4913-B094-D4F29EA40555}"/>
                    </a:ext>
                  </a:extLst>
                </p:cNvPr>
                <p:cNvSpPr/>
                <p:nvPr/>
              </p:nvSpPr>
              <p:spPr>
                <a:xfrm>
                  <a:off x="3835571" y="4013099"/>
                  <a:ext cx="158217" cy="212805"/>
                </a:xfrm>
                <a:custGeom>
                  <a:avLst/>
                  <a:gdLst>
                    <a:gd name="connsiteX0" fmla="*/ 148832 w 158216"/>
                    <a:gd name="connsiteY0" fmla="*/ 14373 h 212804"/>
                    <a:gd name="connsiteX1" fmla="*/ 135270 w 158216"/>
                    <a:gd name="connsiteY1" fmla="*/ 14373 h 212804"/>
                    <a:gd name="connsiteX2" fmla="*/ 133010 w 158216"/>
                    <a:gd name="connsiteY2" fmla="*/ 9306 h 212804"/>
                    <a:gd name="connsiteX3" fmla="*/ 113798 w 158216"/>
                    <a:gd name="connsiteY3" fmla="*/ 9306 h 212804"/>
                    <a:gd name="connsiteX4" fmla="*/ 113798 w 158216"/>
                    <a:gd name="connsiteY4" fmla="*/ 14373 h 212804"/>
                    <a:gd name="connsiteX5" fmla="*/ 100237 w 158216"/>
                    <a:gd name="connsiteY5" fmla="*/ 16399 h 212804"/>
                    <a:gd name="connsiteX6" fmla="*/ 53902 w 158216"/>
                    <a:gd name="connsiteY6" fmla="*/ 26533 h 212804"/>
                    <a:gd name="connsiteX7" fmla="*/ 51641 w 158216"/>
                    <a:gd name="connsiteY7" fmla="*/ 23493 h 212804"/>
                    <a:gd name="connsiteX8" fmla="*/ 31299 w 158216"/>
                    <a:gd name="connsiteY8" fmla="*/ 49840 h 212804"/>
                    <a:gd name="connsiteX9" fmla="*/ 30169 w 158216"/>
                    <a:gd name="connsiteY9" fmla="*/ 69094 h 212804"/>
                    <a:gd name="connsiteX10" fmla="*/ 12087 w 158216"/>
                    <a:gd name="connsiteY10" fmla="*/ 84294 h 212804"/>
                    <a:gd name="connsiteX11" fmla="*/ 16608 w 158216"/>
                    <a:gd name="connsiteY11" fmla="*/ 107601 h 212804"/>
                    <a:gd name="connsiteX12" fmla="*/ 13217 w 158216"/>
                    <a:gd name="connsiteY12" fmla="*/ 131922 h 212804"/>
                    <a:gd name="connsiteX13" fmla="*/ 23388 w 158216"/>
                    <a:gd name="connsiteY13" fmla="*/ 140029 h 212804"/>
                    <a:gd name="connsiteX14" fmla="*/ 23388 w 158216"/>
                    <a:gd name="connsiteY14" fmla="*/ 160296 h 212804"/>
                    <a:gd name="connsiteX15" fmla="*/ 27909 w 158216"/>
                    <a:gd name="connsiteY15" fmla="*/ 188670 h 212804"/>
                    <a:gd name="connsiteX16" fmla="*/ 33559 w 158216"/>
                    <a:gd name="connsiteY16" fmla="*/ 206911 h 212804"/>
                    <a:gd name="connsiteX17" fmla="*/ 49381 w 158216"/>
                    <a:gd name="connsiteY17" fmla="*/ 203870 h 212804"/>
                    <a:gd name="connsiteX18" fmla="*/ 71984 w 158216"/>
                    <a:gd name="connsiteY18" fmla="*/ 211977 h 212804"/>
                    <a:gd name="connsiteX19" fmla="*/ 82155 w 158216"/>
                    <a:gd name="connsiteY19" fmla="*/ 197790 h 212804"/>
                    <a:gd name="connsiteX20" fmla="*/ 69723 w 158216"/>
                    <a:gd name="connsiteY20" fmla="*/ 189683 h 212804"/>
                    <a:gd name="connsiteX21" fmla="*/ 75374 w 158216"/>
                    <a:gd name="connsiteY21" fmla="*/ 171443 h 212804"/>
                    <a:gd name="connsiteX22" fmla="*/ 99106 w 158216"/>
                    <a:gd name="connsiteY22" fmla="*/ 179550 h 212804"/>
                    <a:gd name="connsiteX23" fmla="*/ 109278 w 158216"/>
                    <a:gd name="connsiteY23" fmla="*/ 173470 h 212804"/>
                    <a:gd name="connsiteX24" fmla="*/ 114928 w 158216"/>
                    <a:gd name="connsiteY24" fmla="*/ 181577 h 212804"/>
                    <a:gd name="connsiteX25" fmla="*/ 131880 w 158216"/>
                    <a:gd name="connsiteY25" fmla="*/ 181577 h 212804"/>
                    <a:gd name="connsiteX26" fmla="*/ 146571 w 158216"/>
                    <a:gd name="connsiteY26" fmla="*/ 158269 h 212804"/>
                    <a:gd name="connsiteX27" fmla="*/ 153352 w 158216"/>
                    <a:gd name="connsiteY27" fmla="*/ 131922 h 212804"/>
                    <a:gd name="connsiteX28" fmla="*/ 133010 w 158216"/>
                    <a:gd name="connsiteY28" fmla="*/ 105575 h 212804"/>
                    <a:gd name="connsiteX29" fmla="*/ 131880 w 158216"/>
                    <a:gd name="connsiteY29" fmla="*/ 65041 h 212804"/>
                    <a:gd name="connsiteX30" fmla="*/ 147702 w 158216"/>
                    <a:gd name="connsiteY30" fmla="*/ 38693 h 212804"/>
                    <a:gd name="connsiteX31" fmla="*/ 149962 w 158216"/>
                    <a:gd name="connsiteY31" fmla="*/ 27546 h 212804"/>
                    <a:gd name="connsiteX32" fmla="*/ 147702 w 158216"/>
                    <a:gd name="connsiteY32" fmla="*/ 30586 h 212804"/>
                    <a:gd name="connsiteX33" fmla="*/ 149962 w 158216"/>
                    <a:gd name="connsiteY33" fmla="*/ 23493 h 212804"/>
                    <a:gd name="connsiteX34" fmla="*/ 149962 w 158216"/>
                    <a:gd name="connsiteY34" fmla="*/ 14373 h 21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8216" h="212804">
                      <a:moveTo>
                        <a:pt x="148832" y="14373"/>
                      </a:moveTo>
                      <a:cubicBezTo>
                        <a:pt x="145441" y="12346"/>
                        <a:pt x="138661" y="15386"/>
                        <a:pt x="135270" y="14373"/>
                      </a:cubicBezTo>
                      <a:cubicBezTo>
                        <a:pt x="134140" y="14373"/>
                        <a:pt x="133010" y="10319"/>
                        <a:pt x="133010" y="9306"/>
                      </a:cubicBezTo>
                      <a:cubicBezTo>
                        <a:pt x="126229" y="10319"/>
                        <a:pt x="118318" y="8293"/>
                        <a:pt x="113798" y="9306"/>
                      </a:cubicBezTo>
                      <a:lnTo>
                        <a:pt x="113798" y="14373"/>
                      </a:lnTo>
                      <a:cubicBezTo>
                        <a:pt x="109278" y="14373"/>
                        <a:pt x="101367" y="16399"/>
                        <a:pt x="100237" y="16399"/>
                      </a:cubicBezTo>
                      <a:cubicBezTo>
                        <a:pt x="73114" y="18426"/>
                        <a:pt x="62943" y="186"/>
                        <a:pt x="53902" y="26533"/>
                      </a:cubicBezTo>
                      <a:lnTo>
                        <a:pt x="51641" y="23493"/>
                      </a:lnTo>
                      <a:cubicBezTo>
                        <a:pt x="51641" y="23493"/>
                        <a:pt x="32430" y="44774"/>
                        <a:pt x="31299" y="49840"/>
                      </a:cubicBezTo>
                      <a:cubicBezTo>
                        <a:pt x="30169" y="54907"/>
                        <a:pt x="31299" y="60987"/>
                        <a:pt x="30169" y="69094"/>
                      </a:cubicBezTo>
                      <a:cubicBezTo>
                        <a:pt x="29039" y="77201"/>
                        <a:pt x="18868" y="79228"/>
                        <a:pt x="12087" y="84294"/>
                      </a:cubicBezTo>
                      <a:cubicBezTo>
                        <a:pt x="5306" y="89361"/>
                        <a:pt x="17738" y="99495"/>
                        <a:pt x="16608" y="107601"/>
                      </a:cubicBezTo>
                      <a:cubicBezTo>
                        <a:pt x="15478" y="115708"/>
                        <a:pt x="13217" y="131922"/>
                        <a:pt x="13217" y="131922"/>
                      </a:cubicBezTo>
                      <a:cubicBezTo>
                        <a:pt x="13217" y="131922"/>
                        <a:pt x="17738" y="135976"/>
                        <a:pt x="23388" y="140029"/>
                      </a:cubicBezTo>
                      <a:cubicBezTo>
                        <a:pt x="29039" y="144082"/>
                        <a:pt x="23388" y="160296"/>
                        <a:pt x="23388" y="160296"/>
                      </a:cubicBezTo>
                      <a:lnTo>
                        <a:pt x="27909" y="188670"/>
                      </a:lnTo>
                      <a:lnTo>
                        <a:pt x="33559" y="206911"/>
                      </a:lnTo>
                      <a:lnTo>
                        <a:pt x="49381" y="203870"/>
                      </a:lnTo>
                      <a:lnTo>
                        <a:pt x="71984" y="211977"/>
                      </a:lnTo>
                      <a:lnTo>
                        <a:pt x="82155" y="197790"/>
                      </a:lnTo>
                      <a:lnTo>
                        <a:pt x="69723" y="189683"/>
                      </a:lnTo>
                      <a:lnTo>
                        <a:pt x="75374" y="171443"/>
                      </a:lnTo>
                      <a:lnTo>
                        <a:pt x="99106" y="179550"/>
                      </a:lnTo>
                      <a:lnTo>
                        <a:pt x="109278" y="173470"/>
                      </a:lnTo>
                      <a:lnTo>
                        <a:pt x="114928" y="181577"/>
                      </a:lnTo>
                      <a:lnTo>
                        <a:pt x="131880" y="181577"/>
                      </a:lnTo>
                      <a:cubicBezTo>
                        <a:pt x="131880" y="181577"/>
                        <a:pt x="140921" y="170430"/>
                        <a:pt x="146571" y="158269"/>
                      </a:cubicBezTo>
                      <a:cubicBezTo>
                        <a:pt x="152222" y="147122"/>
                        <a:pt x="153352" y="131922"/>
                        <a:pt x="153352" y="131922"/>
                      </a:cubicBezTo>
                      <a:cubicBezTo>
                        <a:pt x="153352" y="131922"/>
                        <a:pt x="133010" y="116722"/>
                        <a:pt x="133010" y="105575"/>
                      </a:cubicBezTo>
                      <a:cubicBezTo>
                        <a:pt x="133010" y="94428"/>
                        <a:pt x="131880" y="65041"/>
                        <a:pt x="131880" y="65041"/>
                      </a:cubicBezTo>
                      <a:lnTo>
                        <a:pt x="147702" y="38693"/>
                      </a:lnTo>
                      <a:cubicBezTo>
                        <a:pt x="147702" y="38693"/>
                        <a:pt x="148832" y="31600"/>
                        <a:pt x="149962" y="27546"/>
                      </a:cubicBezTo>
                      <a:cubicBezTo>
                        <a:pt x="148832" y="29573"/>
                        <a:pt x="147702" y="30586"/>
                        <a:pt x="147702" y="30586"/>
                      </a:cubicBezTo>
                      <a:cubicBezTo>
                        <a:pt x="147702" y="28560"/>
                        <a:pt x="145441" y="21466"/>
                        <a:pt x="149962" y="23493"/>
                      </a:cubicBezTo>
                      <a:lnTo>
                        <a:pt x="149962" y="1437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8" name="Freeform: Shape 287">
                  <a:extLst>
                    <a:ext uri="{FF2B5EF4-FFF2-40B4-BE49-F238E27FC236}">
                      <a16:creationId xmlns:a16="http://schemas.microsoft.com/office/drawing/2014/main" id="{38B839D2-B2DC-4AC4-AED4-08A98E801511}"/>
                    </a:ext>
                  </a:extLst>
                </p:cNvPr>
                <p:cNvSpPr/>
                <p:nvPr/>
              </p:nvSpPr>
              <p:spPr>
                <a:xfrm>
                  <a:off x="6644462" y="3336469"/>
                  <a:ext cx="621566" cy="800552"/>
                </a:xfrm>
                <a:custGeom>
                  <a:avLst/>
                  <a:gdLst>
                    <a:gd name="connsiteX0" fmla="*/ 611637 w 621565"/>
                    <a:gd name="connsiteY0" fmla="*/ 216752 h 800551"/>
                    <a:gd name="connsiteX1" fmla="*/ 600336 w 621565"/>
                    <a:gd name="connsiteY1" fmla="*/ 198511 h 800551"/>
                    <a:gd name="connsiteX2" fmla="*/ 578864 w 621565"/>
                    <a:gd name="connsiteY2" fmla="*/ 191418 h 800551"/>
                    <a:gd name="connsiteX3" fmla="*/ 573213 w 621565"/>
                    <a:gd name="connsiteY3" fmla="*/ 172164 h 800551"/>
                    <a:gd name="connsiteX4" fmla="*/ 567563 w 621565"/>
                    <a:gd name="connsiteY4" fmla="*/ 170137 h 800551"/>
                    <a:gd name="connsiteX5" fmla="*/ 567563 w 621565"/>
                    <a:gd name="connsiteY5" fmla="*/ 143790 h 800551"/>
                    <a:gd name="connsiteX6" fmla="*/ 567563 w 621565"/>
                    <a:gd name="connsiteY6" fmla="*/ 136696 h 800551"/>
                    <a:gd name="connsiteX7" fmla="*/ 573213 w 621565"/>
                    <a:gd name="connsiteY7" fmla="*/ 134670 h 800551"/>
                    <a:gd name="connsiteX8" fmla="*/ 573213 w 621565"/>
                    <a:gd name="connsiteY8" fmla="*/ 110349 h 800551"/>
                    <a:gd name="connsiteX9" fmla="*/ 567563 w 621565"/>
                    <a:gd name="connsiteY9" fmla="*/ 105282 h 800551"/>
                    <a:gd name="connsiteX10" fmla="*/ 569823 w 621565"/>
                    <a:gd name="connsiteY10" fmla="*/ 88055 h 800551"/>
                    <a:gd name="connsiteX11" fmla="*/ 561912 w 621565"/>
                    <a:gd name="connsiteY11" fmla="*/ 82989 h 800551"/>
                    <a:gd name="connsiteX12" fmla="*/ 554002 w 621565"/>
                    <a:gd name="connsiteY12" fmla="*/ 53601 h 800551"/>
                    <a:gd name="connsiteX13" fmla="*/ 540440 w 621565"/>
                    <a:gd name="connsiteY13" fmla="*/ 46508 h 800551"/>
                    <a:gd name="connsiteX14" fmla="*/ 521228 w 621565"/>
                    <a:gd name="connsiteY14" fmla="*/ 24214 h 800551"/>
                    <a:gd name="connsiteX15" fmla="*/ 515577 w 621565"/>
                    <a:gd name="connsiteY15" fmla="*/ 22187 h 800551"/>
                    <a:gd name="connsiteX16" fmla="*/ 515577 w 621565"/>
                    <a:gd name="connsiteY16" fmla="*/ 10027 h 800551"/>
                    <a:gd name="connsiteX17" fmla="*/ 513317 w 621565"/>
                    <a:gd name="connsiteY17" fmla="*/ 9013 h 800551"/>
                    <a:gd name="connsiteX18" fmla="*/ 492975 w 621565"/>
                    <a:gd name="connsiteY18" fmla="*/ 16107 h 800551"/>
                    <a:gd name="connsiteX19" fmla="*/ 480544 w 621565"/>
                    <a:gd name="connsiteY19" fmla="*/ 17120 h 800551"/>
                    <a:gd name="connsiteX20" fmla="*/ 471502 w 621565"/>
                    <a:gd name="connsiteY20" fmla="*/ 38401 h 800551"/>
                    <a:gd name="connsiteX21" fmla="*/ 459071 w 621565"/>
                    <a:gd name="connsiteY21" fmla="*/ 41441 h 800551"/>
                    <a:gd name="connsiteX22" fmla="*/ 454551 w 621565"/>
                    <a:gd name="connsiteY22" fmla="*/ 61708 h 800551"/>
                    <a:gd name="connsiteX23" fmla="*/ 442119 w 621565"/>
                    <a:gd name="connsiteY23" fmla="*/ 64748 h 800551"/>
                    <a:gd name="connsiteX24" fmla="*/ 437599 w 621565"/>
                    <a:gd name="connsiteY24" fmla="*/ 58668 h 800551"/>
                    <a:gd name="connsiteX25" fmla="*/ 404826 w 621565"/>
                    <a:gd name="connsiteY25" fmla="*/ 58668 h 800551"/>
                    <a:gd name="connsiteX26" fmla="*/ 402565 w 621565"/>
                    <a:gd name="connsiteY26" fmla="*/ 50561 h 800551"/>
                    <a:gd name="connsiteX27" fmla="*/ 392394 w 621565"/>
                    <a:gd name="connsiteY27" fmla="*/ 56641 h 800551"/>
                    <a:gd name="connsiteX28" fmla="*/ 140377 w 621565"/>
                    <a:gd name="connsiteY28" fmla="*/ 55628 h 800551"/>
                    <a:gd name="connsiteX29" fmla="*/ 141508 w 621565"/>
                    <a:gd name="connsiteY29" fmla="*/ 130616 h 800551"/>
                    <a:gd name="connsiteX30" fmla="*/ 107604 w 621565"/>
                    <a:gd name="connsiteY30" fmla="*/ 130616 h 800551"/>
                    <a:gd name="connsiteX31" fmla="*/ 107604 w 621565"/>
                    <a:gd name="connsiteY31" fmla="*/ 160004 h 800551"/>
                    <a:gd name="connsiteX32" fmla="*/ 107604 w 621565"/>
                    <a:gd name="connsiteY32" fmla="*/ 307954 h 800551"/>
                    <a:gd name="connsiteX33" fmla="*/ 81611 w 621565"/>
                    <a:gd name="connsiteY33" fmla="*/ 307954 h 800551"/>
                    <a:gd name="connsiteX34" fmla="*/ 64659 w 621565"/>
                    <a:gd name="connsiteY34" fmla="*/ 310994 h 800551"/>
                    <a:gd name="connsiteX35" fmla="*/ 57879 w 621565"/>
                    <a:gd name="connsiteY35" fmla="*/ 331261 h 800551"/>
                    <a:gd name="connsiteX36" fmla="*/ 48838 w 621565"/>
                    <a:gd name="connsiteY36" fmla="*/ 347475 h 800551"/>
                    <a:gd name="connsiteX37" fmla="*/ 43187 w 621565"/>
                    <a:gd name="connsiteY37" fmla="*/ 361662 h 800551"/>
                    <a:gd name="connsiteX38" fmla="*/ 34147 w 621565"/>
                    <a:gd name="connsiteY38" fmla="*/ 385982 h 800551"/>
                    <a:gd name="connsiteX39" fmla="*/ 25105 w 621565"/>
                    <a:gd name="connsiteY39" fmla="*/ 397129 h 800551"/>
                    <a:gd name="connsiteX40" fmla="*/ 14934 w 621565"/>
                    <a:gd name="connsiteY40" fmla="*/ 412330 h 800551"/>
                    <a:gd name="connsiteX41" fmla="*/ 10414 w 621565"/>
                    <a:gd name="connsiteY41" fmla="*/ 425503 h 800551"/>
                    <a:gd name="connsiteX42" fmla="*/ 27365 w 621565"/>
                    <a:gd name="connsiteY42" fmla="*/ 426517 h 800551"/>
                    <a:gd name="connsiteX43" fmla="*/ 42057 w 621565"/>
                    <a:gd name="connsiteY43" fmla="*/ 435637 h 800551"/>
                    <a:gd name="connsiteX44" fmla="*/ 35276 w 621565"/>
                    <a:gd name="connsiteY44" fmla="*/ 454890 h 800551"/>
                    <a:gd name="connsiteX45" fmla="*/ 36406 w 621565"/>
                    <a:gd name="connsiteY45" fmla="*/ 462997 h 800551"/>
                    <a:gd name="connsiteX46" fmla="*/ 36406 w 621565"/>
                    <a:gd name="connsiteY46" fmla="*/ 477184 h 800551"/>
                    <a:gd name="connsiteX47" fmla="*/ 42057 w 621565"/>
                    <a:gd name="connsiteY47" fmla="*/ 492385 h 800551"/>
                    <a:gd name="connsiteX48" fmla="*/ 45448 w 621565"/>
                    <a:gd name="connsiteY48" fmla="*/ 505558 h 800551"/>
                    <a:gd name="connsiteX49" fmla="*/ 68050 w 621565"/>
                    <a:gd name="connsiteY49" fmla="*/ 524812 h 800551"/>
                    <a:gd name="connsiteX50" fmla="*/ 66920 w 621565"/>
                    <a:gd name="connsiteY50" fmla="*/ 546093 h 800551"/>
                    <a:gd name="connsiteX51" fmla="*/ 71440 w 621565"/>
                    <a:gd name="connsiteY51" fmla="*/ 561293 h 800551"/>
                    <a:gd name="connsiteX52" fmla="*/ 80481 w 621565"/>
                    <a:gd name="connsiteY52" fmla="*/ 581560 h 800551"/>
                    <a:gd name="connsiteX53" fmla="*/ 97433 w 621565"/>
                    <a:gd name="connsiteY53" fmla="*/ 610947 h 800551"/>
                    <a:gd name="connsiteX54" fmla="*/ 112124 w 621565"/>
                    <a:gd name="connsiteY54" fmla="*/ 625135 h 800551"/>
                    <a:gd name="connsiteX55" fmla="*/ 129076 w 621565"/>
                    <a:gd name="connsiteY55" fmla="*/ 630201 h 800551"/>
                    <a:gd name="connsiteX56" fmla="*/ 146028 w 621565"/>
                    <a:gd name="connsiteY56" fmla="*/ 641348 h 800551"/>
                    <a:gd name="connsiteX57" fmla="*/ 160719 w 621565"/>
                    <a:gd name="connsiteY57" fmla="*/ 646415 h 800551"/>
                    <a:gd name="connsiteX58" fmla="*/ 176541 w 621565"/>
                    <a:gd name="connsiteY58" fmla="*/ 667695 h 800551"/>
                    <a:gd name="connsiteX59" fmla="*/ 199144 w 621565"/>
                    <a:gd name="connsiteY59" fmla="*/ 685936 h 800551"/>
                    <a:gd name="connsiteX60" fmla="*/ 204794 w 621565"/>
                    <a:gd name="connsiteY60" fmla="*/ 707216 h 800551"/>
                    <a:gd name="connsiteX61" fmla="*/ 211575 w 621565"/>
                    <a:gd name="connsiteY61" fmla="*/ 721403 h 800551"/>
                    <a:gd name="connsiteX62" fmla="*/ 222876 w 621565"/>
                    <a:gd name="connsiteY62" fmla="*/ 736604 h 800551"/>
                    <a:gd name="connsiteX63" fmla="*/ 231918 w 621565"/>
                    <a:gd name="connsiteY63" fmla="*/ 751804 h 800551"/>
                    <a:gd name="connsiteX64" fmla="*/ 246609 w 621565"/>
                    <a:gd name="connsiteY64" fmla="*/ 743697 h 800551"/>
                    <a:gd name="connsiteX65" fmla="*/ 268081 w 621565"/>
                    <a:gd name="connsiteY65" fmla="*/ 751804 h 800551"/>
                    <a:gd name="connsiteX66" fmla="*/ 282773 w 621565"/>
                    <a:gd name="connsiteY66" fmla="*/ 746737 h 800551"/>
                    <a:gd name="connsiteX67" fmla="*/ 300855 w 621565"/>
                    <a:gd name="connsiteY67" fmla="*/ 751804 h 800551"/>
                    <a:gd name="connsiteX68" fmla="*/ 315546 w 621565"/>
                    <a:gd name="connsiteY68" fmla="*/ 772071 h 800551"/>
                    <a:gd name="connsiteX69" fmla="*/ 338148 w 621565"/>
                    <a:gd name="connsiteY69" fmla="*/ 783218 h 800551"/>
                    <a:gd name="connsiteX70" fmla="*/ 350580 w 621565"/>
                    <a:gd name="connsiteY70" fmla="*/ 783218 h 800551"/>
                    <a:gd name="connsiteX71" fmla="*/ 369792 w 621565"/>
                    <a:gd name="connsiteY71" fmla="*/ 793352 h 800551"/>
                    <a:gd name="connsiteX72" fmla="*/ 395785 w 621565"/>
                    <a:gd name="connsiteY72" fmla="*/ 778151 h 800551"/>
                    <a:gd name="connsiteX73" fmla="*/ 410476 w 621565"/>
                    <a:gd name="connsiteY73" fmla="*/ 774098 h 800551"/>
                    <a:gd name="connsiteX74" fmla="*/ 436469 w 621565"/>
                    <a:gd name="connsiteY74" fmla="*/ 780178 h 800551"/>
                    <a:gd name="connsiteX75" fmla="*/ 448900 w 621565"/>
                    <a:gd name="connsiteY75" fmla="*/ 771058 h 800551"/>
                    <a:gd name="connsiteX76" fmla="*/ 466982 w 621565"/>
                    <a:gd name="connsiteY76" fmla="*/ 767005 h 800551"/>
                    <a:gd name="connsiteX77" fmla="*/ 477153 w 621565"/>
                    <a:gd name="connsiteY77" fmla="*/ 757884 h 800551"/>
                    <a:gd name="connsiteX78" fmla="*/ 491845 w 621565"/>
                    <a:gd name="connsiteY78" fmla="*/ 757884 h 800551"/>
                    <a:gd name="connsiteX79" fmla="*/ 507666 w 621565"/>
                    <a:gd name="connsiteY79" fmla="*/ 756871 h 800551"/>
                    <a:gd name="connsiteX80" fmla="*/ 528008 w 621565"/>
                    <a:gd name="connsiteY80" fmla="*/ 771058 h 800551"/>
                    <a:gd name="connsiteX81" fmla="*/ 526878 w 621565"/>
                    <a:gd name="connsiteY81" fmla="*/ 760924 h 800551"/>
                    <a:gd name="connsiteX82" fmla="*/ 517838 w 621565"/>
                    <a:gd name="connsiteY82" fmla="*/ 742684 h 800551"/>
                    <a:gd name="connsiteX83" fmla="*/ 509927 w 621565"/>
                    <a:gd name="connsiteY83" fmla="*/ 742684 h 800551"/>
                    <a:gd name="connsiteX84" fmla="*/ 488454 w 621565"/>
                    <a:gd name="connsiteY84" fmla="*/ 729510 h 800551"/>
                    <a:gd name="connsiteX85" fmla="*/ 473763 w 621565"/>
                    <a:gd name="connsiteY85" fmla="*/ 696070 h 800551"/>
                    <a:gd name="connsiteX86" fmla="*/ 463592 w 621565"/>
                    <a:gd name="connsiteY86" fmla="*/ 679856 h 800551"/>
                    <a:gd name="connsiteX87" fmla="*/ 447770 w 621565"/>
                    <a:gd name="connsiteY87" fmla="*/ 660602 h 800551"/>
                    <a:gd name="connsiteX88" fmla="*/ 429688 w 621565"/>
                    <a:gd name="connsiteY88" fmla="*/ 649455 h 800551"/>
                    <a:gd name="connsiteX89" fmla="*/ 405956 w 621565"/>
                    <a:gd name="connsiteY89" fmla="*/ 643375 h 800551"/>
                    <a:gd name="connsiteX90" fmla="*/ 411606 w 621565"/>
                    <a:gd name="connsiteY90" fmla="*/ 625135 h 800551"/>
                    <a:gd name="connsiteX91" fmla="*/ 424038 w 621565"/>
                    <a:gd name="connsiteY91" fmla="*/ 622094 h 800551"/>
                    <a:gd name="connsiteX92" fmla="*/ 438729 w 621565"/>
                    <a:gd name="connsiteY92" fmla="*/ 617028 h 800551"/>
                    <a:gd name="connsiteX93" fmla="*/ 445510 w 621565"/>
                    <a:gd name="connsiteY93" fmla="*/ 596760 h 800551"/>
                    <a:gd name="connsiteX94" fmla="*/ 446640 w 621565"/>
                    <a:gd name="connsiteY94" fmla="*/ 562306 h 800551"/>
                    <a:gd name="connsiteX95" fmla="*/ 462462 w 621565"/>
                    <a:gd name="connsiteY95" fmla="*/ 523799 h 800551"/>
                    <a:gd name="connsiteX96" fmla="*/ 463592 w 621565"/>
                    <a:gd name="connsiteY96" fmla="*/ 502518 h 800551"/>
                    <a:gd name="connsiteX97" fmla="*/ 479413 w 621565"/>
                    <a:gd name="connsiteY97" fmla="*/ 493398 h 800551"/>
                    <a:gd name="connsiteX98" fmla="*/ 494105 w 621565"/>
                    <a:gd name="connsiteY98" fmla="*/ 482251 h 800551"/>
                    <a:gd name="connsiteX99" fmla="*/ 504276 w 621565"/>
                    <a:gd name="connsiteY99" fmla="*/ 461984 h 800551"/>
                    <a:gd name="connsiteX100" fmla="*/ 515577 w 621565"/>
                    <a:gd name="connsiteY100" fmla="*/ 432597 h 800551"/>
                    <a:gd name="connsiteX101" fmla="*/ 533659 w 621565"/>
                    <a:gd name="connsiteY101" fmla="*/ 403209 h 800551"/>
                    <a:gd name="connsiteX102" fmla="*/ 551741 w 621565"/>
                    <a:gd name="connsiteY102" fmla="*/ 377875 h 800551"/>
                    <a:gd name="connsiteX103" fmla="*/ 550611 w 621565"/>
                    <a:gd name="connsiteY103" fmla="*/ 341395 h 800551"/>
                    <a:gd name="connsiteX104" fmla="*/ 554002 w 621565"/>
                    <a:gd name="connsiteY104" fmla="*/ 315047 h 800551"/>
                    <a:gd name="connsiteX105" fmla="*/ 564172 w 621565"/>
                    <a:gd name="connsiteY105" fmla="*/ 286673 h 800551"/>
                    <a:gd name="connsiteX106" fmla="*/ 565303 w 621565"/>
                    <a:gd name="connsiteY106" fmla="*/ 261339 h 800551"/>
                    <a:gd name="connsiteX107" fmla="*/ 569823 w 621565"/>
                    <a:gd name="connsiteY107" fmla="*/ 246139 h 800551"/>
                    <a:gd name="connsiteX108" fmla="*/ 578864 w 621565"/>
                    <a:gd name="connsiteY108" fmla="*/ 231952 h 800551"/>
                    <a:gd name="connsiteX109" fmla="*/ 587905 w 621565"/>
                    <a:gd name="connsiteY109" fmla="*/ 226885 h 800551"/>
                    <a:gd name="connsiteX110" fmla="*/ 608247 w 621565"/>
                    <a:gd name="connsiteY110" fmla="*/ 227899 h 800551"/>
                    <a:gd name="connsiteX111" fmla="*/ 611637 w 621565"/>
                    <a:gd name="connsiteY111" fmla="*/ 216752 h 800551"/>
                    <a:gd name="connsiteX112" fmla="*/ 395785 w 621565"/>
                    <a:gd name="connsiteY112" fmla="*/ 489345 h 800551"/>
                    <a:gd name="connsiteX113" fmla="*/ 393524 w 621565"/>
                    <a:gd name="connsiteY113" fmla="*/ 496438 h 800551"/>
                    <a:gd name="connsiteX114" fmla="*/ 395785 w 621565"/>
                    <a:gd name="connsiteY114" fmla="*/ 489345 h 80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21565" h="800551">
                      <a:moveTo>
                        <a:pt x="611637" y="216752"/>
                      </a:moveTo>
                      <a:cubicBezTo>
                        <a:pt x="605987" y="211685"/>
                        <a:pt x="605987" y="203578"/>
                        <a:pt x="600336" y="198511"/>
                      </a:cubicBezTo>
                      <a:cubicBezTo>
                        <a:pt x="596946" y="195471"/>
                        <a:pt x="581124" y="193444"/>
                        <a:pt x="578864" y="191418"/>
                      </a:cubicBezTo>
                      <a:cubicBezTo>
                        <a:pt x="574344" y="187364"/>
                        <a:pt x="575473" y="177231"/>
                        <a:pt x="573213" y="172164"/>
                      </a:cubicBezTo>
                      <a:lnTo>
                        <a:pt x="567563" y="170137"/>
                      </a:lnTo>
                      <a:cubicBezTo>
                        <a:pt x="566433" y="164057"/>
                        <a:pt x="567563" y="140750"/>
                        <a:pt x="567563" y="143790"/>
                      </a:cubicBezTo>
                      <a:lnTo>
                        <a:pt x="567563" y="136696"/>
                      </a:lnTo>
                      <a:cubicBezTo>
                        <a:pt x="567563" y="136696"/>
                        <a:pt x="573213" y="134670"/>
                        <a:pt x="573213" y="134670"/>
                      </a:cubicBezTo>
                      <a:cubicBezTo>
                        <a:pt x="573213" y="130616"/>
                        <a:pt x="573213" y="110349"/>
                        <a:pt x="573213" y="110349"/>
                      </a:cubicBezTo>
                      <a:lnTo>
                        <a:pt x="567563" y="105282"/>
                      </a:lnTo>
                      <a:cubicBezTo>
                        <a:pt x="566433" y="100216"/>
                        <a:pt x="570953" y="89069"/>
                        <a:pt x="569823" y="88055"/>
                      </a:cubicBezTo>
                      <a:cubicBezTo>
                        <a:pt x="569823" y="87042"/>
                        <a:pt x="563042" y="84002"/>
                        <a:pt x="561912" y="82989"/>
                      </a:cubicBezTo>
                      <a:cubicBezTo>
                        <a:pt x="556261" y="74882"/>
                        <a:pt x="558522" y="61708"/>
                        <a:pt x="554002" y="53601"/>
                      </a:cubicBezTo>
                      <a:cubicBezTo>
                        <a:pt x="551741" y="49548"/>
                        <a:pt x="544960" y="49548"/>
                        <a:pt x="540440" y="46508"/>
                      </a:cubicBezTo>
                      <a:cubicBezTo>
                        <a:pt x="532529" y="40428"/>
                        <a:pt x="526878" y="32321"/>
                        <a:pt x="521228" y="24214"/>
                      </a:cubicBezTo>
                      <a:lnTo>
                        <a:pt x="515577" y="22187"/>
                      </a:lnTo>
                      <a:cubicBezTo>
                        <a:pt x="514447" y="18134"/>
                        <a:pt x="516707" y="14080"/>
                        <a:pt x="515577" y="10027"/>
                      </a:cubicBezTo>
                      <a:lnTo>
                        <a:pt x="513317" y="9013"/>
                      </a:lnTo>
                      <a:lnTo>
                        <a:pt x="492975" y="16107"/>
                      </a:lnTo>
                      <a:lnTo>
                        <a:pt x="480544" y="17120"/>
                      </a:lnTo>
                      <a:lnTo>
                        <a:pt x="471502" y="38401"/>
                      </a:lnTo>
                      <a:lnTo>
                        <a:pt x="459071" y="41441"/>
                      </a:lnTo>
                      <a:lnTo>
                        <a:pt x="454551" y="61708"/>
                      </a:lnTo>
                      <a:lnTo>
                        <a:pt x="442119" y="64748"/>
                      </a:lnTo>
                      <a:lnTo>
                        <a:pt x="437599" y="58668"/>
                      </a:lnTo>
                      <a:lnTo>
                        <a:pt x="404826" y="58668"/>
                      </a:lnTo>
                      <a:lnTo>
                        <a:pt x="402565" y="50561"/>
                      </a:lnTo>
                      <a:lnTo>
                        <a:pt x="392394" y="56641"/>
                      </a:lnTo>
                      <a:lnTo>
                        <a:pt x="140377" y="55628"/>
                      </a:lnTo>
                      <a:lnTo>
                        <a:pt x="141508" y="130616"/>
                      </a:lnTo>
                      <a:lnTo>
                        <a:pt x="107604" y="130616"/>
                      </a:lnTo>
                      <a:lnTo>
                        <a:pt x="107604" y="160004"/>
                      </a:lnTo>
                      <a:lnTo>
                        <a:pt x="107604" y="307954"/>
                      </a:lnTo>
                      <a:cubicBezTo>
                        <a:pt x="107604" y="307954"/>
                        <a:pt x="89522" y="312007"/>
                        <a:pt x="81611" y="307954"/>
                      </a:cubicBezTo>
                      <a:cubicBezTo>
                        <a:pt x="73701" y="303900"/>
                        <a:pt x="69180" y="301873"/>
                        <a:pt x="64659" y="310994"/>
                      </a:cubicBezTo>
                      <a:cubicBezTo>
                        <a:pt x="60139" y="320114"/>
                        <a:pt x="53358" y="324167"/>
                        <a:pt x="57879" y="331261"/>
                      </a:cubicBezTo>
                      <a:cubicBezTo>
                        <a:pt x="62400" y="338354"/>
                        <a:pt x="57879" y="342408"/>
                        <a:pt x="48838" y="347475"/>
                      </a:cubicBezTo>
                      <a:cubicBezTo>
                        <a:pt x="39797" y="352541"/>
                        <a:pt x="43187" y="353555"/>
                        <a:pt x="43187" y="361662"/>
                      </a:cubicBezTo>
                      <a:cubicBezTo>
                        <a:pt x="43187" y="369769"/>
                        <a:pt x="43187" y="379902"/>
                        <a:pt x="34147" y="385982"/>
                      </a:cubicBezTo>
                      <a:cubicBezTo>
                        <a:pt x="25105" y="392062"/>
                        <a:pt x="25105" y="386996"/>
                        <a:pt x="25105" y="397129"/>
                      </a:cubicBezTo>
                      <a:cubicBezTo>
                        <a:pt x="25105" y="407263"/>
                        <a:pt x="21715" y="408276"/>
                        <a:pt x="14934" y="412330"/>
                      </a:cubicBezTo>
                      <a:cubicBezTo>
                        <a:pt x="8153" y="416383"/>
                        <a:pt x="10414" y="418410"/>
                        <a:pt x="10414" y="425503"/>
                      </a:cubicBezTo>
                      <a:cubicBezTo>
                        <a:pt x="10414" y="432597"/>
                        <a:pt x="20585" y="426517"/>
                        <a:pt x="27365" y="426517"/>
                      </a:cubicBezTo>
                      <a:cubicBezTo>
                        <a:pt x="34147" y="426517"/>
                        <a:pt x="37537" y="429557"/>
                        <a:pt x="42057" y="435637"/>
                      </a:cubicBezTo>
                      <a:cubicBezTo>
                        <a:pt x="46578" y="441717"/>
                        <a:pt x="33016" y="446784"/>
                        <a:pt x="35276" y="454890"/>
                      </a:cubicBezTo>
                      <a:lnTo>
                        <a:pt x="36406" y="462997"/>
                      </a:lnTo>
                      <a:cubicBezTo>
                        <a:pt x="36406" y="462997"/>
                        <a:pt x="40927" y="468064"/>
                        <a:pt x="36406" y="477184"/>
                      </a:cubicBezTo>
                      <a:cubicBezTo>
                        <a:pt x="31886" y="486305"/>
                        <a:pt x="35276" y="486305"/>
                        <a:pt x="42057" y="492385"/>
                      </a:cubicBezTo>
                      <a:cubicBezTo>
                        <a:pt x="48838" y="498465"/>
                        <a:pt x="45448" y="505558"/>
                        <a:pt x="45448" y="505558"/>
                      </a:cubicBezTo>
                      <a:lnTo>
                        <a:pt x="68050" y="524812"/>
                      </a:lnTo>
                      <a:cubicBezTo>
                        <a:pt x="68050" y="524812"/>
                        <a:pt x="69180" y="538999"/>
                        <a:pt x="66920" y="546093"/>
                      </a:cubicBezTo>
                      <a:cubicBezTo>
                        <a:pt x="64659" y="553186"/>
                        <a:pt x="60139" y="554200"/>
                        <a:pt x="71440" y="561293"/>
                      </a:cubicBezTo>
                      <a:cubicBezTo>
                        <a:pt x="82742" y="568387"/>
                        <a:pt x="83871" y="570413"/>
                        <a:pt x="80481" y="581560"/>
                      </a:cubicBezTo>
                      <a:cubicBezTo>
                        <a:pt x="77091" y="592707"/>
                        <a:pt x="91782" y="607907"/>
                        <a:pt x="97433" y="610947"/>
                      </a:cubicBezTo>
                      <a:cubicBezTo>
                        <a:pt x="103084" y="613988"/>
                        <a:pt x="103084" y="625135"/>
                        <a:pt x="112124" y="625135"/>
                      </a:cubicBezTo>
                      <a:cubicBezTo>
                        <a:pt x="121165" y="625135"/>
                        <a:pt x="124556" y="625135"/>
                        <a:pt x="129076" y="630201"/>
                      </a:cubicBezTo>
                      <a:cubicBezTo>
                        <a:pt x="133597" y="635268"/>
                        <a:pt x="139248" y="641348"/>
                        <a:pt x="146028" y="641348"/>
                      </a:cubicBezTo>
                      <a:cubicBezTo>
                        <a:pt x="152809" y="641348"/>
                        <a:pt x="156199" y="640335"/>
                        <a:pt x="160719" y="646415"/>
                      </a:cubicBezTo>
                      <a:cubicBezTo>
                        <a:pt x="165240" y="652495"/>
                        <a:pt x="164110" y="665669"/>
                        <a:pt x="176541" y="667695"/>
                      </a:cubicBezTo>
                      <a:cubicBezTo>
                        <a:pt x="188972" y="669722"/>
                        <a:pt x="194623" y="675802"/>
                        <a:pt x="199144" y="685936"/>
                      </a:cubicBezTo>
                      <a:cubicBezTo>
                        <a:pt x="203665" y="696070"/>
                        <a:pt x="199144" y="706203"/>
                        <a:pt x="204794" y="707216"/>
                      </a:cubicBezTo>
                      <a:cubicBezTo>
                        <a:pt x="210445" y="708230"/>
                        <a:pt x="211575" y="721403"/>
                        <a:pt x="211575" y="721403"/>
                      </a:cubicBezTo>
                      <a:lnTo>
                        <a:pt x="222876" y="736604"/>
                      </a:lnTo>
                      <a:cubicBezTo>
                        <a:pt x="222876" y="736604"/>
                        <a:pt x="226267" y="747750"/>
                        <a:pt x="231918" y="751804"/>
                      </a:cubicBezTo>
                      <a:cubicBezTo>
                        <a:pt x="237568" y="755858"/>
                        <a:pt x="244349" y="752817"/>
                        <a:pt x="246609" y="743697"/>
                      </a:cubicBezTo>
                      <a:cubicBezTo>
                        <a:pt x="248869" y="734577"/>
                        <a:pt x="259040" y="747750"/>
                        <a:pt x="268081" y="751804"/>
                      </a:cubicBezTo>
                      <a:cubicBezTo>
                        <a:pt x="277122" y="755858"/>
                        <a:pt x="277122" y="752817"/>
                        <a:pt x="282773" y="746737"/>
                      </a:cubicBezTo>
                      <a:cubicBezTo>
                        <a:pt x="288424" y="740657"/>
                        <a:pt x="297464" y="743697"/>
                        <a:pt x="300855" y="751804"/>
                      </a:cubicBezTo>
                      <a:cubicBezTo>
                        <a:pt x="304245" y="759911"/>
                        <a:pt x="309895" y="767005"/>
                        <a:pt x="315546" y="772071"/>
                      </a:cubicBezTo>
                      <a:cubicBezTo>
                        <a:pt x="321197" y="777138"/>
                        <a:pt x="332498" y="778151"/>
                        <a:pt x="338148" y="783218"/>
                      </a:cubicBezTo>
                      <a:cubicBezTo>
                        <a:pt x="343799" y="788285"/>
                        <a:pt x="350580" y="783218"/>
                        <a:pt x="350580" y="783218"/>
                      </a:cubicBezTo>
                      <a:lnTo>
                        <a:pt x="369792" y="793352"/>
                      </a:lnTo>
                      <a:cubicBezTo>
                        <a:pt x="369792" y="793352"/>
                        <a:pt x="383353" y="776125"/>
                        <a:pt x="395785" y="778151"/>
                      </a:cubicBezTo>
                      <a:cubicBezTo>
                        <a:pt x="407086" y="780178"/>
                        <a:pt x="401435" y="778151"/>
                        <a:pt x="410476" y="774098"/>
                      </a:cubicBezTo>
                      <a:cubicBezTo>
                        <a:pt x="420647" y="769031"/>
                        <a:pt x="436469" y="780178"/>
                        <a:pt x="436469" y="780178"/>
                      </a:cubicBezTo>
                      <a:lnTo>
                        <a:pt x="448900" y="771058"/>
                      </a:lnTo>
                      <a:lnTo>
                        <a:pt x="466982" y="767005"/>
                      </a:lnTo>
                      <a:lnTo>
                        <a:pt x="477153" y="757884"/>
                      </a:lnTo>
                      <a:cubicBezTo>
                        <a:pt x="486194" y="757884"/>
                        <a:pt x="491845" y="757884"/>
                        <a:pt x="491845" y="757884"/>
                      </a:cubicBezTo>
                      <a:lnTo>
                        <a:pt x="507666" y="756871"/>
                      </a:lnTo>
                      <a:lnTo>
                        <a:pt x="528008" y="771058"/>
                      </a:lnTo>
                      <a:lnTo>
                        <a:pt x="526878" y="760924"/>
                      </a:lnTo>
                      <a:cubicBezTo>
                        <a:pt x="526878" y="760924"/>
                        <a:pt x="528008" y="742684"/>
                        <a:pt x="517838" y="742684"/>
                      </a:cubicBezTo>
                      <a:cubicBezTo>
                        <a:pt x="515577" y="742684"/>
                        <a:pt x="512187" y="742684"/>
                        <a:pt x="509927" y="742684"/>
                      </a:cubicBezTo>
                      <a:cubicBezTo>
                        <a:pt x="500886" y="741671"/>
                        <a:pt x="490714" y="739644"/>
                        <a:pt x="488454" y="729510"/>
                      </a:cubicBezTo>
                      <a:cubicBezTo>
                        <a:pt x="485064" y="716337"/>
                        <a:pt x="473763" y="706203"/>
                        <a:pt x="473763" y="696070"/>
                      </a:cubicBezTo>
                      <a:cubicBezTo>
                        <a:pt x="473763" y="685936"/>
                        <a:pt x="470372" y="684923"/>
                        <a:pt x="463592" y="679856"/>
                      </a:cubicBezTo>
                      <a:cubicBezTo>
                        <a:pt x="456811" y="674789"/>
                        <a:pt x="453421" y="669722"/>
                        <a:pt x="447770" y="660602"/>
                      </a:cubicBezTo>
                      <a:cubicBezTo>
                        <a:pt x="442119" y="651482"/>
                        <a:pt x="436469" y="651482"/>
                        <a:pt x="429688" y="649455"/>
                      </a:cubicBezTo>
                      <a:cubicBezTo>
                        <a:pt x="422907" y="647428"/>
                        <a:pt x="403695" y="651482"/>
                        <a:pt x="405956" y="643375"/>
                      </a:cubicBezTo>
                      <a:cubicBezTo>
                        <a:pt x="408216" y="635268"/>
                        <a:pt x="411606" y="625135"/>
                        <a:pt x="411606" y="625135"/>
                      </a:cubicBezTo>
                      <a:cubicBezTo>
                        <a:pt x="411606" y="625135"/>
                        <a:pt x="412737" y="624121"/>
                        <a:pt x="424038" y="622094"/>
                      </a:cubicBezTo>
                      <a:cubicBezTo>
                        <a:pt x="435339" y="621081"/>
                        <a:pt x="438729" y="617028"/>
                        <a:pt x="438729" y="617028"/>
                      </a:cubicBezTo>
                      <a:cubicBezTo>
                        <a:pt x="438729" y="617028"/>
                        <a:pt x="445510" y="602841"/>
                        <a:pt x="445510" y="596760"/>
                      </a:cubicBezTo>
                      <a:cubicBezTo>
                        <a:pt x="445510" y="590680"/>
                        <a:pt x="448900" y="570413"/>
                        <a:pt x="446640" y="562306"/>
                      </a:cubicBezTo>
                      <a:cubicBezTo>
                        <a:pt x="444380" y="554200"/>
                        <a:pt x="462462" y="534946"/>
                        <a:pt x="462462" y="523799"/>
                      </a:cubicBezTo>
                      <a:cubicBezTo>
                        <a:pt x="462462" y="512652"/>
                        <a:pt x="463592" y="502518"/>
                        <a:pt x="463592" y="502518"/>
                      </a:cubicBezTo>
                      <a:cubicBezTo>
                        <a:pt x="463592" y="502518"/>
                        <a:pt x="472633" y="496438"/>
                        <a:pt x="479413" y="493398"/>
                      </a:cubicBezTo>
                      <a:cubicBezTo>
                        <a:pt x="486194" y="490358"/>
                        <a:pt x="490714" y="488331"/>
                        <a:pt x="494105" y="482251"/>
                      </a:cubicBezTo>
                      <a:cubicBezTo>
                        <a:pt x="497496" y="476171"/>
                        <a:pt x="499755" y="469077"/>
                        <a:pt x="504276" y="461984"/>
                      </a:cubicBezTo>
                      <a:cubicBezTo>
                        <a:pt x="508797" y="454890"/>
                        <a:pt x="515577" y="445770"/>
                        <a:pt x="515577" y="432597"/>
                      </a:cubicBezTo>
                      <a:cubicBezTo>
                        <a:pt x="515577" y="419423"/>
                        <a:pt x="530269" y="412330"/>
                        <a:pt x="533659" y="403209"/>
                      </a:cubicBezTo>
                      <a:cubicBezTo>
                        <a:pt x="537050" y="394089"/>
                        <a:pt x="551741" y="377875"/>
                        <a:pt x="551741" y="377875"/>
                      </a:cubicBezTo>
                      <a:cubicBezTo>
                        <a:pt x="551741" y="377875"/>
                        <a:pt x="552871" y="346461"/>
                        <a:pt x="550611" y="341395"/>
                      </a:cubicBezTo>
                      <a:cubicBezTo>
                        <a:pt x="548351" y="336328"/>
                        <a:pt x="550611" y="326194"/>
                        <a:pt x="554002" y="315047"/>
                      </a:cubicBezTo>
                      <a:cubicBezTo>
                        <a:pt x="557392" y="303900"/>
                        <a:pt x="564172" y="299847"/>
                        <a:pt x="564172" y="286673"/>
                      </a:cubicBezTo>
                      <a:cubicBezTo>
                        <a:pt x="564172" y="273500"/>
                        <a:pt x="563042" y="272486"/>
                        <a:pt x="565303" y="261339"/>
                      </a:cubicBezTo>
                      <a:cubicBezTo>
                        <a:pt x="567563" y="250193"/>
                        <a:pt x="561912" y="246139"/>
                        <a:pt x="569823" y="246139"/>
                      </a:cubicBezTo>
                      <a:cubicBezTo>
                        <a:pt x="577734" y="246139"/>
                        <a:pt x="574344" y="238032"/>
                        <a:pt x="578864" y="231952"/>
                      </a:cubicBezTo>
                      <a:cubicBezTo>
                        <a:pt x="583384" y="225872"/>
                        <a:pt x="587905" y="226885"/>
                        <a:pt x="587905" y="226885"/>
                      </a:cubicBezTo>
                      <a:lnTo>
                        <a:pt x="608247" y="227899"/>
                      </a:lnTo>
                      <a:lnTo>
                        <a:pt x="611637" y="216752"/>
                      </a:lnTo>
                      <a:close/>
                      <a:moveTo>
                        <a:pt x="395785" y="489345"/>
                      </a:moveTo>
                      <a:cubicBezTo>
                        <a:pt x="395785" y="489345"/>
                        <a:pt x="402565" y="496438"/>
                        <a:pt x="393524" y="496438"/>
                      </a:cubicBezTo>
                      <a:cubicBezTo>
                        <a:pt x="393524" y="494411"/>
                        <a:pt x="391264" y="488331"/>
                        <a:pt x="395785" y="48934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9" name="Freeform: Shape 288">
                  <a:extLst>
                    <a:ext uri="{FF2B5EF4-FFF2-40B4-BE49-F238E27FC236}">
                      <a16:creationId xmlns:a16="http://schemas.microsoft.com/office/drawing/2014/main" id="{EC874B24-E17A-4804-B65F-044034F3AFFC}"/>
                    </a:ext>
                  </a:extLst>
                </p:cNvPr>
                <p:cNvSpPr/>
                <p:nvPr/>
              </p:nvSpPr>
              <p:spPr>
                <a:xfrm>
                  <a:off x="8672986" y="3887735"/>
                  <a:ext cx="101711" cy="162137"/>
                </a:xfrm>
                <a:custGeom>
                  <a:avLst/>
                  <a:gdLst>
                    <a:gd name="connsiteX0" fmla="*/ 25145 w 101710"/>
                    <a:gd name="connsiteY0" fmla="*/ 10027 h 162137"/>
                    <a:gd name="connsiteX1" fmla="*/ 25145 w 101710"/>
                    <a:gd name="connsiteY1" fmla="*/ 12054 h 162137"/>
                    <a:gd name="connsiteX2" fmla="*/ 27406 w 101710"/>
                    <a:gd name="connsiteY2" fmla="*/ 29281 h 162137"/>
                    <a:gd name="connsiteX3" fmla="*/ 27406 w 101710"/>
                    <a:gd name="connsiteY3" fmla="*/ 34347 h 162137"/>
                    <a:gd name="connsiteX4" fmla="*/ 21755 w 101710"/>
                    <a:gd name="connsiteY4" fmla="*/ 36374 h 162137"/>
                    <a:gd name="connsiteX5" fmla="*/ 24015 w 101710"/>
                    <a:gd name="connsiteY5" fmla="*/ 53601 h 162137"/>
                    <a:gd name="connsiteX6" fmla="*/ 12714 w 101710"/>
                    <a:gd name="connsiteY6" fmla="*/ 75895 h 162137"/>
                    <a:gd name="connsiteX7" fmla="*/ 10454 w 101710"/>
                    <a:gd name="connsiteY7" fmla="*/ 75895 h 162137"/>
                    <a:gd name="connsiteX8" fmla="*/ 18365 w 101710"/>
                    <a:gd name="connsiteY8" fmla="*/ 112376 h 162137"/>
                    <a:gd name="connsiteX9" fmla="*/ 20625 w 101710"/>
                    <a:gd name="connsiteY9" fmla="*/ 143790 h 162137"/>
                    <a:gd name="connsiteX10" fmla="*/ 28536 w 101710"/>
                    <a:gd name="connsiteY10" fmla="*/ 145817 h 162137"/>
                    <a:gd name="connsiteX11" fmla="*/ 34187 w 101710"/>
                    <a:gd name="connsiteY11" fmla="*/ 155950 h 162137"/>
                    <a:gd name="connsiteX12" fmla="*/ 47748 w 101710"/>
                    <a:gd name="connsiteY12" fmla="*/ 157977 h 162137"/>
                    <a:gd name="connsiteX13" fmla="*/ 80521 w 101710"/>
                    <a:gd name="connsiteY13" fmla="*/ 140750 h 162137"/>
                    <a:gd name="connsiteX14" fmla="*/ 91823 w 101710"/>
                    <a:gd name="connsiteY14" fmla="*/ 99202 h 162137"/>
                    <a:gd name="connsiteX15" fmla="*/ 86172 w 101710"/>
                    <a:gd name="connsiteY15" fmla="*/ 97176 h 162137"/>
                    <a:gd name="connsiteX16" fmla="*/ 83912 w 101710"/>
                    <a:gd name="connsiteY16" fmla="*/ 79948 h 162137"/>
                    <a:gd name="connsiteX17" fmla="*/ 72610 w 101710"/>
                    <a:gd name="connsiteY17" fmla="*/ 69815 h 162137"/>
                    <a:gd name="connsiteX18" fmla="*/ 70350 w 101710"/>
                    <a:gd name="connsiteY18" fmla="*/ 57655 h 162137"/>
                    <a:gd name="connsiteX19" fmla="*/ 56789 w 101710"/>
                    <a:gd name="connsiteY19" fmla="*/ 47521 h 162137"/>
                    <a:gd name="connsiteX20" fmla="*/ 56789 w 101710"/>
                    <a:gd name="connsiteY20" fmla="*/ 40428 h 162137"/>
                    <a:gd name="connsiteX21" fmla="*/ 45488 w 101710"/>
                    <a:gd name="connsiteY21" fmla="*/ 35361 h 162137"/>
                    <a:gd name="connsiteX22" fmla="*/ 34187 w 101710"/>
                    <a:gd name="connsiteY22" fmla="*/ 9013 h 162137"/>
                    <a:gd name="connsiteX23" fmla="*/ 25145 w 101710"/>
                    <a:gd name="connsiteY23" fmla="*/ 10027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1710" h="162137">
                      <a:moveTo>
                        <a:pt x="25145" y="10027"/>
                      </a:moveTo>
                      <a:cubicBezTo>
                        <a:pt x="25145" y="11040"/>
                        <a:pt x="25145" y="12054"/>
                        <a:pt x="25145" y="12054"/>
                      </a:cubicBezTo>
                      <a:cubicBezTo>
                        <a:pt x="25145" y="23201"/>
                        <a:pt x="24015" y="20160"/>
                        <a:pt x="27406" y="29281"/>
                      </a:cubicBezTo>
                      <a:lnTo>
                        <a:pt x="27406" y="34347"/>
                      </a:lnTo>
                      <a:cubicBezTo>
                        <a:pt x="26276" y="35361"/>
                        <a:pt x="24015" y="35361"/>
                        <a:pt x="21755" y="36374"/>
                      </a:cubicBezTo>
                      <a:cubicBezTo>
                        <a:pt x="21755" y="40428"/>
                        <a:pt x="24015" y="53601"/>
                        <a:pt x="24015" y="53601"/>
                      </a:cubicBezTo>
                      <a:cubicBezTo>
                        <a:pt x="21755" y="58668"/>
                        <a:pt x="14975" y="69815"/>
                        <a:pt x="12714" y="75895"/>
                      </a:cubicBezTo>
                      <a:cubicBezTo>
                        <a:pt x="11584" y="75895"/>
                        <a:pt x="10454" y="75895"/>
                        <a:pt x="10454" y="75895"/>
                      </a:cubicBezTo>
                      <a:cubicBezTo>
                        <a:pt x="8193" y="86029"/>
                        <a:pt x="16104" y="100216"/>
                        <a:pt x="18365" y="112376"/>
                      </a:cubicBezTo>
                      <a:cubicBezTo>
                        <a:pt x="20625" y="123523"/>
                        <a:pt x="16104" y="133657"/>
                        <a:pt x="20625" y="143790"/>
                      </a:cubicBezTo>
                      <a:lnTo>
                        <a:pt x="28536" y="145817"/>
                      </a:lnTo>
                      <a:cubicBezTo>
                        <a:pt x="30796" y="147843"/>
                        <a:pt x="31926" y="152910"/>
                        <a:pt x="34187" y="155950"/>
                      </a:cubicBezTo>
                      <a:cubicBezTo>
                        <a:pt x="42097" y="155950"/>
                        <a:pt x="40967" y="158990"/>
                        <a:pt x="47748" y="157977"/>
                      </a:cubicBezTo>
                      <a:cubicBezTo>
                        <a:pt x="54529" y="156964"/>
                        <a:pt x="76001" y="145817"/>
                        <a:pt x="80521" y="140750"/>
                      </a:cubicBezTo>
                      <a:cubicBezTo>
                        <a:pt x="89562" y="130616"/>
                        <a:pt x="88432" y="115416"/>
                        <a:pt x="91823" y="99202"/>
                      </a:cubicBezTo>
                      <a:cubicBezTo>
                        <a:pt x="90693" y="99202"/>
                        <a:pt x="86172" y="97176"/>
                        <a:pt x="86172" y="97176"/>
                      </a:cubicBezTo>
                      <a:cubicBezTo>
                        <a:pt x="83912" y="91095"/>
                        <a:pt x="86172" y="86029"/>
                        <a:pt x="83912" y="79948"/>
                      </a:cubicBezTo>
                      <a:cubicBezTo>
                        <a:pt x="82782" y="77922"/>
                        <a:pt x="73741" y="71842"/>
                        <a:pt x="72610" y="69815"/>
                      </a:cubicBezTo>
                      <a:cubicBezTo>
                        <a:pt x="70350" y="65761"/>
                        <a:pt x="72610" y="60695"/>
                        <a:pt x="70350" y="57655"/>
                      </a:cubicBezTo>
                      <a:cubicBezTo>
                        <a:pt x="69220" y="55628"/>
                        <a:pt x="57919" y="51575"/>
                        <a:pt x="56789" y="47521"/>
                      </a:cubicBezTo>
                      <a:cubicBezTo>
                        <a:pt x="55659" y="44481"/>
                        <a:pt x="59049" y="42454"/>
                        <a:pt x="56789" y="40428"/>
                      </a:cubicBezTo>
                      <a:cubicBezTo>
                        <a:pt x="54529" y="37388"/>
                        <a:pt x="48878" y="38401"/>
                        <a:pt x="45488" y="35361"/>
                      </a:cubicBezTo>
                      <a:cubicBezTo>
                        <a:pt x="40967" y="31307"/>
                        <a:pt x="36446" y="14080"/>
                        <a:pt x="34187" y="9013"/>
                      </a:cubicBezTo>
                      <a:cubicBezTo>
                        <a:pt x="33056" y="10027"/>
                        <a:pt x="26276" y="11040"/>
                        <a:pt x="25145" y="1002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0" name="Freeform: Shape 289">
                  <a:extLst>
                    <a:ext uri="{FF2B5EF4-FFF2-40B4-BE49-F238E27FC236}">
                      <a16:creationId xmlns:a16="http://schemas.microsoft.com/office/drawing/2014/main" id="{1053EDE5-B295-4C79-9F56-159B9984DFB2}"/>
                    </a:ext>
                  </a:extLst>
                </p:cNvPr>
                <p:cNvSpPr/>
                <p:nvPr/>
              </p:nvSpPr>
              <p:spPr>
                <a:xfrm>
                  <a:off x="5276249" y="2465996"/>
                  <a:ext cx="813686" cy="709350"/>
                </a:xfrm>
                <a:custGeom>
                  <a:avLst/>
                  <a:gdLst>
                    <a:gd name="connsiteX0" fmla="*/ 732198 w 813686"/>
                    <a:gd name="connsiteY0" fmla="*/ 66775 h 709349"/>
                    <a:gd name="connsiteX1" fmla="*/ 738979 w 813686"/>
                    <a:gd name="connsiteY1" fmla="*/ 92109 h 709349"/>
                    <a:gd name="connsiteX2" fmla="*/ 717507 w 813686"/>
                    <a:gd name="connsiteY2" fmla="*/ 109336 h 709349"/>
                    <a:gd name="connsiteX3" fmla="*/ 703945 w 813686"/>
                    <a:gd name="connsiteY3" fmla="*/ 111363 h 709349"/>
                    <a:gd name="connsiteX4" fmla="*/ 701685 w 813686"/>
                    <a:gd name="connsiteY4" fmla="*/ 118456 h 709349"/>
                    <a:gd name="connsiteX5" fmla="*/ 685863 w 813686"/>
                    <a:gd name="connsiteY5" fmla="*/ 120483 h 709349"/>
                    <a:gd name="connsiteX6" fmla="*/ 664391 w 813686"/>
                    <a:gd name="connsiteY6" fmla="*/ 142777 h 709349"/>
                    <a:gd name="connsiteX7" fmla="*/ 653090 w 813686"/>
                    <a:gd name="connsiteY7" fmla="*/ 144803 h 709349"/>
                    <a:gd name="connsiteX8" fmla="*/ 650830 w 813686"/>
                    <a:gd name="connsiteY8" fmla="*/ 156964 h 709349"/>
                    <a:gd name="connsiteX9" fmla="*/ 639529 w 813686"/>
                    <a:gd name="connsiteY9" fmla="*/ 162030 h 709349"/>
                    <a:gd name="connsiteX10" fmla="*/ 631618 w 813686"/>
                    <a:gd name="connsiteY10" fmla="*/ 181284 h 709349"/>
                    <a:gd name="connsiteX11" fmla="*/ 620317 w 813686"/>
                    <a:gd name="connsiteY11" fmla="*/ 203578 h 709349"/>
                    <a:gd name="connsiteX12" fmla="*/ 620317 w 813686"/>
                    <a:gd name="connsiteY12" fmla="*/ 210671 h 709349"/>
                    <a:gd name="connsiteX13" fmla="*/ 631618 w 813686"/>
                    <a:gd name="connsiteY13" fmla="*/ 215738 h 709349"/>
                    <a:gd name="connsiteX14" fmla="*/ 631618 w 813686"/>
                    <a:gd name="connsiteY14" fmla="*/ 222832 h 709349"/>
                    <a:gd name="connsiteX15" fmla="*/ 606755 w 813686"/>
                    <a:gd name="connsiteY15" fmla="*/ 247152 h 709349"/>
                    <a:gd name="connsiteX16" fmla="*/ 595454 w 813686"/>
                    <a:gd name="connsiteY16" fmla="*/ 254246 h 709349"/>
                    <a:gd name="connsiteX17" fmla="*/ 593193 w 813686"/>
                    <a:gd name="connsiteY17" fmla="*/ 273500 h 709349"/>
                    <a:gd name="connsiteX18" fmla="*/ 573981 w 813686"/>
                    <a:gd name="connsiteY18" fmla="*/ 278566 h 709349"/>
                    <a:gd name="connsiteX19" fmla="*/ 544598 w 813686"/>
                    <a:gd name="connsiteY19" fmla="*/ 300860 h 709349"/>
                    <a:gd name="connsiteX20" fmla="*/ 533297 w 813686"/>
                    <a:gd name="connsiteY20" fmla="*/ 320114 h 709349"/>
                    <a:gd name="connsiteX21" fmla="*/ 514085 w 813686"/>
                    <a:gd name="connsiteY21" fmla="*/ 320114 h 709349"/>
                    <a:gd name="connsiteX22" fmla="*/ 508434 w 813686"/>
                    <a:gd name="connsiteY22" fmla="*/ 325181 h 709349"/>
                    <a:gd name="connsiteX23" fmla="*/ 467750 w 813686"/>
                    <a:gd name="connsiteY23" fmla="*/ 318087 h 709349"/>
                    <a:gd name="connsiteX24" fmla="*/ 462100 w 813686"/>
                    <a:gd name="connsiteY24" fmla="*/ 328221 h 709349"/>
                    <a:gd name="connsiteX25" fmla="*/ 446278 w 813686"/>
                    <a:gd name="connsiteY25" fmla="*/ 330248 h 709349"/>
                    <a:gd name="connsiteX26" fmla="*/ 427066 w 813686"/>
                    <a:gd name="connsiteY26" fmla="*/ 340381 h 709349"/>
                    <a:gd name="connsiteX27" fmla="*/ 427066 w 813686"/>
                    <a:gd name="connsiteY27" fmla="*/ 342408 h 709349"/>
                    <a:gd name="connsiteX28" fmla="*/ 413505 w 813686"/>
                    <a:gd name="connsiteY28" fmla="*/ 340381 h 709349"/>
                    <a:gd name="connsiteX29" fmla="*/ 367170 w 813686"/>
                    <a:gd name="connsiteY29" fmla="*/ 298834 h 709349"/>
                    <a:gd name="connsiteX30" fmla="*/ 371690 w 813686"/>
                    <a:gd name="connsiteY30" fmla="*/ 278566 h 709349"/>
                    <a:gd name="connsiteX31" fmla="*/ 360389 w 813686"/>
                    <a:gd name="connsiteY31" fmla="*/ 268433 h 709349"/>
                    <a:gd name="connsiteX32" fmla="*/ 363779 w 813686"/>
                    <a:gd name="connsiteY32" fmla="*/ 247152 h 709349"/>
                    <a:gd name="connsiteX33" fmla="*/ 363779 w 813686"/>
                    <a:gd name="connsiteY33" fmla="*/ 232965 h 709349"/>
                    <a:gd name="connsiteX34" fmla="*/ 368300 w 813686"/>
                    <a:gd name="connsiteY34" fmla="*/ 208645 h 709349"/>
                    <a:gd name="connsiteX35" fmla="*/ 368300 w 813686"/>
                    <a:gd name="connsiteY35" fmla="*/ 185337 h 709349"/>
                    <a:gd name="connsiteX36" fmla="*/ 375080 w 813686"/>
                    <a:gd name="connsiteY36" fmla="*/ 168110 h 709349"/>
                    <a:gd name="connsiteX37" fmla="*/ 368300 w 813686"/>
                    <a:gd name="connsiteY37" fmla="*/ 134670 h 709349"/>
                    <a:gd name="connsiteX38" fmla="*/ 380731 w 813686"/>
                    <a:gd name="connsiteY38" fmla="*/ 111363 h 709349"/>
                    <a:gd name="connsiteX39" fmla="*/ 377341 w 813686"/>
                    <a:gd name="connsiteY39" fmla="*/ 98189 h 709349"/>
                    <a:gd name="connsiteX40" fmla="*/ 366040 w 813686"/>
                    <a:gd name="connsiteY40" fmla="*/ 92109 h 709349"/>
                    <a:gd name="connsiteX41" fmla="*/ 338917 w 813686"/>
                    <a:gd name="connsiteY41" fmla="*/ 95149 h 709349"/>
                    <a:gd name="connsiteX42" fmla="*/ 329876 w 813686"/>
                    <a:gd name="connsiteY42" fmla="*/ 89069 h 709349"/>
                    <a:gd name="connsiteX43" fmla="*/ 309534 w 813686"/>
                    <a:gd name="connsiteY43" fmla="*/ 93122 h 709349"/>
                    <a:gd name="connsiteX44" fmla="*/ 303883 w 813686"/>
                    <a:gd name="connsiteY44" fmla="*/ 87042 h 709349"/>
                    <a:gd name="connsiteX45" fmla="*/ 315184 w 813686"/>
                    <a:gd name="connsiteY45" fmla="*/ 74882 h 709349"/>
                    <a:gd name="connsiteX46" fmla="*/ 307273 w 813686"/>
                    <a:gd name="connsiteY46" fmla="*/ 72855 h 709349"/>
                    <a:gd name="connsiteX47" fmla="*/ 299362 w 813686"/>
                    <a:gd name="connsiteY47" fmla="*/ 60695 h 709349"/>
                    <a:gd name="connsiteX48" fmla="*/ 301623 w 813686"/>
                    <a:gd name="connsiteY48" fmla="*/ 53601 h 709349"/>
                    <a:gd name="connsiteX49" fmla="*/ 290322 w 813686"/>
                    <a:gd name="connsiteY49" fmla="*/ 46508 h 709349"/>
                    <a:gd name="connsiteX50" fmla="*/ 292582 w 813686"/>
                    <a:gd name="connsiteY50" fmla="*/ 36374 h 709349"/>
                    <a:gd name="connsiteX51" fmla="*/ 308403 w 813686"/>
                    <a:gd name="connsiteY51" fmla="*/ 26240 h 709349"/>
                    <a:gd name="connsiteX52" fmla="*/ 333266 w 813686"/>
                    <a:gd name="connsiteY52" fmla="*/ 26240 h 709349"/>
                    <a:gd name="connsiteX53" fmla="*/ 333266 w 813686"/>
                    <a:gd name="connsiteY53" fmla="*/ 19147 h 709349"/>
                    <a:gd name="connsiteX54" fmla="*/ 360389 w 813686"/>
                    <a:gd name="connsiteY54" fmla="*/ 9013 h 709349"/>
                    <a:gd name="connsiteX55" fmla="*/ 381861 w 813686"/>
                    <a:gd name="connsiteY55" fmla="*/ 21174 h 709349"/>
                    <a:gd name="connsiteX56" fmla="*/ 414635 w 813686"/>
                    <a:gd name="connsiteY56" fmla="*/ 16107 h 709349"/>
                    <a:gd name="connsiteX57" fmla="*/ 466620 w 813686"/>
                    <a:gd name="connsiteY57" fmla="*/ 23200 h 709349"/>
                    <a:gd name="connsiteX58" fmla="*/ 505044 w 813686"/>
                    <a:gd name="connsiteY58" fmla="*/ 21174 h 709349"/>
                    <a:gd name="connsiteX59" fmla="*/ 526517 w 813686"/>
                    <a:gd name="connsiteY59" fmla="*/ 26240 h 709349"/>
                    <a:gd name="connsiteX60" fmla="*/ 532167 w 813686"/>
                    <a:gd name="connsiteY60" fmla="*/ 33334 h 709349"/>
                    <a:gd name="connsiteX61" fmla="*/ 560420 w 813686"/>
                    <a:gd name="connsiteY61" fmla="*/ 33334 h 709349"/>
                    <a:gd name="connsiteX62" fmla="*/ 571722 w 813686"/>
                    <a:gd name="connsiteY62" fmla="*/ 46508 h 709349"/>
                    <a:gd name="connsiteX63" fmla="*/ 587543 w 813686"/>
                    <a:gd name="connsiteY63" fmla="*/ 51574 h 709349"/>
                    <a:gd name="connsiteX64" fmla="*/ 605625 w 813686"/>
                    <a:gd name="connsiteY64" fmla="*/ 57655 h 709349"/>
                    <a:gd name="connsiteX65" fmla="*/ 628228 w 813686"/>
                    <a:gd name="connsiteY65" fmla="*/ 66775 h 709349"/>
                    <a:gd name="connsiteX66" fmla="*/ 650830 w 813686"/>
                    <a:gd name="connsiteY66" fmla="*/ 65761 h 709349"/>
                    <a:gd name="connsiteX67" fmla="*/ 676823 w 813686"/>
                    <a:gd name="connsiteY67" fmla="*/ 73868 h 709349"/>
                    <a:gd name="connsiteX68" fmla="*/ 681343 w 813686"/>
                    <a:gd name="connsiteY68" fmla="*/ 79948 h 709349"/>
                    <a:gd name="connsiteX69" fmla="*/ 691514 w 813686"/>
                    <a:gd name="connsiteY69" fmla="*/ 76908 h 709349"/>
                    <a:gd name="connsiteX70" fmla="*/ 712987 w 813686"/>
                    <a:gd name="connsiteY70" fmla="*/ 73868 h 709349"/>
                    <a:gd name="connsiteX71" fmla="*/ 732198 w 813686"/>
                    <a:gd name="connsiteY71" fmla="*/ 64748 h 709349"/>
                    <a:gd name="connsiteX72" fmla="*/ 732198 w 813686"/>
                    <a:gd name="connsiteY72" fmla="*/ 66775 h 709349"/>
                    <a:gd name="connsiteX73" fmla="*/ 69948 w 813686"/>
                    <a:gd name="connsiteY73" fmla="*/ 689989 h 709349"/>
                    <a:gd name="connsiteX74" fmla="*/ 67688 w 813686"/>
                    <a:gd name="connsiteY74" fmla="*/ 697083 h 709349"/>
                    <a:gd name="connsiteX75" fmla="*/ 69948 w 813686"/>
                    <a:gd name="connsiteY75" fmla="*/ 704176 h 709349"/>
                    <a:gd name="connsiteX76" fmla="*/ 81249 w 813686"/>
                    <a:gd name="connsiteY76" fmla="*/ 704176 h 709349"/>
                    <a:gd name="connsiteX77" fmla="*/ 81249 w 813686"/>
                    <a:gd name="connsiteY77" fmla="*/ 697083 h 709349"/>
                    <a:gd name="connsiteX78" fmla="*/ 69948 w 813686"/>
                    <a:gd name="connsiteY78" fmla="*/ 689989 h 709349"/>
                    <a:gd name="connsiteX79" fmla="*/ 42825 w 813686"/>
                    <a:gd name="connsiteY79" fmla="*/ 677829 h 709349"/>
                    <a:gd name="connsiteX80" fmla="*/ 29264 w 813686"/>
                    <a:gd name="connsiteY80" fmla="*/ 682896 h 709349"/>
                    <a:gd name="connsiteX81" fmla="*/ 34915 w 813686"/>
                    <a:gd name="connsiteY81" fmla="*/ 695056 h 709349"/>
                    <a:gd name="connsiteX82" fmla="*/ 40565 w 813686"/>
                    <a:gd name="connsiteY82" fmla="*/ 684923 h 709349"/>
                    <a:gd name="connsiteX83" fmla="*/ 42825 w 813686"/>
                    <a:gd name="connsiteY83" fmla="*/ 677829 h 709349"/>
                    <a:gd name="connsiteX84" fmla="*/ 129844 w 813686"/>
                    <a:gd name="connsiteY84" fmla="*/ 673776 h 709349"/>
                    <a:gd name="connsiteX85" fmla="*/ 129844 w 813686"/>
                    <a:gd name="connsiteY85" fmla="*/ 685936 h 709349"/>
                    <a:gd name="connsiteX86" fmla="*/ 124194 w 813686"/>
                    <a:gd name="connsiteY86" fmla="*/ 691002 h 709349"/>
                    <a:gd name="connsiteX87" fmla="*/ 129844 w 813686"/>
                    <a:gd name="connsiteY87" fmla="*/ 696069 h 709349"/>
                    <a:gd name="connsiteX88" fmla="*/ 137755 w 813686"/>
                    <a:gd name="connsiteY88" fmla="*/ 673776 h 709349"/>
                    <a:gd name="connsiteX89" fmla="*/ 129844 w 813686"/>
                    <a:gd name="connsiteY89" fmla="*/ 673776 h 709349"/>
                    <a:gd name="connsiteX90" fmla="*/ 10052 w 813686"/>
                    <a:gd name="connsiteY90" fmla="*/ 668709 h 709349"/>
                    <a:gd name="connsiteX91" fmla="*/ 12312 w 813686"/>
                    <a:gd name="connsiteY91" fmla="*/ 673776 h 709349"/>
                    <a:gd name="connsiteX92" fmla="*/ 10052 w 813686"/>
                    <a:gd name="connsiteY92" fmla="*/ 668709 h 709349"/>
                    <a:gd name="connsiteX93" fmla="*/ 143406 w 813686"/>
                    <a:gd name="connsiteY93" fmla="*/ 658575 h 709349"/>
                    <a:gd name="connsiteX94" fmla="*/ 143406 w 813686"/>
                    <a:gd name="connsiteY94" fmla="*/ 663642 h 709349"/>
                    <a:gd name="connsiteX95" fmla="*/ 149057 w 813686"/>
                    <a:gd name="connsiteY95" fmla="*/ 663642 h 709349"/>
                    <a:gd name="connsiteX96" fmla="*/ 143406 w 813686"/>
                    <a:gd name="connsiteY96" fmla="*/ 658575 h 709349"/>
                    <a:gd name="connsiteX97" fmla="*/ 676823 w 813686"/>
                    <a:gd name="connsiteY97" fmla="*/ 203578 h 709349"/>
                    <a:gd name="connsiteX98" fmla="*/ 668912 w 813686"/>
                    <a:gd name="connsiteY98" fmla="*/ 215738 h 709349"/>
                    <a:gd name="connsiteX99" fmla="*/ 671172 w 813686"/>
                    <a:gd name="connsiteY99" fmla="*/ 217765 h 709349"/>
                    <a:gd name="connsiteX100" fmla="*/ 679083 w 813686"/>
                    <a:gd name="connsiteY100" fmla="*/ 205605 h 709349"/>
                    <a:gd name="connsiteX101" fmla="*/ 676823 w 813686"/>
                    <a:gd name="connsiteY101" fmla="*/ 203578 h 709349"/>
                    <a:gd name="connsiteX102" fmla="*/ 794355 w 813686"/>
                    <a:gd name="connsiteY102" fmla="*/ 177231 h 709349"/>
                    <a:gd name="connsiteX103" fmla="*/ 792095 w 813686"/>
                    <a:gd name="connsiteY103" fmla="*/ 184324 h 709349"/>
                    <a:gd name="connsiteX104" fmla="*/ 807916 w 813686"/>
                    <a:gd name="connsiteY104" fmla="*/ 182298 h 709349"/>
                    <a:gd name="connsiteX105" fmla="*/ 807916 w 813686"/>
                    <a:gd name="connsiteY105" fmla="*/ 177231 h 709349"/>
                    <a:gd name="connsiteX106" fmla="*/ 794355 w 813686"/>
                    <a:gd name="connsiteY106" fmla="*/ 177231 h 709349"/>
                    <a:gd name="connsiteX107" fmla="*/ 742369 w 813686"/>
                    <a:gd name="connsiteY107" fmla="*/ 177231 h 709349"/>
                    <a:gd name="connsiteX108" fmla="*/ 731068 w 813686"/>
                    <a:gd name="connsiteY108" fmla="*/ 182298 h 709349"/>
                    <a:gd name="connsiteX109" fmla="*/ 733329 w 813686"/>
                    <a:gd name="connsiteY109" fmla="*/ 204591 h 709349"/>
                    <a:gd name="connsiteX110" fmla="*/ 733329 w 813686"/>
                    <a:gd name="connsiteY110" fmla="*/ 211685 h 709349"/>
                    <a:gd name="connsiteX111" fmla="*/ 741240 w 813686"/>
                    <a:gd name="connsiteY111" fmla="*/ 211685 h 709349"/>
                    <a:gd name="connsiteX112" fmla="*/ 749150 w 813686"/>
                    <a:gd name="connsiteY112" fmla="*/ 201551 h 709349"/>
                    <a:gd name="connsiteX113" fmla="*/ 742369 w 813686"/>
                    <a:gd name="connsiteY113" fmla="*/ 177231 h 70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13686" h="709349">
                      <a:moveTo>
                        <a:pt x="732198" y="66775"/>
                      </a:moveTo>
                      <a:cubicBezTo>
                        <a:pt x="732198" y="68801"/>
                        <a:pt x="740109" y="90082"/>
                        <a:pt x="738979" y="92109"/>
                      </a:cubicBezTo>
                      <a:cubicBezTo>
                        <a:pt x="737849" y="95149"/>
                        <a:pt x="720897" y="107309"/>
                        <a:pt x="717507" y="109336"/>
                      </a:cubicBezTo>
                      <a:cubicBezTo>
                        <a:pt x="711856" y="111363"/>
                        <a:pt x="707336" y="109336"/>
                        <a:pt x="703945" y="111363"/>
                      </a:cubicBezTo>
                      <a:cubicBezTo>
                        <a:pt x="702815" y="112376"/>
                        <a:pt x="702815" y="117443"/>
                        <a:pt x="701685" y="118456"/>
                      </a:cubicBezTo>
                      <a:cubicBezTo>
                        <a:pt x="696035" y="121496"/>
                        <a:pt x="690384" y="118456"/>
                        <a:pt x="685863" y="120483"/>
                      </a:cubicBezTo>
                      <a:cubicBezTo>
                        <a:pt x="676823" y="124536"/>
                        <a:pt x="671172" y="138723"/>
                        <a:pt x="664391" y="142777"/>
                      </a:cubicBezTo>
                      <a:cubicBezTo>
                        <a:pt x="662131" y="143790"/>
                        <a:pt x="655350" y="143790"/>
                        <a:pt x="653090" y="144803"/>
                      </a:cubicBezTo>
                      <a:cubicBezTo>
                        <a:pt x="650830" y="146830"/>
                        <a:pt x="651960" y="153923"/>
                        <a:pt x="650830" y="156964"/>
                      </a:cubicBezTo>
                      <a:cubicBezTo>
                        <a:pt x="648570" y="158990"/>
                        <a:pt x="641788" y="158990"/>
                        <a:pt x="639529" y="162030"/>
                      </a:cubicBezTo>
                      <a:cubicBezTo>
                        <a:pt x="635008" y="168110"/>
                        <a:pt x="636138" y="176217"/>
                        <a:pt x="631618" y="181284"/>
                      </a:cubicBezTo>
                      <a:cubicBezTo>
                        <a:pt x="629357" y="184324"/>
                        <a:pt x="603365" y="194458"/>
                        <a:pt x="620317" y="203578"/>
                      </a:cubicBezTo>
                      <a:cubicBezTo>
                        <a:pt x="620317" y="204591"/>
                        <a:pt x="619186" y="209658"/>
                        <a:pt x="620317" y="210671"/>
                      </a:cubicBezTo>
                      <a:cubicBezTo>
                        <a:pt x="621446" y="211685"/>
                        <a:pt x="630487" y="214725"/>
                        <a:pt x="631618" y="215738"/>
                      </a:cubicBezTo>
                      <a:cubicBezTo>
                        <a:pt x="632748" y="217765"/>
                        <a:pt x="630487" y="221818"/>
                        <a:pt x="631618" y="222832"/>
                      </a:cubicBezTo>
                      <a:cubicBezTo>
                        <a:pt x="620317" y="231952"/>
                        <a:pt x="616926" y="237019"/>
                        <a:pt x="606755" y="247152"/>
                      </a:cubicBezTo>
                      <a:cubicBezTo>
                        <a:pt x="605625" y="249179"/>
                        <a:pt x="596584" y="252219"/>
                        <a:pt x="595454" y="254246"/>
                      </a:cubicBezTo>
                      <a:cubicBezTo>
                        <a:pt x="592064" y="260326"/>
                        <a:pt x="596584" y="268433"/>
                        <a:pt x="593193" y="273500"/>
                      </a:cubicBezTo>
                      <a:cubicBezTo>
                        <a:pt x="589803" y="278566"/>
                        <a:pt x="580762" y="275526"/>
                        <a:pt x="573981" y="278566"/>
                      </a:cubicBezTo>
                      <a:cubicBezTo>
                        <a:pt x="568331" y="280593"/>
                        <a:pt x="547989" y="295793"/>
                        <a:pt x="544598" y="300860"/>
                      </a:cubicBezTo>
                      <a:cubicBezTo>
                        <a:pt x="538948" y="307954"/>
                        <a:pt x="543469" y="317074"/>
                        <a:pt x="533297" y="320114"/>
                      </a:cubicBezTo>
                      <a:cubicBezTo>
                        <a:pt x="527647" y="322141"/>
                        <a:pt x="520866" y="319101"/>
                        <a:pt x="514085" y="320114"/>
                      </a:cubicBezTo>
                      <a:lnTo>
                        <a:pt x="508434" y="325181"/>
                      </a:lnTo>
                      <a:cubicBezTo>
                        <a:pt x="503914" y="326194"/>
                        <a:pt x="474531" y="320114"/>
                        <a:pt x="467750" y="318087"/>
                      </a:cubicBezTo>
                      <a:cubicBezTo>
                        <a:pt x="465490" y="320114"/>
                        <a:pt x="465490" y="326194"/>
                        <a:pt x="462100" y="328221"/>
                      </a:cubicBezTo>
                      <a:cubicBezTo>
                        <a:pt x="457579" y="331261"/>
                        <a:pt x="451928" y="328221"/>
                        <a:pt x="446278" y="330248"/>
                      </a:cubicBezTo>
                      <a:cubicBezTo>
                        <a:pt x="440627" y="332274"/>
                        <a:pt x="432716" y="337341"/>
                        <a:pt x="427066" y="340381"/>
                      </a:cubicBezTo>
                      <a:lnTo>
                        <a:pt x="427066" y="342408"/>
                      </a:lnTo>
                      <a:cubicBezTo>
                        <a:pt x="424806" y="342408"/>
                        <a:pt x="419155" y="339368"/>
                        <a:pt x="413505" y="340381"/>
                      </a:cubicBezTo>
                      <a:cubicBezTo>
                        <a:pt x="404463" y="327207"/>
                        <a:pt x="389772" y="297820"/>
                        <a:pt x="367170" y="298834"/>
                      </a:cubicBezTo>
                      <a:cubicBezTo>
                        <a:pt x="366040" y="296807"/>
                        <a:pt x="367170" y="288700"/>
                        <a:pt x="371690" y="278566"/>
                      </a:cubicBezTo>
                      <a:cubicBezTo>
                        <a:pt x="377341" y="268433"/>
                        <a:pt x="367170" y="278566"/>
                        <a:pt x="360389" y="268433"/>
                      </a:cubicBezTo>
                      <a:cubicBezTo>
                        <a:pt x="353608" y="258299"/>
                        <a:pt x="359259" y="257286"/>
                        <a:pt x="363779" y="247152"/>
                      </a:cubicBezTo>
                      <a:cubicBezTo>
                        <a:pt x="369430" y="234992"/>
                        <a:pt x="371690" y="243099"/>
                        <a:pt x="363779" y="232965"/>
                      </a:cubicBezTo>
                      <a:cubicBezTo>
                        <a:pt x="349088" y="213711"/>
                        <a:pt x="362649" y="217765"/>
                        <a:pt x="368300" y="208645"/>
                      </a:cubicBezTo>
                      <a:cubicBezTo>
                        <a:pt x="373951" y="199525"/>
                        <a:pt x="368300" y="197498"/>
                        <a:pt x="368300" y="185337"/>
                      </a:cubicBezTo>
                      <a:cubicBezTo>
                        <a:pt x="368300" y="173177"/>
                        <a:pt x="361519" y="178244"/>
                        <a:pt x="375080" y="168110"/>
                      </a:cubicBezTo>
                      <a:cubicBezTo>
                        <a:pt x="384121" y="162030"/>
                        <a:pt x="378471" y="147843"/>
                        <a:pt x="368300" y="134670"/>
                      </a:cubicBezTo>
                      <a:cubicBezTo>
                        <a:pt x="360389" y="123523"/>
                        <a:pt x="372820" y="125549"/>
                        <a:pt x="380731" y="111363"/>
                      </a:cubicBezTo>
                      <a:cubicBezTo>
                        <a:pt x="389772" y="97175"/>
                        <a:pt x="385252" y="101229"/>
                        <a:pt x="377341" y="98189"/>
                      </a:cubicBezTo>
                      <a:cubicBezTo>
                        <a:pt x="369430" y="95149"/>
                        <a:pt x="378471" y="92109"/>
                        <a:pt x="366040" y="92109"/>
                      </a:cubicBezTo>
                      <a:cubicBezTo>
                        <a:pt x="353608" y="92109"/>
                        <a:pt x="355868" y="92109"/>
                        <a:pt x="338917" y="95149"/>
                      </a:cubicBezTo>
                      <a:cubicBezTo>
                        <a:pt x="321965" y="98189"/>
                        <a:pt x="334396" y="96162"/>
                        <a:pt x="329876" y="89069"/>
                      </a:cubicBezTo>
                      <a:cubicBezTo>
                        <a:pt x="325355" y="81975"/>
                        <a:pt x="309534" y="93122"/>
                        <a:pt x="309534" y="93122"/>
                      </a:cubicBezTo>
                      <a:cubicBezTo>
                        <a:pt x="309534" y="92109"/>
                        <a:pt x="298233" y="91095"/>
                        <a:pt x="303883" y="87042"/>
                      </a:cubicBezTo>
                      <a:cubicBezTo>
                        <a:pt x="308403" y="84002"/>
                        <a:pt x="311794" y="78935"/>
                        <a:pt x="315184" y="74882"/>
                      </a:cubicBezTo>
                      <a:cubicBezTo>
                        <a:pt x="314054" y="73868"/>
                        <a:pt x="308403" y="74882"/>
                        <a:pt x="307273" y="72855"/>
                      </a:cubicBezTo>
                      <a:cubicBezTo>
                        <a:pt x="302753" y="62721"/>
                        <a:pt x="308403" y="65761"/>
                        <a:pt x="299362" y="60695"/>
                      </a:cubicBezTo>
                      <a:cubicBezTo>
                        <a:pt x="297102" y="59681"/>
                        <a:pt x="303883" y="56641"/>
                        <a:pt x="301623" y="53601"/>
                      </a:cubicBezTo>
                      <a:lnTo>
                        <a:pt x="290322" y="46508"/>
                      </a:lnTo>
                      <a:cubicBezTo>
                        <a:pt x="289192" y="40428"/>
                        <a:pt x="293712" y="42454"/>
                        <a:pt x="292582" y="36374"/>
                      </a:cubicBezTo>
                      <a:cubicBezTo>
                        <a:pt x="295972" y="34347"/>
                        <a:pt x="306143" y="27254"/>
                        <a:pt x="308403" y="26240"/>
                      </a:cubicBezTo>
                      <a:cubicBezTo>
                        <a:pt x="314054" y="25227"/>
                        <a:pt x="323095" y="30294"/>
                        <a:pt x="333266" y="26240"/>
                      </a:cubicBezTo>
                      <a:cubicBezTo>
                        <a:pt x="333266" y="26240"/>
                        <a:pt x="333266" y="19147"/>
                        <a:pt x="333266" y="19147"/>
                      </a:cubicBezTo>
                      <a:cubicBezTo>
                        <a:pt x="340047" y="17120"/>
                        <a:pt x="353608" y="9013"/>
                        <a:pt x="360389" y="9013"/>
                      </a:cubicBezTo>
                      <a:cubicBezTo>
                        <a:pt x="372820" y="9013"/>
                        <a:pt x="375080" y="20160"/>
                        <a:pt x="381861" y="21174"/>
                      </a:cubicBezTo>
                      <a:cubicBezTo>
                        <a:pt x="386382" y="22187"/>
                        <a:pt x="410114" y="16107"/>
                        <a:pt x="414635" y="16107"/>
                      </a:cubicBezTo>
                      <a:cubicBezTo>
                        <a:pt x="438367" y="15094"/>
                        <a:pt x="447408" y="23200"/>
                        <a:pt x="466620" y="23200"/>
                      </a:cubicBezTo>
                      <a:cubicBezTo>
                        <a:pt x="475661" y="23200"/>
                        <a:pt x="496003" y="20160"/>
                        <a:pt x="505044" y="21174"/>
                      </a:cubicBezTo>
                      <a:cubicBezTo>
                        <a:pt x="507305" y="21174"/>
                        <a:pt x="523126" y="24214"/>
                        <a:pt x="526517" y="26240"/>
                      </a:cubicBezTo>
                      <a:cubicBezTo>
                        <a:pt x="527647" y="27254"/>
                        <a:pt x="531037" y="33334"/>
                        <a:pt x="532167" y="33334"/>
                      </a:cubicBezTo>
                      <a:cubicBezTo>
                        <a:pt x="541208" y="35361"/>
                        <a:pt x="551379" y="35361"/>
                        <a:pt x="560420" y="33334"/>
                      </a:cubicBezTo>
                      <a:cubicBezTo>
                        <a:pt x="560420" y="33334"/>
                        <a:pt x="570591" y="38401"/>
                        <a:pt x="571722" y="46508"/>
                      </a:cubicBezTo>
                      <a:cubicBezTo>
                        <a:pt x="571722" y="53601"/>
                        <a:pt x="575112" y="49548"/>
                        <a:pt x="587543" y="51574"/>
                      </a:cubicBezTo>
                      <a:cubicBezTo>
                        <a:pt x="599975" y="53601"/>
                        <a:pt x="594324" y="57655"/>
                        <a:pt x="605625" y="57655"/>
                      </a:cubicBezTo>
                      <a:cubicBezTo>
                        <a:pt x="616926" y="57655"/>
                        <a:pt x="620317" y="66775"/>
                        <a:pt x="628228" y="66775"/>
                      </a:cubicBezTo>
                      <a:cubicBezTo>
                        <a:pt x="637268" y="66775"/>
                        <a:pt x="638398" y="60695"/>
                        <a:pt x="650830" y="65761"/>
                      </a:cubicBezTo>
                      <a:cubicBezTo>
                        <a:pt x="663261" y="70828"/>
                        <a:pt x="676823" y="73868"/>
                        <a:pt x="676823" y="73868"/>
                      </a:cubicBezTo>
                      <a:lnTo>
                        <a:pt x="681343" y="79948"/>
                      </a:lnTo>
                      <a:lnTo>
                        <a:pt x="691514" y="76908"/>
                      </a:lnTo>
                      <a:cubicBezTo>
                        <a:pt x="700555" y="77922"/>
                        <a:pt x="701685" y="73868"/>
                        <a:pt x="712987" y="73868"/>
                      </a:cubicBezTo>
                      <a:cubicBezTo>
                        <a:pt x="724288" y="73868"/>
                        <a:pt x="717507" y="65761"/>
                        <a:pt x="732198" y="64748"/>
                      </a:cubicBezTo>
                      <a:lnTo>
                        <a:pt x="732198" y="66775"/>
                      </a:lnTo>
                      <a:close/>
                      <a:moveTo>
                        <a:pt x="69948" y="689989"/>
                      </a:moveTo>
                      <a:cubicBezTo>
                        <a:pt x="73338" y="692016"/>
                        <a:pt x="67688" y="697083"/>
                        <a:pt x="67688" y="697083"/>
                      </a:cubicBezTo>
                      <a:lnTo>
                        <a:pt x="69948" y="704176"/>
                      </a:lnTo>
                      <a:cubicBezTo>
                        <a:pt x="72209" y="704176"/>
                        <a:pt x="77859" y="703163"/>
                        <a:pt x="81249" y="704176"/>
                      </a:cubicBezTo>
                      <a:cubicBezTo>
                        <a:pt x="81249" y="704176"/>
                        <a:pt x="81249" y="697083"/>
                        <a:pt x="81249" y="697083"/>
                      </a:cubicBezTo>
                      <a:cubicBezTo>
                        <a:pt x="93680" y="694043"/>
                        <a:pt x="71078" y="691002"/>
                        <a:pt x="69948" y="689989"/>
                      </a:cubicBezTo>
                      <a:close/>
                      <a:moveTo>
                        <a:pt x="42825" y="677829"/>
                      </a:moveTo>
                      <a:cubicBezTo>
                        <a:pt x="39435" y="678842"/>
                        <a:pt x="34915" y="680869"/>
                        <a:pt x="29264" y="682896"/>
                      </a:cubicBezTo>
                      <a:cubicBezTo>
                        <a:pt x="30394" y="686949"/>
                        <a:pt x="28134" y="697083"/>
                        <a:pt x="34915" y="695056"/>
                      </a:cubicBezTo>
                      <a:cubicBezTo>
                        <a:pt x="38305" y="694043"/>
                        <a:pt x="37174" y="687963"/>
                        <a:pt x="40565" y="684923"/>
                      </a:cubicBezTo>
                      <a:cubicBezTo>
                        <a:pt x="40565" y="684923"/>
                        <a:pt x="59777" y="672762"/>
                        <a:pt x="42825" y="677829"/>
                      </a:cubicBezTo>
                      <a:close/>
                      <a:moveTo>
                        <a:pt x="129844" y="673776"/>
                      </a:moveTo>
                      <a:cubicBezTo>
                        <a:pt x="128715" y="677829"/>
                        <a:pt x="130975" y="681882"/>
                        <a:pt x="129844" y="685936"/>
                      </a:cubicBezTo>
                      <a:lnTo>
                        <a:pt x="124194" y="691002"/>
                      </a:lnTo>
                      <a:cubicBezTo>
                        <a:pt x="116283" y="693029"/>
                        <a:pt x="125324" y="695056"/>
                        <a:pt x="129844" y="696069"/>
                      </a:cubicBezTo>
                      <a:cubicBezTo>
                        <a:pt x="130975" y="689989"/>
                        <a:pt x="136626" y="680869"/>
                        <a:pt x="137755" y="673776"/>
                      </a:cubicBezTo>
                      <a:cubicBezTo>
                        <a:pt x="135495" y="673776"/>
                        <a:pt x="130975" y="673776"/>
                        <a:pt x="129844" y="673776"/>
                      </a:cubicBezTo>
                      <a:close/>
                      <a:moveTo>
                        <a:pt x="10052" y="668709"/>
                      </a:moveTo>
                      <a:lnTo>
                        <a:pt x="12312" y="673776"/>
                      </a:lnTo>
                      <a:cubicBezTo>
                        <a:pt x="12312" y="669722"/>
                        <a:pt x="15703" y="668709"/>
                        <a:pt x="10052" y="668709"/>
                      </a:cubicBezTo>
                      <a:close/>
                      <a:moveTo>
                        <a:pt x="143406" y="658575"/>
                      </a:moveTo>
                      <a:lnTo>
                        <a:pt x="143406" y="663642"/>
                      </a:lnTo>
                      <a:lnTo>
                        <a:pt x="149057" y="663642"/>
                      </a:lnTo>
                      <a:cubicBezTo>
                        <a:pt x="144536" y="661615"/>
                        <a:pt x="151317" y="658575"/>
                        <a:pt x="143406" y="658575"/>
                      </a:cubicBezTo>
                      <a:close/>
                      <a:moveTo>
                        <a:pt x="676823" y="203578"/>
                      </a:moveTo>
                      <a:cubicBezTo>
                        <a:pt x="672302" y="205605"/>
                        <a:pt x="663261" y="219792"/>
                        <a:pt x="668912" y="215738"/>
                      </a:cubicBezTo>
                      <a:cubicBezTo>
                        <a:pt x="665521" y="219792"/>
                        <a:pt x="671172" y="217765"/>
                        <a:pt x="671172" y="217765"/>
                      </a:cubicBezTo>
                      <a:cubicBezTo>
                        <a:pt x="673432" y="213711"/>
                        <a:pt x="676823" y="209658"/>
                        <a:pt x="679083" y="205605"/>
                      </a:cubicBezTo>
                      <a:cubicBezTo>
                        <a:pt x="677952" y="205605"/>
                        <a:pt x="682473" y="201551"/>
                        <a:pt x="676823" y="203578"/>
                      </a:cubicBezTo>
                      <a:close/>
                      <a:moveTo>
                        <a:pt x="794355" y="177231"/>
                      </a:moveTo>
                      <a:lnTo>
                        <a:pt x="792095" y="184324"/>
                      </a:lnTo>
                      <a:cubicBezTo>
                        <a:pt x="819217" y="191418"/>
                        <a:pt x="810177" y="181284"/>
                        <a:pt x="807916" y="182298"/>
                      </a:cubicBezTo>
                      <a:lnTo>
                        <a:pt x="807916" y="177231"/>
                      </a:lnTo>
                      <a:cubicBezTo>
                        <a:pt x="804526" y="177231"/>
                        <a:pt x="796615" y="178244"/>
                        <a:pt x="794355" y="177231"/>
                      </a:cubicBezTo>
                      <a:close/>
                      <a:moveTo>
                        <a:pt x="742369" y="177231"/>
                      </a:moveTo>
                      <a:cubicBezTo>
                        <a:pt x="740109" y="178244"/>
                        <a:pt x="734458" y="181284"/>
                        <a:pt x="731068" y="182298"/>
                      </a:cubicBezTo>
                      <a:cubicBezTo>
                        <a:pt x="736719" y="186351"/>
                        <a:pt x="732198" y="208645"/>
                        <a:pt x="733329" y="204591"/>
                      </a:cubicBezTo>
                      <a:cubicBezTo>
                        <a:pt x="733329" y="204591"/>
                        <a:pt x="733329" y="211685"/>
                        <a:pt x="733329" y="211685"/>
                      </a:cubicBezTo>
                      <a:cubicBezTo>
                        <a:pt x="733329" y="211685"/>
                        <a:pt x="741240" y="211685"/>
                        <a:pt x="741240" y="211685"/>
                      </a:cubicBezTo>
                      <a:cubicBezTo>
                        <a:pt x="744630" y="207631"/>
                        <a:pt x="745760" y="205605"/>
                        <a:pt x="749150" y="201551"/>
                      </a:cubicBezTo>
                      <a:cubicBezTo>
                        <a:pt x="763842" y="189391"/>
                        <a:pt x="751410" y="189391"/>
                        <a:pt x="742369" y="17723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1" name="Freeform: Shape 290">
                  <a:extLst>
                    <a:ext uri="{FF2B5EF4-FFF2-40B4-BE49-F238E27FC236}">
                      <a16:creationId xmlns:a16="http://schemas.microsoft.com/office/drawing/2014/main" id="{2AC421FB-0070-4362-913D-E6FF7E49D5FC}"/>
                    </a:ext>
                  </a:extLst>
                </p:cNvPr>
                <p:cNvSpPr/>
                <p:nvPr/>
              </p:nvSpPr>
              <p:spPr>
                <a:xfrm>
                  <a:off x="10319972" y="2718321"/>
                  <a:ext cx="135614" cy="233072"/>
                </a:xfrm>
                <a:custGeom>
                  <a:avLst/>
                  <a:gdLst>
                    <a:gd name="connsiteX0" fmla="*/ 34915 w 135614"/>
                    <a:gd name="connsiteY0" fmla="*/ 32321 h 233072"/>
                    <a:gd name="connsiteX1" fmla="*/ 40565 w 135614"/>
                    <a:gd name="connsiteY1" fmla="*/ 56641 h 233072"/>
                    <a:gd name="connsiteX2" fmla="*/ 46216 w 135614"/>
                    <a:gd name="connsiteY2" fmla="*/ 56641 h 233072"/>
                    <a:gd name="connsiteX3" fmla="*/ 43956 w 135614"/>
                    <a:gd name="connsiteY3" fmla="*/ 66775 h 233072"/>
                    <a:gd name="connsiteX4" fmla="*/ 32654 w 135614"/>
                    <a:gd name="connsiteY4" fmla="*/ 66775 h 233072"/>
                    <a:gd name="connsiteX5" fmla="*/ 32654 w 135614"/>
                    <a:gd name="connsiteY5" fmla="*/ 73868 h 233072"/>
                    <a:gd name="connsiteX6" fmla="*/ 43956 w 135614"/>
                    <a:gd name="connsiteY6" fmla="*/ 86029 h 233072"/>
                    <a:gd name="connsiteX7" fmla="*/ 36045 w 135614"/>
                    <a:gd name="connsiteY7" fmla="*/ 98189 h 233072"/>
                    <a:gd name="connsiteX8" fmla="*/ 47346 w 135614"/>
                    <a:gd name="connsiteY8" fmla="*/ 112376 h 233072"/>
                    <a:gd name="connsiteX9" fmla="*/ 31525 w 135614"/>
                    <a:gd name="connsiteY9" fmla="*/ 129603 h 233072"/>
                    <a:gd name="connsiteX10" fmla="*/ 33784 w 135614"/>
                    <a:gd name="connsiteY10" fmla="*/ 148857 h 233072"/>
                    <a:gd name="connsiteX11" fmla="*/ 25874 w 135614"/>
                    <a:gd name="connsiteY11" fmla="*/ 161017 h 233072"/>
                    <a:gd name="connsiteX12" fmla="*/ 28134 w 135614"/>
                    <a:gd name="connsiteY12" fmla="*/ 173177 h 233072"/>
                    <a:gd name="connsiteX13" fmla="*/ 22483 w 135614"/>
                    <a:gd name="connsiteY13" fmla="*/ 180271 h 233072"/>
                    <a:gd name="connsiteX14" fmla="*/ 38305 w 135614"/>
                    <a:gd name="connsiteY14" fmla="*/ 185337 h 233072"/>
                    <a:gd name="connsiteX15" fmla="*/ 38305 w 135614"/>
                    <a:gd name="connsiteY15" fmla="*/ 182298 h 233072"/>
                    <a:gd name="connsiteX16" fmla="*/ 54127 w 135614"/>
                    <a:gd name="connsiteY16" fmla="*/ 175204 h 233072"/>
                    <a:gd name="connsiteX17" fmla="*/ 56387 w 135614"/>
                    <a:gd name="connsiteY17" fmla="*/ 165070 h 233072"/>
                    <a:gd name="connsiteX18" fmla="*/ 97071 w 135614"/>
                    <a:gd name="connsiteY18" fmla="*/ 157977 h 233072"/>
                    <a:gd name="connsiteX19" fmla="*/ 99332 w 135614"/>
                    <a:gd name="connsiteY19" fmla="*/ 145817 h 233072"/>
                    <a:gd name="connsiteX20" fmla="*/ 120804 w 135614"/>
                    <a:gd name="connsiteY20" fmla="*/ 140750 h 233072"/>
                    <a:gd name="connsiteX21" fmla="*/ 126454 w 135614"/>
                    <a:gd name="connsiteY21" fmla="*/ 65761 h 233072"/>
                    <a:gd name="connsiteX22" fmla="*/ 110633 w 135614"/>
                    <a:gd name="connsiteY22" fmla="*/ 46508 h 233072"/>
                    <a:gd name="connsiteX23" fmla="*/ 110633 w 135614"/>
                    <a:gd name="connsiteY23" fmla="*/ 36374 h 233072"/>
                    <a:gd name="connsiteX24" fmla="*/ 97071 w 135614"/>
                    <a:gd name="connsiteY24" fmla="*/ 29281 h 233072"/>
                    <a:gd name="connsiteX25" fmla="*/ 99332 w 135614"/>
                    <a:gd name="connsiteY25" fmla="*/ 17120 h 233072"/>
                    <a:gd name="connsiteX26" fmla="*/ 95941 w 135614"/>
                    <a:gd name="connsiteY26" fmla="*/ 12054 h 233072"/>
                    <a:gd name="connsiteX27" fmla="*/ 78989 w 135614"/>
                    <a:gd name="connsiteY27" fmla="*/ 18134 h 233072"/>
                    <a:gd name="connsiteX28" fmla="*/ 60907 w 135614"/>
                    <a:gd name="connsiteY28" fmla="*/ 9013 h 233072"/>
                    <a:gd name="connsiteX29" fmla="*/ 49606 w 135614"/>
                    <a:gd name="connsiteY29" fmla="*/ 13067 h 233072"/>
                    <a:gd name="connsiteX30" fmla="*/ 29264 w 135614"/>
                    <a:gd name="connsiteY30" fmla="*/ 31307 h 233072"/>
                    <a:gd name="connsiteX31" fmla="*/ 34915 w 135614"/>
                    <a:gd name="connsiteY31" fmla="*/ 32321 h 233072"/>
                    <a:gd name="connsiteX32" fmla="*/ 23614 w 135614"/>
                    <a:gd name="connsiteY32" fmla="*/ 216752 h 233072"/>
                    <a:gd name="connsiteX33" fmla="*/ 10052 w 135614"/>
                    <a:gd name="connsiteY33" fmla="*/ 223845 h 233072"/>
                    <a:gd name="connsiteX34" fmla="*/ 12312 w 135614"/>
                    <a:gd name="connsiteY34" fmla="*/ 228912 h 233072"/>
                    <a:gd name="connsiteX35" fmla="*/ 23614 w 135614"/>
                    <a:gd name="connsiteY35" fmla="*/ 228912 h 233072"/>
                    <a:gd name="connsiteX36" fmla="*/ 23614 w 135614"/>
                    <a:gd name="connsiteY36" fmla="*/ 216752 h 233072"/>
                    <a:gd name="connsiteX37" fmla="*/ 15703 w 135614"/>
                    <a:gd name="connsiteY37" fmla="*/ 68802 h 233072"/>
                    <a:gd name="connsiteX38" fmla="*/ 15703 w 135614"/>
                    <a:gd name="connsiteY38" fmla="*/ 78935 h 233072"/>
                    <a:gd name="connsiteX39" fmla="*/ 15703 w 135614"/>
                    <a:gd name="connsiteY39" fmla="*/ 68802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5614" h="233072">
                      <a:moveTo>
                        <a:pt x="34915" y="32321"/>
                      </a:moveTo>
                      <a:cubicBezTo>
                        <a:pt x="36045" y="39414"/>
                        <a:pt x="39435" y="48534"/>
                        <a:pt x="40565" y="56641"/>
                      </a:cubicBezTo>
                      <a:lnTo>
                        <a:pt x="46216" y="56641"/>
                      </a:lnTo>
                      <a:cubicBezTo>
                        <a:pt x="47346" y="61708"/>
                        <a:pt x="42826" y="63735"/>
                        <a:pt x="43956" y="66775"/>
                      </a:cubicBezTo>
                      <a:cubicBezTo>
                        <a:pt x="41695" y="66775"/>
                        <a:pt x="34915" y="65761"/>
                        <a:pt x="32654" y="66775"/>
                      </a:cubicBezTo>
                      <a:cubicBezTo>
                        <a:pt x="31525" y="66775"/>
                        <a:pt x="33784" y="73868"/>
                        <a:pt x="32654" y="73868"/>
                      </a:cubicBezTo>
                      <a:cubicBezTo>
                        <a:pt x="33784" y="76908"/>
                        <a:pt x="41695" y="82989"/>
                        <a:pt x="43956" y="86029"/>
                      </a:cubicBezTo>
                      <a:cubicBezTo>
                        <a:pt x="42826" y="86029"/>
                        <a:pt x="31525" y="94135"/>
                        <a:pt x="36045" y="98189"/>
                      </a:cubicBezTo>
                      <a:cubicBezTo>
                        <a:pt x="37175" y="99202"/>
                        <a:pt x="47346" y="112376"/>
                        <a:pt x="47346" y="112376"/>
                      </a:cubicBezTo>
                      <a:cubicBezTo>
                        <a:pt x="47346" y="115416"/>
                        <a:pt x="31525" y="126563"/>
                        <a:pt x="31525" y="129603"/>
                      </a:cubicBezTo>
                      <a:cubicBezTo>
                        <a:pt x="29264" y="137710"/>
                        <a:pt x="34915" y="140750"/>
                        <a:pt x="33784" y="148857"/>
                      </a:cubicBezTo>
                      <a:cubicBezTo>
                        <a:pt x="33784" y="151897"/>
                        <a:pt x="25874" y="158990"/>
                        <a:pt x="25874" y="161017"/>
                      </a:cubicBezTo>
                      <a:cubicBezTo>
                        <a:pt x="24743" y="167097"/>
                        <a:pt x="29264" y="170137"/>
                        <a:pt x="28134" y="173177"/>
                      </a:cubicBezTo>
                      <a:cubicBezTo>
                        <a:pt x="28134" y="175204"/>
                        <a:pt x="23614" y="175204"/>
                        <a:pt x="22483" y="180271"/>
                      </a:cubicBezTo>
                      <a:cubicBezTo>
                        <a:pt x="29264" y="181284"/>
                        <a:pt x="29264" y="186351"/>
                        <a:pt x="38305" y="185337"/>
                      </a:cubicBezTo>
                      <a:lnTo>
                        <a:pt x="38305" y="182298"/>
                      </a:lnTo>
                      <a:cubicBezTo>
                        <a:pt x="41695" y="180271"/>
                        <a:pt x="50736" y="177231"/>
                        <a:pt x="54127" y="175204"/>
                      </a:cubicBezTo>
                      <a:cubicBezTo>
                        <a:pt x="55257" y="174191"/>
                        <a:pt x="55257" y="166084"/>
                        <a:pt x="56387" y="165070"/>
                      </a:cubicBezTo>
                      <a:cubicBezTo>
                        <a:pt x="68818" y="157977"/>
                        <a:pt x="83510" y="157977"/>
                        <a:pt x="97071" y="157977"/>
                      </a:cubicBezTo>
                      <a:cubicBezTo>
                        <a:pt x="98201" y="153924"/>
                        <a:pt x="97071" y="147843"/>
                        <a:pt x="99332" y="145817"/>
                      </a:cubicBezTo>
                      <a:cubicBezTo>
                        <a:pt x="107242" y="141763"/>
                        <a:pt x="115153" y="145817"/>
                        <a:pt x="120804" y="140750"/>
                      </a:cubicBezTo>
                      <a:cubicBezTo>
                        <a:pt x="126454" y="135683"/>
                        <a:pt x="127585" y="72855"/>
                        <a:pt x="126454" y="65761"/>
                      </a:cubicBezTo>
                      <a:cubicBezTo>
                        <a:pt x="125324" y="58668"/>
                        <a:pt x="111763" y="52588"/>
                        <a:pt x="110633" y="46508"/>
                      </a:cubicBezTo>
                      <a:cubicBezTo>
                        <a:pt x="109502" y="44481"/>
                        <a:pt x="111763" y="38401"/>
                        <a:pt x="110633" y="36374"/>
                      </a:cubicBezTo>
                      <a:cubicBezTo>
                        <a:pt x="107242" y="32321"/>
                        <a:pt x="99332" y="34347"/>
                        <a:pt x="97071" y="29281"/>
                      </a:cubicBezTo>
                      <a:cubicBezTo>
                        <a:pt x="94811" y="24214"/>
                        <a:pt x="101591" y="24214"/>
                        <a:pt x="99332" y="17120"/>
                      </a:cubicBezTo>
                      <a:cubicBezTo>
                        <a:pt x="99332" y="16107"/>
                        <a:pt x="99332" y="15094"/>
                        <a:pt x="95941" y="12054"/>
                      </a:cubicBezTo>
                      <a:cubicBezTo>
                        <a:pt x="94811" y="11040"/>
                        <a:pt x="85770" y="17120"/>
                        <a:pt x="78989" y="18134"/>
                      </a:cubicBezTo>
                      <a:cubicBezTo>
                        <a:pt x="72209" y="17120"/>
                        <a:pt x="60907" y="9013"/>
                        <a:pt x="60907" y="9013"/>
                      </a:cubicBezTo>
                      <a:lnTo>
                        <a:pt x="49606" y="13067"/>
                      </a:lnTo>
                      <a:lnTo>
                        <a:pt x="29264" y="31307"/>
                      </a:lnTo>
                      <a:lnTo>
                        <a:pt x="34915" y="32321"/>
                      </a:lnTo>
                      <a:close/>
                      <a:moveTo>
                        <a:pt x="23614" y="216752"/>
                      </a:moveTo>
                      <a:cubicBezTo>
                        <a:pt x="21353" y="217765"/>
                        <a:pt x="13442" y="221818"/>
                        <a:pt x="10052" y="223845"/>
                      </a:cubicBezTo>
                      <a:cubicBezTo>
                        <a:pt x="10052" y="224859"/>
                        <a:pt x="13442" y="227899"/>
                        <a:pt x="12312" y="228912"/>
                      </a:cubicBezTo>
                      <a:cubicBezTo>
                        <a:pt x="14573" y="228912"/>
                        <a:pt x="20223" y="227899"/>
                        <a:pt x="23614" y="228912"/>
                      </a:cubicBezTo>
                      <a:cubicBezTo>
                        <a:pt x="24743" y="225872"/>
                        <a:pt x="34915" y="213712"/>
                        <a:pt x="23614" y="216752"/>
                      </a:cubicBezTo>
                      <a:close/>
                      <a:moveTo>
                        <a:pt x="15703" y="68802"/>
                      </a:moveTo>
                      <a:cubicBezTo>
                        <a:pt x="15703" y="68802"/>
                        <a:pt x="15703" y="77922"/>
                        <a:pt x="15703" y="78935"/>
                      </a:cubicBezTo>
                      <a:cubicBezTo>
                        <a:pt x="24743" y="80962"/>
                        <a:pt x="21353" y="68802"/>
                        <a:pt x="15703" y="6880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2" name="Freeform: Shape 291">
                  <a:extLst>
                    <a:ext uri="{FF2B5EF4-FFF2-40B4-BE49-F238E27FC236}">
                      <a16:creationId xmlns:a16="http://schemas.microsoft.com/office/drawing/2014/main" id="{52085469-8992-4828-90CA-68F5E239BBB4}"/>
                    </a:ext>
                  </a:extLst>
                </p:cNvPr>
                <p:cNvSpPr/>
                <p:nvPr/>
              </p:nvSpPr>
              <p:spPr>
                <a:xfrm>
                  <a:off x="6460614" y="5141258"/>
                  <a:ext cx="587662" cy="526946"/>
                </a:xfrm>
                <a:custGeom>
                  <a:avLst/>
                  <a:gdLst>
                    <a:gd name="connsiteX0" fmla="*/ 123064 w 587662"/>
                    <a:gd name="connsiteY0" fmla="*/ 138723 h 526945"/>
                    <a:gd name="connsiteX1" fmla="*/ 120804 w 587662"/>
                    <a:gd name="connsiteY1" fmla="*/ 261339 h 526945"/>
                    <a:gd name="connsiteX2" fmla="*/ 99332 w 587662"/>
                    <a:gd name="connsiteY2" fmla="*/ 267419 h 526945"/>
                    <a:gd name="connsiteX3" fmla="*/ 83510 w 587662"/>
                    <a:gd name="connsiteY3" fmla="*/ 280593 h 526945"/>
                    <a:gd name="connsiteX4" fmla="*/ 63168 w 587662"/>
                    <a:gd name="connsiteY4" fmla="*/ 280593 h 526945"/>
                    <a:gd name="connsiteX5" fmla="*/ 45085 w 587662"/>
                    <a:gd name="connsiteY5" fmla="*/ 272486 h 526945"/>
                    <a:gd name="connsiteX6" fmla="*/ 42826 w 587662"/>
                    <a:gd name="connsiteY6" fmla="*/ 258299 h 526945"/>
                    <a:gd name="connsiteX7" fmla="*/ 28134 w 587662"/>
                    <a:gd name="connsiteY7" fmla="*/ 263366 h 526945"/>
                    <a:gd name="connsiteX8" fmla="*/ 10052 w 587662"/>
                    <a:gd name="connsiteY8" fmla="*/ 273499 h 526945"/>
                    <a:gd name="connsiteX9" fmla="*/ 22483 w 587662"/>
                    <a:gd name="connsiteY9" fmla="*/ 295793 h 526945"/>
                    <a:gd name="connsiteX10" fmla="*/ 30394 w 587662"/>
                    <a:gd name="connsiteY10" fmla="*/ 300860 h 526945"/>
                    <a:gd name="connsiteX11" fmla="*/ 28134 w 587662"/>
                    <a:gd name="connsiteY11" fmla="*/ 310994 h 526945"/>
                    <a:gd name="connsiteX12" fmla="*/ 33784 w 587662"/>
                    <a:gd name="connsiteY12" fmla="*/ 313020 h 526945"/>
                    <a:gd name="connsiteX13" fmla="*/ 39435 w 587662"/>
                    <a:gd name="connsiteY13" fmla="*/ 349501 h 526945"/>
                    <a:gd name="connsiteX14" fmla="*/ 52996 w 587662"/>
                    <a:gd name="connsiteY14" fmla="*/ 359635 h 526945"/>
                    <a:gd name="connsiteX15" fmla="*/ 64298 w 587662"/>
                    <a:gd name="connsiteY15" fmla="*/ 389022 h 526945"/>
                    <a:gd name="connsiteX16" fmla="*/ 69948 w 587662"/>
                    <a:gd name="connsiteY16" fmla="*/ 399156 h 526945"/>
                    <a:gd name="connsiteX17" fmla="*/ 64298 w 587662"/>
                    <a:gd name="connsiteY17" fmla="*/ 440703 h 526945"/>
                    <a:gd name="connsiteX18" fmla="*/ 56387 w 587662"/>
                    <a:gd name="connsiteY18" fmla="*/ 438677 h 526945"/>
                    <a:gd name="connsiteX19" fmla="*/ 50736 w 587662"/>
                    <a:gd name="connsiteY19" fmla="*/ 443744 h 526945"/>
                    <a:gd name="connsiteX20" fmla="*/ 56387 w 587662"/>
                    <a:gd name="connsiteY20" fmla="*/ 457930 h 526945"/>
                    <a:gd name="connsiteX21" fmla="*/ 58647 w 587662"/>
                    <a:gd name="connsiteY21" fmla="*/ 457930 h 526945"/>
                    <a:gd name="connsiteX22" fmla="*/ 56387 w 587662"/>
                    <a:gd name="connsiteY22" fmla="*/ 465024 h 526945"/>
                    <a:gd name="connsiteX23" fmla="*/ 56387 w 587662"/>
                    <a:gd name="connsiteY23" fmla="*/ 467051 h 526945"/>
                    <a:gd name="connsiteX24" fmla="*/ 54127 w 587662"/>
                    <a:gd name="connsiteY24" fmla="*/ 472118 h 526945"/>
                    <a:gd name="connsiteX25" fmla="*/ 56387 w 587662"/>
                    <a:gd name="connsiteY25" fmla="*/ 472118 h 526945"/>
                    <a:gd name="connsiteX26" fmla="*/ 67688 w 587662"/>
                    <a:gd name="connsiteY26" fmla="*/ 494412 h 526945"/>
                    <a:gd name="connsiteX27" fmla="*/ 62037 w 587662"/>
                    <a:gd name="connsiteY27" fmla="*/ 499478 h 526945"/>
                    <a:gd name="connsiteX28" fmla="*/ 69948 w 587662"/>
                    <a:gd name="connsiteY28" fmla="*/ 513665 h 526945"/>
                    <a:gd name="connsiteX29" fmla="*/ 77859 w 587662"/>
                    <a:gd name="connsiteY29" fmla="*/ 513665 h 526945"/>
                    <a:gd name="connsiteX30" fmla="*/ 77859 w 587662"/>
                    <a:gd name="connsiteY30" fmla="*/ 506571 h 526945"/>
                    <a:gd name="connsiteX31" fmla="*/ 89160 w 587662"/>
                    <a:gd name="connsiteY31" fmla="*/ 513665 h 526945"/>
                    <a:gd name="connsiteX32" fmla="*/ 94811 w 587662"/>
                    <a:gd name="connsiteY32" fmla="*/ 511638 h 526945"/>
                    <a:gd name="connsiteX33" fmla="*/ 129844 w 587662"/>
                    <a:gd name="connsiteY33" fmla="*/ 525825 h 526945"/>
                    <a:gd name="connsiteX34" fmla="*/ 132105 w 587662"/>
                    <a:gd name="connsiteY34" fmla="*/ 520759 h 526945"/>
                    <a:gd name="connsiteX35" fmla="*/ 161488 w 587662"/>
                    <a:gd name="connsiteY35" fmla="*/ 510625 h 526945"/>
                    <a:gd name="connsiteX36" fmla="*/ 161488 w 587662"/>
                    <a:gd name="connsiteY36" fmla="*/ 503531 h 526945"/>
                    <a:gd name="connsiteX37" fmla="*/ 202172 w 587662"/>
                    <a:gd name="connsiteY37" fmla="*/ 510625 h 526945"/>
                    <a:gd name="connsiteX38" fmla="*/ 210083 w 587662"/>
                    <a:gd name="connsiteY38" fmla="*/ 500491 h 526945"/>
                    <a:gd name="connsiteX39" fmla="*/ 210083 w 587662"/>
                    <a:gd name="connsiteY39" fmla="*/ 498465 h 526945"/>
                    <a:gd name="connsiteX40" fmla="*/ 221385 w 587662"/>
                    <a:gd name="connsiteY40" fmla="*/ 500491 h 526945"/>
                    <a:gd name="connsiteX41" fmla="*/ 229295 w 587662"/>
                    <a:gd name="connsiteY41" fmla="*/ 493398 h 526945"/>
                    <a:gd name="connsiteX42" fmla="*/ 231555 w 587662"/>
                    <a:gd name="connsiteY42" fmla="*/ 493398 h 526945"/>
                    <a:gd name="connsiteX43" fmla="*/ 247377 w 587662"/>
                    <a:gd name="connsiteY43" fmla="*/ 498465 h 526945"/>
                    <a:gd name="connsiteX44" fmla="*/ 266589 w 587662"/>
                    <a:gd name="connsiteY44" fmla="*/ 491371 h 526945"/>
                    <a:gd name="connsiteX45" fmla="*/ 305013 w 587662"/>
                    <a:gd name="connsiteY45" fmla="*/ 501505 h 526945"/>
                    <a:gd name="connsiteX46" fmla="*/ 310664 w 587662"/>
                    <a:gd name="connsiteY46" fmla="*/ 494412 h 526945"/>
                    <a:gd name="connsiteX47" fmla="*/ 340047 w 587662"/>
                    <a:gd name="connsiteY47" fmla="*/ 494412 h 526945"/>
                    <a:gd name="connsiteX48" fmla="*/ 342307 w 587662"/>
                    <a:gd name="connsiteY48" fmla="*/ 482251 h 526945"/>
                    <a:gd name="connsiteX49" fmla="*/ 355868 w 587662"/>
                    <a:gd name="connsiteY49" fmla="*/ 484278 h 526945"/>
                    <a:gd name="connsiteX50" fmla="*/ 380731 w 587662"/>
                    <a:gd name="connsiteY50" fmla="*/ 474144 h 526945"/>
                    <a:gd name="connsiteX51" fmla="*/ 388642 w 587662"/>
                    <a:gd name="connsiteY51" fmla="*/ 474144 h 526945"/>
                    <a:gd name="connsiteX52" fmla="*/ 410115 w 587662"/>
                    <a:gd name="connsiteY52" fmla="*/ 456917 h 526945"/>
                    <a:gd name="connsiteX53" fmla="*/ 415765 w 587662"/>
                    <a:gd name="connsiteY53" fmla="*/ 444757 h 526945"/>
                    <a:gd name="connsiteX54" fmla="*/ 421416 w 587662"/>
                    <a:gd name="connsiteY54" fmla="*/ 444757 h 526945"/>
                    <a:gd name="connsiteX55" fmla="*/ 434977 w 587662"/>
                    <a:gd name="connsiteY55" fmla="*/ 427530 h 526945"/>
                    <a:gd name="connsiteX56" fmla="*/ 446278 w 587662"/>
                    <a:gd name="connsiteY56" fmla="*/ 425503 h 526945"/>
                    <a:gd name="connsiteX57" fmla="*/ 459839 w 587662"/>
                    <a:gd name="connsiteY57" fmla="*/ 406249 h 526945"/>
                    <a:gd name="connsiteX58" fmla="*/ 473401 w 587662"/>
                    <a:gd name="connsiteY58" fmla="*/ 399156 h 526945"/>
                    <a:gd name="connsiteX59" fmla="*/ 475661 w 587662"/>
                    <a:gd name="connsiteY59" fmla="*/ 386995 h 526945"/>
                    <a:gd name="connsiteX60" fmla="*/ 494874 w 587662"/>
                    <a:gd name="connsiteY60" fmla="*/ 374835 h 526945"/>
                    <a:gd name="connsiteX61" fmla="*/ 502784 w 587662"/>
                    <a:gd name="connsiteY61" fmla="*/ 352542 h 526945"/>
                    <a:gd name="connsiteX62" fmla="*/ 514085 w 587662"/>
                    <a:gd name="connsiteY62" fmla="*/ 347475 h 526945"/>
                    <a:gd name="connsiteX63" fmla="*/ 521996 w 587662"/>
                    <a:gd name="connsiteY63" fmla="*/ 323154 h 526945"/>
                    <a:gd name="connsiteX64" fmla="*/ 570591 w 587662"/>
                    <a:gd name="connsiteY64" fmla="*/ 284647 h 526945"/>
                    <a:gd name="connsiteX65" fmla="*/ 562681 w 587662"/>
                    <a:gd name="connsiteY65" fmla="*/ 250192 h 526945"/>
                    <a:gd name="connsiteX66" fmla="*/ 576242 w 587662"/>
                    <a:gd name="connsiteY66" fmla="*/ 248166 h 526945"/>
                    <a:gd name="connsiteX67" fmla="*/ 580762 w 587662"/>
                    <a:gd name="connsiteY67" fmla="*/ 189391 h 526945"/>
                    <a:gd name="connsiteX68" fmla="*/ 557030 w 587662"/>
                    <a:gd name="connsiteY68" fmla="*/ 188378 h 526945"/>
                    <a:gd name="connsiteX69" fmla="*/ 558160 w 587662"/>
                    <a:gd name="connsiteY69" fmla="*/ 208645 h 526945"/>
                    <a:gd name="connsiteX70" fmla="*/ 532167 w 587662"/>
                    <a:gd name="connsiteY70" fmla="*/ 200538 h 526945"/>
                    <a:gd name="connsiteX71" fmla="*/ 519736 w 587662"/>
                    <a:gd name="connsiteY71" fmla="*/ 190404 h 526945"/>
                    <a:gd name="connsiteX72" fmla="*/ 516345 w 587662"/>
                    <a:gd name="connsiteY72" fmla="*/ 170137 h 526945"/>
                    <a:gd name="connsiteX73" fmla="*/ 527647 w 587662"/>
                    <a:gd name="connsiteY73" fmla="*/ 154937 h 526945"/>
                    <a:gd name="connsiteX74" fmla="*/ 544598 w 587662"/>
                    <a:gd name="connsiteY74" fmla="*/ 150883 h 526945"/>
                    <a:gd name="connsiteX75" fmla="*/ 538948 w 587662"/>
                    <a:gd name="connsiteY75" fmla="*/ 139736 h 526945"/>
                    <a:gd name="connsiteX76" fmla="*/ 540078 w 587662"/>
                    <a:gd name="connsiteY76" fmla="*/ 120483 h 526945"/>
                    <a:gd name="connsiteX77" fmla="*/ 541208 w 587662"/>
                    <a:gd name="connsiteY77" fmla="*/ 89069 h 526945"/>
                    <a:gd name="connsiteX78" fmla="*/ 540078 w 587662"/>
                    <a:gd name="connsiteY78" fmla="*/ 53601 h 526945"/>
                    <a:gd name="connsiteX79" fmla="*/ 541208 w 587662"/>
                    <a:gd name="connsiteY79" fmla="*/ 20160 h 526945"/>
                    <a:gd name="connsiteX80" fmla="*/ 520866 w 587662"/>
                    <a:gd name="connsiteY80" fmla="*/ 15094 h 526945"/>
                    <a:gd name="connsiteX81" fmla="*/ 506175 w 587662"/>
                    <a:gd name="connsiteY81" fmla="*/ 10027 h 526945"/>
                    <a:gd name="connsiteX82" fmla="*/ 484702 w 587662"/>
                    <a:gd name="connsiteY82" fmla="*/ 13067 h 526945"/>
                    <a:gd name="connsiteX83" fmla="*/ 467750 w 587662"/>
                    <a:gd name="connsiteY83" fmla="*/ 9013 h 526945"/>
                    <a:gd name="connsiteX84" fmla="*/ 446278 w 587662"/>
                    <a:gd name="connsiteY84" fmla="*/ 24214 h 526945"/>
                    <a:gd name="connsiteX85" fmla="*/ 430457 w 587662"/>
                    <a:gd name="connsiteY85" fmla="*/ 32321 h 526945"/>
                    <a:gd name="connsiteX86" fmla="*/ 396553 w 587662"/>
                    <a:gd name="connsiteY86" fmla="*/ 46508 h 526945"/>
                    <a:gd name="connsiteX87" fmla="*/ 369430 w 587662"/>
                    <a:gd name="connsiteY87" fmla="*/ 69815 h 526945"/>
                    <a:gd name="connsiteX88" fmla="*/ 353609 w 587662"/>
                    <a:gd name="connsiteY88" fmla="*/ 101229 h 526945"/>
                    <a:gd name="connsiteX89" fmla="*/ 335526 w 587662"/>
                    <a:gd name="connsiteY89" fmla="*/ 109336 h 526945"/>
                    <a:gd name="connsiteX90" fmla="*/ 332136 w 587662"/>
                    <a:gd name="connsiteY90" fmla="*/ 154937 h 526945"/>
                    <a:gd name="connsiteX91" fmla="*/ 315184 w 587662"/>
                    <a:gd name="connsiteY91" fmla="*/ 154937 h 526945"/>
                    <a:gd name="connsiteX92" fmla="*/ 286931 w 587662"/>
                    <a:gd name="connsiteY92" fmla="*/ 151897 h 526945"/>
                    <a:gd name="connsiteX93" fmla="*/ 266589 w 587662"/>
                    <a:gd name="connsiteY93" fmla="*/ 151897 h 526945"/>
                    <a:gd name="connsiteX94" fmla="*/ 251898 w 587662"/>
                    <a:gd name="connsiteY94" fmla="*/ 143790 h 526945"/>
                    <a:gd name="connsiteX95" fmla="*/ 239466 w 587662"/>
                    <a:gd name="connsiteY95" fmla="*/ 163044 h 526945"/>
                    <a:gd name="connsiteX96" fmla="*/ 202172 w 587662"/>
                    <a:gd name="connsiteY96" fmla="*/ 187364 h 526945"/>
                    <a:gd name="connsiteX97" fmla="*/ 169399 w 587662"/>
                    <a:gd name="connsiteY97" fmla="*/ 200538 h 526945"/>
                    <a:gd name="connsiteX98" fmla="*/ 152447 w 587662"/>
                    <a:gd name="connsiteY98" fmla="*/ 208645 h 526945"/>
                    <a:gd name="connsiteX99" fmla="*/ 143406 w 587662"/>
                    <a:gd name="connsiteY99" fmla="*/ 188378 h 526945"/>
                    <a:gd name="connsiteX100" fmla="*/ 140016 w 587662"/>
                    <a:gd name="connsiteY100" fmla="*/ 160004 h 526945"/>
                    <a:gd name="connsiteX101" fmla="*/ 123064 w 587662"/>
                    <a:gd name="connsiteY101" fmla="*/ 138723 h 526945"/>
                    <a:gd name="connsiteX102" fmla="*/ 411244 w 587662"/>
                    <a:gd name="connsiteY102" fmla="*/ 342408 h 526945"/>
                    <a:gd name="connsiteX103" fmla="*/ 418025 w 587662"/>
                    <a:gd name="connsiteY103" fmla="*/ 336328 h 526945"/>
                    <a:gd name="connsiteX104" fmla="*/ 429326 w 587662"/>
                    <a:gd name="connsiteY104" fmla="*/ 330248 h 526945"/>
                    <a:gd name="connsiteX105" fmla="*/ 444018 w 587662"/>
                    <a:gd name="connsiteY105" fmla="*/ 326194 h 526945"/>
                    <a:gd name="connsiteX106" fmla="*/ 440627 w 587662"/>
                    <a:gd name="connsiteY106" fmla="*/ 310994 h 526945"/>
                    <a:gd name="connsiteX107" fmla="*/ 429326 w 587662"/>
                    <a:gd name="connsiteY107" fmla="*/ 299847 h 526945"/>
                    <a:gd name="connsiteX108" fmla="*/ 422546 w 587662"/>
                    <a:gd name="connsiteY108" fmla="*/ 291740 h 526945"/>
                    <a:gd name="connsiteX109" fmla="*/ 399943 w 587662"/>
                    <a:gd name="connsiteY109" fmla="*/ 305927 h 526945"/>
                    <a:gd name="connsiteX110" fmla="*/ 386382 w 587662"/>
                    <a:gd name="connsiteY110" fmla="*/ 310994 h 526945"/>
                    <a:gd name="connsiteX111" fmla="*/ 379601 w 587662"/>
                    <a:gd name="connsiteY111" fmla="*/ 324167 h 526945"/>
                    <a:gd name="connsiteX112" fmla="*/ 387512 w 587662"/>
                    <a:gd name="connsiteY112" fmla="*/ 335314 h 526945"/>
                    <a:gd name="connsiteX113" fmla="*/ 398813 w 587662"/>
                    <a:gd name="connsiteY113" fmla="*/ 348488 h 526945"/>
                    <a:gd name="connsiteX114" fmla="*/ 411244 w 587662"/>
                    <a:gd name="connsiteY114" fmla="*/ 342408 h 52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87662" h="526945">
                      <a:moveTo>
                        <a:pt x="123064" y="138723"/>
                      </a:moveTo>
                      <a:lnTo>
                        <a:pt x="120804" y="261339"/>
                      </a:lnTo>
                      <a:cubicBezTo>
                        <a:pt x="120804" y="261339"/>
                        <a:pt x="103852" y="260326"/>
                        <a:pt x="99332" y="267419"/>
                      </a:cubicBezTo>
                      <a:cubicBezTo>
                        <a:pt x="94811" y="274513"/>
                        <a:pt x="90290" y="275526"/>
                        <a:pt x="83510" y="280593"/>
                      </a:cubicBezTo>
                      <a:cubicBezTo>
                        <a:pt x="76729" y="285660"/>
                        <a:pt x="76729" y="280593"/>
                        <a:pt x="63168" y="280593"/>
                      </a:cubicBezTo>
                      <a:cubicBezTo>
                        <a:pt x="50736" y="280593"/>
                        <a:pt x="48476" y="280593"/>
                        <a:pt x="45085" y="272486"/>
                      </a:cubicBezTo>
                      <a:cubicBezTo>
                        <a:pt x="41695" y="264379"/>
                        <a:pt x="50736" y="258299"/>
                        <a:pt x="42826" y="258299"/>
                      </a:cubicBezTo>
                      <a:cubicBezTo>
                        <a:pt x="34915" y="258299"/>
                        <a:pt x="31525" y="258299"/>
                        <a:pt x="28134" y="263366"/>
                      </a:cubicBezTo>
                      <a:cubicBezTo>
                        <a:pt x="24743" y="268433"/>
                        <a:pt x="10052" y="273499"/>
                        <a:pt x="10052" y="273499"/>
                      </a:cubicBezTo>
                      <a:cubicBezTo>
                        <a:pt x="13442" y="279580"/>
                        <a:pt x="19093" y="290727"/>
                        <a:pt x="22483" y="295793"/>
                      </a:cubicBezTo>
                      <a:cubicBezTo>
                        <a:pt x="23614" y="297820"/>
                        <a:pt x="29264" y="297820"/>
                        <a:pt x="30394" y="300860"/>
                      </a:cubicBezTo>
                      <a:cubicBezTo>
                        <a:pt x="32654" y="305927"/>
                        <a:pt x="27004" y="304914"/>
                        <a:pt x="28134" y="310994"/>
                      </a:cubicBezTo>
                      <a:lnTo>
                        <a:pt x="33784" y="313020"/>
                      </a:lnTo>
                      <a:cubicBezTo>
                        <a:pt x="38305" y="325181"/>
                        <a:pt x="33784" y="338354"/>
                        <a:pt x="39435" y="349501"/>
                      </a:cubicBezTo>
                      <a:cubicBezTo>
                        <a:pt x="41695" y="354568"/>
                        <a:pt x="50736" y="355582"/>
                        <a:pt x="52996" y="359635"/>
                      </a:cubicBezTo>
                      <a:cubicBezTo>
                        <a:pt x="57517" y="366728"/>
                        <a:pt x="60907" y="379902"/>
                        <a:pt x="64298" y="389022"/>
                      </a:cubicBezTo>
                      <a:cubicBezTo>
                        <a:pt x="64298" y="389022"/>
                        <a:pt x="69948" y="398143"/>
                        <a:pt x="69948" y="399156"/>
                      </a:cubicBezTo>
                      <a:cubicBezTo>
                        <a:pt x="72209" y="411316"/>
                        <a:pt x="66558" y="438677"/>
                        <a:pt x="64298" y="440703"/>
                      </a:cubicBezTo>
                      <a:lnTo>
                        <a:pt x="56387" y="438677"/>
                      </a:lnTo>
                      <a:cubicBezTo>
                        <a:pt x="56387" y="441717"/>
                        <a:pt x="52996" y="441717"/>
                        <a:pt x="50736" y="443744"/>
                      </a:cubicBezTo>
                      <a:cubicBezTo>
                        <a:pt x="52996" y="449824"/>
                        <a:pt x="54127" y="453877"/>
                        <a:pt x="56387" y="457930"/>
                      </a:cubicBezTo>
                      <a:lnTo>
                        <a:pt x="58647" y="457930"/>
                      </a:lnTo>
                      <a:cubicBezTo>
                        <a:pt x="59778" y="459957"/>
                        <a:pt x="57517" y="468064"/>
                        <a:pt x="56387" y="465024"/>
                      </a:cubicBezTo>
                      <a:lnTo>
                        <a:pt x="56387" y="467051"/>
                      </a:lnTo>
                      <a:cubicBezTo>
                        <a:pt x="55257" y="468064"/>
                        <a:pt x="51867" y="468064"/>
                        <a:pt x="54127" y="472118"/>
                      </a:cubicBezTo>
                      <a:lnTo>
                        <a:pt x="56387" y="472118"/>
                      </a:lnTo>
                      <a:cubicBezTo>
                        <a:pt x="66558" y="476171"/>
                        <a:pt x="63168" y="483264"/>
                        <a:pt x="67688" y="494412"/>
                      </a:cubicBezTo>
                      <a:cubicBezTo>
                        <a:pt x="67688" y="492385"/>
                        <a:pt x="62037" y="499478"/>
                        <a:pt x="62037" y="499478"/>
                      </a:cubicBezTo>
                      <a:cubicBezTo>
                        <a:pt x="63168" y="502518"/>
                        <a:pt x="67688" y="509612"/>
                        <a:pt x="69948" y="513665"/>
                      </a:cubicBezTo>
                      <a:cubicBezTo>
                        <a:pt x="71079" y="512652"/>
                        <a:pt x="76729" y="513665"/>
                        <a:pt x="77859" y="513665"/>
                      </a:cubicBezTo>
                      <a:cubicBezTo>
                        <a:pt x="77859" y="513665"/>
                        <a:pt x="77859" y="506571"/>
                        <a:pt x="77859" y="506571"/>
                      </a:cubicBezTo>
                      <a:cubicBezTo>
                        <a:pt x="88031" y="503531"/>
                        <a:pt x="84640" y="511638"/>
                        <a:pt x="89160" y="513665"/>
                      </a:cubicBezTo>
                      <a:cubicBezTo>
                        <a:pt x="93681" y="515692"/>
                        <a:pt x="90290" y="510625"/>
                        <a:pt x="94811" y="511638"/>
                      </a:cubicBezTo>
                      <a:cubicBezTo>
                        <a:pt x="104982" y="512652"/>
                        <a:pt x="111763" y="528865"/>
                        <a:pt x="129844" y="525825"/>
                      </a:cubicBezTo>
                      <a:cubicBezTo>
                        <a:pt x="129844" y="525825"/>
                        <a:pt x="132105" y="520759"/>
                        <a:pt x="132105" y="520759"/>
                      </a:cubicBezTo>
                      <a:cubicBezTo>
                        <a:pt x="143406" y="516705"/>
                        <a:pt x="150187" y="515692"/>
                        <a:pt x="161488" y="510625"/>
                      </a:cubicBezTo>
                      <a:cubicBezTo>
                        <a:pt x="161488" y="510625"/>
                        <a:pt x="161488" y="503531"/>
                        <a:pt x="161488" y="503531"/>
                      </a:cubicBezTo>
                      <a:cubicBezTo>
                        <a:pt x="168269" y="501505"/>
                        <a:pt x="193132" y="507585"/>
                        <a:pt x="202172" y="510625"/>
                      </a:cubicBezTo>
                      <a:cubicBezTo>
                        <a:pt x="204433" y="507585"/>
                        <a:pt x="210083" y="505558"/>
                        <a:pt x="210083" y="500491"/>
                      </a:cubicBezTo>
                      <a:lnTo>
                        <a:pt x="210083" y="498465"/>
                      </a:lnTo>
                      <a:cubicBezTo>
                        <a:pt x="214603" y="496438"/>
                        <a:pt x="215734" y="501505"/>
                        <a:pt x="221385" y="500491"/>
                      </a:cubicBezTo>
                      <a:cubicBezTo>
                        <a:pt x="221385" y="500491"/>
                        <a:pt x="228165" y="493398"/>
                        <a:pt x="229295" y="493398"/>
                      </a:cubicBezTo>
                      <a:lnTo>
                        <a:pt x="231555" y="493398"/>
                      </a:lnTo>
                      <a:cubicBezTo>
                        <a:pt x="233816" y="493398"/>
                        <a:pt x="243987" y="498465"/>
                        <a:pt x="247377" y="498465"/>
                      </a:cubicBezTo>
                      <a:cubicBezTo>
                        <a:pt x="254158" y="497452"/>
                        <a:pt x="254158" y="490358"/>
                        <a:pt x="266589" y="491371"/>
                      </a:cubicBezTo>
                      <a:cubicBezTo>
                        <a:pt x="274500" y="492385"/>
                        <a:pt x="286931" y="504545"/>
                        <a:pt x="305013" y="501505"/>
                      </a:cubicBezTo>
                      <a:cubicBezTo>
                        <a:pt x="306143" y="501505"/>
                        <a:pt x="309534" y="494412"/>
                        <a:pt x="310664" y="494412"/>
                      </a:cubicBezTo>
                      <a:cubicBezTo>
                        <a:pt x="323095" y="490358"/>
                        <a:pt x="327615" y="494412"/>
                        <a:pt x="340047" y="494412"/>
                      </a:cubicBezTo>
                      <a:cubicBezTo>
                        <a:pt x="341177" y="490358"/>
                        <a:pt x="338917" y="483264"/>
                        <a:pt x="342307" y="482251"/>
                      </a:cubicBezTo>
                      <a:cubicBezTo>
                        <a:pt x="347958" y="480224"/>
                        <a:pt x="354738" y="484278"/>
                        <a:pt x="355868" y="484278"/>
                      </a:cubicBezTo>
                      <a:cubicBezTo>
                        <a:pt x="370560" y="485291"/>
                        <a:pt x="371690" y="476171"/>
                        <a:pt x="380731" y="474144"/>
                      </a:cubicBezTo>
                      <a:cubicBezTo>
                        <a:pt x="382991" y="474144"/>
                        <a:pt x="386382" y="475158"/>
                        <a:pt x="388642" y="474144"/>
                      </a:cubicBezTo>
                      <a:cubicBezTo>
                        <a:pt x="390902" y="473131"/>
                        <a:pt x="408984" y="458944"/>
                        <a:pt x="410115" y="456917"/>
                      </a:cubicBezTo>
                      <a:cubicBezTo>
                        <a:pt x="412374" y="453877"/>
                        <a:pt x="412374" y="447797"/>
                        <a:pt x="415765" y="444757"/>
                      </a:cubicBezTo>
                      <a:lnTo>
                        <a:pt x="421416" y="444757"/>
                      </a:lnTo>
                      <a:cubicBezTo>
                        <a:pt x="428196" y="442730"/>
                        <a:pt x="429326" y="430570"/>
                        <a:pt x="434977" y="427530"/>
                      </a:cubicBezTo>
                      <a:cubicBezTo>
                        <a:pt x="438368" y="425503"/>
                        <a:pt x="442888" y="427530"/>
                        <a:pt x="446278" y="425503"/>
                      </a:cubicBezTo>
                      <a:cubicBezTo>
                        <a:pt x="449669" y="422463"/>
                        <a:pt x="455319" y="409289"/>
                        <a:pt x="459839" y="406249"/>
                      </a:cubicBezTo>
                      <a:cubicBezTo>
                        <a:pt x="463230" y="403209"/>
                        <a:pt x="471141" y="402196"/>
                        <a:pt x="473401" y="399156"/>
                      </a:cubicBezTo>
                      <a:cubicBezTo>
                        <a:pt x="475661" y="395102"/>
                        <a:pt x="473401" y="391049"/>
                        <a:pt x="475661" y="386995"/>
                      </a:cubicBezTo>
                      <a:cubicBezTo>
                        <a:pt x="477922" y="383955"/>
                        <a:pt x="491483" y="378889"/>
                        <a:pt x="494874" y="374835"/>
                      </a:cubicBezTo>
                      <a:cubicBezTo>
                        <a:pt x="500524" y="367742"/>
                        <a:pt x="497133" y="360648"/>
                        <a:pt x="502784" y="352542"/>
                      </a:cubicBezTo>
                      <a:cubicBezTo>
                        <a:pt x="503914" y="350515"/>
                        <a:pt x="511825" y="349501"/>
                        <a:pt x="514085" y="347475"/>
                      </a:cubicBezTo>
                      <a:cubicBezTo>
                        <a:pt x="520866" y="339368"/>
                        <a:pt x="517476" y="333288"/>
                        <a:pt x="521996" y="323154"/>
                      </a:cubicBezTo>
                      <a:cubicBezTo>
                        <a:pt x="529907" y="304914"/>
                        <a:pt x="551380" y="292753"/>
                        <a:pt x="570591" y="284647"/>
                      </a:cubicBezTo>
                      <a:cubicBezTo>
                        <a:pt x="568331" y="268433"/>
                        <a:pt x="567201" y="263366"/>
                        <a:pt x="562681" y="250192"/>
                      </a:cubicBezTo>
                      <a:cubicBezTo>
                        <a:pt x="564940" y="249179"/>
                        <a:pt x="575112" y="248166"/>
                        <a:pt x="576242" y="248166"/>
                      </a:cubicBezTo>
                      <a:cubicBezTo>
                        <a:pt x="578502" y="229925"/>
                        <a:pt x="577372" y="208645"/>
                        <a:pt x="580762" y="189391"/>
                      </a:cubicBezTo>
                      <a:lnTo>
                        <a:pt x="557030" y="188378"/>
                      </a:lnTo>
                      <a:lnTo>
                        <a:pt x="558160" y="208645"/>
                      </a:lnTo>
                      <a:cubicBezTo>
                        <a:pt x="558160" y="208645"/>
                        <a:pt x="542338" y="205605"/>
                        <a:pt x="532167" y="200538"/>
                      </a:cubicBezTo>
                      <a:cubicBezTo>
                        <a:pt x="521996" y="195471"/>
                        <a:pt x="525386" y="200538"/>
                        <a:pt x="519736" y="190404"/>
                      </a:cubicBezTo>
                      <a:cubicBezTo>
                        <a:pt x="514085" y="180271"/>
                        <a:pt x="516345" y="182298"/>
                        <a:pt x="516345" y="170137"/>
                      </a:cubicBezTo>
                      <a:cubicBezTo>
                        <a:pt x="516345" y="157977"/>
                        <a:pt x="521996" y="150883"/>
                        <a:pt x="527647" y="154937"/>
                      </a:cubicBezTo>
                      <a:cubicBezTo>
                        <a:pt x="533297" y="158990"/>
                        <a:pt x="544598" y="150883"/>
                        <a:pt x="544598" y="150883"/>
                      </a:cubicBezTo>
                      <a:cubicBezTo>
                        <a:pt x="544598" y="150883"/>
                        <a:pt x="544598" y="145817"/>
                        <a:pt x="538948" y="139736"/>
                      </a:cubicBezTo>
                      <a:cubicBezTo>
                        <a:pt x="533297" y="133656"/>
                        <a:pt x="537818" y="128589"/>
                        <a:pt x="540078" y="120483"/>
                      </a:cubicBezTo>
                      <a:cubicBezTo>
                        <a:pt x="542338" y="112376"/>
                        <a:pt x="545729" y="102242"/>
                        <a:pt x="541208" y="89069"/>
                      </a:cubicBezTo>
                      <a:cubicBezTo>
                        <a:pt x="536687" y="75895"/>
                        <a:pt x="534428" y="62721"/>
                        <a:pt x="540078" y="53601"/>
                      </a:cubicBezTo>
                      <a:cubicBezTo>
                        <a:pt x="545729" y="44481"/>
                        <a:pt x="541208" y="20160"/>
                        <a:pt x="541208" y="20160"/>
                      </a:cubicBezTo>
                      <a:cubicBezTo>
                        <a:pt x="541208" y="20160"/>
                        <a:pt x="532167" y="15094"/>
                        <a:pt x="520866" y="15094"/>
                      </a:cubicBezTo>
                      <a:cubicBezTo>
                        <a:pt x="509565" y="15094"/>
                        <a:pt x="506175" y="10027"/>
                        <a:pt x="506175" y="10027"/>
                      </a:cubicBezTo>
                      <a:cubicBezTo>
                        <a:pt x="506175" y="10027"/>
                        <a:pt x="490353" y="9013"/>
                        <a:pt x="484702" y="13067"/>
                      </a:cubicBezTo>
                      <a:cubicBezTo>
                        <a:pt x="479052" y="17120"/>
                        <a:pt x="467750" y="9013"/>
                        <a:pt x="467750" y="9013"/>
                      </a:cubicBezTo>
                      <a:cubicBezTo>
                        <a:pt x="467750" y="9013"/>
                        <a:pt x="460970" y="27254"/>
                        <a:pt x="446278" y="24214"/>
                      </a:cubicBezTo>
                      <a:cubicBezTo>
                        <a:pt x="431586" y="21174"/>
                        <a:pt x="440627" y="32321"/>
                        <a:pt x="430457" y="32321"/>
                      </a:cubicBezTo>
                      <a:cubicBezTo>
                        <a:pt x="420285" y="32321"/>
                        <a:pt x="406724" y="46508"/>
                        <a:pt x="396553" y="46508"/>
                      </a:cubicBezTo>
                      <a:cubicBezTo>
                        <a:pt x="386382" y="46508"/>
                        <a:pt x="380731" y="65761"/>
                        <a:pt x="369430" y="69815"/>
                      </a:cubicBezTo>
                      <a:cubicBezTo>
                        <a:pt x="358129" y="73868"/>
                        <a:pt x="362649" y="101229"/>
                        <a:pt x="353609" y="101229"/>
                      </a:cubicBezTo>
                      <a:cubicBezTo>
                        <a:pt x="344567" y="101229"/>
                        <a:pt x="335526" y="109336"/>
                        <a:pt x="335526" y="109336"/>
                      </a:cubicBezTo>
                      <a:cubicBezTo>
                        <a:pt x="335526" y="109336"/>
                        <a:pt x="332136" y="147843"/>
                        <a:pt x="332136" y="154937"/>
                      </a:cubicBezTo>
                      <a:cubicBezTo>
                        <a:pt x="332136" y="162030"/>
                        <a:pt x="321965" y="158990"/>
                        <a:pt x="315184" y="154937"/>
                      </a:cubicBezTo>
                      <a:cubicBezTo>
                        <a:pt x="308404" y="150883"/>
                        <a:pt x="297103" y="158990"/>
                        <a:pt x="286931" y="151897"/>
                      </a:cubicBezTo>
                      <a:cubicBezTo>
                        <a:pt x="276760" y="144803"/>
                        <a:pt x="274500" y="155950"/>
                        <a:pt x="266589" y="151897"/>
                      </a:cubicBezTo>
                      <a:cubicBezTo>
                        <a:pt x="258678" y="147843"/>
                        <a:pt x="257548" y="141763"/>
                        <a:pt x="251898" y="143790"/>
                      </a:cubicBezTo>
                      <a:cubicBezTo>
                        <a:pt x="233816" y="151897"/>
                        <a:pt x="239466" y="154937"/>
                        <a:pt x="239466" y="163044"/>
                      </a:cubicBezTo>
                      <a:cubicBezTo>
                        <a:pt x="239466" y="171151"/>
                        <a:pt x="202172" y="187364"/>
                        <a:pt x="202172" y="187364"/>
                      </a:cubicBezTo>
                      <a:cubicBezTo>
                        <a:pt x="202172" y="187364"/>
                        <a:pt x="180700" y="200538"/>
                        <a:pt x="169399" y="200538"/>
                      </a:cubicBezTo>
                      <a:cubicBezTo>
                        <a:pt x="158097" y="200538"/>
                        <a:pt x="162618" y="208645"/>
                        <a:pt x="152447" y="208645"/>
                      </a:cubicBezTo>
                      <a:cubicBezTo>
                        <a:pt x="142276" y="208645"/>
                        <a:pt x="140016" y="197498"/>
                        <a:pt x="143406" y="188378"/>
                      </a:cubicBezTo>
                      <a:cubicBezTo>
                        <a:pt x="146796" y="179257"/>
                        <a:pt x="147927" y="177231"/>
                        <a:pt x="140016" y="160004"/>
                      </a:cubicBezTo>
                      <a:cubicBezTo>
                        <a:pt x="132105" y="142777"/>
                        <a:pt x="123064" y="138723"/>
                        <a:pt x="123064" y="138723"/>
                      </a:cubicBezTo>
                      <a:close/>
                      <a:moveTo>
                        <a:pt x="411244" y="342408"/>
                      </a:moveTo>
                      <a:cubicBezTo>
                        <a:pt x="414635" y="340381"/>
                        <a:pt x="415765" y="338354"/>
                        <a:pt x="418025" y="336328"/>
                      </a:cubicBezTo>
                      <a:cubicBezTo>
                        <a:pt x="422546" y="333288"/>
                        <a:pt x="424806" y="332275"/>
                        <a:pt x="429326" y="330248"/>
                      </a:cubicBezTo>
                      <a:cubicBezTo>
                        <a:pt x="434977" y="328221"/>
                        <a:pt x="440627" y="330248"/>
                        <a:pt x="444018" y="326194"/>
                      </a:cubicBezTo>
                      <a:cubicBezTo>
                        <a:pt x="447408" y="321127"/>
                        <a:pt x="444018" y="316060"/>
                        <a:pt x="440627" y="310994"/>
                      </a:cubicBezTo>
                      <a:cubicBezTo>
                        <a:pt x="437237" y="305927"/>
                        <a:pt x="433847" y="303900"/>
                        <a:pt x="429326" y="299847"/>
                      </a:cubicBezTo>
                      <a:lnTo>
                        <a:pt x="422546" y="291740"/>
                      </a:lnTo>
                      <a:cubicBezTo>
                        <a:pt x="422546" y="291740"/>
                        <a:pt x="406724" y="299847"/>
                        <a:pt x="399943" y="305927"/>
                      </a:cubicBezTo>
                      <a:cubicBezTo>
                        <a:pt x="393163" y="312007"/>
                        <a:pt x="390902" y="310994"/>
                        <a:pt x="386382" y="310994"/>
                      </a:cubicBezTo>
                      <a:cubicBezTo>
                        <a:pt x="381862" y="310994"/>
                        <a:pt x="375080" y="324167"/>
                        <a:pt x="379601" y="324167"/>
                      </a:cubicBezTo>
                      <a:cubicBezTo>
                        <a:pt x="384121" y="324167"/>
                        <a:pt x="382991" y="327208"/>
                        <a:pt x="387512" y="335314"/>
                      </a:cubicBezTo>
                      <a:cubicBezTo>
                        <a:pt x="392032" y="343421"/>
                        <a:pt x="387512" y="348488"/>
                        <a:pt x="398813" y="348488"/>
                      </a:cubicBezTo>
                      <a:cubicBezTo>
                        <a:pt x="410115" y="348488"/>
                        <a:pt x="406724" y="345448"/>
                        <a:pt x="411244" y="34240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4" name="Freeform: Shape 293">
                  <a:extLst>
                    <a:ext uri="{FF2B5EF4-FFF2-40B4-BE49-F238E27FC236}">
                      <a16:creationId xmlns:a16="http://schemas.microsoft.com/office/drawing/2014/main" id="{5B8E3426-EECE-453D-BFC8-C5FF03DA5C13}"/>
                    </a:ext>
                  </a:extLst>
                </p:cNvPr>
                <p:cNvSpPr/>
                <p:nvPr/>
              </p:nvSpPr>
              <p:spPr>
                <a:xfrm>
                  <a:off x="7344368" y="3805520"/>
                  <a:ext cx="361638" cy="506678"/>
                </a:xfrm>
                <a:custGeom>
                  <a:avLst/>
                  <a:gdLst>
                    <a:gd name="connsiteX0" fmla="*/ 43956 w 361638"/>
                    <a:gd name="connsiteY0" fmla="*/ 501638 h 506678"/>
                    <a:gd name="connsiteX1" fmla="*/ 51867 w 361638"/>
                    <a:gd name="connsiteY1" fmla="*/ 487451 h 506678"/>
                    <a:gd name="connsiteX2" fmla="*/ 49606 w 361638"/>
                    <a:gd name="connsiteY2" fmla="*/ 485424 h 506678"/>
                    <a:gd name="connsiteX3" fmla="*/ 63168 w 361638"/>
                    <a:gd name="connsiteY3" fmla="*/ 475291 h 506678"/>
                    <a:gd name="connsiteX4" fmla="*/ 63168 w 361638"/>
                    <a:gd name="connsiteY4" fmla="*/ 468197 h 506678"/>
                    <a:gd name="connsiteX5" fmla="*/ 78989 w 361638"/>
                    <a:gd name="connsiteY5" fmla="*/ 458064 h 506678"/>
                    <a:gd name="connsiteX6" fmla="*/ 84640 w 361638"/>
                    <a:gd name="connsiteY6" fmla="*/ 445903 h 506678"/>
                    <a:gd name="connsiteX7" fmla="*/ 98201 w 361638"/>
                    <a:gd name="connsiteY7" fmla="*/ 438810 h 506678"/>
                    <a:gd name="connsiteX8" fmla="*/ 117413 w 361638"/>
                    <a:gd name="connsiteY8" fmla="*/ 416516 h 506678"/>
                    <a:gd name="connsiteX9" fmla="*/ 155837 w 361638"/>
                    <a:gd name="connsiteY9" fmla="*/ 397262 h 506678"/>
                    <a:gd name="connsiteX10" fmla="*/ 158097 w 361638"/>
                    <a:gd name="connsiteY10" fmla="*/ 390169 h 506678"/>
                    <a:gd name="connsiteX11" fmla="*/ 193132 w 361638"/>
                    <a:gd name="connsiteY11" fmla="*/ 360781 h 506678"/>
                    <a:gd name="connsiteX12" fmla="*/ 195391 w 361638"/>
                    <a:gd name="connsiteY12" fmla="*/ 350648 h 506678"/>
                    <a:gd name="connsiteX13" fmla="*/ 203302 w 361638"/>
                    <a:gd name="connsiteY13" fmla="*/ 350648 h 506678"/>
                    <a:gd name="connsiteX14" fmla="*/ 216864 w 361638"/>
                    <a:gd name="connsiteY14" fmla="*/ 338488 h 506678"/>
                    <a:gd name="connsiteX15" fmla="*/ 222514 w 361638"/>
                    <a:gd name="connsiteY15" fmla="*/ 316194 h 506678"/>
                    <a:gd name="connsiteX16" fmla="*/ 243987 w 361638"/>
                    <a:gd name="connsiteY16" fmla="*/ 309100 h 506678"/>
                    <a:gd name="connsiteX17" fmla="*/ 243987 w 361638"/>
                    <a:gd name="connsiteY17" fmla="*/ 296940 h 506678"/>
                    <a:gd name="connsiteX18" fmla="*/ 257548 w 361638"/>
                    <a:gd name="connsiteY18" fmla="*/ 274646 h 506678"/>
                    <a:gd name="connsiteX19" fmla="*/ 265459 w 361638"/>
                    <a:gd name="connsiteY19" fmla="*/ 269579 h 506678"/>
                    <a:gd name="connsiteX20" fmla="*/ 265459 w 361638"/>
                    <a:gd name="connsiteY20" fmla="*/ 252352 h 506678"/>
                    <a:gd name="connsiteX21" fmla="*/ 281281 w 361638"/>
                    <a:gd name="connsiteY21" fmla="*/ 233098 h 506678"/>
                    <a:gd name="connsiteX22" fmla="*/ 281281 w 361638"/>
                    <a:gd name="connsiteY22" fmla="*/ 220938 h 506678"/>
                    <a:gd name="connsiteX23" fmla="*/ 292582 w 361638"/>
                    <a:gd name="connsiteY23" fmla="*/ 196618 h 506678"/>
                    <a:gd name="connsiteX24" fmla="*/ 298233 w 361638"/>
                    <a:gd name="connsiteY24" fmla="*/ 172297 h 506678"/>
                    <a:gd name="connsiteX25" fmla="*/ 303883 w 361638"/>
                    <a:gd name="connsiteY25" fmla="*/ 170270 h 506678"/>
                    <a:gd name="connsiteX26" fmla="*/ 306143 w 361638"/>
                    <a:gd name="connsiteY26" fmla="*/ 158110 h 506678"/>
                    <a:gd name="connsiteX27" fmla="*/ 327615 w 361638"/>
                    <a:gd name="connsiteY27" fmla="*/ 135816 h 506678"/>
                    <a:gd name="connsiteX28" fmla="*/ 329876 w 361638"/>
                    <a:gd name="connsiteY28" fmla="*/ 113522 h 506678"/>
                    <a:gd name="connsiteX29" fmla="*/ 335526 w 361638"/>
                    <a:gd name="connsiteY29" fmla="*/ 111495 h 506678"/>
                    <a:gd name="connsiteX30" fmla="*/ 335526 w 361638"/>
                    <a:gd name="connsiteY30" fmla="*/ 99335 h 506678"/>
                    <a:gd name="connsiteX31" fmla="*/ 346828 w 361638"/>
                    <a:gd name="connsiteY31" fmla="*/ 72988 h 506678"/>
                    <a:gd name="connsiteX32" fmla="*/ 354738 w 361638"/>
                    <a:gd name="connsiteY32" fmla="*/ 14213 h 506678"/>
                    <a:gd name="connsiteX33" fmla="*/ 338917 w 361638"/>
                    <a:gd name="connsiteY33" fmla="*/ 9147 h 506678"/>
                    <a:gd name="connsiteX34" fmla="*/ 333266 w 361638"/>
                    <a:gd name="connsiteY34" fmla="*/ 16240 h 506678"/>
                    <a:gd name="connsiteX35" fmla="*/ 298233 w 361638"/>
                    <a:gd name="connsiteY35" fmla="*/ 28400 h 506678"/>
                    <a:gd name="connsiteX36" fmla="*/ 259808 w 361638"/>
                    <a:gd name="connsiteY36" fmla="*/ 28400 h 506678"/>
                    <a:gd name="connsiteX37" fmla="*/ 251897 w 361638"/>
                    <a:gd name="connsiteY37" fmla="*/ 35494 h 506678"/>
                    <a:gd name="connsiteX38" fmla="*/ 222514 w 361638"/>
                    <a:gd name="connsiteY38" fmla="*/ 40561 h 506678"/>
                    <a:gd name="connsiteX39" fmla="*/ 216864 w 361638"/>
                    <a:gd name="connsiteY39" fmla="*/ 47654 h 506678"/>
                    <a:gd name="connsiteX40" fmla="*/ 197652 w 361638"/>
                    <a:gd name="connsiteY40" fmla="*/ 52721 h 506678"/>
                    <a:gd name="connsiteX41" fmla="*/ 195391 w 361638"/>
                    <a:gd name="connsiteY41" fmla="*/ 57788 h 506678"/>
                    <a:gd name="connsiteX42" fmla="*/ 176180 w 361638"/>
                    <a:gd name="connsiteY42" fmla="*/ 50694 h 506678"/>
                    <a:gd name="connsiteX43" fmla="*/ 116283 w 361638"/>
                    <a:gd name="connsiteY43" fmla="*/ 60828 h 506678"/>
                    <a:gd name="connsiteX44" fmla="*/ 114023 w 361638"/>
                    <a:gd name="connsiteY44" fmla="*/ 55761 h 506678"/>
                    <a:gd name="connsiteX45" fmla="*/ 77859 w 361638"/>
                    <a:gd name="connsiteY45" fmla="*/ 23334 h 506678"/>
                    <a:gd name="connsiteX46" fmla="*/ 60907 w 361638"/>
                    <a:gd name="connsiteY46" fmla="*/ 41574 h 506678"/>
                    <a:gd name="connsiteX47" fmla="*/ 50736 w 361638"/>
                    <a:gd name="connsiteY47" fmla="*/ 56774 h 506678"/>
                    <a:gd name="connsiteX48" fmla="*/ 66558 w 361638"/>
                    <a:gd name="connsiteY48" fmla="*/ 75015 h 506678"/>
                    <a:gd name="connsiteX49" fmla="*/ 77859 w 361638"/>
                    <a:gd name="connsiteY49" fmla="*/ 93255 h 506678"/>
                    <a:gd name="connsiteX50" fmla="*/ 101591 w 361638"/>
                    <a:gd name="connsiteY50" fmla="*/ 109469 h 506678"/>
                    <a:gd name="connsiteX51" fmla="*/ 195391 w 361638"/>
                    <a:gd name="connsiteY51" fmla="*/ 148990 h 506678"/>
                    <a:gd name="connsiteX52" fmla="*/ 242856 w 361638"/>
                    <a:gd name="connsiteY52" fmla="*/ 150003 h 506678"/>
                    <a:gd name="connsiteX53" fmla="*/ 152447 w 361638"/>
                    <a:gd name="connsiteY53" fmla="*/ 274646 h 506678"/>
                    <a:gd name="connsiteX54" fmla="*/ 108373 w 361638"/>
                    <a:gd name="connsiteY54" fmla="*/ 275659 h 506678"/>
                    <a:gd name="connsiteX55" fmla="*/ 92551 w 361638"/>
                    <a:gd name="connsiteY55" fmla="*/ 285793 h 506678"/>
                    <a:gd name="connsiteX56" fmla="*/ 58647 w 361638"/>
                    <a:gd name="connsiteY56" fmla="*/ 286806 h 506678"/>
                    <a:gd name="connsiteX57" fmla="*/ 51867 w 361638"/>
                    <a:gd name="connsiteY57" fmla="*/ 292887 h 506678"/>
                    <a:gd name="connsiteX58" fmla="*/ 30394 w 361638"/>
                    <a:gd name="connsiteY58" fmla="*/ 334434 h 506678"/>
                    <a:gd name="connsiteX59" fmla="*/ 10052 w 361638"/>
                    <a:gd name="connsiteY59" fmla="*/ 347608 h 506678"/>
                    <a:gd name="connsiteX60" fmla="*/ 13442 w 361638"/>
                    <a:gd name="connsiteY60" fmla="*/ 478331 h 506678"/>
                    <a:gd name="connsiteX61" fmla="*/ 38305 w 361638"/>
                    <a:gd name="connsiteY61" fmla="*/ 503665 h 506678"/>
                    <a:gd name="connsiteX62" fmla="*/ 43956 w 361638"/>
                    <a:gd name="connsiteY62" fmla="*/ 501638 h 50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1638" h="506678">
                      <a:moveTo>
                        <a:pt x="43956" y="501638"/>
                      </a:moveTo>
                      <a:cubicBezTo>
                        <a:pt x="47346" y="496571"/>
                        <a:pt x="48476" y="491504"/>
                        <a:pt x="51867" y="487451"/>
                      </a:cubicBezTo>
                      <a:cubicBezTo>
                        <a:pt x="50736" y="487451"/>
                        <a:pt x="46216" y="488464"/>
                        <a:pt x="49606" y="485424"/>
                      </a:cubicBezTo>
                      <a:cubicBezTo>
                        <a:pt x="51867" y="482384"/>
                        <a:pt x="62037" y="479344"/>
                        <a:pt x="63168" y="475291"/>
                      </a:cubicBezTo>
                      <a:cubicBezTo>
                        <a:pt x="64298" y="473264"/>
                        <a:pt x="62037" y="469211"/>
                        <a:pt x="63168" y="468197"/>
                      </a:cubicBezTo>
                      <a:cubicBezTo>
                        <a:pt x="66558" y="464144"/>
                        <a:pt x="75599" y="462117"/>
                        <a:pt x="78989" y="458064"/>
                      </a:cubicBezTo>
                      <a:cubicBezTo>
                        <a:pt x="82379" y="455024"/>
                        <a:pt x="81249" y="448943"/>
                        <a:pt x="84640" y="445903"/>
                      </a:cubicBezTo>
                      <a:cubicBezTo>
                        <a:pt x="86900" y="442863"/>
                        <a:pt x="94811" y="440836"/>
                        <a:pt x="98201" y="438810"/>
                      </a:cubicBezTo>
                      <a:cubicBezTo>
                        <a:pt x="103852" y="433743"/>
                        <a:pt x="110632" y="421583"/>
                        <a:pt x="117413" y="416516"/>
                      </a:cubicBezTo>
                      <a:cubicBezTo>
                        <a:pt x="128715" y="408409"/>
                        <a:pt x="144536" y="405369"/>
                        <a:pt x="155837" y="397262"/>
                      </a:cubicBezTo>
                      <a:cubicBezTo>
                        <a:pt x="156968" y="396249"/>
                        <a:pt x="158097" y="391182"/>
                        <a:pt x="158097" y="390169"/>
                      </a:cubicBezTo>
                      <a:cubicBezTo>
                        <a:pt x="167138" y="379022"/>
                        <a:pt x="186350" y="372942"/>
                        <a:pt x="193132" y="360781"/>
                      </a:cubicBezTo>
                      <a:cubicBezTo>
                        <a:pt x="195391" y="356728"/>
                        <a:pt x="193132" y="353688"/>
                        <a:pt x="195391" y="350648"/>
                      </a:cubicBezTo>
                      <a:cubicBezTo>
                        <a:pt x="196522" y="349634"/>
                        <a:pt x="201042" y="351661"/>
                        <a:pt x="203302" y="350648"/>
                      </a:cubicBezTo>
                      <a:cubicBezTo>
                        <a:pt x="204433" y="350648"/>
                        <a:pt x="216864" y="339501"/>
                        <a:pt x="216864" y="338488"/>
                      </a:cubicBezTo>
                      <a:cubicBezTo>
                        <a:pt x="221385" y="330381"/>
                        <a:pt x="215734" y="322274"/>
                        <a:pt x="222514" y="316194"/>
                      </a:cubicBezTo>
                      <a:cubicBezTo>
                        <a:pt x="228165" y="312140"/>
                        <a:pt x="240596" y="314167"/>
                        <a:pt x="243987" y="309100"/>
                      </a:cubicBezTo>
                      <a:cubicBezTo>
                        <a:pt x="246247" y="306060"/>
                        <a:pt x="242856" y="299980"/>
                        <a:pt x="243987" y="296940"/>
                      </a:cubicBezTo>
                      <a:lnTo>
                        <a:pt x="257548" y="274646"/>
                      </a:lnTo>
                      <a:cubicBezTo>
                        <a:pt x="258678" y="273633"/>
                        <a:pt x="265459" y="270593"/>
                        <a:pt x="265459" y="269579"/>
                      </a:cubicBezTo>
                      <a:cubicBezTo>
                        <a:pt x="267719" y="264512"/>
                        <a:pt x="263198" y="257419"/>
                        <a:pt x="265459" y="252352"/>
                      </a:cubicBezTo>
                      <a:cubicBezTo>
                        <a:pt x="268849" y="245259"/>
                        <a:pt x="279020" y="241205"/>
                        <a:pt x="281281" y="233098"/>
                      </a:cubicBezTo>
                      <a:cubicBezTo>
                        <a:pt x="282411" y="229045"/>
                        <a:pt x="280150" y="224992"/>
                        <a:pt x="281281" y="220938"/>
                      </a:cubicBezTo>
                      <a:cubicBezTo>
                        <a:pt x="282411" y="214858"/>
                        <a:pt x="290322" y="202698"/>
                        <a:pt x="292582" y="196618"/>
                      </a:cubicBezTo>
                      <a:cubicBezTo>
                        <a:pt x="295972" y="186484"/>
                        <a:pt x="293712" y="181417"/>
                        <a:pt x="298233" y="172297"/>
                      </a:cubicBezTo>
                      <a:lnTo>
                        <a:pt x="303883" y="170270"/>
                      </a:lnTo>
                      <a:cubicBezTo>
                        <a:pt x="306143" y="164190"/>
                        <a:pt x="303883" y="163177"/>
                        <a:pt x="306143" y="158110"/>
                      </a:cubicBezTo>
                      <a:cubicBezTo>
                        <a:pt x="309534" y="153043"/>
                        <a:pt x="325355" y="140883"/>
                        <a:pt x="327615" y="135816"/>
                      </a:cubicBezTo>
                      <a:cubicBezTo>
                        <a:pt x="331006" y="128723"/>
                        <a:pt x="327615" y="122642"/>
                        <a:pt x="329876" y="113522"/>
                      </a:cubicBezTo>
                      <a:lnTo>
                        <a:pt x="335526" y="111495"/>
                      </a:lnTo>
                      <a:cubicBezTo>
                        <a:pt x="336656" y="108456"/>
                        <a:pt x="334396" y="103389"/>
                        <a:pt x="335526" y="99335"/>
                      </a:cubicBezTo>
                      <a:cubicBezTo>
                        <a:pt x="336656" y="92242"/>
                        <a:pt x="344567" y="78055"/>
                        <a:pt x="346828" y="72988"/>
                      </a:cubicBezTo>
                      <a:cubicBezTo>
                        <a:pt x="351348" y="53734"/>
                        <a:pt x="349088" y="30427"/>
                        <a:pt x="354738" y="14213"/>
                      </a:cubicBezTo>
                      <a:cubicBezTo>
                        <a:pt x="347957" y="13200"/>
                        <a:pt x="347957" y="8133"/>
                        <a:pt x="338917" y="9147"/>
                      </a:cubicBezTo>
                      <a:cubicBezTo>
                        <a:pt x="337787" y="9147"/>
                        <a:pt x="334396" y="16240"/>
                        <a:pt x="333266" y="16240"/>
                      </a:cubicBezTo>
                      <a:cubicBezTo>
                        <a:pt x="327615" y="19280"/>
                        <a:pt x="301623" y="27387"/>
                        <a:pt x="298233" y="28400"/>
                      </a:cubicBezTo>
                      <a:cubicBezTo>
                        <a:pt x="281281" y="30427"/>
                        <a:pt x="274500" y="24347"/>
                        <a:pt x="259808" y="28400"/>
                      </a:cubicBezTo>
                      <a:cubicBezTo>
                        <a:pt x="257548" y="29414"/>
                        <a:pt x="253028" y="35494"/>
                        <a:pt x="251897" y="35494"/>
                      </a:cubicBezTo>
                      <a:cubicBezTo>
                        <a:pt x="239466" y="38534"/>
                        <a:pt x="231555" y="35494"/>
                        <a:pt x="222514" y="40561"/>
                      </a:cubicBezTo>
                      <a:cubicBezTo>
                        <a:pt x="220254" y="41574"/>
                        <a:pt x="219124" y="46641"/>
                        <a:pt x="216864" y="47654"/>
                      </a:cubicBezTo>
                      <a:cubicBezTo>
                        <a:pt x="211213" y="50694"/>
                        <a:pt x="205563" y="49681"/>
                        <a:pt x="197652" y="52721"/>
                      </a:cubicBezTo>
                      <a:lnTo>
                        <a:pt x="195391" y="57788"/>
                      </a:lnTo>
                      <a:cubicBezTo>
                        <a:pt x="181830" y="59815"/>
                        <a:pt x="181830" y="51707"/>
                        <a:pt x="176180" y="50694"/>
                      </a:cubicBezTo>
                      <a:cubicBezTo>
                        <a:pt x="153577" y="46641"/>
                        <a:pt x="134365" y="55761"/>
                        <a:pt x="116283" y="60828"/>
                      </a:cubicBezTo>
                      <a:cubicBezTo>
                        <a:pt x="116283" y="59815"/>
                        <a:pt x="114023" y="55761"/>
                        <a:pt x="114023" y="55761"/>
                      </a:cubicBezTo>
                      <a:cubicBezTo>
                        <a:pt x="95941" y="50694"/>
                        <a:pt x="85770" y="37521"/>
                        <a:pt x="77859" y="23334"/>
                      </a:cubicBezTo>
                      <a:lnTo>
                        <a:pt x="60907" y="41574"/>
                      </a:lnTo>
                      <a:lnTo>
                        <a:pt x="50736" y="56774"/>
                      </a:lnTo>
                      <a:cubicBezTo>
                        <a:pt x="50736" y="56774"/>
                        <a:pt x="60907" y="67921"/>
                        <a:pt x="66558" y="75015"/>
                      </a:cubicBezTo>
                      <a:cubicBezTo>
                        <a:pt x="72209" y="82108"/>
                        <a:pt x="69948" y="88188"/>
                        <a:pt x="77859" y="93255"/>
                      </a:cubicBezTo>
                      <a:cubicBezTo>
                        <a:pt x="85770" y="98322"/>
                        <a:pt x="88030" y="104402"/>
                        <a:pt x="101591" y="109469"/>
                      </a:cubicBezTo>
                      <a:cubicBezTo>
                        <a:pt x="116283" y="114536"/>
                        <a:pt x="195391" y="148990"/>
                        <a:pt x="195391" y="148990"/>
                      </a:cubicBezTo>
                      <a:lnTo>
                        <a:pt x="242856" y="150003"/>
                      </a:lnTo>
                      <a:lnTo>
                        <a:pt x="152447" y="274646"/>
                      </a:lnTo>
                      <a:lnTo>
                        <a:pt x="108373" y="275659"/>
                      </a:lnTo>
                      <a:lnTo>
                        <a:pt x="92551" y="285793"/>
                      </a:lnTo>
                      <a:lnTo>
                        <a:pt x="58647" y="286806"/>
                      </a:lnTo>
                      <a:lnTo>
                        <a:pt x="51867" y="292887"/>
                      </a:lnTo>
                      <a:lnTo>
                        <a:pt x="30394" y="334434"/>
                      </a:lnTo>
                      <a:lnTo>
                        <a:pt x="10052" y="347608"/>
                      </a:lnTo>
                      <a:lnTo>
                        <a:pt x="13442" y="478331"/>
                      </a:lnTo>
                      <a:lnTo>
                        <a:pt x="38305" y="503665"/>
                      </a:lnTo>
                      <a:lnTo>
                        <a:pt x="43956" y="50163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5" name="Freeform: Shape 294">
                  <a:extLst>
                    <a:ext uri="{FF2B5EF4-FFF2-40B4-BE49-F238E27FC236}">
                      <a16:creationId xmlns:a16="http://schemas.microsoft.com/office/drawing/2014/main" id="{76A6E89A-823F-4C65-A399-2DA6568DA5E2}"/>
                    </a:ext>
                  </a:extLst>
                </p:cNvPr>
                <p:cNvSpPr/>
                <p:nvPr/>
              </p:nvSpPr>
              <p:spPr>
                <a:xfrm>
                  <a:off x="11373243" y="4548444"/>
                  <a:ext cx="214723" cy="182404"/>
                </a:xfrm>
                <a:custGeom>
                  <a:avLst/>
                  <a:gdLst>
                    <a:gd name="connsiteX0" fmla="*/ 182961 w 214722"/>
                    <a:gd name="connsiteY0" fmla="*/ 151897 h 182404"/>
                    <a:gd name="connsiteX1" fmla="*/ 182961 w 214722"/>
                    <a:gd name="connsiteY1" fmla="*/ 162030 h 182404"/>
                    <a:gd name="connsiteX2" fmla="*/ 212344 w 214722"/>
                    <a:gd name="connsiteY2" fmla="*/ 174190 h 182404"/>
                    <a:gd name="connsiteX3" fmla="*/ 212344 w 214722"/>
                    <a:gd name="connsiteY3" fmla="*/ 172164 h 182404"/>
                    <a:gd name="connsiteX4" fmla="*/ 206693 w 214722"/>
                    <a:gd name="connsiteY4" fmla="*/ 170137 h 182404"/>
                    <a:gd name="connsiteX5" fmla="*/ 182961 w 214722"/>
                    <a:gd name="connsiteY5" fmla="*/ 151897 h 182404"/>
                    <a:gd name="connsiteX6" fmla="*/ 118545 w 214722"/>
                    <a:gd name="connsiteY6" fmla="*/ 113389 h 182404"/>
                    <a:gd name="connsiteX7" fmla="*/ 120804 w 214722"/>
                    <a:gd name="connsiteY7" fmla="*/ 127576 h 182404"/>
                    <a:gd name="connsiteX8" fmla="*/ 161488 w 214722"/>
                    <a:gd name="connsiteY8" fmla="*/ 132643 h 182404"/>
                    <a:gd name="connsiteX9" fmla="*/ 155838 w 214722"/>
                    <a:gd name="connsiteY9" fmla="*/ 125549 h 182404"/>
                    <a:gd name="connsiteX10" fmla="*/ 118545 w 214722"/>
                    <a:gd name="connsiteY10" fmla="*/ 113389 h 182404"/>
                    <a:gd name="connsiteX11" fmla="*/ 153578 w 214722"/>
                    <a:gd name="connsiteY11" fmla="*/ 81975 h 182404"/>
                    <a:gd name="connsiteX12" fmla="*/ 161488 w 214722"/>
                    <a:gd name="connsiteY12" fmla="*/ 106296 h 182404"/>
                    <a:gd name="connsiteX13" fmla="*/ 169400 w 214722"/>
                    <a:gd name="connsiteY13" fmla="*/ 113389 h 182404"/>
                    <a:gd name="connsiteX14" fmla="*/ 171660 w 214722"/>
                    <a:gd name="connsiteY14" fmla="*/ 118456 h 182404"/>
                    <a:gd name="connsiteX15" fmla="*/ 179570 w 214722"/>
                    <a:gd name="connsiteY15" fmla="*/ 118456 h 182404"/>
                    <a:gd name="connsiteX16" fmla="*/ 158099 w 214722"/>
                    <a:gd name="connsiteY16" fmla="*/ 81975 h 182404"/>
                    <a:gd name="connsiteX17" fmla="*/ 153578 w 214722"/>
                    <a:gd name="connsiteY17" fmla="*/ 81975 h 182404"/>
                    <a:gd name="connsiteX18" fmla="*/ 41696 w 214722"/>
                    <a:gd name="connsiteY18" fmla="*/ 57654 h 182404"/>
                    <a:gd name="connsiteX19" fmla="*/ 43956 w 214722"/>
                    <a:gd name="connsiteY19" fmla="*/ 79948 h 182404"/>
                    <a:gd name="connsiteX20" fmla="*/ 55257 w 214722"/>
                    <a:gd name="connsiteY20" fmla="*/ 81975 h 182404"/>
                    <a:gd name="connsiteX21" fmla="*/ 49606 w 214722"/>
                    <a:gd name="connsiteY21" fmla="*/ 59681 h 182404"/>
                    <a:gd name="connsiteX22" fmla="*/ 41696 w 214722"/>
                    <a:gd name="connsiteY22" fmla="*/ 57654 h 182404"/>
                    <a:gd name="connsiteX23" fmla="*/ 80120 w 214722"/>
                    <a:gd name="connsiteY23" fmla="*/ 40428 h 182404"/>
                    <a:gd name="connsiteX24" fmla="*/ 77859 w 214722"/>
                    <a:gd name="connsiteY24" fmla="*/ 50561 h 182404"/>
                    <a:gd name="connsiteX25" fmla="*/ 118545 w 214722"/>
                    <a:gd name="connsiteY25" fmla="*/ 74882 h 182404"/>
                    <a:gd name="connsiteX26" fmla="*/ 120804 w 214722"/>
                    <a:gd name="connsiteY26" fmla="*/ 69815 h 182404"/>
                    <a:gd name="connsiteX27" fmla="*/ 109503 w 214722"/>
                    <a:gd name="connsiteY27" fmla="*/ 62721 h 182404"/>
                    <a:gd name="connsiteX28" fmla="*/ 103852 w 214722"/>
                    <a:gd name="connsiteY28" fmla="*/ 50561 h 182404"/>
                    <a:gd name="connsiteX29" fmla="*/ 80120 w 214722"/>
                    <a:gd name="connsiteY29" fmla="*/ 40428 h 182404"/>
                    <a:gd name="connsiteX30" fmla="*/ 10052 w 214722"/>
                    <a:gd name="connsiteY30" fmla="*/ 9013 h 182404"/>
                    <a:gd name="connsiteX31" fmla="*/ 42826 w 214722"/>
                    <a:gd name="connsiteY31" fmla="*/ 35361 h 182404"/>
                    <a:gd name="connsiteX32" fmla="*/ 37175 w 214722"/>
                    <a:gd name="connsiteY32" fmla="*/ 30294 h 182404"/>
                    <a:gd name="connsiteX33" fmla="*/ 10052 w 214722"/>
                    <a:gd name="connsiteY33" fmla="*/ 9013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4722" h="182404">
                      <a:moveTo>
                        <a:pt x="182961" y="151897"/>
                      </a:moveTo>
                      <a:cubicBezTo>
                        <a:pt x="184091" y="154937"/>
                        <a:pt x="179570" y="155950"/>
                        <a:pt x="182961" y="162030"/>
                      </a:cubicBezTo>
                      <a:cubicBezTo>
                        <a:pt x="189741" y="171151"/>
                        <a:pt x="221385" y="177231"/>
                        <a:pt x="212344" y="174190"/>
                      </a:cubicBezTo>
                      <a:lnTo>
                        <a:pt x="212344" y="172164"/>
                      </a:lnTo>
                      <a:cubicBezTo>
                        <a:pt x="211214" y="171151"/>
                        <a:pt x="207823" y="171151"/>
                        <a:pt x="206693" y="170137"/>
                      </a:cubicBezTo>
                      <a:cubicBezTo>
                        <a:pt x="201042" y="158990"/>
                        <a:pt x="195392" y="157977"/>
                        <a:pt x="182961" y="151897"/>
                      </a:cubicBezTo>
                      <a:close/>
                      <a:moveTo>
                        <a:pt x="118545" y="113389"/>
                      </a:moveTo>
                      <a:cubicBezTo>
                        <a:pt x="119674" y="117443"/>
                        <a:pt x="116284" y="121496"/>
                        <a:pt x="120804" y="127576"/>
                      </a:cubicBezTo>
                      <a:cubicBezTo>
                        <a:pt x="129846" y="138723"/>
                        <a:pt x="145666" y="132643"/>
                        <a:pt x="161488" y="132643"/>
                      </a:cubicBezTo>
                      <a:cubicBezTo>
                        <a:pt x="160358" y="131630"/>
                        <a:pt x="155838" y="125549"/>
                        <a:pt x="155838" y="125549"/>
                      </a:cubicBezTo>
                      <a:cubicBezTo>
                        <a:pt x="145666" y="120483"/>
                        <a:pt x="130976" y="116429"/>
                        <a:pt x="118545" y="113389"/>
                      </a:cubicBezTo>
                      <a:close/>
                      <a:moveTo>
                        <a:pt x="153578" y="81975"/>
                      </a:moveTo>
                      <a:cubicBezTo>
                        <a:pt x="159229" y="91095"/>
                        <a:pt x="156968" y="95149"/>
                        <a:pt x="161488" y="106296"/>
                      </a:cubicBezTo>
                      <a:cubicBezTo>
                        <a:pt x="162618" y="108322"/>
                        <a:pt x="169400" y="112376"/>
                        <a:pt x="169400" y="113389"/>
                      </a:cubicBezTo>
                      <a:lnTo>
                        <a:pt x="171660" y="118456"/>
                      </a:lnTo>
                      <a:cubicBezTo>
                        <a:pt x="173919" y="118456"/>
                        <a:pt x="177310" y="117443"/>
                        <a:pt x="179570" y="118456"/>
                      </a:cubicBezTo>
                      <a:cubicBezTo>
                        <a:pt x="173919" y="103255"/>
                        <a:pt x="164879" y="95149"/>
                        <a:pt x="158099" y="81975"/>
                      </a:cubicBezTo>
                      <a:lnTo>
                        <a:pt x="153578" y="81975"/>
                      </a:lnTo>
                      <a:close/>
                      <a:moveTo>
                        <a:pt x="41696" y="57654"/>
                      </a:moveTo>
                      <a:cubicBezTo>
                        <a:pt x="32654" y="74882"/>
                        <a:pt x="32654" y="64748"/>
                        <a:pt x="43956" y="79948"/>
                      </a:cubicBezTo>
                      <a:cubicBezTo>
                        <a:pt x="39436" y="81975"/>
                        <a:pt x="54127" y="81975"/>
                        <a:pt x="55257" y="81975"/>
                      </a:cubicBezTo>
                      <a:cubicBezTo>
                        <a:pt x="52997" y="74882"/>
                        <a:pt x="55257" y="64748"/>
                        <a:pt x="49606" y="59681"/>
                      </a:cubicBezTo>
                      <a:cubicBezTo>
                        <a:pt x="49606" y="59681"/>
                        <a:pt x="41696" y="57654"/>
                        <a:pt x="41696" y="57654"/>
                      </a:cubicBezTo>
                      <a:close/>
                      <a:moveTo>
                        <a:pt x="80120" y="40428"/>
                      </a:moveTo>
                      <a:cubicBezTo>
                        <a:pt x="80120" y="40428"/>
                        <a:pt x="77859" y="47521"/>
                        <a:pt x="77859" y="50561"/>
                      </a:cubicBezTo>
                      <a:cubicBezTo>
                        <a:pt x="90292" y="59681"/>
                        <a:pt x="103852" y="66775"/>
                        <a:pt x="118545" y="74882"/>
                      </a:cubicBezTo>
                      <a:cubicBezTo>
                        <a:pt x="118545" y="73868"/>
                        <a:pt x="121934" y="69815"/>
                        <a:pt x="120804" y="69815"/>
                      </a:cubicBezTo>
                      <a:cubicBezTo>
                        <a:pt x="118545" y="68801"/>
                        <a:pt x="111763" y="64748"/>
                        <a:pt x="109503" y="62721"/>
                      </a:cubicBezTo>
                      <a:cubicBezTo>
                        <a:pt x="107243" y="60695"/>
                        <a:pt x="106112" y="51575"/>
                        <a:pt x="103852" y="50561"/>
                      </a:cubicBezTo>
                      <a:cubicBezTo>
                        <a:pt x="102723" y="48534"/>
                        <a:pt x="82380" y="41441"/>
                        <a:pt x="80120" y="40428"/>
                      </a:cubicBezTo>
                      <a:close/>
                      <a:moveTo>
                        <a:pt x="10052" y="9013"/>
                      </a:moveTo>
                      <a:cubicBezTo>
                        <a:pt x="16834" y="30294"/>
                        <a:pt x="15703" y="31307"/>
                        <a:pt x="42826" y="35361"/>
                      </a:cubicBezTo>
                      <a:cubicBezTo>
                        <a:pt x="40566" y="33334"/>
                        <a:pt x="40566" y="32321"/>
                        <a:pt x="37175" y="30294"/>
                      </a:cubicBezTo>
                      <a:cubicBezTo>
                        <a:pt x="27004" y="24214"/>
                        <a:pt x="19094" y="16107"/>
                        <a:pt x="10052"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6" name="Freeform: Shape 295">
                  <a:extLst>
                    <a:ext uri="{FF2B5EF4-FFF2-40B4-BE49-F238E27FC236}">
                      <a16:creationId xmlns:a16="http://schemas.microsoft.com/office/drawing/2014/main" id="{63688EBF-600C-40B4-86D7-F4B4633E81F1}"/>
                    </a:ext>
                  </a:extLst>
                </p:cNvPr>
                <p:cNvSpPr/>
                <p:nvPr/>
              </p:nvSpPr>
              <p:spPr>
                <a:xfrm>
                  <a:off x="6347567" y="2307912"/>
                  <a:ext cx="135614" cy="111469"/>
                </a:xfrm>
                <a:custGeom>
                  <a:avLst/>
                  <a:gdLst>
                    <a:gd name="connsiteX0" fmla="*/ 25909 w 135614"/>
                    <a:gd name="connsiteY0" fmla="*/ 87042 h 111469"/>
                    <a:gd name="connsiteX1" fmla="*/ 23649 w 135614"/>
                    <a:gd name="connsiteY1" fmla="*/ 99202 h 111469"/>
                    <a:gd name="connsiteX2" fmla="*/ 17998 w 135614"/>
                    <a:gd name="connsiteY2" fmla="*/ 109336 h 111469"/>
                    <a:gd name="connsiteX3" fmla="*/ 20258 w 135614"/>
                    <a:gd name="connsiteY3" fmla="*/ 110349 h 111469"/>
                    <a:gd name="connsiteX4" fmla="*/ 64333 w 135614"/>
                    <a:gd name="connsiteY4" fmla="*/ 99202 h 111469"/>
                    <a:gd name="connsiteX5" fmla="*/ 65463 w 135614"/>
                    <a:gd name="connsiteY5" fmla="*/ 79948 h 111469"/>
                    <a:gd name="connsiteX6" fmla="*/ 81284 w 135614"/>
                    <a:gd name="connsiteY6" fmla="*/ 86029 h 111469"/>
                    <a:gd name="connsiteX7" fmla="*/ 97106 w 135614"/>
                    <a:gd name="connsiteY7" fmla="*/ 56641 h 111469"/>
                    <a:gd name="connsiteX8" fmla="*/ 106147 w 135614"/>
                    <a:gd name="connsiteY8" fmla="*/ 48534 h 111469"/>
                    <a:gd name="connsiteX9" fmla="*/ 120839 w 135614"/>
                    <a:gd name="connsiteY9" fmla="*/ 42454 h 111469"/>
                    <a:gd name="connsiteX10" fmla="*/ 131010 w 135614"/>
                    <a:gd name="connsiteY10" fmla="*/ 33334 h 111469"/>
                    <a:gd name="connsiteX11" fmla="*/ 134400 w 135614"/>
                    <a:gd name="connsiteY11" fmla="*/ 22187 h 111469"/>
                    <a:gd name="connsiteX12" fmla="*/ 125359 w 135614"/>
                    <a:gd name="connsiteY12" fmla="*/ 9013 h 111469"/>
                    <a:gd name="connsiteX13" fmla="*/ 112928 w 135614"/>
                    <a:gd name="connsiteY13" fmla="*/ 15094 h 111469"/>
                    <a:gd name="connsiteX14" fmla="*/ 89195 w 135614"/>
                    <a:gd name="connsiteY14" fmla="*/ 14080 h 111469"/>
                    <a:gd name="connsiteX15" fmla="*/ 72244 w 135614"/>
                    <a:gd name="connsiteY15" fmla="*/ 22187 h 111469"/>
                    <a:gd name="connsiteX16" fmla="*/ 46251 w 135614"/>
                    <a:gd name="connsiteY16" fmla="*/ 28267 h 111469"/>
                    <a:gd name="connsiteX17" fmla="*/ 31559 w 135614"/>
                    <a:gd name="connsiteY17" fmla="*/ 32321 h 111469"/>
                    <a:gd name="connsiteX18" fmla="*/ 19128 w 135614"/>
                    <a:gd name="connsiteY18" fmla="*/ 37387 h 111469"/>
                    <a:gd name="connsiteX19" fmla="*/ 14608 w 135614"/>
                    <a:gd name="connsiteY19" fmla="*/ 57655 h 111469"/>
                    <a:gd name="connsiteX20" fmla="*/ 24778 w 135614"/>
                    <a:gd name="connsiteY20" fmla="*/ 70828 h 111469"/>
                    <a:gd name="connsiteX21" fmla="*/ 25909 w 135614"/>
                    <a:gd name="connsiteY21" fmla="*/ 86029 h 111469"/>
                    <a:gd name="connsiteX22" fmla="*/ 25909 w 135614"/>
                    <a:gd name="connsiteY22" fmla="*/ 87042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5614" h="111469">
                      <a:moveTo>
                        <a:pt x="25909" y="87042"/>
                      </a:moveTo>
                      <a:cubicBezTo>
                        <a:pt x="24778" y="90082"/>
                        <a:pt x="30429" y="98189"/>
                        <a:pt x="23649" y="99202"/>
                      </a:cubicBezTo>
                      <a:cubicBezTo>
                        <a:pt x="23649" y="99202"/>
                        <a:pt x="13477" y="110349"/>
                        <a:pt x="17998" y="109336"/>
                      </a:cubicBezTo>
                      <a:lnTo>
                        <a:pt x="20258" y="110349"/>
                      </a:lnTo>
                      <a:cubicBezTo>
                        <a:pt x="20258" y="110349"/>
                        <a:pt x="59812" y="106296"/>
                        <a:pt x="64333" y="99202"/>
                      </a:cubicBezTo>
                      <a:cubicBezTo>
                        <a:pt x="68853" y="92109"/>
                        <a:pt x="65463" y="91095"/>
                        <a:pt x="65463" y="79948"/>
                      </a:cubicBezTo>
                      <a:cubicBezTo>
                        <a:pt x="65463" y="68802"/>
                        <a:pt x="69983" y="88055"/>
                        <a:pt x="81284" y="86029"/>
                      </a:cubicBezTo>
                      <a:cubicBezTo>
                        <a:pt x="90325" y="85015"/>
                        <a:pt x="93716" y="66775"/>
                        <a:pt x="97106" y="56641"/>
                      </a:cubicBezTo>
                      <a:cubicBezTo>
                        <a:pt x="100496" y="44481"/>
                        <a:pt x="98236" y="48534"/>
                        <a:pt x="106147" y="48534"/>
                      </a:cubicBezTo>
                      <a:cubicBezTo>
                        <a:pt x="114058" y="48534"/>
                        <a:pt x="120839" y="48534"/>
                        <a:pt x="120839" y="42454"/>
                      </a:cubicBezTo>
                      <a:cubicBezTo>
                        <a:pt x="120839" y="36374"/>
                        <a:pt x="131010" y="33334"/>
                        <a:pt x="131010" y="33334"/>
                      </a:cubicBezTo>
                      <a:cubicBezTo>
                        <a:pt x="131010" y="33334"/>
                        <a:pt x="135530" y="29281"/>
                        <a:pt x="134400" y="22187"/>
                      </a:cubicBezTo>
                      <a:cubicBezTo>
                        <a:pt x="133270" y="15094"/>
                        <a:pt x="125359" y="9013"/>
                        <a:pt x="125359" y="9013"/>
                      </a:cubicBezTo>
                      <a:cubicBezTo>
                        <a:pt x="125359" y="9013"/>
                        <a:pt x="120839" y="12054"/>
                        <a:pt x="112928" y="15094"/>
                      </a:cubicBezTo>
                      <a:cubicBezTo>
                        <a:pt x="105017" y="18134"/>
                        <a:pt x="97106" y="14080"/>
                        <a:pt x="89195" y="14080"/>
                      </a:cubicBezTo>
                      <a:cubicBezTo>
                        <a:pt x="80154" y="14080"/>
                        <a:pt x="76764" y="14080"/>
                        <a:pt x="72244" y="22187"/>
                      </a:cubicBezTo>
                      <a:cubicBezTo>
                        <a:pt x="67723" y="30294"/>
                        <a:pt x="59812" y="31307"/>
                        <a:pt x="46251" y="28267"/>
                      </a:cubicBezTo>
                      <a:cubicBezTo>
                        <a:pt x="33819" y="25227"/>
                        <a:pt x="31559" y="24214"/>
                        <a:pt x="31559" y="32321"/>
                      </a:cubicBezTo>
                      <a:cubicBezTo>
                        <a:pt x="31559" y="40428"/>
                        <a:pt x="19128" y="37387"/>
                        <a:pt x="19128" y="37387"/>
                      </a:cubicBezTo>
                      <a:cubicBezTo>
                        <a:pt x="19128" y="37387"/>
                        <a:pt x="2176" y="57655"/>
                        <a:pt x="14608" y="57655"/>
                      </a:cubicBezTo>
                      <a:cubicBezTo>
                        <a:pt x="27039" y="57655"/>
                        <a:pt x="24778" y="62721"/>
                        <a:pt x="24778" y="70828"/>
                      </a:cubicBezTo>
                      <a:cubicBezTo>
                        <a:pt x="24778" y="78935"/>
                        <a:pt x="16867" y="79948"/>
                        <a:pt x="25909" y="86029"/>
                      </a:cubicBezTo>
                      <a:lnTo>
                        <a:pt x="25909" y="8704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8" name="Freeform: Shape 297">
                  <a:extLst>
                    <a:ext uri="{FF2B5EF4-FFF2-40B4-BE49-F238E27FC236}">
                      <a16:creationId xmlns:a16="http://schemas.microsoft.com/office/drawing/2014/main" id="{7B82A0FF-6B71-4CD9-9854-209A04A23429}"/>
                    </a:ext>
                  </a:extLst>
                </p:cNvPr>
                <p:cNvSpPr/>
                <p:nvPr/>
              </p:nvSpPr>
              <p:spPr>
                <a:xfrm>
                  <a:off x="6472794" y="2182589"/>
                  <a:ext cx="271229" cy="111469"/>
                </a:xfrm>
                <a:custGeom>
                  <a:avLst/>
                  <a:gdLst>
                    <a:gd name="connsiteX0" fmla="*/ 265710 w 271228"/>
                    <a:gd name="connsiteY0" fmla="*/ 66442 h 111469"/>
                    <a:gd name="connsiteX1" fmla="*/ 253279 w 271228"/>
                    <a:gd name="connsiteY1" fmla="*/ 70495 h 111469"/>
                    <a:gd name="connsiteX2" fmla="*/ 248758 w 271228"/>
                    <a:gd name="connsiteY2" fmla="*/ 86709 h 111469"/>
                    <a:gd name="connsiteX3" fmla="*/ 230676 w 271228"/>
                    <a:gd name="connsiteY3" fmla="*/ 80629 h 111469"/>
                    <a:gd name="connsiteX4" fmla="*/ 204684 w 271228"/>
                    <a:gd name="connsiteY4" fmla="*/ 79615 h 111469"/>
                    <a:gd name="connsiteX5" fmla="*/ 175301 w 271228"/>
                    <a:gd name="connsiteY5" fmla="*/ 83669 h 111469"/>
                    <a:gd name="connsiteX6" fmla="*/ 159479 w 271228"/>
                    <a:gd name="connsiteY6" fmla="*/ 92789 h 111469"/>
                    <a:gd name="connsiteX7" fmla="*/ 144787 w 271228"/>
                    <a:gd name="connsiteY7" fmla="*/ 89749 h 111469"/>
                    <a:gd name="connsiteX8" fmla="*/ 117664 w 271228"/>
                    <a:gd name="connsiteY8" fmla="*/ 90762 h 111469"/>
                    <a:gd name="connsiteX9" fmla="*/ 97322 w 271228"/>
                    <a:gd name="connsiteY9" fmla="*/ 93802 h 111469"/>
                    <a:gd name="connsiteX10" fmla="*/ 101843 w 271228"/>
                    <a:gd name="connsiteY10" fmla="*/ 106976 h 111469"/>
                    <a:gd name="connsiteX11" fmla="*/ 81501 w 271228"/>
                    <a:gd name="connsiteY11" fmla="*/ 105963 h 111469"/>
                    <a:gd name="connsiteX12" fmla="*/ 49857 w 271228"/>
                    <a:gd name="connsiteY12" fmla="*/ 102923 h 111469"/>
                    <a:gd name="connsiteX13" fmla="*/ 26125 w 271228"/>
                    <a:gd name="connsiteY13" fmla="*/ 91776 h 111469"/>
                    <a:gd name="connsiteX14" fmla="*/ 17084 w 271228"/>
                    <a:gd name="connsiteY14" fmla="*/ 78602 h 111469"/>
                    <a:gd name="connsiteX15" fmla="*/ 17084 w 271228"/>
                    <a:gd name="connsiteY15" fmla="*/ 59348 h 111469"/>
                    <a:gd name="connsiteX16" fmla="*/ 32905 w 271228"/>
                    <a:gd name="connsiteY16" fmla="*/ 44148 h 111469"/>
                    <a:gd name="connsiteX17" fmla="*/ 43077 w 271228"/>
                    <a:gd name="connsiteY17" fmla="*/ 29961 h 111469"/>
                    <a:gd name="connsiteX18" fmla="*/ 61158 w 271228"/>
                    <a:gd name="connsiteY18" fmla="*/ 21854 h 111469"/>
                    <a:gd name="connsiteX19" fmla="*/ 75850 w 271228"/>
                    <a:gd name="connsiteY19" fmla="*/ 22867 h 111469"/>
                    <a:gd name="connsiteX20" fmla="*/ 97322 w 271228"/>
                    <a:gd name="connsiteY20" fmla="*/ 22867 h 111469"/>
                    <a:gd name="connsiteX21" fmla="*/ 117664 w 271228"/>
                    <a:gd name="connsiteY21" fmla="*/ 33001 h 111469"/>
                    <a:gd name="connsiteX22" fmla="*/ 142527 w 271228"/>
                    <a:gd name="connsiteY22" fmla="*/ 33001 h 111469"/>
                    <a:gd name="connsiteX23" fmla="*/ 164000 w 271228"/>
                    <a:gd name="connsiteY23" fmla="*/ 24894 h 111469"/>
                    <a:gd name="connsiteX24" fmla="*/ 197903 w 271228"/>
                    <a:gd name="connsiteY24" fmla="*/ 10707 h 111469"/>
                    <a:gd name="connsiteX25" fmla="*/ 221635 w 271228"/>
                    <a:gd name="connsiteY25" fmla="*/ 23881 h 111469"/>
                    <a:gd name="connsiteX26" fmla="*/ 238587 w 271228"/>
                    <a:gd name="connsiteY26" fmla="*/ 37054 h 111469"/>
                    <a:gd name="connsiteX27" fmla="*/ 247628 w 271228"/>
                    <a:gd name="connsiteY27" fmla="*/ 51241 h 111469"/>
                    <a:gd name="connsiteX28" fmla="*/ 265710 w 271228"/>
                    <a:gd name="connsiteY28" fmla="*/ 66442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1228" h="111469">
                      <a:moveTo>
                        <a:pt x="265710" y="66442"/>
                      </a:moveTo>
                      <a:lnTo>
                        <a:pt x="253279" y="70495"/>
                      </a:lnTo>
                      <a:lnTo>
                        <a:pt x="248758" y="86709"/>
                      </a:lnTo>
                      <a:cubicBezTo>
                        <a:pt x="248758" y="86709"/>
                        <a:pt x="237457" y="86709"/>
                        <a:pt x="230676" y="80629"/>
                      </a:cubicBezTo>
                      <a:cubicBezTo>
                        <a:pt x="223896" y="74549"/>
                        <a:pt x="221635" y="80629"/>
                        <a:pt x="204684" y="79615"/>
                      </a:cubicBezTo>
                      <a:cubicBezTo>
                        <a:pt x="187732" y="78602"/>
                        <a:pt x="187732" y="79615"/>
                        <a:pt x="175301" y="83669"/>
                      </a:cubicBezTo>
                      <a:cubicBezTo>
                        <a:pt x="162869" y="87722"/>
                        <a:pt x="159479" y="92789"/>
                        <a:pt x="159479" y="92789"/>
                      </a:cubicBezTo>
                      <a:cubicBezTo>
                        <a:pt x="159479" y="92789"/>
                        <a:pt x="152698" y="97856"/>
                        <a:pt x="144787" y="89749"/>
                      </a:cubicBezTo>
                      <a:cubicBezTo>
                        <a:pt x="136876" y="81642"/>
                        <a:pt x="135747" y="85696"/>
                        <a:pt x="117664" y="90762"/>
                      </a:cubicBezTo>
                      <a:cubicBezTo>
                        <a:pt x="99583" y="95829"/>
                        <a:pt x="97322" y="93802"/>
                        <a:pt x="97322" y="93802"/>
                      </a:cubicBezTo>
                      <a:lnTo>
                        <a:pt x="101843" y="106976"/>
                      </a:lnTo>
                      <a:cubicBezTo>
                        <a:pt x="101843" y="106976"/>
                        <a:pt x="102973" y="111029"/>
                        <a:pt x="81501" y="105963"/>
                      </a:cubicBezTo>
                      <a:cubicBezTo>
                        <a:pt x="60028" y="100896"/>
                        <a:pt x="60028" y="102923"/>
                        <a:pt x="49857" y="102923"/>
                      </a:cubicBezTo>
                      <a:cubicBezTo>
                        <a:pt x="39686" y="102923"/>
                        <a:pt x="26125" y="91776"/>
                        <a:pt x="26125" y="91776"/>
                      </a:cubicBezTo>
                      <a:lnTo>
                        <a:pt x="17084" y="78602"/>
                      </a:lnTo>
                      <a:cubicBezTo>
                        <a:pt x="1262" y="74549"/>
                        <a:pt x="17084" y="59348"/>
                        <a:pt x="17084" y="59348"/>
                      </a:cubicBezTo>
                      <a:cubicBezTo>
                        <a:pt x="17084" y="59348"/>
                        <a:pt x="23864" y="44148"/>
                        <a:pt x="32905" y="44148"/>
                      </a:cubicBezTo>
                      <a:cubicBezTo>
                        <a:pt x="41947" y="44148"/>
                        <a:pt x="36296" y="30974"/>
                        <a:pt x="43077" y="29961"/>
                      </a:cubicBezTo>
                      <a:cubicBezTo>
                        <a:pt x="49857" y="28948"/>
                        <a:pt x="61158" y="21854"/>
                        <a:pt x="61158" y="21854"/>
                      </a:cubicBezTo>
                      <a:cubicBezTo>
                        <a:pt x="61158" y="21854"/>
                        <a:pt x="58899" y="22867"/>
                        <a:pt x="75850" y="22867"/>
                      </a:cubicBezTo>
                      <a:cubicBezTo>
                        <a:pt x="90542" y="22867"/>
                        <a:pt x="82631" y="17801"/>
                        <a:pt x="97322" y="22867"/>
                      </a:cubicBezTo>
                      <a:cubicBezTo>
                        <a:pt x="107494" y="26921"/>
                        <a:pt x="109754" y="30974"/>
                        <a:pt x="117664" y="33001"/>
                      </a:cubicBezTo>
                      <a:cubicBezTo>
                        <a:pt x="128965" y="37054"/>
                        <a:pt x="138007" y="43134"/>
                        <a:pt x="142527" y="33001"/>
                      </a:cubicBezTo>
                      <a:cubicBezTo>
                        <a:pt x="147048" y="22867"/>
                        <a:pt x="153828" y="27934"/>
                        <a:pt x="164000" y="24894"/>
                      </a:cubicBezTo>
                      <a:cubicBezTo>
                        <a:pt x="178691" y="20841"/>
                        <a:pt x="187732" y="3614"/>
                        <a:pt x="197903" y="10707"/>
                      </a:cubicBezTo>
                      <a:cubicBezTo>
                        <a:pt x="208074" y="18814"/>
                        <a:pt x="213724" y="23881"/>
                        <a:pt x="221635" y="23881"/>
                      </a:cubicBezTo>
                      <a:cubicBezTo>
                        <a:pt x="229546" y="23881"/>
                        <a:pt x="230676" y="31988"/>
                        <a:pt x="238587" y="37054"/>
                      </a:cubicBezTo>
                      <a:cubicBezTo>
                        <a:pt x="247628" y="42121"/>
                        <a:pt x="244238" y="42121"/>
                        <a:pt x="247628" y="51241"/>
                      </a:cubicBezTo>
                      <a:cubicBezTo>
                        <a:pt x="251019" y="60362"/>
                        <a:pt x="265710" y="66442"/>
                        <a:pt x="265710" y="6644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9" name="Freeform: Shape 298">
                  <a:extLst>
                    <a:ext uri="{FF2B5EF4-FFF2-40B4-BE49-F238E27FC236}">
                      <a16:creationId xmlns:a16="http://schemas.microsoft.com/office/drawing/2014/main" id="{ED0A9E30-2F1C-43F6-8F48-0CDD74820536}"/>
                    </a:ext>
                  </a:extLst>
                </p:cNvPr>
                <p:cNvSpPr/>
                <p:nvPr/>
              </p:nvSpPr>
              <p:spPr>
                <a:xfrm>
                  <a:off x="5405730" y="3859265"/>
                  <a:ext cx="135614" cy="152004"/>
                </a:xfrm>
                <a:custGeom>
                  <a:avLst/>
                  <a:gdLst>
                    <a:gd name="connsiteX0" fmla="*/ 12795 w 135614"/>
                    <a:gd name="connsiteY0" fmla="*/ 53697 h 152003"/>
                    <a:gd name="connsiteX1" fmla="*/ 24096 w 135614"/>
                    <a:gd name="connsiteY1" fmla="*/ 89165 h 152003"/>
                    <a:gd name="connsiteX2" fmla="*/ 18446 w 135614"/>
                    <a:gd name="connsiteY2" fmla="*/ 94231 h 152003"/>
                    <a:gd name="connsiteX3" fmla="*/ 32007 w 135614"/>
                    <a:gd name="connsiteY3" fmla="*/ 99298 h 152003"/>
                    <a:gd name="connsiteX4" fmla="*/ 32007 w 135614"/>
                    <a:gd name="connsiteY4" fmla="*/ 123619 h 152003"/>
                    <a:gd name="connsiteX5" fmla="*/ 37657 w 135614"/>
                    <a:gd name="connsiteY5" fmla="*/ 121592 h 152003"/>
                    <a:gd name="connsiteX6" fmla="*/ 39918 w 135614"/>
                    <a:gd name="connsiteY6" fmla="*/ 116525 h 152003"/>
                    <a:gd name="connsiteX7" fmla="*/ 59130 w 135614"/>
                    <a:gd name="connsiteY7" fmla="*/ 142873 h 152003"/>
                    <a:gd name="connsiteX8" fmla="*/ 79472 w 135614"/>
                    <a:gd name="connsiteY8" fmla="*/ 146926 h 152003"/>
                    <a:gd name="connsiteX9" fmla="*/ 90773 w 135614"/>
                    <a:gd name="connsiteY9" fmla="*/ 123619 h 152003"/>
                    <a:gd name="connsiteX10" fmla="*/ 107725 w 135614"/>
                    <a:gd name="connsiteY10" fmla="*/ 102339 h 152003"/>
                    <a:gd name="connsiteX11" fmla="*/ 122416 w 135614"/>
                    <a:gd name="connsiteY11" fmla="*/ 91192 h 152003"/>
                    <a:gd name="connsiteX12" fmla="*/ 129197 w 135614"/>
                    <a:gd name="connsiteY12" fmla="*/ 78018 h 152003"/>
                    <a:gd name="connsiteX13" fmla="*/ 113375 w 135614"/>
                    <a:gd name="connsiteY13" fmla="*/ 81058 h 152003"/>
                    <a:gd name="connsiteX14" fmla="*/ 119026 w 135614"/>
                    <a:gd name="connsiteY14" fmla="*/ 60791 h 152003"/>
                    <a:gd name="connsiteX15" fmla="*/ 112246 w 135614"/>
                    <a:gd name="connsiteY15" fmla="*/ 46604 h 152003"/>
                    <a:gd name="connsiteX16" fmla="*/ 99814 w 135614"/>
                    <a:gd name="connsiteY16" fmla="*/ 31404 h 152003"/>
                    <a:gd name="connsiteX17" fmla="*/ 89643 w 135614"/>
                    <a:gd name="connsiteY17" fmla="*/ 13163 h 152003"/>
                    <a:gd name="connsiteX18" fmla="*/ 68171 w 135614"/>
                    <a:gd name="connsiteY18" fmla="*/ 13163 h 152003"/>
                    <a:gd name="connsiteX19" fmla="*/ 42178 w 135614"/>
                    <a:gd name="connsiteY19" fmla="*/ 17216 h 152003"/>
                    <a:gd name="connsiteX20" fmla="*/ 32007 w 135614"/>
                    <a:gd name="connsiteY20" fmla="*/ 42550 h 152003"/>
                    <a:gd name="connsiteX21" fmla="*/ 20706 w 135614"/>
                    <a:gd name="connsiteY21" fmla="*/ 54711 h 152003"/>
                    <a:gd name="connsiteX22" fmla="*/ 12795 w 135614"/>
                    <a:gd name="connsiteY22" fmla="*/ 53697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5614" h="152003">
                      <a:moveTo>
                        <a:pt x="12795" y="53697"/>
                      </a:moveTo>
                      <a:cubicBezTo>
                        <a:pt x="3754" y="61804"/>
                        <a:pt x="19576" y="84098"/>
                        <a:pt x="24096" y="89165"/>
                      </a:cubicBezTo>
                      <a:cubicBezTo>
                        <a:pt x="16185" y="88151"/>
                        <a:pt x="15055" y="95245"/>
                        <a:pt x="18446" y="94231"/>
                      </a:cubicBezTo>
                      <a:cubicBezTo>
                        <a:pt x="19576" y="94231"/>
                        <a:pt x="32007" y="98285"/>
                        <a:pt x="32007" y="99298"/>
                      </a:cubicBezTo>
                      <a:cubicBezTo>
                        <a:pt x="34267" y="103352"/>
                        <a:pt x="32007" y="123619"/>
                        <a:pt x="32007" y="123619"/>
                      </a:cubicBezTo>
                      <a:cubicBezTo>
                        <a:pt x="35398" y="122606"/>
                        <a:pt x="34267" y="122606"/>
                        <a:pt x="37657" y="121592"/>
                      </a:cubicBezTo>
                      <a:cubicBezTo>
                        <a:pt x="33137" y="119565"/>
                        <a:pt x="34267" y="117539"/>
                        <a:pt x="39918" y="116525"/>
                      </a:cubicBezTo>
                      <a:cubicBezTo>
                        <a:pt x="44438" y="125646"/>
                        <a:pt x="48959" y="138819"/>
                        <a:pt x="59130" y="142873"/>
                      </a:cubicBezTo>
                      <a:cubicBezTo>
                        <a:pt x="68171" y="145913"/>
                        <a:pt x="73821" y="143886"/>
                        <a:pt x="79472" y="146926"/>
                      </a:cubicBezTo>
                      <a:cubicBezTo>
                        <a:pt x="79472" y="146926"/>
                        <a:pt x="81732" y="133752"/>
                        <a:pt x="90773" y="123619"/>
                      </a:cubicBezTo>
                      <a:cubicBezTo>
                        <a:pt x="99814" y="113485"/>
                        <a:pt x="107725" y="102339"/>
                        <a:pt x="107725" y="102339"/>
                      </a:cubicBezTo>
                      <a:cubicBezTo>
                        <a:pt x="107725" y="102339"/>
                        <a:pt x="114506" y="92205"/>
                        <a:pt x="122416" y="91192"/>
                      </a:cubicBezTo>
                      <a:cubicBezTo>
                        <a:pt x="130327" y="90178"/>
                        <a:pt x="129197" y="78018"/>
                        <a:pt x="129197" y="78018"/>
                      </a:cubicBezTo>
                      <a:lnTo>
                        <a:pt x="113375" y="81058"/>
                      </a:lnTo>
                      <a:cubicBezTo>
                        <a:pt x="113375" y="81058"/>
                        <a:pt x="122416" y="67884"/>
                        <a:pt x="119026" y="60791"/>
                      </a:cubicBezTo>
                      <a:cubicBezTo>
                        <a:pt x="115636" y="53697"/>
                        <a:pt x="115636" y="56737"/>
                        <a:pt x="112246" y="46604"/>
                      </a:cubicBezTo>
                      <a:cubicBezTo>
                        <a:pt x="108855" y="36470"/>
                        <a:pt x="99814" y="41537"/>
                        <a:pt x="99814" y="31404"/>
                      </a:cubicBezTo>
                      <a:cubicBezTo>
                        <a:pt x="99814" y="21270"/>
                        <a:pt x="96424" y="13163"/>
                        <a:pt x="89643" y="13163"/>
                      </a:cubicBezTo>
                      <a:cubicBezTo>
                        <a:pt x="82862" y="13163"/>
                        <a:pt x="80602" y="19243"/>
                        <a:pt x="68171" y="13163"/>
                      </a:cubicBezTo>
                      <a:cubicBezTo>
                        <a:pt x="55740" y="7083"/>
                        <a:pt x="46699" y="7083"/>
                        <a:pt x="42178" y="17216"/>
                      </a:cubicBezTo>
                      <a:cubicBezTo>
                        <a:pt x="37657" y="27350"/>
                        <a:pt x="38788" y="38497"/>
                        <a:pt x="32007" y="42550"/>
                      </a:cubicBezTo>
                      <a:cubicBezTo>
                        <a:pt x="25226" y="46604"/>
                        <a:pt x="29747" y="53697"/>
                        <a:pt x="20706" y="54711"/>
                      </a:cubicBezTo>
                      <a:cubicBezTo>
                        <a:pt x="13925" y="55724"/>
                        <a:pt x="12795" y="53697"/>
                        <a:pt x="12795" y="5369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0" name="Freeform: Shape 299">
                  <a:extLst>
                    <a:ext uri="{FF2B5EF4-FFF2-40B4-BE49-F238E27FC236}">
                      <a16:creationId xmlns:a16="http://schemas.microsoft.com/office/drawing/2014/main" id="{ACA1495C-AFBF-4322-85AC-ADE4B5FEB627}"/>
                    </a:ext>
                  </a:extLst>
                </p:cNvPr>
                <p:cNvSpPr/>
                <p:nvPr/>
              </p:nvSpPr>
              <p:spPr>
                <a:xfrm>
                  <a:off x="5270598" y="3587738"/>
                  <a:ext cx="214723" cy="202671"/>
                </a:xfrm>
                <a:custGeom>
                  <a:avLst/>
                  <a:gdLst>
                    <a:gd name="connsiteX0" fmla="*/ 43956 w 214722"/>
                    <a:gd name="connsiteY0" fmla="*/ 31351 h 202671"/>
                    <a:gd name="connsiteX1" fmla="*/ 37174 w 214722"/>
                    <a:gd name="connsiteY1" fmla="*/ 49592 h 202671"/>
                    <a:gd name="connsiteX2" fmla="*/ 39435 w 214722"/>
                    <a:gd name="connsiteY2" fmla="*/ 73912 h 202671"/>
                    <a:gd name="connsiteX3" fmla="*/ 28134 w 214722"/>
                    <a:gd name="connsiteY3" fmla="*/ 91139 h 202671"/>
                    <a:gd name="connsiteX4" fmla="*/ 20223 w 214722"/>
                    <a:gd name="connsiteY4" fmla="*/ 93166 h 202671"/>
                    <a:gd name="connsiteX5" fmla="*/ 17963 w 214722"/>
                    <a:gd name="connsiteY5" fmla="*/ 105326 h 202671"/>
                    <a:gd name="connsiteX6" fmla="*/ 10052 w 214722"/>
                    <a:gd name="connsiteY6" fmla="*/ 107353 h 202671"/>
                    <a:gd name="connsiteX7" fmla="*/ 21353 w 214722"/>
                    <a:gd name="connsiteY7" fmla="*/ 114446 h 202671"/>
                    <a:gd name="connsiteX8" fmla="*/ 27004 w 214722"/>
                    <a:gd name="connsiteY8" fmla="*/ 143834 h 202671"/>
                    <a:gd name="connsiteX9" fmla="*/ 32654 w 214722"/>
                    <a:gd name="connsiteY9" fmla="*/ 147887 h 202671"/>
                    <a:gd name="connsiteX10" fmla="*/ 49606 w 214722"/>
                    <a:gd name="connsiteY10" fmla="*/ 143834 h 202671"/>
                    <a:gd name="connsiteX11" fmla="*/ 66558 w 214722"/>
                    <a:gd name="connsiteY11" fmla="*/ 140794 h 202671"/>
                    <a:gd name="connsiteX12" fmla="*/ 77859 w 214722"/>
                    <a:gd name="connsiteY12" fmla="*/ 139780 h 202671"/>
                    <a:gd name="connsiteX13" fmla="*/ 110632 w 214722"/>
                    <a:gd name="connsiteY13" fmla="*/ 139780 h 202671"/>
                    <a:gd name="connsiteX14" fmla="*/ 134365 w 214722"/>
                    <a:gd name="connsiteY14" fmla="*/ 139780 h 202671"/>
                    <a:gd name="connsiteX15" fmla="*/ 149057 w 214722"/>
                    <a:gd name="connsiteY15" fmla="*/ 144847 h 202671"/>
                    <a:gd name="connsiteX16" fmla="*/ 133235 w 214722"/>
                    <a:gd name="connsiteY16" fmla="*/ 159034 h 202671"/>
                    <a:gd name="connsiteX17" fmla="*/ 77859 w 214722"/>
                    <a:gd name="connsiteY17" fmla="*/ 160047 h 202671"/>
                    <a:gd name="connsiteX18" fmla="*/ 63168 w 214722"/>
                    <a:gd name="connsiteY18" fmla="*/ 169168 h 202671"/>
                    <a:gd name="connsiteX19" fmla="*/ 32654 w 214722"/>
                    <a:gd name="connsiteY19" fmla="*/ 170181 h 202671"/>
                    <a:gd name="connsiteX20" fmla="*/ 33784 w 214722"/>
                    <a:gd name="connsiteY20" fmla="*/ 175248 h 202671"/>
                    <a:gd name="connsiteX21" fmla="*/ 39435 w 214722"/>
                    <a:gd name="connsiteY21" fmla="*/ 177274 h 202671"/>
                    <a:gd name="connsiteX22" fmla="*/ 45085 w 214722"/>
                    <a:gd name="connsiteY22" fmla="*/ 194501 h 202671"/>
                    <a:gd name="connsiteX23" fmla="*/ 60907 w 214722"/>
                    <a:gd name="connsiteY23" fmla="*/ 191461 h 202671"/>
                    <a:gd name="connsiteX24" fmla="*/ 78989 w 214722"/>
                    <a:gd name="connsiteY24" fmla="*/ 180314 h 202671"/>
                    <a:gd name="connsiteX25" fmla="*/ 134365 w 214722"/>
                    <a:gd name="connsiteY25" fmla="*/ 183354 h 202671"/>
                    <a:gd name="connsiteX26" fmla="*/ 158097 w 214722"/>
                    <a:gd name="connsiteY26" fmla="*/ 186395 h 202671"/>
                    <a:gd name="connsiteX27" fmla="*/ 179570 w 214722"/>
                    <a:gd name="connsiteY27" fmla="*/ 190448 h 202671"/>
                    <a:gd name="connsiteX28" fmla="*/ 213474 w 214722"/>
                    <a:gd name="connsiteY28" fmla="*/ 186395 h 202671"/>
                    <a:gd name="connsiteX29" fmla="*/ 210083 w 214722"/>
                    <a:gd name="connsiteY29" fmla="*/ 163087 h 202671"/>
                    <a:gd name="connsiteX30" fmla="*/ 197652 w 214722"/>
                    <a:gd name="connsiteY30" fmla="*/ 149914 h 202671"/>
                    <a:gd name="connsiteX31" fmla="*/ 193132 w 214722"/>
                    <a:gd name="connsiteY31" fmla="*/ 136740 h 202671"/>
                    <a:gd name="connsiteX32" fmla="*/ 197652 w 214722"/>
                    <a:gd name="connsiteY32" fmla="*/ 108366 h 202671"/>
                    <a:gd name="connsiteX33" fmla="*/ 196522 w 214722"/>
                    <a:gd name="connsiteY33" fmla="*/ 89112 h 202671"/>
                    <a:gd name="connsiteX34" fmla="*/ 187481 w 214722"/>
                    <a:gd name="connsiteY34" fmla="*/ 77965 h 202671"/>
                    <a:gd name="connsiteX35" fmla="*/ 167138 w 214722"/>
                    <a:gd name="connsiteY35" fmla="*/ 69859 h 202671"/>
                    <a:gd name="connsiteX36" fmla="*/ 161488 w 214722"/>
                    <a:gd name="connsiteY36" fmla="*/ 49592 h 202671"/>
                    <a:gd name="connsiteX37" fmla="*/ 143406 w 214722"/>
                    <a:gd name="connsiteY37" fmla="*/ 40471 h 202671"/>
                    <a:gd name="connsiteX38" fmla="*/ 133235 w 214722"/>
                    <a:gd name="connsiteY38" fmla="*/ 22231 h 202671"/>
                    <a:gd name="connsiteX39" fmla="*/ 111763 w 214722"/>
                    <a:gd name="connsiteY39" fmla="*/ 12097 h 202671"/>
                    <a:gd name="connsiteX40" fmla="*/ 88030 w 214722"/>
                    <a:gd name="connsiteY40" fmla="*/ 13111 h 202671"/>
                    <a:gd name="connsiteX41" fmla="*/ 69948 w 214722"/>
                    <a:gd name="connsiteY41" fmla="*/ 13111 h 202671"/>
                    <a:gd name="connsiteX42" fmla="*/ 54126 w 214722"/>
                    <a:gd name="connsiteY42" fmla="*/ 22231 h 202671"/>
                    <a:gd name="connsiteX43" fmla="*/ 43956 w 214722"/>
                    <a:gd name="connsiteY43" fmla="*/ 31351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14722" h="202671">
                      <a:moveTo>
                        <a:pt x="43956" y="31351"/>
                      </a:moveTo>
                      <a:cubicBezTo>
                        <a:pt x="40565" y="37431"/>
                        <a:pt x="38305" y="44525"/>
                        <a:pt x="37174" y="49592"/>
                      </a:cubicBezTo>
                      <a:cubicBezTo>
                        <a:pt x="36045" y="58712"/>
                        <a:pt x="41695" y="63778"/>
                        <a:pt x="39435" y="73912"/>
                      </a:cubicBezTo>
                      <a:lnTo>
                        <a:pt x="28134" y="91139"/>
                      </a:lnTo>
                      <a:cubicBezTo>
                        <a:pt x="25873" y="93166"/>
                        <a:pt x="21353" y="91139"/>
                        <a:pt x="20223" y="93166"/>
                      </a:cubicBezTo>
                      <a:cubicBezTo>
                        <a:pt x="17963" y="97219"/>
                        <a:pt x="20223" y="102286"/>
                        <a:pt x="17963" y="105326"/>
                      </a:cubicBezTo>
                      <a:cubicBezTo>
                        <a:pt x="15703" y="107353"/>
                        <a:pt x="11182" y="105326"/>
                        <a:pt x="10052" y="107353"/>
                      </a:cubicBezTo>
                      <a:lnTo>
                        <a:pt x="21353" y="114446"/>
                      </a:lnTo>
                      <a:cubicBezTo>
                        <a:pt x="25873" y="121540"/>
                        <a:pt x="22483" y="135727"/>
                        <a:pt x="27004" y="143834"/>
                      </a:cubicBezTo>
                      <a:cubicBezTo>
                        <a:pt x="28134" y="146874"/>
                        <a:pt x="30394" y="143834"/>
                        <a:pt x="32654" y="147887"/>
                      </a:cubicBezTo>
                      <a:cubicBezTo>
                        <a:pt x="32654" y="147887"/>
                        <a:pt x="39435" y="143834"/>
                        <a:pt x="49606" y="143834"/>
                      </a:cubicBezTo>
                      <a:cubicBezTo>
                        <a:pt x="59777" y="143834"/>
                        <a:pt x="56387" y="146874"/>
                        <a:pt x="66558" y="140794"/>
                      </a:cubicBezTo>
                      <a:cubicBezTo>
                        <a:pt x="76729" y="135727"/>
                        <a:pt x="71078" y="134713"/>
                        <a:pt x="77859" y="139780"/>
                      </a:cubicBezTo>
                      <a:cubicBezTo>
                        <a:pt x="84640" y="144847"/>
                        <a:pt x="101591" y="139780"/>
                        <a:pt x="110632" y="139780"/>
                      </a:cubicBezTo>
                      <a:cubicBezTo>
                        <a:pt x="119674" y="139780"/>
                        <a:pt x="126454" y="139780"/>
                        <a:pt x="134365" y="139780"/>
                      </a:cubicBezTo>
                      <a:cubicBezTo>
                        <a:pt x="142276" y="139780"/>
                        <a:pt x="149057" y="134713"/>
                        <a:pt x="149057" y="144847"/>
                      </a:cubicBezTo>
                      <a:cubicBezTo>
                        <a:pt x="149057" y="154981"/>
                        <a:pt x="143406" y="159034"/>
                        <a:pt x="133235" y="159034"/>
                      </a:cubicBezTo>
                      <a:cubicBezTo>
                        <a:pt x="123064" y="159034"/>
                        <a:pt x="89160" y="160047"/>
                        <a:pt x="77859" y="160047"/>
                      </a:cubicBezTo>
                      <a:cubicBezTo>
                        <a:pt x="66558" y="160047"/>
                        <a:pt x="63168" y="169168"/>
                        <a:pt x="63168" y="169168"/>
                      </a:cubicBezTo>
                      <a:lnTo>
                        <a:pt x="32654" y="170181"/>
                      </a:lnTo>
                      <a:cubicBezTo>
                        <a:pt x="32654" y="171194"/>
                        <a:pt x="33784" y="173221"/>
                        <a:pt x="33784" y="175248"/>
                      </a:cubicBezTo>
                      <a:cubicBezTo>
                        <a:pt x="33784" y="176261"/>
                        <a:pt x="39435" y="177274"/>
                        <a:pt x="39435" y="177274"/>
                      </a:cubicBezTo>
                      <a:cubicBezTo>
                        <a:pt x="25873" y="181328"/>
                        <a:pt x="40565" y="191461"/>
                        <a:pt x="45085" y="194501"/>
                      </a:cubicBezTo>
                      <a:lnTo>
                        <a:pt x="60907" y="191461"/>
                      </a:lnTo>
                      <a:lnTo>
                        <a:pt x="78989" y="180314"/>
                      </a:lnTo>
                      <a:cubicBezTo>
                        <a:pt x="78989" y="180314"/>
                        <a:pt x="124194" y="180314"/>
                        <a:pt x="134365" y="183354"/>
                      </a:cubicBezTo>
                      <a:cubicBezTo>
                        <a:pt x="144536" y="186395"/>
                        <a:pt x="150186" y="189435"/>
                        <a:pt x="158097" y="186395"/>
                      </a:cubicBezTo>
                      <a:cubicBezTo>
                        <a:pt x="167138" y="182341"/>
                        <a:pt x="172789" y="186395"/>
                        <a:pt x="179570" y="190448"/>
                      </a:cubicBezTo>
                      <a:cubicBezTo>
                        <a:pt x="186350" y="194501"/>
                        <a:pt x="213474" y="186395"/>
                        <a:pt x="213474" y="186395"/>
                      </a:cubicBezTo>
                      <a:cubicBezTo>
                        <a:pt x="213474" y="186395"/>
                        <a:pt x="210083" y="168154"/>
                        <a:pt x="210083" y="163087"/>
                      </a:cubicBezTo>
                      <a:cubicBezTo>
                        <a:pt x="210083" y="158021"/>
                        <a:pt x="203302" y="154981"/>
                        <a:pt x="197652" y="149914"/>
                      </a:cubicBezTo>
                      <a:cubicBezTo>
                        <a:pt x="192001" y="144847"/>
                        <a:pt x="193132" y="136740"/>
                        <a:pt x="193132" y="136740"/>
                      </a:cubicBezTo>
                      <a:cubicBezTo>
                        <a:pt x="193132" y="136740"/>
                        <a:pt x="203302" y="110393"/>
                        <a:pt x="197652" y="108366"/>
                      </a:cubicBezTo>
                      <a:cubicBezTo>
                        <a:pt x="192001" y="106339"/>
                        <a:pt x="196522" y="89112"/>
                        <a:pt x="196522" y="89112"/>
                      </a:cubicBezTo>
                      <a:cubicBezTo>
                        <a:pt x="196522" y="89112"/>
                        <a:pt x="189741" y="83032"/>
                        <a:pt x="187481" y="77965"/>
                      </a:cubicBezTo>
                      <a:cubicBezTo>
                        <a:pt x="185221" y="72899"/>
                        <a:pt x="170529" y="81005"/>
                        <a:pt x="167138" y="69859"/>
                      </a:cubicBezTo>
                      <a:cubicBezTo>
                        <a:pt x="163748" y="58712"/>
                        <a:pt x="168269" y="51618"/>
                        <a:pt x="161488" y="49592"/>
                      </a:cubicBezTo>
                      <a:cubicBezTo>
                        <a:pt x="154707" y="46551"/>
                        <a:pt x="143406" y="50605"/>
                        <a:pt x="143406" y="40471"/>
                      </a:cubicBezTo>
                      <a:cubicBezTo>
                        <a:pt x="143406" y="30337"/>
                        <a:pt x="140016" y="26284"/>
                        <a:pt x="133235" y="22231"/>
                      </a:cubicBezTo>
                      <a:cubicBezTo>
                        <a:pt x="126454" y="18177"/>
                        <a:pt x="126454" y="11084"/>
                        <a:pt x="111763" y="12097"/>
                      </a:cubicBezTo>
                      <a:cubicBezTo>
                        <a:pt x="97071" y="13111"/>
                        <a:pt x="99331" y="15137"/>
                        <a:pt x="88030" y="13111"/>
                      </a:cubicBezTo>
                      <a:cubicBezTo>
                        <a:pt x="76729" y="11084"/>
                        <a:pt x="72209" y="5004"/>
                        <a:pt x="69948" y="13111"/>
                      </a:cubicBezTo>
                      <a:cubicBezTo>
                        <a:pt x="67688" y="21217"/>
                        <a:pt x="54126" y="22231"/>
                        <a:pt x="54126" y="22231"/>
                      </a:cubicBezTo>
                      <a:lnTo>
                        <a:pt x="43956" y="3135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1" name="Freeform: Shape 300">
                  <a:extLst>
                    <a:ext uri="{FF2B5EF4-FFF2-40B4-BE49-F238E27FC236}">
                      <a16:creationId xmlns:a16="http://schemas.microsoft.com/office/drawing/2014/main" id="{57311619-53B8-4D3B-A332-D26501AD444B}"/>
                    </a:ext>
                  </a:extLst>
                </p:cNvPr>
                <p:cNvSpPr/>
                <p:nvPr/>
              </p:nvSpPr>
              <p:spPr>
                <a:xfrm>
                  <a:off x="7112128" y="2983821"/>
                  <a:ext cx="757180" cy="658682"/>
                </a:xfrm>
                <a:custGeom>
                  <a:avLst/>
                  <a:gdLst>
                    <a:gd name="connsiteX0" fmla="*/ 290887 w 757180"/>
                    <a:gd name="connsiteY0" fmla="*/ 627161 h 658681"/>
                    <a:gd name="connsiteX1" fmla="*/ 299927 w 757180"/>
                    <a:gd name="connsiteY1" fmla="*/ 617028 h 658681"/>
                    <a:gd name="connsiteX2" fmla="*/ 306709 w 757180"/>
                    <a:gd name="connsiteY2" fmla="*/ 607907 h 658681"/>
                    <a:gd name="connsiteX3" fmla="*/ 311229 w 757180"/>
                    <a:gd name="connsiteY3" fmla="*/ 598787 h 658681"/>
                    <a:gd name="connsiteX4" fmla="*/ 320269 w 757180"/>
                    <a:gd name="connsiteY4" fmla="*/ 590680 h 658681"/>
                    <a:gd name="connsiteX5" fmla="*/ 332701 w 757180"/>
                    <a:gd name="connsiteY5" fmla="*/ 600814 h 658681"/>
                    <a:gd name="connsiteX6" fmla="*/ 354173 w 757180"/>
                    <a:gd name="connsiteY6" fmla="*/ 600814 h 658681"/>
                    <a:gd name="connsiteX7" fmla="*/ 415200 w 757180"/>
                    <a:gd name="connsiteY7" fmla="*/ 615001 h 658681"/>
                    <a:gd name="connsiteX8" fmla="*/ 421980 w 757180"/>
                    <a:gd name="connsiteY8" fmla="*/ 655535 h 658681"/>
                    <a:gd name="connsiteX9" fmla="*/ 441192 w 757180"/>
                    <a:gd name="connsiteY9" fmla="*/ 635268 h 658681"/>
                    <a:gd name="connsiteX10" fmla="*/ 487528 w 757180"/>
                    <a:gd name="connsiteY10" fmla="*/ 582573 h 658681"/>
                    <a:gd name="connsiteX11" fmla="*/ 610710 w 757180"/>
                    <a:gd name="connsiteY11" fmla="*/ 543052 h 658681"/>
                    <a:gd name="connsiteX12" fmla="*/ 727113 w 757180"/>
                    <a:gd name="connsiteY12" fmla="*/ 498465 h 658681"/>
                    <a:gd name="connsiteX13" fmla="*/ 750845 w 757180"/>
                    <a:gd name="connsiteY13" fmla="*/ 404223 h 658681"/>
                    <a:gd name="connsiteX14" fmla="*/ 727113 w 757180"/>
                    <a:gd name="connsiteY14" fmla="*/ 375848 h 658681"/>
                    <a:gd name="connsiteX15" fmla="*/ 716942 w 757180"/>
                    <a:gd name="connsiteY15" fmla="*/ 378889 h 658681"/>
                    <a:gd name="connsiteX16" fmla="*/ 600540 w 757180"/>
                    <a:gd name="connsiteY16" fmla="*/ 359635 h 658681"/>
                    <a:gd name="connsiteX17" fmla="*/ 597149 w 757180"/>
                    <a:gd name="connsiteY17" fmla="*/ 326194 h 658681"/>
                    <a:gd name="connsiteX18" fmla="*/ 579067 w 757180"/>
                    <a:gd name="connsiteY18" fmla="*/ 306940 h 658681"/>
                    <a:gd name="connsiteX19" fmla="*/ 580197 w 757180"/>
                    <a:gd name="connsiteY19" fmla="*/ 292753 h 658681"/>
                    <a:gd name="connsiteX20" fmla="*/ 563245 w 757180"/>
                    <a:gd name="connsiteY20" fmla="*/ 281606 h 658681"/>
                    <a:gd name="connsiteX21" fmla="*/ 563245 w 757180"/>
                    <a:gd name="connsiteY21" fmla="*/ 283633 h 658681"/>
                    <a:gd name="connsiteX22" fmla="*/ 557595 w 757180"/>
                    <a:gd name="connsiteY22" fmla="*/ 283633 h 658681"/>
                    <a:gd name="connsiteX23" fmla="*/ 549684 w 757180"/>
                    <a:gd name="connsiteY23" fmla="*/ 276540 h 658681"/>
                    <a:gd name="connsiteX24" fmla="*/ 549684 w 757180"/>
                    <a:gd name="connsiteY24" fmla="*/ 271473 h 658681"/>
                    <a:gd name="connsiteX25" fmla="*/ 549684 w 757180"/>
                    <a:gd name="connsiteY25" fmla="*/ 249179 h 658681"/>
                    <a:gd name="connsiteX26" fmla="*/ 549684 w 757180"/>
                    <a:gd name="connsiteY26" fmla="*/ 226885 h 658681"/>
                    <a:gd name="connsiteX27" fmla="*/ 544034 w 757180"/>
                    <a:gd name="connsiteY27" fmla="*/ 226885 h 658681"/>
                    <a:gd name="connsiteX28" fmla="*/ 532733 w 757180"/>
                    <a:gd name="connsiteY28" fmla="*/ 212698 h 658681"/>
                    <a:gd name="connsiteX29" fmla="*/ 519171 w 757180"/>
                    <a:gd name="connsiteY29" fmla="*/ 205605 h 658681"/>
                    <a:gd name="connsiteX30" fmla="*/ 519171 w 757180"/>
                    <a:gd name="connsiteY30" fmla="*/ 188377 h 658681"/>
                    <a:gd name="connsiteX31" fmla="*/ 511260 w 757180"/>
                    <a:gd name="connsiteY31" fmla="*/ 186351 h 658681"/>
                    <a:gd name="connsiteX32" fmla="*/ 509000 w 757180"/>
                    <a:gd name="connsiteY32" fmla="*/ 176217 h 658681"/>
                    <a:gd name="connsiteX33" fmla="*/ 501089 w 757180"/>
                    <a:gd name="connsiteY33" fmla="*/ 176217 h 658681"/>
                    <a:gd name="connsiteX34" fmla="*/ 501089 w 757180"/>
                    <a:gd name="connsiteY34" fmla="*/ 169124 h 658681"/>
                    <a:gd name="connsiteX35" fmla="*/ 487528 w 757180"/>
                    <a:gd name="connsiteY35" fmla="*/ 146830 h 658681"/>
                    <a:gd name="connsiteX36" fmla="*/ 487528 w 757180"/>
                    <a:gd name="connsiteY36" fmla="*/ 136696 h 658681"/>
                    <a:gd name="connsiteX37" fmla="*/ 481877 w 757180"/>
                    <a:gd name="connsiteY37" fmla="*/ 133656 h 658681"/>
                    <a:gd name="connsiteX38" fmla="*/ 453624 w 757180"/>
                    <a:gd name="connsiteY38" fmla="*/ 134670 h 658681"/>
                    <a:gd name="connsiteX39" fmla="*/ 447974 w 757180"/>
                    <a:gd name="connsiteY39" fmla="*/ 120483 h 658681"/>
                    <a:gd name="connsiteX40" fmla="*/ 399378 w 757180"/>
                    <a:gd name="connsiteY40" fmla="*/ 112376 h 658681"/>
                    <a:gd name="connsiteX41" fmla="*/ 336091 w 757180"/>
                    <a:gd name="connsiteY41" fmla="*/ 104269 h 658681"/>
                    <a:gd name="connsiteX42" fmla="*/ 308968 w 757180"/>
                    <a:gd name="connsiteY42" fmla="*/ 91095 h 658681"/>
                    <a:gd name="connsiteX43" fmla="*/ 304448 w 757180"/>
                    <a:gd name="connsiteY43" fmla="*/ 69815 h 658681"/>
                    <a:gd name="connsiteX44" fmla="*/ 278456 w 757180"/>
                    <a:gd name="connsiteY44" fmla="*/ 69815 h 658681"/>
                    <a:gd name="connsiteX45" fmla="*/ 275065 w 757180"/>
                    <a:gd name="connsiteY45" fmla="*/ 59681 h 658681"/>
                    <a:gd name="connsiteX46" fmla="*/ 177875 w 757180"/>
                    <a:gd name="connsiteY46" fmla="*/ 9013 h 658681"/>
                    <a:gd name="connsiteX47" fmla="*/ 175614 w 757180"/>
                    <a:gd name="connsiteY47" fmla="*/ 17120 h 658681"/>
                    <a:gd name="connsiteX48" fmla="*/ 105547 w 757180"/>
                    <a:gd name="connsiteY48" fmla="*/ 33334 h 658681"/>
                    <a:gd name="connsiteX49" fmla="*/ 127019 w 757180"/>
                    <a:gd name="connsiteY49" fmla="*/ 64748 h 658681"/>
                    <a:gd name="connsiteX50" fmla="*/ 108938 w 757180"/>
                    <a:gd name="connsiteY50" fmla="*/ 79948 h 658681"/>
                    <a:gd name="connsiteX51" fmla="*/ 94246 w 757180"/>
                    <a:gd name="connsiteY51" fmla="*/ 94135 h 658681"/>
                    <a:gd name="connsiteX52" fmla="*/ 81814 w 757180"/>
                    <a:gd name="connsiteY52" fmla="*/ 107309 h 658681"/>
                    <a:gd name="connsiteX53" fmla="*/ 59212 w 757180"/>
                    <a:gd name="connsiteY53" fmla="*/ 129603 h 658681"/>
                    <a:gd name="connsiteX54" fmla="*/ 17398 w 757180"/>
                    <a:gd name="connsiteY54" fmla="*/ 128589 h 658681"/>
                    <a:gd name="connsiteX55" fmla="*/ 11747 w 757180"/>
                    <a:gd name="connsiteY55" fmla="*/ 150883 h 658681"/>
                    <a:gd name="connsiteX56" fmla="*/ 12877 w 757180"/>
                    <a:gd name="connsiteY56" fmla="*/ 150883 h 658681"/>
                    <a:gd name="connsiteX57" fmla="*/ 12877 w 757180"/>
                    <a:gd name="connsiteY57" fmla="*/ 161017 h 658681"/>
                    <a:gd name="connsiteX58" fmla="*/ 10617 w 757180"/>
                    <a:gd name="connsiteY58" fmla="*/ 168110 h 658681"/>
                    <a:gd name="connsiteX59" fmla="*/ 24179 w 757180"/>
                    <a:gd name="connsiteY59" fmla="*/ 170137 h 658681"/>
                    <a:gd name="connsiteX60" fmla="*/ 43390 w 757180"/>
                    <a:gd name="connsiteY60" fmla="*/ 184324 h 658681"/>
                    <a:gd name="connsiteX61" fmla="*/ 54691 w 757180"/>
                    <a:gd name="connsiteY61" fmla="*/ 213711 h 658681"/>
                    <a:gd name="connsiteX62" fmla="*/ 68253 w 757180"/>
                    <a:gd name="connsiteY62" fmla="*/ 223845 h 658681"/>
                    <a:gd name="connsiteX63" fmla="*/ 68253 w 757180"/>
                    <a:gd name="connsiteY63" fmla="*/ 233978 h 658681"/>
                    <a:gd name="connsiteX64" fmla="*/ 79554 w 757180"/>
                    <a:gd name="connsiteY64" fmla="*/ 239045 h 658681"/>
                    <a:gd name="connsiteX65" fmla="*/ 79554 w 757180"/>
                    <a:gd name="connsiteY65" fmla="*/ 249179 h 658681"/>
                    <a:gd name="connsiteX66" fmla="*/ 95376 w 757180"/>
                    <a:gd name="connsiteY66" fmla="*/ 259312 h 658681"/>
                    <a:gd name="connsiteX67" fmla="*/ 95376 w 757180"/>
                    <a:gd name="connsiteY67" fmla="*/ 264379 h 658681"/>
                    <a:gd name="connsiteX68" fmla="*/ 101027 w 757180"/>
                    <a:gd name="connsiteY68" fmla="*/ 264379 h 658681"/>
                    <a:gd name="connsiteX69" fmla="*/ 114588 w 757180"/>
                    <a:gd name="connsiteY69" fmla="*/ 313020 h 658681"/>
                    <a:gd name="connsiteX70" fmla="*/ 120239 w 757180"/>
                    <a:gd name="connsiteY70" fmla="*/ 313020 h 658681"/>
                    <a:gd name="connsiteX71" fmla="*/ 153012 w 757180"/>
                    <a:gd name="connsiteY71" fmla="*/ 347475 h 658681"/>
                    <a:gd name="connsiteX72" fmla="*/ 164313 w 757180"/>
                    <a:gd name="connsiteY72" fmla="*/ 406249 h 658681"/>
                    <a:gd name="connsiteX73" fmla="*/ 153012 w 757180"/>
                    <a:gd name="connsiteY73" fmla="*/ 416383 h 658681"/>
                    <a:gd name="connsiteX74" fmla="*/ 153012 w 757180"/>
                    <a:gd name="connsiteY74" fmla="*/ 428543 h 658681"/>
                    <a:gd name="connsiteX75" fmla="*/ 164313 w 757180"/>
                    <a:gd name="connsiteY75" fmla="*/ 428543 h 658681"/>
                    <a:gd name="connsiteX76" fmla="*/ 169964 w 757180"/>
                    <a:gd name="connsiteY76" fmla="*/ 472117 h 658681"/>
                    <a:gd name="connsiteX77" fmla="*/ 177875 w 757180"/>
                    <a:gd name="connsiteY77" fmla="*/ 484278 h 658681"/>
                    <a:gd name="connsiteX78" fmla="*/ 177875 w 757180"/>
                    <a:gd name="connsiteY78" fmla="*/ 491371 h 658681"/>
                    <a:gd name="connsiteX79" fmla="*/ 185786 w 757180"/>
                    <a:gd name="connsiteY79" fmla="*/ 493398 h 658681"/>
                    <a:gd name="connsiteX80" fmla="*/ 197087 w 757180"/>
                    <a:gd name="connsiteY80" fmla="*/ 507585 h 658681"/>
                    <a:gd name="connsiteX81" fmla="*/ 204998 w 757180"/>
                    <a:gd name="connsiteY81" fmla="*/ 505558 h 658681"/>
                    <a:gd name="connsiteX82" fmla="*/ 226470 w 757180"/>
                    <a:gd name="connsiteY82" fmla="*/ 522785 h 658681"/>
                    <a:gd name="connsiteX83" fmla="*/ 237771 w 757180"/>
                    <a:gd name="connsiteY83" fmla="*/ 536972 h 658681"/>
                    <a:gd name="connsiteX84" fmla="*/ 237771 w 757180"/>
                    <a:gd name="connsiteY84" fmla="*/ 549133 h 658681"/>
                    <a:gd name="connsiteX85" fmla="*/ 251332 w 757180"/>
                    <a:gd name="connsiteY85" fmla="*/ 566360 h 658681"/>
                    <a:gd name="connsiteX86" fmla="*/ 251332 w 757180"/>
                    <a:gd name="connsiteY86" fmla="*/ 585613 h 658681"/>
                    <a:gd name="connsiteX87" fmla="*/ 267154 w 757180"/>
                    <a:gd name="connsiteY87" fmla="*/ 595747 h 658681"/>
                    <a:gd name="connsiteX88" fmla="*/ 275065 w 757180"/>
                    <a:gd name="connsiteY88" fmla="*/ 615001 h 658681"/>
                    <a:gd name="connsiteX89" fmla="*/ 290887 w 757180"/>
                    <a:gd name="connsiteY89" fmla="*/ 627161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57180" h="658681">
                      <a:moveTo>
                        <a:pt x="290887" y="627161"/>
                      </a:moveTo>
                      <a:cubicBezTo>
                        <a:pt x="290887" y="627161"/>
                        <a:pt x="299927" y="623108"/>
                        <a:pt x="299927" y="617028"/>
                      </a:cubicBezTo>
                      <a:cubicBezTo>
                        <a:pt x="299927" y="610947"/>
                        <a:pt x="306709" y="616014"/>
                        <a:pt x="306709" y="607907"/>
                      </a:cubicBezTo>
                      <a:cubicBezTo>
                        <a:pt x="306709" y="599800"/>
                        <a:pt x="306709" y="602841"/>
                        <a:pt x="311229" y="598787"/>
                      </a:cubicBezTo>
                      <a:cubicBezTo>
                        <a:pt x="315749" y="594734"/>
                        <a:pt x="312359" y="592707"/>
                        <a:pt x="320269" y="590680"/>
                      </a:cubicBezTo>
                      <a:cubicBezTo>
                        <a:pt x="336091" y="586627"/>
                        <a:pt x="324790" y="596760"/>
                        <a:pt x="332701" y="600814"/>
                      </a:cubicBezTo>
                      <a:cubicBezTo>
                        <a:pt x="341742" y="604867"/>
                        <a:pt x="342872" y="601827"/>
                        <a:pt x="354173" y="600814"/>
                      </a:cubicBezTo>
                      <a:cubicBezTo>
                        <a:pt x="365474" y="599800"/>
                        <a:pt x="415200" y="615001"/>
                        <a:pt x="415200" y="615001"/>
                      </a:cubicBezTo>
                      <a:lnTo>
                        <a:pt x="421980" y="655535"/>
                      </a:lnTo>
                      <a:cubicBezTo>
                        <a:pt x="419721" y="655535"/>
                        <a:pt x="441192" y="635268"/>
                        <a:pt x="441192" y="635268"/>
                      </a:cubicBezTo>
                      <a:lnTo>
                        <a:pt x="487528" y="582573"/>
                      </a:lnTo>
                      <a:lnTo>
                        <a:pt x="610710" y="543052"/>
                      </a:lnTo>
                      <a:cubicBezTo>
                        <a:pt x="610710" y="543052"/>
                        <a:pt x="705641" y="506572"/>
                        <a:pt x="727113" y="498465"/>
                      </a:cubicBezTo>
                      <a:cubicBezTo>
                        <a:pt x="736154" y="495425"/>
                        <a:pt x="749715" y="409289"/>
                        <a:pt x="750845" y="404223"/>
                      </a:cubicBezTo>
                      <a:lnTo>
                        <a:pt x="727113" y="375848"/>
                      </a:lnTo>
                      <a:cubicBezTo>
                        <a:pt x="727113" y="375848"/>
                        <a:pt x="724853" y="380915"/>
                        <a:pt x="716942" y="378889"/>
                      </a:cubicBezTo>
                      <a:cubicBezTo>
                        <a:pt x="709031" y="376862"/>
                        <a:pt x="600540" y="359635"/>
                        <a:pt x="600540" y="359635"/>
                      </a:cubicBezTo>
                      <a:lnTo>
                        <a:pt x="597149" y="326194"/>
                      </a:lnTo>
                      <a:lnTo>
                        <a:pt x="579067" y="306940"/>
                      </a:lnTo>
                      <a:lnTo>
                        <a:pt x="580197" y="292753"/>
                      </a:lnTo>
                      <a:lnTo>
                        <a:pt x="563245" y="281606"/>
                      </a:lnTo>
                      <a:lnTo>
                        <a:pt x="563245" y="283633"/>
                      </a:lnTo>
                      <a:lnTo>
                        <a:pt x="557595" y="283633"/>
                      </a:lnTo>
                      <a:cubicBezTo>
                        <a:pt x="555335" y="278566"/>
                        <a:pt x="553075" y="279580"/>
                        <a:pt x="549684" y="276540"/>
                      </a:cubicBezTo>
                      <a:lnTo>
                        <a:pt x="549684" y="271473"/>
                      </a:lnTo>
                      <a:cubicBezTo>
                        <a:pt x="550814" y="278566"/>
                        <a:pt x="550814" y="256272"/>
                        <a:pt x="549684" y="249179"/>
                      </a:cubicBezTo>
                      <a:cubicBezTo>
                        <a:pt x="549684" y="249179"/>
                        <a:pt x="554204" y="234992"/>
                        <a:pt x="549684" y="226885"/>
                      </a:cubicBezTo>
                      <a:lnTo>
                        <a:pt x="544034" y="226885"/>
                      </a:lnTo>
                      <a:cubicBezTo>
                        <a:pt x="539513" y="225872"/>
                        <a:pt x="536123" y="214725"/>
                        <a:pt x="532733" y="212698"/>
                      </a:cubicBezTo>
                      <a:cubicBezTo>
                        <a:pt x="529342" y="209658"/>
                        <a:pt x="521431" y="209658"/>
                        <a:pt x="519171" y="205605"/>
                      </a:cubicBezTo>
                      <a:cubicBezTo>
                        <a:pt x="518040" y="203578"/>
                        <a:pt x="516911" y="189391"/>
                        <a:pt x="519171" y="188377"/>
                      </a:cubicBezTo>
                      <a:cubicBezTo>
                        <a:pt x="518040" y="187364"/>
                        <a:pt x="512390" y="187364"/>
                        <a:pt x="511260" y="186351"/>
                      </a:cubicBezTo>
                      <a:cubicBezTo>
                        <a:pt x="509000" y="183311"/>
                        <a:pt x="510130" y="178244"/>
                        <a:pt x="509000" y="176217"/>
                      </a:cubicBezTo>
                      <a:cubicBezTo>
                        <a:pt x="507870" y="176217"/>
                        <a:pt x="501089" y="176217"/>
                        <a:pt x="501089" y="176217"/>
                      </a:cubicBezTo>
                      <a:cubicBezTo>
                        <a:pt x="499959" y="174190"/>
                        <a:pt x="501089" y="170137"/>
                        <a:pt x="501089" y="169124"/>
                      </a:cubicBezTo>
                      <a:cubicBezTo>
                        <a:pt x="499959" y="164057"/>
                        <a:pt x="489787" y="152910"/>
                        <a:pt x="487528" y="146830"/>
                      </a:cubicBezTo>
                      <a:cubicBezTo>
                        <a:pt x="486397" y="143790"/>
                        <a:pt x="488658" y="139736"/>
                        <a:pt x="487528" y="136696"/>
                      </a:cubicBezTo>
                      <a:lnTo>
                        <a:pt x="481877" y="133656"/>
                      </a:lnTo>
                      <a:lnTo>
                        <a:pt x="453624" y="134670"/>
                      </a:lnTo>
                      <a:lnTo>
                        <a:pt x="447974" y="120483"/>
                      </a:lnTo>
                      <a:lnTo>
                        <a:pt x="399378" y="112376"/>
                      </a:lnTo>
                      <a:lnTo>
                        <a:pt x="336091" y="104269"/>
                      </a:lnTo>
                      <a:lnTo>
                        <a:pt x="308968" y="91095"/>
                      </a:lnTo>
                      <a:lnTo>
                        <a:pt x="304448" y="69815"/>
                      </a:lnTo>
                      <a:lnTo>
                        <a:pt x="278456" y="69815"/>
                      </a:lnTo>
                      <a:lnTo>
                        <a:pt x="275065" y="59681"/>
                      </a:lnTo>
                      <a:lnTo>
                        <a:pt x="177875" y="9013"/>
                      </a:lnTo>
                      <a:lnTo>
                        <a:pt x="175614" y="17120"/>
                      </a:lnTo>
                      <a:lnTo>
                        <a:pt x="105547" y="33334"/>
                      </a:lnTo>
                      <a:lnTo>
                        <a:pt x="127019" y="64748"/>
                      </a:lnTo>
                      <a:cubicBezTo>
                        <a:pt x="127019" y="64748"/>
                        <a:pt x="110067" y="72855"/>
                        <a:pt x="108938" y="79948"/>
                      </a:cubicBezTo>
                      <a:cubicBezTo>
                        <a:pt x="107807" y="87042"/>
                        <a:pt x="98766" y="86029"/>
                        <a:pt x="94246" y="94135"/>
                      </a:cubicBezTo>
                      <a:cubicBezTo>
                        <a:pt x="89725" y="102242"/>
                        <a:pt x="81814" y="107309"/>
                        <a:pt x="81814" y="107309"/>
                      </a:cubicBezTo>
                      <a:lnTo>
                        <a:pt x="59212" y="129603"/>
                      </a:lnTo>
                      <a:lnTo>
                        <a:pt x="17398" y="128589"/>
                      </a:lnTo>
                      <a:cubicBezTo>
                        <a:pt x="17398" y="128589"/>
                        <a:pt x="16268" y="130616"/>
                        <a:pt x="11747" y="150883"/>
                      </a:cubicBezTo>
                      <a:lnTo>
                        <a:pt x="12877" y="150883"/>
                      </a:lnTo>
                      <a:cubicBezTo>
                        <a:pt x="11747" y="150883"/>
                        <a:pt x="12877" y="160004"/>
                        <a:pt x="12877" y="161017"/>
                      </a:cubicBezTo>
                      <a:cubicBezTo>
                        <a:pt x="8357" y="158990"/>
                        <a:pt x="10617" y="167097"/>
                        <a:pt x="10617" y="168110"/>
                      </a:cubicBezTo>
                      <a:cubicBezTo>
                        <a:pt x="17398" y="169124"/>
                        <a:pt x="19658" y="168110"/>
                        <a:pt x="24179" y="170137"/>
                      </a:cubicBezTo>
                      <a:cubicBezTo>
                        <a:pt x="23048" y="170137"/>
                        <a:pt x="35480" y="168110"/>
                        <a:pt x="43390" y="184324"/>
                      </a:cubicBezTo>
                      <a:cubicBezTo>
                        <a:pt x="46781" y="190404"/>
                        <a:pt x="50171" y="207631"/>
                        <a:pt x="54691" y="213711"/>
                      </a:cubicBezTo>
                      <a:cubicBezTo>
                        <a:pt x="56952" y="217765"/>
                        <a:pt x="65993" y="217765"/>
                        <a:pt x="68253" y="223845"/>
                      </a:cubicBezTo>
                      <a:cubicBezTo>
                        <a:pt x="69383" y="225872"/>
                        <a:pt x="67123" y="230939"/>
                        <a:pt x="68253" y="233978"/>
                      </a:cubicBezTo>
                      <a:cubicBezTo>
                        <a:pt x="69383" y="236005"/>
                        <a:pt x="78424" y="237019"/>
                        <a:pt x="79554" y="239045"/>
                      </a:cubicBezTo>
                      <a:cubicBezTo>
                        <a:pt x="80685" y="241072"/>
                        <a:pt x="77294" y="247152"/>
                        <a:pt x="79554" y="249179"/>
                      </a:cubicBezTo>
                      <a:cubicBezTo>
                        <a:pt x="82944" y="252219"/>
                        <a:pt x="94246" y="255259"/>
                        <a:pt x="95376" y="259312"/>
                      </a:cubicBezTo>
                      <a:lnTo>
                        <a:pt x="95376" y="264379"/>
                      </a:lnTo>
                      <a:lnTo>
                        <a:pt x="101027" y="264379"/>
                      </a:lnTo>
                      <a:cubicBezTo>
                        <a:pt x="108938" y="276540"/>
                        <a:pt x="104417" y="300860"/>
                        <a:pt x="114588" y="313020"/>
                      </a:cubicBezTo>
                      <a:lnTo>
                        <a:pt x="120239" y="313020"/>
                      </a:lnTo>
                      <a:cubicBezTo>
                        <a:pt x="127019" y="315047"/>
                        <a:pt x="149622" y="339368"/>
                        <a:pt x="153012" y="347475"/>
                      </a:cubicBezTo>
                      <a:cubicBezTo>
                        <a:pt x="156402" y="353555"/>
                        <a:pt x="165444" y="399156"/>
                        <a:pt x="164313" y="406249"/>
                      </a:cubicBezTo>
                      <a:cubicBezTo>
                        <a:pt x="164313" y="408276"/>
                        <a:pt x="155272" y="414356"/>
                        <a:pt x="153012" y="416383"/>
                      </a:cubicBezTo>
                      <a:cubicBezTo>
                        <a:pt x="155272" y="418410"/>
                        <a:pt x="150752" y="426516"/>
                        <a:pt x="153012" y="428543"/>
                      </a:cubicBezTo>
                      <a:cubicBezTo>
                        <a:pt x="154142" y="429557"/>
                        <a:pt x="162053" y="428543"/>
                        <a:pt x="164313" y="428543"/>
                      </a:cubicBezTo>
                      <a:cubicBezTo>
                        <a:pt x="165444" y="440703"/>
                        <a:pt x="165444" y="459957"/>
                        <a:pt x="169964" y="472117"/>
                      </a:cubicBezTo>
                      <a:cubicBezTo>
                        <a:pt x="171094" y="474144"/>
                        <a:pt x="177875" y="482251"/>
                        <a:pt x="177875" y="484278"/>
                      </a:cubicBezTo>
                      <a:cubicBezTo>
                        <a:pt x="177875" y="486305"/>
                        <a:pt x="176745" y="489345"/>
                        <a:pt x="177875" y="491371"/>
                      </a:cubicBezTo>
                      <a:cubicBezTo>
                        <a:pt x="177875" y="491371"/>
                        <a:pt x="185786" y="493398"/>
                        <a:pt x="185786" y="493398"/>
                      </a:cubicBezTo>
                      <a:cubicBezTo>
                        <a:pt x="190306" y="496438"/>
                        <a:pt x="191436" y="505558"/>
                        <a:pt x="197087" y="507585"/>
                      </a:cubicBezTo>
                      <a:cubicBezTo>
                        <a:pt x="200477" y="509612"/>
                        <a:pt x="202737" y="505558"/>
                        <a:pt x="204998" y="505558"/>
                      </a:cubicBezTo>
                      <a:cubicBezTo>
                        <a:pt x="210648" y="509612"/>
                        <a:pt x="221950" y="517718"/>
                        <a:pt x="226470" y="522785"/>
                      </a:cubicBezTo>
                      <a:cubicBezTo>
                        <a:pt x="228730" y="525825"/>
                        <a:pt x="236641" y="534946"/>
                        <a:pt x="237771" y="536972"/>
                      </a:cubicBezTo>
                      <a:cubicBezTo>
                        <a:pt x="238901" y="541026"/>
                        <a:pt x="235510" y="545079"/>
                        <a:pt x="237771" y="549133"/>
                      </a:cubicBezTo>
                      <a:cubicBezTo>
                        <a:pt x="240031" y="555213"/>
                        <a:pt x="249072" y="557240"/>
                        <a:pt x="251332" y="566360"/>
                      </a:cubicBezTo>
                      <a:cubicBezTo>
                        <a:pt x="253593" y="576493"/>
                        <a:pt x="246812" y="578520"/>
                        <a:pt x="251332" y="585613"/>
                      </a:cubicBezTo>
                      <a:cubicBezTo>
                        <a:pt x="252462" y="588653"/>
                        <a:pt x="264894" y="591694"/>
                        <a:pt x="267154" y="595747"/>
                      </a:cubicBezTo>
                      <a:cubicBezTo>
                        <a:pt x="271674" y="600814"/>
                        <a:pt x="271674" y="609934"/>
                        <a:pt x="275065" y="615001"/>
                      </a:cubicBezTo>
                      <a:cubicBezTo>
                        <a:pt x="276195" y="617028"/>
                        <a:pt x="287496" y="623108"/>
                        <a:pt x="290887" y="62716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2" name="Freeform: Shape 301">
                  <a:extLst>
                    <a:ext uri="{FF2B5EF4-FFF2-40B4-BE49-F238E27FC236}">
                      <a16:creationId xmlns:a16="http://schemas.microsoft.com/office/drawing/2014/main" id="{C004CD25-CF90-4C29-9C96-372156A864EE}"/>
                    </a:ext>
                  </a:extLst>
                </p:cNvPr>
                <p:cNvSpPr/>
                <p:nvPr/>
              </p:nvSpPr>
              <p:spPr>
                <a:xfrm>
                  <a:off x="6893300" y="4335639"/>
                  <a:ext cx="101711" cy="81069"/>
                </a:xfrm>
                <a:custGeom>
                  <a:avLst/>
                  <a:gdLst>
                    <a:gd name="connsiteX0" fmla="*/ 19242 w 101710"/>
                    <a:gd name="connsiteY0" fmla="*/ 37387 h 81068"/>
                    <a:gd name="connsiteX1" fmla="*/ 14722 w 101710"/>
                    <a:gd name="connsiteY1" fmla="*/ 39414 h 81068"/>
                    <a:gd name="connsiteX2" fmla="*/ 10201 w 101710"/>
                    <a:gd name="connsiteY2" fmla="*/ 50561 h 81068"/>
                    <a:gd name="connsiteX3" fmla="*/ 28284 w 101710"/>
                    <a:gd name="connsiteY3" fmla="*/ 60695 h 81068"/>
                    <a:gd name="connsiteX4" fmla="*/ 42975 w 101710"/>
                    <a:gd name="connsiteY4" fmla="*/ 58668 h 81068"/>
                    <a:gd name="connsiteX5" fmla="*/ 56537 w 101710"/>
                    <a:gd name="connsiteY5" fmla="*/ 69815 h 81068"/>
                    <a:gd name="connsiteX6" fmla="*/ 68968 w 101710"/>
                    <a:gd name="connsiteY6" fmla="*/ 53601 h 81068"/>
                    <a:gd name="connsiteX7" fmla="*/ 92700 w 101710"/>
                    <a:gd name="connsiteY7" fmla="*/ 58668 h 81068"/>
                    <a:gd name="connsiteX8" fmla="*/ 93830 w 101710"/>
                    <a:gd name="connsiteY8" fmla="*/ 48534 h 81068"/>
                    <a:gd name="connsiteX9" fmla="*/ 94960 w 101710"/>
                    <a:gd name="connsiteY9" fmla="*/ 29281 h 81068"/>
                    <a:gd name="connsiteX10" fmla="*/ 84790 w 101710"/>
                    <a:gd name="connsiteY10" fmla="*/ 11040 h 81068"/>
                    <a:gd name="connsiteX11" fmla="*/ 66707 w 101710"/>
                    <a:gd name="connsiteY11" fmla="*/ 20160 h 81068"/>
                    <a:gd name="connsiteX12" fmla="*/ 46365 w 101710"/>
                    <a:gd name="connsiteY12" fmla="*/ 19147 h 81068"/>
                    <a:gd name="connsiteX13" fmla="*/ 28284 w 101710"/>
                    <a:gd name="connsiteY13" fmla="*/ 9013 h 81068"/>
                    <a:gd name="connsiteX14" fmla="*/ 27153 w 101710"/>
                    <a:gd name="connsiteY14" fmla="*/ 14080 h 81068"/>
                    <a:gd name="connsiteX15" fmla="*/ 28284 w 101710"/>
                    <a:gd name="connsiteY15" fmla="*/ 37387 h 81068"/>
                    <a:gd name="connsiteX16" fmla="*/ 19242 w 101710"/>
                    <a:gd name="connsiteY16" fmla="*/ 37387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10" h="81068">
                      <a:moveTo>
                        <a:pt x="19242" y="37387"/>
                      </a:moveTo>
                      <a:cubicBezTo>
                        <a:pt x="16982" y="38401"/>
                        <a:pt x="14722" y="39414"/>
                        <a:pt x="14722" y="39414"/>
                      </a:cubicBezTo>
                      <a:cubicBezTo>
                        <a:pt x="14722" y="39414"/>
                        <a:pt x="9072" y="43468"/>
                        <a:pt x="10201" y="50561"/>
                      </a:cubicBezTo>
                      <a:cubicBezTo>
                        <a:pt x="11332" y="57654"/>
                        <a:pt x="28284" y="60695"/>
                        <a:pt x="28284" y="60695"/>
                      </a:cubicBezTo>
                      <a:cubicBezTo>
                        <a:pt x="28284" y="60695"/>
                        <a:pt x="33934" y="50561"/>
                        <a:pt x="42975" y="58668"/>
                      </a:cubicBezTo>
                      <a:cubicBezTo>
                        <a:pt x="52016" y="66775"/>
                        <a:pt x="45235" y="76908"/>
                        <a:pt x="56537" y="69815"/>
                      </a:cubicBezTo>
                      <a:cubicBezTo>
                        <a:pt x="67838" y="62721"/>
                        <a:pt x="62187" y="49548"/>
                        <a:pt x="68968" y="53601"/>
                      </a:cubicBezTo>
                      <a:cubicBezTo>
                        <a:pt x="75748" y="57654"/>
                        <a:pt x="92700" y="58668"/>
                        <a:pt x="92700" y="58668"/>
                      </a:cubicBezTo>
                      <a:cubicBezTo>
                        <a:pt x="92700" y="58668"/>
                        <a:pt x="96091" y="57654"/>
                        <a:pt x="93830" y="48534"/>
                      </a:cubicBezTo>
                      <a:cubicBezTo>
                        <a:pt x="91570" y="39414"/>
                        <a:pt x="94960" y="29281"/>
                        <a:pt x="94960" y="29281"/>
                      </a:cubicBezTo>
                      <a:lnTo>
                        <a:pt x="84790" y="11040"/>
                      </a:lnTo>
                      <a:cubicBezTo>
                        <a:pt x="84790" y="11040"/>
                        <a:pt x="72358" y="15094"/>
                        <a:pt x="66707" y="20160"/>
                      </a:cubicBezTo>
                      <a:cubicBezTo>
                        <a:pt x="61057" y="25227"/>
                        <a:pt x="54276" y="24214"/>
                        <a:pt x="46365" y="19147"/>
                      </a:cubicBezTo>
                      <a:cubicBezTo>
                        <a:pt x="38454" y="14080"/>
                        <a:pt x="28284" y="9013"/>
                        <a:pt x="28284" y="9013"/>
                      </a:cubicBezTo>
                      <a:cubicBezTo>
                        <a:pt x="28284" y="9013"/>
                        <a:pt x="28284" y="11040"/>
                        <a:pt x="27153" y="14080"/>
                      </a:cubicBezTo>
                      <a:cubicBezTo>
                        <a:pt x="35064" y="20160"/>
                        <a:pt x="31674" y="23200"/>
                        <a:pt x="28284" y="37387"/>
                      </a:cubicBezTo>
                      <a:cubicBezTo>
                        <a:pt x="26023" y="37387"/>
                        <a:pt x="19242" y="37387"/>
                        <a:pt x="19242" y="3738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3" name="Freeform: Shape 302">
                  <a:extLst>
                    <a:ext uri="{FF2B5EF4-FFF2-40B4-BE49-F238E27FC236}">
                      <a16:creationId xmlns:a16="http://schemas.microsoft.com/office/drawing/2014/main" id="{FA0896B0-E98D-4642-9DF0-89DB154B796C}"/>
                    </a:ext>
                  </a:extLst>
                </p:cNvPr>
                <p:cNvSpPr/>
                <p:nvPr/>
              </p:nvSpPr>
              <p:spPr>
                <a:xfrm>
                  <a:off x="6632392" y="2254204"/>
                  <a:ext cx="316433" cy="233072"/>
                </a:xfrm>
                <a:custGeom>
                  <a:avLst/>
                  <a:gdLst>
                    <a:gd name="connsiteX0" fmla="*/ 317445 w 316433"/>
                    <a:gd name="connsiteY0" fmla="*/ 153923 h 233072"/>
                    <a:gd name="connsiteX1" fmla="*/ 297102 w 316433"/>
                    <a:gd name="connsiteY1" fmla="*/ 153923 h 233072"/>
                    <a:gd name="connsiteX2" fmla="*/ 282411 w 316433"/>
                    <a:gd name="connsiteY2" fmla="*/ 152910 h 233072"/>
                    <a:gd name="connsiteX3" fmla="*/ 276760 w 316433"/>
                    <a:gd name="connsiteY3" fmla="*/ 150883 h 233072"/>
                    <a:gd name="connsiteX4" fmla="*/ 266589 w 316433"/>
                    <a:gd name="connsiteY4" fmla="*/ 145817 h 233072"/>
                    <a:gd name="connsiteX5" fmla="*/ 263198 w 316433"/>
                    <a:gd name="connsiteY5" fmla="*/ 129603 h 233072"/>
                    <a:gd name="connsiteX6" fmla="*/ 263198 w 316433"/>
                    <a:gd name="connsiteY6" fmla="*/ 110349 h 233072"/>
                    <a:gd name="connsiteX7" fmla="*/ 263198 w 316433"/>
                    <a:gd name="connsiteY7" fmla="*/ 96162 h 233072"/>
                    <a:gd name="connsiteX8" fmla="*/ 262069 w 316433"/>
                    <a:gd name="connsiteY8" fmla="*/ 76908 h 233072"/>
                    <a:gd name="connsiteX9" fmla="*/ 247377 w 316433"/>
                    <a:gd name="connsiteY9" fmla="*/ 53601 h 233072"/>
                    <a:gd name="connsiteX10" fmla="*/ 233816 w 316433"/>
                    <a:gd name="connsiteY10" fmla="*/ 32321 h 233072"/>
                    <a:gd name="connsiteX11" fmla="*/ 207823 w 316433"/>
                    <a:gd name="connsiteY11" fmla="*/ 9013 h 233072"/>
                    <a:gd name="connsiteX12" fmla="*/ 195391 w 316433"/>
                    <a:gd name="connsiteY12" fmla="*/ 19147 h 233072"/>
                    <a:gd name="connsiteX13" fmla="*/ 179570 w 316433"/>
                    <a:gd name="connsiteY13" fmla="*/ 27254 h 233072"/>
                    <a:gd name="connsiteX14" fmla="*/ 161488 w 316433"/>
                    <a:gd name="connsiteY14" fmla="*/ 40427 h 233072"/>
                    <a:gd name="connsiteX15" fmla="*/ 145666 w 316433"/>
                    <a:gd name="connsiteY15" fmla="*/ 36374 h 233072"/>
                    <a:gd name="connsiteX16" fmla="*/ 123064 w 316433"/>
                    <a:gd name="connsiteY16" fmla="*/ 28267 h 233072"/>
                    <a:gd name="connsiteX17" fmla="*/ 100462 w 316433"/>
                    <a:gd name="connsiteY17" fmla="*/ 22187 h 233072"/>
                    <a:gd name="connsiteX18" fmla="*/ 88030 w 316433"/>
                    <a:gd name="connsiteY18" fmla="*/ 16107 h 233072"/>
                    <a:gd name="connsiteX19" fmla="*/ 83510 w 316433"/>
                    <a:gd name="connsiteY19" fmla="*/ 45494 h 233072"/>
                    <a:gd name="connsiteX20" fmla="*/ 62037 w 316433"/>
                    <a:gd name="connsiteY20" fmla="*/ 63735 h 233072"/>
                    <a:gd name="connsiteX21" fmla="*/ 45085 w 316433"/>
                    <a:gd name="connsiteY21" fmla="*/ 119469 h 233072"/>
                    <a:gd name="connsiteX22" fmla="*/ 21353 w 316433"/>
                    <a:gd name="connsiteY22" fmla="*/ 137710 h 233072"/>
                    <a:gd name="connsiteX23" fmla="*/ 10052 w 316433"/>
                    <a:gd name="connsiteY23" fmla="*/ 137710 h 233072"/>
                    <a:gd name="connsiteX24" fmla="*/ 28134 w 316433"/>
                    <a:gd name="connsiteY24" fmla="*/ 161017 h 233072"/>
                    <a:gd name="connsiteX25" fmla="*/ 32654 w 316433"/>
                    <a:gd name="connsiteY25" fmla="*/ 172164 h 233072"/>
                    <a:gd name="connsiteX26" fmla="*/ 47346 w 316433"/>
                    <a:gd name="connsiteY26" fmla="*/ 180271 h 233072"/>
                    <a:gd name="connsiteX27" fmla="*/ 59777 w 316433"/>
                    <a:gd name="connsiteY27" fmla="*/ 175204 h 233072"/>
                    <a:gd name="connsiteX28" fmla="*/ 83510 w 316433"/>
                    <a:gd name="connsiteY28" fmla="*/ 180271 h 233072"/>
                    <a:gd name="connsiteX29" fmla="*/ 80120 w 316433"/>
                    <a:gd name="connsiteY29" fmla="*/ 186351 h 233072"/>
                    <a:gd name="connsiteX30" fmla="*/ 75599 w 316433"/>
                    <a:gd name="connsiteY30" fmla="*/ 197498 h 233072"/>
                    <a:gd name="connsiteX31" fmla="*/ 93680 w 316433"/>
                    <a:gd name="connsiteY31" fmla="*/ 205605 h 233072"/>
                    <a:gd name="connsiteX32" fmla="*/ 108373 w 316433"/>
                    <a:gd name="connsiteY32" fmla="*/ 213711 h 233072"/>
                    <a:gd name="connsiteX33" fmla="*/ 119674 w 316433"/>
                    <a:gd name="connsiteY33" fmla="*/ 226885 h 233072"/>
                    <a:gd name="connsiteX34" fmla="*/ 140016 w 316433"/>
                    <a:gd name="connsiteY34" fmla="*/ 222832 h 233072"/>
                    <a:gd name="connsiteX35" fmla="*/ 169399 w 316433"/>
                    <a:gd name="connsiteY35" fmla="*/ 223845 h 233072"/>
                    <a:gd name="connsiteX36" fmla="*/ 192001 w 316433"/>
                    <a:gd name="connsiteY36" fmla="*/ 214725 h 233072"/>
                    <a:gd name="connsiteX37" fmla="*/ 213474 w 316433"/>
                    <a:gd name="connsiteY37" fmla="*/ 203578 h 233072"/>
                    <a:gd name="connsiteX38" fmla="*/ 238336 w 316433"/>
                    <a:gd name="connsiteY38" fmla="*/ 211685 h 233072"/>
                    <a:gd name="connsiteX39" fmla="*/ 264329 w 316433"/>
                    <a:gd name="connsiteY39" fmla="*/ 207631 h 233072"/>
                    <a:gd name="connsiteX40" fmla="*/ 279020 w 316433"/>
                    <a:gd name="connsiteY40" fmla="*/ 215738 h 233072"/>
                    <a:gd name="connsiteX41" fmla="*/ 291451 w 316433"/>
                    <a:gd name="connsiteY41" fmla="*/ 208645 h 233072"/>
                    <a:gd name="connsiteX42" fmla="*/ 289192 w 316433"/>
                    <a:gd name="connsiteY42" fmla="*/ 198511 h 233072"/>
                    <a:gd name="connsiteX43" fmla="*/ 294842 w 316433"/>
                    <a:gd name="connsiteY43" fmla="*/ 191418 h 233072"/>
                    <a:gd name="connsiteX44" fmla="*/ 302753 w 316433"/>
                    <a:gd name="connsiteY44" fmla="*/ 196484 h 233072"/>
                    <a:gd name="connsiteX45" fmla="*/ 308403 w 316433"/>
                    <a:gd name="connsiteY45" fmla="*/ 191418 h 233072"/>
                    <a:gd name="connsiteX46" fmla="*/ 308403 w 316433"/>
                    <a:gd name="connsiteY46" fmla="*/ 169124 h 233072"/>
                    <a:gd name="connsiteX47" fmla="*/ 314054 w 316433"/>
                    <a:gd name="connsiteY47" fmla="*/ 164057 h 233072"/>
                    <a:gd name="connsiteX48" fmla="*/ 308403 w 316433"/>
                    <a:gd name="connsiteY48" fmla="*/ 164057 h 233072"/>
                    <a:gd name="connsiteX49" fmla="*/ 308403 w 316433"/>
                    <a:gd name="connsiteY49" fmla="*/ 156963 h 233072"/>
                    <a:gd name="connsiteX50" fmla="*/ 316314 w 316433"/>
                    <a:gd name="connsiteY50" fmla="*/ 158990 h 233072"/>
                    <a:gd name="connsiteX51" fmla="*/ 317445 w 316433"/>
                    <a:gd name="connsiteY51" fmla="*/ 153923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16433" h="233072">
                      <a:moveTo>
                        <a:pt x="317445" y="153923"/>
                      </a:moveTo>
                      <a:cubicBezTo>
                        <a:pt x="317445" y="153923"/>
                        <a:pt x="298233" y="147843"/>
                        <a:pt x="297102" y="153923"/>
                      </a:cubicBezTo>
                      <a:cubicBezTo>
                        <a:pt x="295972" y="158990"/>
                        <a:pt x="282411" y="152910"/>
                        <a:pt x="282411" y="152910"/>
                      </a:cubicBezTo>
                      <a:cubicBezTo>
                        <a:pt x="282411" y="152910"/>
                        <a:pt x="280150" y="151897"/>
                        <a:pt x="276760" y="150883"/>
                      </a:cubicBezTo>
                      <a:cubicBezTo>
                        <a:pt x="274500" y="149870"/>
                        <a:pt x="271109" y="147843"/>
                        <a:pt x="266589" y="145817"/>
                      </a:cubicBezTo>
                      <a:cubicBezTo>
                        <a:pt x="257548" y="140750"/>
                        <a:pt x="269980" y="130616"/>
                        <a:pt x="263198" y="129603"/>
                      </a:cubicBezTo>
                      <a:cubicBezTo>
                        <a:pt x="256418" y="128589"/>
                        <a:pt x="266589" y="118456"/>
                        <a:pt x="263198" y="110349"/>
                      </a:cubicBezTo>
                      <a:cubicBezTo>
                        <a:pt x="259808" y="102242"/>
                        <a:pt x="269980" y="102242"/>
                        <a:pt x="263198" y="96162"/>
                      </a:cubicBezTo>
                      <a:cubicBezTo>
                        <a:pt x="256418" y="90082"/>
                        <a:pt x="266589" y="85015"/>
                        <a:pt x="262069" y="76908"/>
                      </a:cubicBezTo>
                      <a:cubicBezTo>
                        <a:pt x="257548" y="68801"/>
                        <a:pt x="258678" y="65761"/>
                        <a:pt x="247377" y="53601"/>
                      </a:cubicBezTo>
                      <a:cubicBezTo>
                        <a:pt x="236076" y="42454"/>
                        <a:pt x="237206" y="45494"/>
                        <a:pt x="233816" y="32321"/>
                      </a:cubicBezTo>
                      <a:cubicBezTo>
                        <a:pt x="227035" y="19147"/>
                        <a:pt x="207823" y="9013"/>
                        <a:pt x="207823" y="9013"/>
                      </a:cubicBezTo>
                      <a:cubicBezTo>
                        <a:pt x="207823" y="9013"/>
                        <a:pt x="196522" y="12053"/>
                        <a:pt x="195391" y="19147"/>
                      </a:cubicBezTo>
                      <a:cubicBezTo>
                        <a:pt x="194261" y="26240"/>
                        <a:pt x="188611" y="27254"/>
                        <a:pt x="179570" y="27254"/>
                      </a:cubicBezTo>
                      <a:cubicBezTo>
                        <a:pt x="170529" y="27254"/>
                        <a:pt x="169399" y="36374"/>
                        <a:pt x="161488" y="40427"/>
                      </a:cubicBezTo>
                      <a:cubicBezTo>
                        <a:pt x="152447" y="44481"/>
                        <a:pt x="151317" y="43468"/>
                        <a:pt x="145666" y="36374"/>
                      </a:cubicBezTo>
                      <a:cubicBezTo>
                        <a:pt x="140016" y="29281"/>
                        <a:pt x="134365" y="28267"/>
                        <a:pt x="123064" y="28267"/>
                      </a:cubicBezTo>
                      <a:cubicBezTo>
                        <a:pt x="111763" y="28267"/>
                        <a:pt x="104982" y="29281"/>
                        <a:pt x="100462" y="22187"/>
                      </a:cubicBezTo>
                      <a:cubicBezTo>
                        <a:pt x="95941" y="15093"/>
                        <a:pt x="88030" y="16107"/>
                        <a:pt x="88030" y="16107"/>
                      </a:cubicBezTo>
                      <a:cubicBezTo>
                        <a:pt x="88030" y="16107"/>
                        <a:pt x="84640" y="37387"/>
                        <a:pt x="83510" y="45494"/>
                      </a:cubicBezTo>
                      <a:cubicBezTo>
                        <a:pt x="82379" y="53601"/>
                        <a:pt x="76729" y="53601"/>
                        <a:pt x="62037" y="63735"/>
                      </a:cubicBezTo>
                      <a:cubicBezTo>
                        <a:pt x="47346" y="73868"/>
                        <a:pt x="57517" y="99202"/>
                        <a:pt x="45085" y="119469"/>
                      </a:cubicBezTo>
                      <a:cubicBezTo>
                        <a:pt x="32654" y="139736"/>
                        <a:pt x="21353" y="137710"/>
                        <a:pt x="21353" y="137710"/>
                      </a:cubicBezTo>
                      <a:cubicBezTo>
                        <a:pt x="21353" y="137710"/>
                        <a:pt x="15703" y="137710"/>
                        <a:pt x="10052" y="137710"/>
                      </a:cubicBezTo>
                      <a:cubicBezTo>
                        <a:pt x="10052" y="137710"/>
                        <a:pt x="29264" y="153923"/>
                        <a:pt x="28134" y="161017"/>
                      </a:cubicBezTo>
                      <a:cubicBezTo>
                        <a:pt x="27004" y="168110"/>
                        <a:pt x="23614" y="172164"/>
                        <a:pt x="32654" y="172164"/>
                      </a:cubicBezTo>
                      <a:cubicBezTo>
                        <a:pt x="41695" y="172164"/>
                        <a:pt x="39435" y="171151"/>
                        <a:pt x="47346" y="180271"/>
                      </a:cubicBezTo>
                      <a:cubicBezTo>
                        <a:pt x="55257" y="189391"/>
                        <a:pt x="56387" y="180271"/>
                        <a:pt x="59777" y="175204"/>
                      </a:cubicBezTo>
                      <a:cubicBezTo>
                        <a:pt x="63168" y="170137"/>
                        <a:pt x="74469" y="175204"/>
                        <a:pt x="83510" y="180271"/>
                      </a:cubicBezTo>
                      <a:cubicBezTo>
                        <a:pt x="92551" y="185337"/>
                        <a:pt x="88030" y="186351"/>
                        <a:pt x="80120" y="186351"/>
                      </a:cubicBezTo>
                      <a:cubicBezTo>
                        <a:pt x="68818" y="186351"/>
                        <a:pt x="69948" y="192431"/>
                        <a:pt x="75599" y="197498"/>
                      </a:cubicBezTo>
                      <a:cubicBezTo>
                        <a:pt x="81249" y="202564"/>
                        <a:pt x="93680" y="205605"/>
                        <a:pt x="93680" y="205605"/>
                      </a:cubicBezTo>
                      <a:cubicBezTo>
                        <a:pt x="93680" y="205605"/>
                        <a:pt x="116283" y="208645"/>
                        <a:pt x="108373" y="213711"/>
                      </a:cubicBezTo>
                      <a:cubicBezTo>
                        <a:pt x="99331" y="218778"/>
                        <a:pt x="102722" y="226885"/>
                        <a:pt x="119674" y="226885"/>
                      </a:cubicBezTo>
                      <a:cubicBezTo>
                        <a:pt x="136626" y="226885"/>
                        <a:pt x="125324" y="218778"/>
                        <a:pt x="140016" y="222832"/>
                      </a:cubicBezTo>
                      <a:cubicBezTo>
                        <a:pt x="154707" y="226885"/>
                        <a:pt x="152447" y="227898"/>
                        <a:pt x="169399" y="223845"/>
                      </a:cubicBezTo>
                      <a:cubicBezTo>
                        <a:pt x="186350" y="219792"/>
                        <a:pt x="184090" y="222832"/>
                        <a:pt x="192001" y="214725"/>
                      </a:cubicBezTo>
                      <a:cubicBezTo>
                        <a:pt x="199912" y="206618"/>
                        <a:pt x="204433" y="201551"/>
                        <a:pt x="213474" y="203578"/>
                      </a:cubicBezTo>
                      <a:cubicBezTo>
                        <a:pt x="222514" y="204591"/>
                        <a:pt x="222514" y="217765"/>
                        <a:pt x="238336" y="211685"/>
                      </a:cubicBezTo>
                      <a:cubicBezTo>
                        <a:pt x="254158" y="205605"/>
                        <a:pt x="255288" y="205605"/>
                        <a:pt x="264329" y="207631"/>
                      </a:cubicBezTo>
                      <a:cubicBezTo>
                        <a:pt x="271109" y="209658"/>
                        <a:pt x="279020" y="215738"/>
                        <a:pt x="279020" y="215738"/>
                      </a:cubicBezTo>
                      <a:lnTo>
                        <a:pt x="291451" y="208645"/>
                      </a:lnTo>
                      <a:cubicBezTo>
                        <a:pt x="293712" y="203578"/>
                        <a:pt x="286931" y="204591"/>
                        <a:pt x="289192" y="198511"/>
                      </a:cubicBezTo>
                      <a:cubicBezTo>
                        <a:pt x="289192" y="196484"/>
                        <a:pt x="293712" y="196484"/>
                        <a:pt x="294842" y="191418"/>
                      </a:cubicBezTo>
                      <a:cubicBezTo>
                        <a:pt x="297102" y="191418"/>
                        <a:pt x="300493" y="195471"/>
                        <a:pt x="302753" y="196484"/>
                      </a:cubicBezTo>
                      <a:cubicBezTo>
                        <a:pt x="305013" y="194458"/>
                        <a:pt x="303883" y="191418"/>
                        <a:pt x="308403" y="191418"/>
                      </a:cubicBezTo>
                      <a:cubicBezTo>
                        <a:pt x="309534" y="182297"/>
                        <a:pt x="306143" y="177231"/>
                        <a:pt x="308403" y="169124"/>
                      </a:cubicBezTo>
                      <a:cubicBezTo>
                        <a:pt x="308403" y="168110"/>
                        <a:pt x="312924" y="166084"/>
                        <a:pt x="314054" y="164057"/>
                      </a:cubicBezTo>
                      <a:lnTo>
                        <a:pt x="308403" y="164057"/>
                      </a:lnTo>
                      <a:cubicBezTo>
                        <a:pt x="308403" y="164057"/>
                        <a:pt x="308403" y="156963"/>
                        <a:pt x="308403" y="156963"/>
                      </a:cubicBezTo>
                      <a:cubicBezTo>
                        <a:pt x="308403" y="156963"/>
                        <a:pt x="312924" y="158990"/>
                        <a:pt x="316314" y="158990"/>
                      </a:cubicBezTo>
                      <a:cubicBezTo>
                        <a:pt x="316314" y="158990"/>
                        <a:pt x="317445" y="157977"/>
                        <a:pt x="317445" y="15392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5" name="Freeform: Shape 304">
                  <a:extLst>
                    <a:ext uri="{FF2B5EF4-FFF2-40B4-BE49-F238E27FC236}">
                      <a16:creationId xmlns:a16="http://schemas.microsoft.com/office/drawing/2014/main" id="{73AA8BB5-44B8-4BBB-8227-B9BBAA3ED8AB}"/>
                    </a:ext>
                  </a:extLst>
                </p:cNvPr>
                <p:cNvSpPr/>
                <p:nvPr/>
              </p:nvSpPr>
              <p:spPr>
                <a:xfrm>
                  <a:off x="7665321" y="3230067"/>
                  <a:ext cx="45205" cy="60801"/>
                </a:xfrm>
                <a:custGeom>
                  <a:avLst/>
                  <a:gdLst>
                    <a:gd name="connsiteX0" fmla="*/ 10052 w 45204"/>
                    <a:gd name="connsiteY0" fmla="*/ 38401 h 60801"/>
                    <a:gd name="connsiteX1" fmla="*/ 10052 w 45204"/>
                    <a:gd name="connsiteY1" fmla="*/ 33334 h 60801"/>
                    <a:gd name="connsiteX2" fmla="*/ 29264 w 45204"/>
                    <a:gd name="connsiteY2" fmla="*/ 9013 h 60801"/>
                    <a:gd name="connsiteX3" fmla="*/ 37175 w 45204"/>
                    <a:gd name="connsiteY3" fmla="*/ 9013 h 60801"/>
                    <a:gd name="connsiteX4" fmla="*/ 39436 w 45204"/>
                    <a:gd name="connsiteY4" fmla="*/ 52588 h 60801"/>
                    <a:gd name="connsiteX5" fmla="*/ 27004 w 45204"/>
                    <a:gd name="connsiteY5" fmla="*/ 50561 h 60801"/>
                    <a:gd name="connsiteX6" fmla="*/ 10052 w 45204"/>
                    <a:gd name="connsiteY6" fmla="*/ 38401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04" h="60801">
                      <a:moveTo>
                        <a:pt x="10052" y="38401"/>
                      </a:moveTo>
                      <a:cubicBezTo>
                        <a:pt x="10052" y="38401"/>
                        <a:pt x="10052" y="33334"/>
                        <a:pt x="10052" y="33334"/>
                      </a:cubicBezTo>
                      <a:cubicBezTo>
                        <a:pt x="25874" y="26241"/>
                        <a:pt x="24744" y="26241"/>
                        <a:pt x="29264" y="9013"/>
                      </a:cubicBezTo>
                      <a:cubicBezTo>
                        <a:pt x="29264" y="9013"/>
                        <a:pt x="37175" y="9013"/>
                        <a:pt x="37175" y="9013"/>
                      </a:cubicBezTo>
                      <a:cubicBezTo>
                        <a:pt x="40565" y="23200"/>
                        <a:pt x="41696" y="37388"/>
                        <a:pt x="39436" y="52588"/>
                      </a:cubicBezTo>
                      <a:lnTo>
                        <a:pt x="27004" y="50561"/>
                      </a:lnTo>
                      <a:lnTo>
                        <a:pt x="10052" y="3840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6" name="Freeform: Shape 305">
                  <a:extLst>
                    <a:ext uri="{FF2B5EF4-FFF2-40B4-BE49-F238E27FC236}">
                      <a16:creationId xmlns:a16="http://schemas.microsoft.com/office/drawing/2014/main" id="{C45792A0-F3E9-442C-BDF1-A82B43EEE1E5}"/>
                    </a:ext>
                  </a:extLst>
                </p:cNvPr>
                <p:cNvSpPr/>
                <p:nvPr/>
              </p:nvSpPr>
              <p:spPr>
                <a:xfrm>
                  <a:off x="3535865" y="3523940"/>
                  <a:ext cx="56506" cy="40534"/>
                </a:xfrm>
                <a:custGeom>
                  <a:avLst/>
                  <a:gdLst>
                    <a:gd name="connsiteX0" fmla="*/ 12312 w 56505"/>
                    <a:gd name="connsiteY0" fmla="*/ 9013 h 40534"/>
                    <a:gd name="connsiteX1" fmla="*/ 10052 w 56505"/>
                    <a:gd name="connsiteY1" fmla="*/ 19147 h 40534"/>
                    <a:gd name="connsiteX2" fmla="*/ 17963 w 56505"/>
                    <a:gd name="connsiteY2" fmla="*/ 29281 h 40534"/>
                    <a:gd name="connsiteX3" fmla="*/ 52996 w 56505"/>
                    <a:gd name="connsiteY3" fmla="*/ 22187 h 40534"/>
                    <a:gd name="connsiteX4" fmla="*/ 12312 w 56505"/>
                    <a:gd name="connsiteY4" fmla="*/ 9013 h 40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05" h="40534">
                      <a:moveTo>
                        <a:pt x="12312" y="9013"/>
                      </a:moveTo>
                      <a:cubicBezTo>
                        <a:pt x="12312" y="9013"/>
                        <a:pt x="10052" y="16107"/>
                        <a:pt x="10052" y="19147"/>
                      </a:cubicBezTo>
                      <a:cubicBezTo>
                        <a:pt x="13442" y="21174"/>
                        <a:pt x="14572" y="27254"/>
                        <a:pt x="17963" y="29281"/>
                      </a:cubicBezTo>
                      <a:cubicBezTo>
                        <a:pt x="34914" y="36374"/>
                        <a:pt x="45085" y="28267"/>
                        <a:pt x="52996" y="22187"/>
                      </a:cubicBezTo>
                      <a:cubicBezTo>
                        <a:pt x="68818" y="6987"/>
                        <a:pt x="29264" y="11040"/>
                        <a:pt x="12312"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7" name="Freeform: Shape 306">
                  <a:extLst>
                    <a:ext uri="{FF2B5EF4-FFF2-40B4-BE49-F238E27FC236}">
                      <a16:creationId xmlns:a16="http://schemas.microsoft.com/office/drawing/2014/main" id="{E3691B5E-ED6E-4FAD-B744-0A767E933E82}"/>
                    </a:ext>
                  </a:extLst>
                </p:cNvPr>
                <p:cNvSpPr/>
                <p:nvPr/>
              </p:nvSpPr>
              <p:spPr>
                <a:xfrm>
                  <a:off x="5552234" y="2543689"/>
                  <a:ext cx="113012" cy="233072"/>
                </a:xfrm>
                <a:custGeom>
                  <a:avLst/>
                  <a:gdLst>
                    <a:gd name="connsiteX0" fmla="*/ 91184 w 113011"/>
                    <a:gd name="connsiteY0" fmla="*/ 220127 h 233072"/>
                    <a:gd name="connsiteX1" fmla="*/ 96835 w 113011"/>
                    <a:gd name="connsiteY1" fmla="*/ 200873 h 233072"/>
                    <a:gd name="connsiteX2" fmla="*/ 85533 w 113011"/>
                    <a:gd name="connsiteY2" fmla="*/ 190739 h 233072"/>
                    <a:gd name="connsiteX3" fmla="*/ 88924 w 113011"/>
                    <a:gd name="connsiteY3" fmla="*/ 169459 h 233072"/>
                    <a:gd name="connsiteX4" fmla="*/ 88924 w 113011"/>
                    <a:gd name="connsiteY4" fmla="*/ 155272 h 233072"/>
                    <a:gd name="connsiteX5" fmla="*/ 93444 w 113011"/>
                    <a:gd name="connsiteY5" fmla="*/ 130951 h 233072"/>
                    <a:gd name="connsiteX6" fmla="*/ 93444 w 113011"/>
                    <a:gd name="connsiteY6" fmla="*/ 107644 h 233072"/>
                    <a:gd name="connsiteX7" fmla="*/ 100225 w 113011"/>
                    <a:gd name="connsiteY7" fmla="*/ 90417 h 233072"/>
                    <a:gd name="connsiteX8" fmla="*/ 93444 w 113011"/>
                    <a:gd name="connsiteY8" fmla="*/ 56976 h 233072"/>
                    <a:gd name="connsiteX9" fmla="*/ 105876 w 113011"/>
                    <a:gd name="connsiteY9" fmla="*/ 33669 h 233072"/>
                    <a:gd name="connsiteX10" fmla="*/ 102485 w 113011"/>
                    <a:gd name="connsiteY10" fmla="*/ 20495 h 233072"/>
                    <a:gd name="connsiteX11" fmla="*/ 91184 w 113011"/>
                    <a:gd name="connsiteY11" fmla="*/ 14415 h 233072"/>
                    <a:gd name="connsiteX12" fmla="*/ 64062 w 113011"/>
                    <a:gd name="connsiteY12" fmla="*/ 17455 h 233072"/>
                    <a:gd name="connsiteX13" fmla="*/ 55020 w 113011"/>
                    <a:gd name="connsiteY13" fmla="*/ 11375 h 233072"/>
                    <a:gd name="connsiteX14" fmla="*/ 34678 w 113011"/>
                    <a:gd name="connsiteY14" fmla="*/ 15429 h 233072"/>
                    <a:gd name="connsiteX15" fmla="*/ 39199 w 113011"/>
                    <a:gd name="connsiteY15" fmla="*/ 77243 h 233072"/>
                    <a:gd name="connsiteX16" fmla="*/ 27898 w 113011"/>
                    <a:gd name="connsiteY16" fmla="*/ 87377 h 233072"/>
                    <a:gd name="connsiteX17" fmla="*/ 30158 w 113011"/>
                    <a:gd name="connsiteY17" fmla="*/ 99537 h 233072"/>
                    <a:gd name="connsiteX18" fmla="*/ 22247 w 113011"/>
                    <a:gd name="connsiteY18" fmla="*/ 109671 h 233072"/>
                    <a:gd name="connsiteX19" fmla="*/ 22247 w 113011"/>
                    <a:gd name="connsiteY19" fmla="*/ 119804 h 233072"/>
                    <a:gd name="connsiteX20" fmla="*/ 14336 w 113011"/>
                    <a:gd name="connsiteY20" fmla="*/ 121831 h 233072"/>
                    <a:gd name="connsiteX21" fmla="*/ 12076 w 113011"/>
                    <a:gd name="connsiteY21" fmla="*/ 139058 h 233072"/>
                    <a:gd name="connsiteX22" fmla="*/ 17726 w 113011"/>
                    <a:gd name="connsiteY22" fmla="*/ 153245 h 233072"/>
                    <a:gd name="connsiteX23" fmla="*/ 25637 w 113011"/>
                    <a:gd name="connsiteY23" fmla="*/ 146152 h 233072"/>
                    <a:gd name="connsiteX24" fmla="*/ 25637 w 113011"/>
                    <a:gd name="connsiteY24" fmla="*/ 156285 h 233072"/>
                    <a:gd name="connsiteX25" fmla="*/ 17726 w 113011"/>
                    <a:gd name="connsiteY25" fmla="*/ 158312 h 233072"/>
                    <a:gd name="connsiteX26" fmla="*/ 17726 w 113011"/>
                    <a:gd name="connsiteY26" fmla="*/ 165405 h 233072"/>
                    <a:gd name="connsiteX27" fmla="*/ 25637 w 113011"/>
                    <a:gd name="connsiteY27" fmla="*/ 165405 h 233072"/>
                    <a:gd name="connsiteX28" fmla="*/ 31288 w 113011"/>
                    <a:gd name="connsiteY28" fmla="*/ 187699 h 233072"/>
                    <a:gd name="connsiteX29" fmla="*/ 31288 w 113011"/>
                    <a:gd name="connsiteY29" fmla="*/ 192766 h 233072"/>
                    <a:gd name="connsiteX30" fmla="*/ 23377 w 113011"/>
                    <a:gd name="connsiteY30" fmla="*/ 224180 h 233072"/>
                    <a:gd name="connsiteX31" fmla="*/ 56151 w 113011"/>
                    <a:gd name="connsiteY31" fmla="*/ 224180 h 233072"/>
                    <a:gd name="connsiteX32" fmla="*/ 67452 w 113011"/>
                    <a:gd name="connsiteY32" fmla="*/ 231274 h 233072"/>
                    <a:gd name="connsiteX33" fmla="*/ 92315 w 113011"/>
                    <a:gd name="connsiteY33" fmla="*/ 221140 h 233072"/>
                    <a:gd name="connsiteX34" fmla="*/ 91184 w 113011"/>
                    <a:gd name="connsiteY34" fmla="*/ 220127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3011" h="233072">
                      <a:moveTo>
                        <a:pt x="91184" y="220127"/>
                      </a:moveTo>
                      <a:cubicBezTo>
                        <a:pt x="91184" y="220127"/>
                        <a:pt x="91184" y="211007"/>
                        <a:pt x="96835" y="200873"/>
                      </a:cubicBezTo>
                      <a:cubicBezTo>
                        <a:pt x="102485" y="190739"/>
                        <a:pt x="92315" y="200873"/>
                        <a:pt x="85533" y="190739"/>
                      </a:cubicBezTo>
                      <a:cubicBezTo>
                        <a:pt x="78753" y="180606"/>
                        <a:pt x="84404" y="179592"/>
                        <a:pt x="88924" y="169459"/>
                      </a:cubicBezTo>
                      <a:cubicBezTo>
                        <a:pt x="94574" y="157299"/>
                        <a:pt x="96835" y="165405"/>
                        <a:pt x="88924" y="155272"/>
                      </a:cubicBezTo>
                      <a:cubicBezTo>
                        <a:pt x="74232" y="136018"/>
                        <a:pt x="87794" y="140072"/>
                        <a:pt x="93444" y="130951"/>
                      </a:cubicBezTo>
                      <a:cubicBezTo>
                        <a:pt x="99095" y="121831"/>
                        <a:pt x="93444" y="119804"/>
                        <a:pt x="93444" y="107644"/>
                      </a:cubicBezTo>
                      <a:cubicBezTo>
                        <a:pt x="93444" y="95484"/>
                        <a:pt x="86664" y="100551"/>
                        <a:pt x="100225" y="90417"/>
                      </a:cubicBezTo>
                      <a:cubicBezTo>
                        <a:pt x="109266" y="84337"/>
                        <a:pt x="103616" y="70150"/>
                        <a:pt x="93444" y="56976"/>
                      </a:cubicBezTo>
                      <a:cubicBezTo>
                        <a:pt x="85533" y="45829"/>
                        <a:pt x="97965" y="47856"/>
                        <a:pt x="105876" y="33669"/>
                      </a:cubicBezTo>
                      <a:cubicBezTo>
                        <a:pt x="114917" y="19482"/>
                        <a:pt x="110396" y="23535"/>
                        <a:pt x="102485" y="20495"/>
                      </a:cubicBezTo>
                      <a:cubicBezTo>
                        <a:pt x="94574" y="17455"/>
                        <a:pt x="103616" y="14415"/>
                        <a:pt x="91184" y="14415"/>
                      </a:cubicBezTo>
                      <a:cubicBezTo>
                        <a:pt x="78753" y="14415"/>
                        <a:pt x="81013" y="14415"/>
                        <a:pt x="64062" y="17455"/>
                      </a:cubicBezTo>
                      <a:cubicBezTo>
                        <a:pt x="47110" y="20495"/>
                        <a:pt x="59541" y="18469"/>
                        <a:pt x="55020" y="11375"/>
                      </a:cubicBezTo>
                      <a:cubicBezTo>
                        <a:pt x="50500" y="4282"/>
                        <a:pt x="34678" y="15429"/>
                        <a:pt x="34678" y="15429"/>
                      </a:cubicBezTo>
                      <a:cubicBezTo>
                        <a:pt x="39199" y="28602"/>
                        <a:pt x="44849" y="63056"/>
                        <a:pt x="39199" y="77243"/>
                      </a:cubicBezTo>
                      <a:cubicBezTo>
                        <a:pt x="38068" y="80283"/>
                        <a:pt x="29028" y="85350"/>
                        <a:pt x="27898" y="87377"/>
                      </a:cubicBezTo>
                      <a:cubicBezTo>
                        <a:pt x="26767" y="89404"/>
                        <a:pt x="31288" y="94470"/>
                        <a:pt x="30158" y="99537"/>
                      </a:cubicBezTo>
                      <a:cubicBezTo>
                        <a:pt x="30158" y="100551"/>
                        <a:pt x="22247" y="107644"/>
                        <a:pt x="22247" y="109671"/>
                      </a:cubicBezTo>
                      <a:cubicBezTo>
                        <a:pt x="21117" y="112711"/>
                        <a:pt x="23377" y="116764"/>
                        <a:pt x="22247" y="119804"/>
                      </a:cubicBezTo>
                      <a:cubicBezTo>
                        <a:pt x="22247" y="120818"/>
                        <a:pt x="14336" y="121831"/>
                        <a:pt x="14336" y="121831"/>
                      </a:cubicBezTo>
                      <a:cubicBezTo>
                        <a:pt x="12076" y="126898"/>
                        <a:pt x="19987" y="135005"/>
                        <a:pt x="12076" y="139058"/>
                      </a:cubicBezTo>
                      <a:cubicBezTo>
                        <a:pt x="5295" y="141085"/>
                        <a:pt x="17726" y="153245"/>
                        <a:pt x="17726" y="153245"/>
                      </a:cubicBezTo>
                      <a:cubicBezTo>
                        <a:pt x="14336" y="153245"/>
                        <a:pt x="25637" y="146152"/>
                        <a:pt x="25637" y="146152"/>
                      </a:cubicBezTo>
                      <a:cubicBezTo>
                        <a:pt x="24507" y="148178"/>
                        <a:pt x="25637" y="154258"/>
                        <a:pt x="25637" y="156285"/>
                      </a:cubicBezTo>
                      <a:cubicBezTo>
                        <a:pt x="22247" y="157299"/>
                        <a:pt x="18857" y="156285"/>
                        <a:pt x="17726" y="158312"/>
                      </a:cubicBezTo>
                      <a:cubicBezTo>
                        <a:pt x="18857" y="159325"/>
                        <a:pt x="17726" y="164392"/>
                        <a:pt x="17726" y="165405"/>
                      </a:cubicBezTo>
                      <a:cubicBezTo>
                        <a:pt x="17726" y="165405"/>
                        <a:pt x="25637" y="165405"/>
                        <a:pt x="25637" y="165405"/>
                      </a:cubicBezTo>
                      <a:cubicBezTo>
                        <a:pt x="29028" y="169459"/>
                        <a:pt x="25637" y="185673"/>
                        <a:pt x="31288" y="187699"/>
                      </a:cubicBezTo>
                      <a:lnTo>
                        <a:pt x="31288" y="192766"/>
                      </a:lnTo>
                      <a:cubicBezTo>
                        <a:pt x="27898" y="201886"/>
                        <a:pt x="25637" y="212020"/>
                        <a:pt x="23377" y="224180"/>
                      </a:cubicBezTo>
                      <a:cubicBezTo>
                        <a:pt x="32418" y="224180"/>
                        <a:pt x="43719" y="220127"/>
                        <a:pt x="56151" y="224180"/>
                      </a:cubicBezTo>
                      <a:cubicBezTo>
                        <a:pt x="60671" y="226207"/>
                        <a:pt x="58411" y="231274"/>
                        <a:pt x="67452" y="231274"/>
                      </a:cubicBezTo>
                      <a:cubicBezTo>
                        <a:pt x="73102" y="231274"/>
                        <a:pt x="85533" y="222153"/>
                        <a:pt x="92315" y="221140"/>
                      </a:cubicBezTo>
                      <a:lnTo>
                        <a:pt x="91184" y="22012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8" name="Freeform: Shape 307">
                  <a:extLst>
                    <a:ext uri="{FF2B5EF4-FFF2-40B4-BE49-F238E27FC236}">
                      <a16:creationId xmlns:a16="http://schemas.microsoft.com/office/drawing/2014/main" id="{F131124E-9D9E-4D5C-97C2-5CD9D7913F57}"/>
                    </a:ext>
                  </a:extLst>
                </p:cNvPr>
                <p:cNvSpPr/>
                <p:nvPr/>
              </p:nvSpPr>
              <p:spPr>
                <a:xfrm>
                  <a:off x="6385104" y="1953237"/>
                  <a:ext cx="395542" cy="304007"/>
                </a:xfrm>
                <a:custGeom>
                  <a:avLst/>
                  <a:gdLst>
                    <a:gd name="connsiteX0" fmla="*/ 203095 w 395541"/>
                    <a:gd name="connsiteY0" fmla="*/ 31307 h 304007"/>
                    <a:gd name="connsiteX1" fmla="*/ 200835 w 395541"/>
                    <a:gd name="connsiteY1" fmla="*/ 21174 h 304007"/>
                    <a:gd name="connsiteX2" fmla="*/ 187273 w 395541"/>
                    <a:gd name="connsiteY2" fmla="*/ 25227 h 304007"/>
                    <a:gd name="connsiteX3" fmla="*/ 177102 w 395541"/>
                    <a:gd name="connsiteY3" fmla="*/ 31307 h 304007"/>
                    <a:gd name="connsiteX4" fmla="*/ 163541 w 395541"/>
                    <a:gd name="connsiteY4" fmla="*/ 26241 h 304007"/>
                    <a:gd name="connsiteX5" fmla="*/ 163541 w 395541"/>
                    <a:gd name="connsiteY5" fmla="*/ 19147 h 304007"/>
                    <a:gd name="connsiteX6" fmla="*/ 171451 w 395541"/>
                    <a:gd name="connsiteY6" fmla="*/ 21174 h 304007"/>
                    <a:gd name="connsiteX7" fmla="*/ 173711 w 395541"/>
                    <a:gd name="connsiteY7" fmla="*/ 19147 h 304007"/>
                    <a:gd name="connsiteX8" fmla="*/ 162410 w 395541"/>
                    <a:gd name="connsiteY8" fmla="*/ 9013 h 304007"/>
                    <a:gd name="connsiteX9" fmla="*/ 127377 w 395541"/>
                    <a:gd name="connsiteY9" fmla="*/ 16107 h 304007"/>
                    <a:gd name="connsiteX10" fmla="*/ 113815 w 395541"/>
                    <a:gd name="connsiteY10" fmla="*/ 26241 h 304007"/>
                    <a:gd name="connsiteX11" fmla="*/ 100254 w 395541"/>
                    <a:gd name="connsiteY11" fmla="*/ 26241 h 304007"/>
                    <a:gd name="connsiteX12" fmla="*/ 86692 w 395541"/>
                    <a:gd name="connsiteY12" fmla="*/ 38401 h 304007"/>
                    <a:gd name="connsiteX13" fmla="*/ 73131 w 395541"/>
                    <a:gd name="connsiteY13" fmla="*/ 36374 h 304007"/>
                    <a:gd name="connsiteX14" fmla="*/ 67481 w 395541"/>
                    <a:gd name="connsiteY14" fmla="*/ 41441 h 304007"/>
                    <a:gd name="connsiteX15" fmla="*/ 32446 w 395541"/>
                    <a:gd name="connsiteY15" fmla="*/ 48534 h 304007"/>
                    <a:gd name="connsiteX16" fmla="*/ 15495 w 395541"/>
                    <a:gd name="connsiteY16" fmla="*/ 46508 h 304007"/>
                    <a:gd name="connsiteX17" fmla="*/ 10975 w 395541"/>
                    <a:gd name="connsiteY17" fmla="*/ 82989 h 304007"/>
                    <a:gd name="connsiteX18" fmla="*/ 20015 w 395541"/>
                    <a:gd name="connsiteY18" fmla="*/ 104269 h 304007"/>
                    <a:gd name="connsiteX19" fmla="*/ 16625 w 395541"/>
                    <a:gd name="connsiteY19" fmla="*/ 127576 h 304007"/>
                    <a:gd name="connsiteX20" fmla="*/ 23406 w 395541"/>
                    <a:gd name="connsiteY20" fmla="*/ 145817 h 304007"/>
                    <a:gd name="connsiteX21" fmla="*/ 26796 w 395541"/>
                    <a:gd name="connsiteY21" fmla="*/ 186351 h 304007"/>
                    <a:gd name="connsiteX22" fmla="*/ 38097 w 395541"/>
                    <a:gd name="connsiteY22" fmla="*/ 191418 h 304007"/>
                    <a:gd name="connsiteX23" fmla="*/ 56179 w 395541"/>
                    <a:gd name="connsiteY23" fmla="*/ 195471 h 304007"/>
                    <a:gd name="connsiteX24" fmla="*/ 73131 w 395541"/>
                    <a:gd name="connsiteY24" fmla="*/ 203578 h 304007"/>
                    <a:gd name="connsiteX25" fmla="*/ 96863 w 395541"/>
                    <a:gd name="connsiteY25" fmla="*/ 217765 h 304007"/>
                    <a:gd name="connsiteX26" fmla="*/ 119466 w 395541"/>
                    <a:gd name="connsiteY26" fmla="*/ 220805 h 304007"/>
                    <a:gd name="connsiteX27" fmla="*/ 139808 w 395541"/>
                    <a:gd name="connsiteY27" fmla="*/ 236005 h 304007"/>
                    <a:gd name="connsiteX28" fmla="*/ 152240 w 395541"/>
                    <a:gd name="connsiteY28" fmla="*/ 254246 h 304007"/>
                    <a:gd name="connsiteX29" fmla="*/ 166931 w 395541"/>
                    <a:gd name="connsiteY29" fmla="*/ 255259 h 304007"/>
                    <a:gd name="connsiteX30" fmla="*/ 188403 w 395541"/>
                    <a:gd name="connsiteY30" fmla="*/ 255259 h 304007"/>
                    <a:gd name="connsiteX31" fmla="*/ 208746 w 395541"/>
                    <a:gd name="connsiteY31" fmla="*/ 265393 h 304007"/>
                    <a:gd name="connsiteX32" fmla="*/ 233608 w 395541"/>
                    <a:gd name="connsiteY32" fmla="*/ 265393 h 304007"/>
                    <a:gd name="connsiteX33" fmla="*/ 255080 w 395541"/>
                    <a:gd name="connsiteY33" fmla="*/ 257286 h 304007"/>
                    <a:gd name="connsiteX34" fmla="*/ 288984 w 395541"/>
                    <a:gd name="connsiteY34" fmla="*/ 243099 h 304007"/>
                    <a:gd name="connsiteX35" fmla="*/ 312716 w 395541"/>
                    <a:gd name="connsiteY35" fmla="*/ 256273 h 304007"/>
                    <a:gd name="connsiteX36" fmla="*/ 329668 w 395541"/>
                    <a:gd name="connsiteY36" fmla="*/ 269446 h 304007"/>
                    <a:gd name="connsiteX37" fmla="*/ 338709 w 395541"/>
                    <a:gd name="connsiteY37" fmla="*/ 283633 h 304007"/>
                    <a:gd name="connsiteX38" fmla="*/ 354531 w 395541"/>
                    <a:gd name="connsiteY38" fmla="*/ 298834 h 304007"/>
                    <a:gd name="connsiteX39" fmla="*/ 374873 w 395541"/>
                    <a:gd name="connsiteY39" fmla="*/ 284647 h 304007"/>
                    <a:gd name="connsiteX40" fmla="*/ 370353 w 395541"/>
                    <a:gd name="connsiteY40" fmla="*/ 261339 h 304007"/>
                    <a:gd name="connsiteX41" fmla="*/ 380523 w 395541"/>
                    <a:gd name="connsiteY41" fmla="*/ 243099 h 304007"/>
                    <a:gd name="connsiteX42" fmla="*/ 390695 w 395541"/>
                    <a:gd name="connsiteY42" fmla="*/ 222832 h 304007"/>
                    <a:gd name="connsiteX43" fmla="*/ 377133 w 395541"/>
                    <a:gd name="connsiteY43" fmla="*/ 198511 h 304007"/>
                    <a:gd name="connsiteX44" fmla="*/ 382784 w 395541"/>
                    <a:gd name="connsiteY44" fmla="*/ 175204 h 304007"/>
                    <a:gd name="connsiteX45" fmla="*/ 383914 w 395541"/>
                    <a:gd name="connsiteY45" fmla="*/ 164057 h 304007"/>
                    <a:gd name="connsiteX46" fmla="*/ 382784 w 395541"/>
                    <a:gd name="connsiteY46" fmla="*/ 142777 h 304007"/>
                    <a:gd name="connsiteX47" fmla="*/ 381654 w 395541"/>
                    <a:gd name="connsiteY47" fmla="*/ 117443 h 304007"/>
                    <a:gd name="connsiteX48" fmla="*/ 390695 w 395541"/>
                    <a:gd name="connsiteY48" fmla="*/ 89069 h 304007"/>
                    <a:gd name="connsiteX49" fmla="*/ 380523 w 395541"/>
                    <a:gd name="connsiteY49" fmla="*/ 62721 h 304007"/>
                    <a:gd name="connsiteX50" fmla="*/ 374873 w 395541"/>
                    <a:gd name="connsiteY50" fmla="*/ 52588 h 304007"/>
                    <a:gd name="connsiteX51" fmla="*/ 328538 w 395541"/>
                    <a:gd name="connsiteY51" fmla="*/ 48534 h 304007"/>
                    <a:gd name="connsiteX52" fmla="*/ 312716 w 395541"/>
                    <a:gd name="connsiteY52" fmla="*/ 53601 h 304007"/>
                    <a:gd name="connsiteX53" fmla="*/ 292374 w 395541"/>
                    <a:gd name="connsiteY53" fmla="*/ 52588 h 304007"/>
                    <a:gd name="connsiteX54" fmla="*/ 244909 w 395541"/>
                    <a:gd name="connsiteY54" fmla="*/ 47521 h 304007"/>
                    <a:gd name="connsiteX55" fmla="*/ 205355 w 395541"/>
                    <a:gd name="connsiteY55" fmla="*/ 29281 h 304007"/>
                    <a:gd name="connsiteX56" fmla="*/ 203095 w 395541"/>
                    <a:gd name="connsiteY56" fmla="*/ 31307 h 30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95541" h="304007">
                      <a:moveTo>
                        <a:pt x="203095" y="31307"/>
                      </a:moveTo>
                      <a:cubicBezTo>
                        <a:pt x="191794" y="29281"/>
                        <a:pt x="200835" y="21174"/>
                        <a:pt x="200835" y="21174"/>
                      </a:cubicBezTo>
                      <a:cubicBezTo>
                        <a:pt x="195184" y="20160"/>
                        <a:pt x="190663" y="23201"/>
                        <a:pt x="187273" y="25227"/>
                      </a:cubicBezTo>
                      <a:cubicBezTo>
                        <a:pt x="183883" y="27254"/>
                        <a:pt x="180493" y="30294"/>
                        <a:pt x="177102" y="31307"/>
                      </a:cubicBezTo>
                      <a:cubicBezTo>
                        <a:pt x="166931" y="32321"/>
                        <a:pt x="168061" y="27254"/>
                        <a:pt x="163541" y="26241"/>
                      </a:cubicBezTo>
                      <a:cubicBezTo>
                        <a:pt x="163541" y="26241"/>
                        <a:pt x="163541" y="19147"/>
                        <a:pt x="163541" y="19147"/>
                      </a:cubicBezTo>
                      <a:cubicBezTo>
                        <a:pt x="166931" y="20160"/>
                        <a:pt x="173711" y="22187"/>
                        <a:pt x="171451" y="21174"/>
                      </a:cubicBezTo>
                      <a:cubicBezTo>
                        <a:pt x="169191" y="20160"/>
                        <a:pt x="171451" y="21174"/>
                        <a:pt x="173711" y="19147"/>
                      </a:cubicBezTo>
                      <a:cubicBezTo>
                        <a:pt x="179362" y="14080"/>
                        <a:pt x="163541" y="9013"/>
                        <a:pt x="162410" y="9013"/>
                      </a:cubicBezTo>
                      <a:cubicBezTo>
                        <a:pt x="160150" y="9013"/>
                        <a:pt x="131897" y="14080"/>
                        <a:pt x="127377" y="16107"/>
                      </a:cubicBezTo>
                      <a:cubicBezTo>
                        <a:pt x="123987" y="17120"/>
                        <a:pt x="118336" y="25227"/>
                        <a:pt x="113815" y="26241"/>
                      </a:cubicBezTo>
                      <a:cubicBezTo>
                        <a:pt x="109294" y="27254"/>
                        <a:pt x="103644" y="24214"/>
                        <a:pt x="100254" y="26241"/>
                      </a:cubicBezTo>
                      <a:cubicBezTo>
                        <a:pt x="95734" y="28267"/>
                        <a:pt x="92343" y="36374"/>
                        <a:pt x="86692" y="38401"/>
                      </a:cubicBezTo>
                      <a:cubicBezTo>
                        <a:pt x="81042" y="40428"/>
                        <a:pt x="81042" y="35361"/>
                        <a:pt x="73131" y="36374"/>
                      </a:cubicBezTo>
                      <a:lnTo>
                        <a:pt x="67481" y="41441"/>
                      </a:lnTo>
                      <a:cubicBezTo>
                        <a:pt x="57309" y="43468"/>
                        <a:pt x="40357" y="48534"/>
                        <a:pt x="32446" y="48534"/>
                      </a:cubicBezTo>
                      <a:cubicBezTo>
                        <a:pt x="25666" y="48534"/>
                        <a:pt x="20015" y="48534"/>
                        <a:pt x="15495" y="46508"/>
                      </a:cubicBezTo>
                      <a:cubicBezTo>
                        <a:pt x="15495" y="46508"/>
                        <a:pt x="15495" y="76908"/>
                        <a:pt x="10975" y="82989"/>
                      </a:cubicBezTo>
                      <a:cubicBezTo>
                        <a:pt x="6454" y="89069"/>
                        <a:pt x="20015" y="104269"/>
                        <a:pt x="20015" y="104269"/>
                      </a:cubicBezTo>
                      <a:cubicBezTo>
                        <a:pt x="20015" y="104269"/>
                        <a:pt x="16625" y="115416"/>
                        <a:pt x="16625" y="127576"/>
                      </a:cubicBezTo>
                      <a:cubicBezTo>
                        <a:pt x="16625" y="139737"/>
                        <a:pt x="23406" y="137710"/>
                        <a:pt x="23406" y="145817"/>
                      </a:cubicBezTo>
                      <a:cubicBezTo>
                        <a:pt x="23406" y="153923"/>
                        <a:pt x="26796" y="186351"/>
                        <a:pt x="26796" y="186351"/>
                      </a:cubicBezTo>
                      <a:lnTo>
                        <a:pt x="38097" y="191418"/>
                      </a:lnTo>
                      <a:cubicBezTo>
                        <a:pt x="38097" y="191418"/>
                        <a:pt x="48268" y="195471"/>
                        <a:pt x="56179" y="195471"/>
                      </a:cubicBezTo>
                      <a:cubicBezTo>
                        <a:pt x="65220" y="195471"/>
                        <a:pt x="65220" y="206618"/>
                        <a:pt x="73131" y="203578"/>
                      </a:cubicBezTo>
                      <a:cubicBezTo>
                        <a:pt x="81042" y="200538"/>
                        <a:pt x="85562" y="211685"/>
                        <a:pt x="96863" y="217765"/>
                      </a:cubicBezTo>
                      <a:cubicBezTo>
                        <a:pt x="108165" y="223845"/>
                        <a:pt x="111555" y="223845"/>
                        <a:pt x="119466" y="220805"/>
                      </a:cubicBezTo>
                      <a:cubicBezTo>
                        <a:pt x="127377" y="217765"/>
                        <a:pt x="134157" y="240059"/>
                        <a:pt x="139808" y="236005"/>
                      </a:cubicBezTo>
                      <a:cubicBezTo>
                        <a:pt x="145458" y="231952"/>
                        <a:pt x="152240" y="254246"/>
                        <a:pt x="152240" y="254246"/>
                      </a:cubicBezTo>
                      <a:cubicBezTo>
                        <a:pt x="152240" y="254246"/>
                        <a:pt x="149979" y="255259"/>
                        <a:pt x="166931" y="255259"/>
                      </a:cubicBezTo>
                      <a:cubicBezTo>
                        <a:pt x="181622" y="255259"/>
                        <a:pt x="173711" y="250192"/>
                        <a:pt x="188403" y="255259"/>
                      </a:cubicBezTo>
                      <a:cubicBezTo>
                        <a:pt x="198574" y="259313"/>
                        <a:pt x="200835" y="263366"/>
                        <a:pt x="208746" y="265393"/>
                      </a:cubicBezTo>
                      <a:cubicBezTo>
                        <a:pt x="220047" y="269446"/>
                        <a:pt x="229088" y="275526"/>
                        <a:pt x="233608" y="265393"/>
                      </a:cubicBezTo>
                      <a:cubicBezTo>
                        <a:pt x="238128" y="255259"/>
                        <a:pt x="244909" y="260326"/>
                        <a:pt x="255080" y="257286"/>
                      </a:cubicBezTo>
                      <a:cubicBezTo>
                        <a:pt x="269772" y="253232"/>
                        <a:pt x="278812" y="236005"/>
                        <a:pt x="288984" y="243099"/>
                      </a:cubicBezTo>
                      <a:cubicBezTo>
                        <a:pt x="299155" y="251206"/>
                        <a:pt x="304806" y="256273"/>
                        <a:pt x="312716" y="256273"/>
                      </a:cubicBezTo>
                      <a:cubicBezTo>
                        <a:pt x="320627" y="256273"/>
                        <a:pt x="321758" y="264379"/>
                        <a:pt x="329668" y="269446"/>
                      </a:cubicBezTo>
                      <a:cubicBezTo>
                        <a:pt x="338709" y="274513"/>
                        <a:pt x="335318" y="274513"/>
                        <a:pt x="338709" y="283633"/>
                      </a:cubicBezTo>
                      <a:cubicBezTo>
                        <a:pt x="342100" y="292753"/>
                        <a:pt x="354531" y="298834"/>
                        <a:pt x="354531" y="298834"/>
                      </a:cubicBezTo>
                      <a:cubicBezTo>
                        <a:pt x="354531" y="298834"/>
                        <a:pt x="377133" y="292753"/>
                        <a:pt x="374873" y="284647"/>
                      </a:cubicBezTo>
                      <a:cubicBezTo>
                        <a:pt x="372613" y="276540"/>
                        <a:pt x="364702" y="269446"/>
                        <a:pt x="370353" y="261339"/>
                      </a:cubicBezTo>
                      <a:cubicBezTo>
                        <a:pt x="376003" y="253232"/>
                        <a:pt x="377133" y="251206"/>
                        <a:pt x="380523" y="243099"/>
                      </a:cubicBezTo>
                      <a:cubicBezTo>
                        <a:pt x="383914" y="234992"/>
                        <a:pt x="390695" y="222832"/>
                        <a:pt x="390695" y="222832"/>
                      </a:cubicBezTo>
                      <a:cubicBezTo>
                        <a:pt x="390695" y="222832"/>
                        <a:pt x="374873" y="206618"/>
                        <a:pt x="377133" y="198511"/>
                      </a:cubicBezTo>
                      <a:cubicBezTo>
                        <a:pt x="379393" y="190404"/>
                        <a:pt x="386174" y="185338"/>
                        <a:pt x="382784" y="175204"/>
                      </a:cubicBezTo>
                      <a:cubicBezTo>
                        <a:pt x="379393" y="165070"/>
                        <a:pt x="389565" y="170137"/>
                        <a:pt x="383914" y="164057"/>
                      </a:cubicBezTo>
                      <a:cubicBezTo>
                        <a:pt x="378264" y="157977"/>
                        <a:pt x="373743" y="147843"/>
                        <a:pt x="382784" y="142777"/>
                      </a:cubicBezTo>
                      <a:cubicBezTo>
                        <a:pt x="382784" y="142777"/>
                        <a:pt x="381654" y="124536"/>
                        <a:pt x="381654" y="117443"/>
                      </a:cubicBezTo>
                      <a:cubicBezTo>
                        <a:pt x="381654" y="110349"/>
                        <a:pt x="398606" y="97176"/>
                        <a:pt x="390695" y="89069"/>
                      </a:cubicBezTo>
                      <a:cubicBezTo>
                        <a:pt x="382784" y="80962"/>
                        <a:pt x="380523" y="62721"/>
                        <a:pt x="380523" y="62721"/>
                      </a:cubicBezTo>
                      <a:cubicBezTo>
                        <a:pt x="380523" y="62721"/>
                        <a:pt x="385044" y="56641"/>
                        <a:pt x="374873" y="52588"/>
                      </a:cubicBezTo>
                      <a:cubicBezTo>
                        <a:pt x="364702" y="48534"/>
                        <a:pt x="328538" y="48534"/>
                        <a:pt x="328538" y="48534"/>
                      </a:cubicBezTo>
                      <a:lnTo>
                        <a:pt x="312716" y="53601"/>
                      </a:lnTo>
                      <a:cubicBezTo>
                        <a:pt x="312716" y="53601"/>
                        <a:pt x="305936" y="52588"/>
                        <a:pt x="292374" y="52588"/>
                      </a:cubicBezTo>
                      <a:cubicBezTo>
                        <a:pt x="278812" y="52588"/>
                        <a:pt x="272032" y="53601"/>
                        <a:pt x="244909" y="47521"/>
                      </a:cubicBezTo>
                      <a:cubicBezTo>
                        <a:pt x="217786" y="41441"/>
                        <a:pt x="205355" y="29281"/>
                        <a:pt x="205355" y="29281"/>
                      </a:cubicBezTo>
                      <a:cubicBezTo>
                        <a:pt x="205355" y="29281"/>
                        <a:pt x="203095" y="31307"/>
                        <a:pt x="203095" y="3130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9" name="Freeform: Shape 308">
                  <a:extLst>
                    <a:ext uri="{FF2B5EF4-FFF2-40B4-BE49-F238E27FC236}">
                      <a16:creationId xmlns:a16="http://schemas.microsoft.com/office/drawing/2014/main" id="{CFC6EAA2-B83F-4633-9EA1-7A762126E26C}"/>
                    </a:ext>
                  </a:extLst>
                </p:cNvPr>
                <p:cNvSpPr/>
                <p:nvPr/>
              </p:nvSpPr>
              <p:spPr>
                <a:xfrm>
                  <a:off x="9992238" y="3526980"/>
                  <a:ext cx="350337" cy="537079"/>
                </a:xfrm>
                <a:custGeom>
                  <a:avLst/>
                  <a:gdLst>
                    <a:gd name="connsiteX0" fmla="*/ 308404 w 350337"/>
                    <a:gd name="connsiteY0" fmla="*/ 382942 h 537079"/>
                    <a:gd name="connsiteX1" fmla="*/ 302753 w 350337"/>
                    <a:gd name="connsiteY1" fmla="*/ 384969 h 537079"/>
                    <a:gd name="connsiteX2" fmla="*/ 302753 w 350337"/>
                    <a:gd name="connsiteY2" fmla="*/ 407263 h 537079"/>
                    <a:gd name="connsiteX3" fmla="*/ 289192 w 350337"/>
                    <a:gd name="connsiteY3" fmla="*/ 405236 h 537079"/>
                    <a:gd name="connsiteX4" fmla="*/ 281281 w 350337"/>
                    <a:gd name="connsiteY4" fmla="*/ 410302 h 537079"/>
                    <a:gd name="connsiteX5" fmla="*/ 279020 w 350337"/>
                    <a:gd name="connsiteY5" fmla="*/ 422463 h 537079"/>
                    <a:gd name="connsiteX6" fmla="*/ 263199 w 350337"/>
                    <a:gd name="connsiteY6" fmla="*/ 417396 h 537079"/>
                    <a:gd name="connsiteX7" fmla="*/ 257548 w 350337"/>
                    <a:gd name="connsiteY7" fmla="*/ 427530 h 537079"/>
                    <a:gd name="connsiteX8" fmla="*/ 236076 w 350337"/>
                    <a:gd name="connsiteY8" fmla="*/ 432596 h 537079"/>
                    <a:gd name="connsiteX9" fmla="*/ 238336 w 350337"/>
                    <a:gd name="connsiteY9" fmla="*/ 425503 h 537079"/>
                    <a:gd name="connsiteX10" fmla="*/ 238336 w 350337"/>
                    <a:gd name="connsiteY10" fmla="*/ 418410 h 537079"/>
                    <a:gd name="connsiteX11" fmla="*/ 232686 w 350337"/>
                    <a:gd name="connsiteY11" fmla="*/ 416383 h 537079"/>
                    <a:gd name="connsiteX12" fmla="*/ 232686 w 350337"/>
                    <a:gd name="connsiteY12" fmla="*/ 418410 h 537079"/>
                    <a:gd name="connsiteX13" fmla="*/ 219124 w 350337"/>
                    <a:gd name="connsiteY13" fmla="*/ 418410 h 537079"/>
                    <a:gd name="connsiteX14" fmla="*/ 211213 w 350337"/>
                    <a:gd name="connsiteY14" fmla="*/ 423476 h 537079"/>
                    <a:gd name="connsiteX15" fmla="*/ 211213 w 350337"/>
                    <a:gd name="connsiteY15" fmla="*/ 433610 h 537079"/>
                    <a:gd name="connsiteX16" fmla="*/ 184091 w 350337"/>
                    <a:gd name="connsiteY16" fmla="*/ 438677 h 537079"/>
                    <a:gd name="connsiteX17" fmla="*/ 184091 w 350337"/>
                    <a:gd name="connsiteY17" fmla="*/ 462997 h 537079"/>
                    <a:gd name="connsiteX18" fmla="*/ 176180 w 350337"/>
                    <a:gd name="connsiteY18" fmla="*/ 470091 h 537079"/>
                    <a:gd name="connsiteX19" fmla="*/ 178440 w 350337"/>
                    <a:gd name="connsiteY19" fmla="*/ 477184 h 537079"/>
                    <a:gd name="connsiteX20" fmla="*/ 189741 w 350337"/>
                    <a:gd name="connsiteY20" fmla="*/ 477184 h 537079"/>
                    <a:gd name="connsiteX21" fmla="*/ 192001 w 350337"/>
                    <a:gd name="connsiteY21" fmla="*/ 467051 h 537079"/>
                    <a:gd name="connsiteX22" fmla="*/ 203302 w 350337"/>
                    <a:gd name="connsiteY22" fmla="*/ 454890 h 537079"/>
                    <a:gd name="connsiteX23" fmla="*/ 208953 w 350337"/>
                    <a:gd name="connsiteY23" fmla="*/ 465024 h 537079"/>
                    <a:gd name="connsiteX24" fmla="*/ 236076 w 350337"/>
                    <a:gd name="connsiteY24" fmla="*/ 465024 h 537079"/>
                    <a:gd name="connsiteX25" fmla="*/ 243987 w 350337"/>
                    <a:gd name="connsiteY25" fmla="*/ 459957 h 537079"/>
                    <a:gd name="connsiteX26" fmla="*/ 255288 w 350337"/>
                    <a:gd name="connsiteY26" fmla="*/ 467051 h 537079"/>
                    <a:gd name="connsiteX27" fmla="*/ 257548 w 350337"/>
                    <a:gd name="connsiteY27" fmla="*/ 474144 h 537079"/>
                    <a:gd name="connsiteX28" fmla="*/ 251898 w 350337"/>
                    <a:gd name="connsiteY28" fmla="*/ 474144 h 537079"/>
                    <a:gd name="connsiteX29" fmla="*/ 249637 w 350337"/>
                    <a:gd name="connsiteY29" fmla="*/ 508598 h 537079"/>
                    <a:gd name="connsiteX30" fmla="*/ 263199 w 350337"/>
                    <a:gd name="connsiteY30" fmla="*/ 513665 h 537079"/>
                    <a:gd name="connsiteX31" fmla="*/ 295972 w 350337"/>
                    <a:gd name="connsiteY31" fmla="*/ 520759 h 537079"/>
                    <a:gd name="connsiteX32" fmla="*/ 295972 w 350337"/>
                    <a:gd name="connsiteY32" fmla="*/ 534946 h 537079"/>
                    <a:gd name="connsiteX33" fmla="*/ 307273 w 350337"/>
                    <a:gd name="connsiteY33" fmla="*/ 529879 h 537079"/>
                    <a:gd name="connsiteX34" fmla="*/ 305013 w 350337"/>
                    <a:gd name="connsiteY34" fmla="*/ 493398 h 537079"/>
                    <a:gd name="connsiteX35" fmla="*/ 318575 w 350337"/>
                    <a:gd name="connsiteY35" fmla="*/ 503531 h 537079"/>
                    <a:gd name="connsiteX36" fmla="*/ 324225 w 350337"/>
                    <a:gd name="connsiteY36" fmla="*/ 505558 h 537079"/>
                    <a:gd name="connsiteX37" fmla="*/ 316314 w 350337"/>
                    <a:gd name="connsiteY37" fmla="*/ 474144 h 537079"/>
                    <a:gd name="connsiteX38" fmla="*/ 329876 w 350337"/>
                    <a:gd name="connsiteY38" fmla="*/ 464011 h 537079"/>
                    <a:gd name="connsiteX39" fmla="*/ 337787 w 350337"/>
                    <a:gd name="connsiteY39" fmla="*/ 449824 h 537079"/>
                    <a:gd name="connsiteX40" fmla="*/ 343437 w 350337"/>
                    <a:gd name="connsiteY40" fmla="*/ 449824 h 537079"/>
                    <a:gd name="connsiteX41" fmla="*/ 337787 w 350337"/>
                    <a:gd name="connsiteY41" fmla="*/ 425503 h 537079"/>
                    <a:gd name="connsiteX42" fmla="*/ 326485 w 350337"/>
                    <a:gd name="connsiteY42" fmla="*/ 386995 h 537079"/>
                    <a:gd name="connsiteX43" fmla="*/ 308404 w 350337"/>
                    <a:gd name="connsiteY43" fmla="*/ 382942 h 537079"/>
                    <a:gd name="connsiteX44" fmla="*/ 262069 w 350337"/>
                    <a:gd name="connsiteY44" fmla="*/ 351528 h 537079"/>
                    <a:gd name="connsiteX45" fmla="*/ 250767 w 350337"/>
                    <a:gd name="connsiteY45" fmla="*/ 358622 h 537079"/>
                    <a:gd name="connsiteX46" fmla="*/ 250767 w 350337"/>
                    <a:gd name="connsiteY46" fmla="*/ 365715 h 537079"/>
                    <a:gd name="connsiteX47" fmla="*/ 277890 w 350337"/>
                    <a:gd name="connsiteY47" fmla="*/ 367742 h 537079"/>
                    <a:gd name="connsiteX48" fmla="*/ 280151 w 350337"/>
                    <a:gd name="connsiteY48" fmla="*/ 360648 h 537079"/>
                    <a:gd name="connsiteX49" fmla="*/ 272240 w 350337"/>
                    <a:gd name="connsiteY49" fmla="*/ 350514 h 537079"/>
                    <a:gd name="connsiteX50" fmla="*/ 262069 w 350337"/>
                    <a:gd name="connsiteY50" fmla="*/ 351528 h 537079"/>
                    <a:gd name="connsiteX51" fmla="*/ 205563 w 350337"/>
                    <a:gd name="connsiteY51" fmla="*/ 334301 h 537079"/>
                    <a:gd name="connsiteX52" fmla="*/ 207823 w 350337"/>
                    <a:gd name="connsiteY52" fmla="*/ 339368 h 537079"/>
                    <a:gd name="connsiteX53" fmla="*/ 205563 w 350337"/>
                    <a:gd name="connsiteY53" fmla="*/ 334301 h 537079"/>
                    <a:gd name="connsiteX54" fmla="*/ 221385 w 350337"/>
                    <a:gd name="connsiteY54" fmla="*/ 322141 h 537079"/>
                    <a:gd name="connsiteX55" fmla="*/ 215734 w 350337"/>
                    <a:gd name="connsiteY55" fmla="*/ 346461 h 537079"/>
                    <a:gd name="connsiteX56" fmla="*/ 194261 w 350337"/>
                    <a:gd name="connsiteY56" fmla="*/ 370782 h 537079"/>
                    <a:gd name="connsiteX57" fmla="*/ 213474 w 350337"/>
                    <a:gd name="connsiteY57" fmla="*/ 380915 h 537079"/>
                    <a:gd name="connsiteX58" fmla="*/ 224775 w 350337"/>
                    <a:gd name="connsiteY58" fmla="*/ 388009 h 537079"/>
                    <a:gd name="connsiteX59" fmla="*/ 224775 w 350337"/>
                    <a:gd name="connsiteY59" fmla="*/ 353555 h 537079"/>
                    <a:gd name="connsiteX60" fmla="*/ 238336 w 350337"/>
                    <a:gd name="connsiteY60" fmla="*/ 336328 h 537079"/>
                    <a:gd name="connsiteX61" fmla="*/ 238336 w 350337"/>
                    <a:gd name="connsiteY61" fmla="*/ 329234 h 537079"/>
                    <a:gd name="connsiteX62" fmla="*/ 232686 w 350337"/>
                    <a:gd name="connsiteY62" fmla="*/ 322141 h 537079"/>
                    <a:gd name="connsiteX63" fmla="*/ 221385 w 350337"/>
                    <a:gd name="connsiteY63" fmla="*/ 322141 h 537079"/>
                    <a:gd name="connsiteX64" fmla="*/ 251898 w 350337"/>
                    <a:gd name="connsiteY64" fmla="*/ 315047 h 537079"/>
                    <a:gd name="connsiteX65" fmla="*/ 251898 w 350337"/>
                    <a:gd name="connsiteY65" fmla="*/ 327207 h 537079"/>
                    <a:gd name="connsiteX66" fmla="*/ 236076 w 350337"/>
                    <a:gd name="connsiteY66" fmla="*/ 370782 h 537079"/>
                    <a:gd name="connsiteX67" fmla="*/ 241727 w 350337"/>
                    <a:gd name="connsiteY67" fmla="*/ 363688 h 537079"/>
                    <a:gd name="connsiteX68" fmla="*/ 243987 w 350337"/>
                    <a:gd name="connsiteY68" fmla="*/ 351528 h 537079"/>
                    <a:gd name="connsiteX69" fmla="*/ 255288 w 350337"/>
                    <a:gd name="connsiteY69" fmla="*/ 346461 h 537079"/>
                    <a:gd name="connsiteX70" fmla="*/ 257548 w 350337"/>
                    <a:gd name="connsiteY70" fmla="*/ 317074 h 537079"/>
                    <a:gd name="connsiteX71" fmla="*/ 251898 w 350337"/>
                    <a:gd name="connsiteY71" fmla="*/ 315047 h 537079"/>
                    <a:gd name="connsiteX72" fmla="*/ 91421 w 350337"/>
                    <a:gd name="connsiteY72" fmla="*/ 307954 h 537079"/>
                    <a:gd name="connsiteX73" fmla="*/ 89160 w 350337"/>
                    <a:gd name="connsiteY73" fmla="*/ 325181 h 537079"/>
                    <a:gd name="connsiteX74" fmla="*/ 73338 w 350337"/>
                    <a:gd name="connsiteY74" fmla="*/ 337341 h 537079"/>
                    <a:gd name="connsiteX75" fmla="*/ 75599 w 350337"/>
                    <a:gd name="connsiteY75" fmla="*/ 347475 h 537079"/>
                    <a:gd name="connsiteX76" fmla="*/ 64298 w 350337"/>
                    <a:gd name="connsiteY76" fmla="*/ 354568 h 537079"/>
                    <a:gd name="connsiteX77" fmla="*/ 56387 w 350337"/>
                    <a:gd name="connsiteY77" fmla="*/ 373822 h 537079"/>
                    <a:gd name="connsiteX78" fmla="*/ 45085 w 350337"/>
                    <a:gd name="connsiteY78" fmla="*/ 380915 h 537079"/>
                    <a:gd name="connsiteX79" fmla="*/ 45085 w 350337"/>
                    <a:gd name="connsiteY79" fmla="*/ 388009 h 537079"/>
                    <a:gd name="connsiteX80" fmla="*/ 31525 w 350337"/>
                    <a:gd name="connsiteY80" fmla="*/ 390035 h 537079"/>
                    <a:gd name="connsiteX81" fmla="*/ 29264 w 350337"/>
                    <a:gd name="connsiteY81" fmla="*/ 397129 h 537079"/>
                    <a:gd name="connsiteX82" fmla="*/ 21353 w 350337"/>
                    <a:gd name="connsiteY82" fmla="*/ 397129 h 537079"/>
                    <a:gd name="connsiteX83" fmla="*/ 10052 w 350337"/>
                    <a:gd name="connsiteY83" fmla="*/ 421449 h 537079"/>
                    <a:gd name="connsiteX84" fmla="*/ 58647 w 350337"/>
                    <a:gd name="connsiteY84" fmla="*/ 392062 h 537079"/>
                    <a:gd name="connsiteX85" fmla="*/ 58647 w 350337"/>
                    <a:gd name="connsiteY85" fmla="*/ 384969 h 537079"/>
                    <a:gd name="connsiteX86" fmla="*/ 69948 w 350337"/>
                    <a:gd name="connsiteY86" fmla="*/ 370782 h 537079"/>
                    <a:gd name="connsiteX87" fmla="*/ 72209 w 350337"/>
                    <a:gd name="connsiteY87" fmla="*/ 370782 h 537079"/>
                    <a:gd name="connsiteX88" fmla="*/ 72209 w 350337"/>
                    <a:gd name="connsiteY88" fmla="*/ 363688 h 537079"/>
                    <a:gd name="connsiteX89" fmla="*/ 88031 w 350337"/>
                    <a:gd name="connsiteY89" fmla="*/ 356595 h 537079"/>
                    <a:gd name="connsiteX90" fmla="*/ 90290 w 350337"/>
                    <a:gd name="connsiteY90" fmla="*/ 346461 h 537079"/>
                    <a:gd name="connsiteX91" fmla="*/ 98201 w 350337"/>
                    <a:gd name="connsiteY91" fmla="*/ 344434 h 537079"/>
                    <a:gd name="connsiteX92" fmla="*/ 98201 w 350337"/>
                    <a:gd name="connsiteY92" fmla="*/ 315047 h 537079"/>
                    <a:gd name="connsiteX93" fmla="*/ 95941 w 350337"/>
                    <a:gd name="connsiteY93" fmla="*/ 307954 h 537079"/>
                    <a:gd name="connsiteX94" fmla="*/ 91421 w 350337"/>
                    <a:gd name="connsiteY94" fmla="*/ 307954 h 537079"/>
                    <a:gd name="connsiteX95" fmla="*/ 275630 w 350337"/>
                    <a:gd name="connsiteY95" fmla="*/ 305927 h 537079"/>
                    <a:gd name="connsiteX96" fmla="*/ 275630 w 350337"/>
                    <a:gd name="connsiteY96" fmla="*/ 316060 h 537079"/>
                    <a:gd name="connsiteX97" fmla="*/ 286931 w 350337"/>
                    <a:gd name="connsiteY97" fmla="*/ 316060 h 537079"/>
                    <a:gd name="connsiteX98" fmla="*/ 286931 w 350337"/>
                    <a:gd name="connsiteY98" fmla="*/ 321127 h 537079"/>
                    <a:gd name="connsiteX99" fmla="*/ 289192 w 350337"/>
                    <a:gd name="connsiteY99" fmla="*/ 323154 h 537079"/>
                    <a:gd name="connsiteX100" fmla="*/ 286931 w 350337"/>
                    <a:gd name="connsiteY100" fmla="*/ 335314 h 537079"/>
                    <a:gd name="connsiteX101" fmla="*/ 286931 w 350337"/>
                    <a:gd name="connsiteY101" fmla="*/ 340381 h 537079"/>
                    <a:gd name="connsiteX102" fmla="*/ 294842 w 350337"/>
                    <a:gd name="connsiteY102" fmla="*/ 345448 h 537079"/>
                    <a:gd name="connsiteX103" fmla="*/ 297103 w 350337"/>
                    <a:gd name="connsiteY103" fmla="*/ 352541 h 537079"/>
                    <a:gd name="connsiteX104" fmla="*/ 308404 w 350337"/>
                    <a:gd name="connsiteY104" fmla="*/ 354568 h 537079"/>
                    <a:gd name="connsiteX105" fmla="*/ 302753 w 350337"/>
                    <a:gd name="connsiteY105" fmla="*/ 347475 h 537079"/>
                    <a:gd name="connsiteX106" fmla="*/ 305013 w 350337"/>
                    <a:gd name="connsiteY106" fmla="*/ 335314 h 537079"/>
                    <a:gd name="connsiteX107" fmla="*/ 297103 w 350337"/>
                    <a:gd name="connsiteY107" fmla="*/ 325181 h 537079"/>
                    <a:gd name="connsiteX108" fmla="*/ 302753 w 350337"/>
                    <a:gd name="connsiteY108" fmla="*/ 315047 h 537079"/>
                    <a:gd name="connsiteX109" fmla="*/ 297103 w 350337"/>
                    <a:gd name="connsiteY109" fmla="*/ 307954 h 537079"/>
                    <a:gd name="connsiteX110" fmla="*/ 275630 w 350337"/>
                    <a:gd name="connsiteY110" fmla="*/ 305927 h 537079"/>
                    <a:gd name="connsiteX111" fmla="*/ 184091 w 350337"/>
                    <a:gd name="connsiteY111" fmla="*/ 295793 h 537079"/>
                    <a:gd name="connsiteX112" fmla="*/ 176180 w 350337"/>
                    <a:gd name="connsiteY112" fmla="*/ 342408 h 537079"/>
                    <a:gd name="connsiteX113" fmla="*/ 201042 w 350337"/>
                    <a:gd name="connsiteY113" fmla="*/ 330247 h 537079"/>
                    <a:gd name="connsiteX114" fmla="*/ 208953 w 350337"/>
                    <a:gd name="connsiteY114" fmla="*/ 330247 h 537079"/>
                    <a:gd name="connsiteX115" fmla="*/ 211213 w 350337"/>
                    <a:gd name="connsiteY115" fmla="*/ 320114 h 537079"/>
                    <a:gd name="connsiteX116" fmla="*/ 216864 w 350337"/>
                    <a:gd name="connsiteY116" fmla="*/ 318087 h 537079"/>
                    <a:gd name="connsiteX117" fmla="*/ 216864 w 350337"/>
                    <a:gd name="connsiteY117" fmla="*/ 303900 h 537079"/>
                    <a:gd name="connsiteX118" fmla="*/ 184091 w 350337"/>
                    <a:gd name="connsiteY118" fmla="*/ 295793 h 537079"/>
                    <a:gd name="connsiteX119" fmla="*/ 227035 w 350337"/>
                    <a:gd name="connsiteY119" fmla="*/ 271473 h 537079"/>
                    <a:gd name="connsiteX120" fmla="*/ 227035 w 350337"/>
                    <a:gd name="connsiteY120" fmla="*/ 276540 h 537079"/>
                    <a:gd name="connsiteX121" fmla="*/ 224775 w 350337"/>
                    <a:gd name="connsiteY121" fmla="*/ 286673 h 537079"/>
                    <a:gd name="connsiteX122" fmla="*/ 249637 w 350337"/>
                    <a:gd name="connsiteY122" fmla="*/ 291740 h 537079"/>
                    <a:gd name="connsiteX123" fmla="*/ 227035 w 350337"/>
                    <a:gd name="connsiteY123" fmla="*/ 271473 h 537079"/>
                    <a:gd name="connsiteX124" fmla="*/ 104982 w 350337"/>
                    <a:gd name="connsiteY124" fmla="*/ 271473 h 537079"/>
                    <a:gd name="connsiteX125" fmla="*/ 104982 w 350337"/>
                    <a:gd name="connsiteY125" fmla="*/ 281606 h 537079"/>
                    <a:gd name="connsiteX126" fmla="*/ 116284 w 350337"/>
                    <a:gd name="connsiteY126" fmla="*/ 279580 h 537079"/>
                    <a:gd name="connsiteX127" fmla="*/ 104982 w 350337"/>
                    <a:gd name="connsiteY127" fmla="*/ 271473 h 537079"/>
                    <a:gd name="connsiteX128" fmla="*/ 178440 w 350337"/>
                    <a:gd name="connsiteY128" fmla="*/ 259312 h 537079"/>
                    <a:gd name="connsiteX129" fmla="*/ 184091 w 350337"/>
                    <a:gd name="connsiteY129" fmla="*/ 269446 h 537079"/>
                    <a:gd name="connsiteX130" fmla="*/ 189741 w 350337"/>
                    <a:gd name="connsiteY130" fmla="*/ 262353 h 537079"/>
                    <a:gd name="connsiteX131" fmla="*/ 178440 w 350337"/>
                    <a:gd name="connsiteY131" fmla="*/ 259312 h 537079"/>
                    <a:gd name="connsiteX132" fmla="*/ 279020 w 350337"/>
                    <a:gd name="connsiteY132" fmla="*/ 252219 h 537079"/>
                    <a:gd name="connsiteX133" fmla="*/ 267719 w 350337"/>
                    <a:gd name="connsiteY133" fmla="*/ 262353 h 537079"/>
                    <a:gd name="connsiteX134" fmla="*/ 267719 w 350337"/>
                    <a:gd name="connsiteY134" fmla="*/ 269446 h 537079"/>
                    <a:gd name="connsiteX135" fmla="*/ 286931 w 350337"/>
                    <a:gd name="connsiteY135" fmla="*/ 288700 h 537079"/>
                    <a:gd name="connsiteX136" fmla="*/ 289192 w 350337"/>
                    <a:gd name="connsiteY136" fmla="*/ 300860 h 537079"/>
                    <a:gd name="connsiteX137" fmla="*/ 305013 w 350337"/>
                    <a:gd name="connsiteY137" fmla="*/ 305927 h 537079"/>
                    <a:gd name="connsiteX138" fmla="*/ 307273 w 350337"/>
                    <a:gd name="connsiteY138" fmla="*/ 305927 h 537079"/>
                    <a:gd name="connsiteX139" fmla="*/ 315184 w 350337"/>
                    <a:gd name="connsiteY139" fmla="*/ 313020 h 537079"/>
                    <a:gd name="connsiteX140" fmla="*/ 301623 w 350337"/>
                    <a:gd name="connsiteY140" fmla="*/ 293766 h 537079"/>
                    <a:gd name="connsiteX141" fmla="*/ 295972 w 350337"/>
                    <a:gd name="connsiteY141" fmla="*/ 288700 h 537079"/>
                    <a:gd name="connsiteX142" fmla="*/ 301623 w 350337"/>
                    <a:gd name="connsiteY142" fmla="*/ 262353 h 537079"/>
                    <a:gd name="connsiteX143" fmla="*/ 295972 w 350337"/>
                    <a:gd name="connsiteY143" fmla="*/ 262353 h 537079"/>
                    <a:gd name="connsiteX144" fmla="*/ 293712 w 350337"/>
                    <a:gd name="connsiteY144" fmla="*/ 252219 h 537079"/>
                    <a:gd name="connsiteX145" fmla="*/ 279020 w 350337"/>
                    <a:gd name="connsiteY145" fmla="*/ 252219 h 537079"/>
                    <a:gd name="connsiteX146" fmla="*/ 132105 w 350337"/>
                    <a:gd name="connsiteY146" fmla="*/ 217765 h 537079"/>
                    <a:gd name="connsiteX147" fmla="*/ 126454 w 350337"/>
                    <a:gd name="connsiteY147" fmla="*/ 219792 h 537079"/>
                    <a:gd name="connsiteX148" fmla="*/ 134365 w 350337"/>
                    <a:gd name="connsiteY148" fmla="*/ 226885 h 537079"/>
                    <a:gd name="connsiteX149" fmla="*/ 145666 w 350337"/>
                    <a:gd name="connsiteY149" fmla="*/ 249179 h 537079"/>
                    <a:gd name="connsiteX150" fmla="*/ 159228 w 350337"/>
                    <a:gd name="connsiteY150" fmla="*/ 251206 h 537079"/>
                    <a:gd name="connsiteX151" fmla="*/ 161488 w 350337"/>
                    <a:gd name="connsiteY151" fmla="*/ 268433 h 537079"/>
                    <a:gd name="connsiteX152" fmla="*/ 132105 w 350337"/>
                    <a:gd name="connsiteY152" fmla="*/ 217765 h 537079"/>
                    <a:gd name="connsiteX153" fmla="*/ 262069 w 350337"/>
                    <a:gd name="connsiteY153" fmla="*/ 203578 h 537079"/>
                    <a:gd name="connsiteX154" fmla="*/ 262069 w 350337"/>
                    <a:gd name="connsiteY154" fmla="*/ 213711 h 537079"/>
                    <a:gd name="connsiteX155" fmla="*/ 262069 w 350337"/>
                    <a:gd name="connsiteY155" fmla="*/ 203578 h 537079"/>
                    <a:gd name="connsiteX156" fmla="*/ 143406 w 350337"/>
                    <a:gd name="connsiteY156" fmla="*/ 11040 h 537079"/>
                    <a:gd name="connsiteX157" fmla="*/ 135495 w 350337"/>
                    <a:gd name="connsiteY157" fmla="*/ 28267 h 537079"/>
                    <a:gd name="connsiteX158" fmla="*/ 137755 w 350337"/>
                    <a:gd name="connsiteY158" fmla="*/ 38401 h 537079"/>
                    <a:gd name="connsiteX159" fmla="*/ 126454 w 350337"/>
                    <a:gd name="connsiteY159" fmla="*/ 57654 h 537079"/>
                    <a:gd name="connsiteX160" fmla="*/ 132105 w 350337"/>
                    <a:gd name="connsiteY160" fmla="*/ 89069 h 537079"/>
                    <a:gd name="connsiteX161" fmla="*/ 126454 w 350337"/>
                    <a:gd name="connsiteY161" fmla="*/ 91095 h 537079"/>
                    <a:gd name="connsiteX162" fmla="*/ 126454 w 350337"/>
                    <a:gd name="connsiteY162" fmla="*/ 115416 h 537079"/>
                    <a:gd name="connsiteX163" fmla="*/ 115153 w 350337"/>
                    <a:gd name="connsiteY163" fmla="*/ 117442 h 537079"/>
                    <a:gd name="connsiteX164" fmla="*/ 107242 w 350337"/>
                    <a:gd name="connsiteY164" fmla="*/ 110349 h 537079"/>
                    <a:gd name="connsiteX165" fmla="*/ 101591 w 350337"/>
                    <a:gd name="connsiteY165" fmla="*/ 112376 h 537079"/>
                    <a:gd name="connsiteX166" fmla="*/ 103852 w 350337"/>
                    <a:gd name="connsiteY166" fmla="*/ 126563 h 537079"/>
                    <a:gd name="connsiteX167" fmla="*/ 111763 w 350337"/>
                    <a:gd name="connsiteY167" fmla="*/ 133656 h 537079"/>
                    <a:gd name="connsiteX168" fmla="*/ 111763 w 350337"/>
                    <a:gd name="connsiteY168" fmla="*/ 152910 h 537079"/>
                    <a:gd name="connsiteX169" fmla="*/ 127585 w 350337"/>
                    <a:gd name="connsiteY169" fmla="*/ 172164 h 537079"/>
                    <a:gd name="connsiteX170" fmla="*/ 133235 w 350337"/>
                    <a:gd name="connsiteY170" fmla="*/ 162030 h 537079"/>
                    <a:gd name="connsiteX171" fmla="*/ 141146 w 350337"/>
                    <a:gd name="connsiteY171" fmla="*/ 162030 h 537079"/>
                    <a:gd name="connsiteX172" fmla="*/ 152447 w 350337"/>
                    <a:gd name="connsiteY172" fmla="*/ 215738 h 537079"/>
                    <a:gd name="connsiteX173" fmla="*/ 163748 w 350337"/>
                    <a:gd name="connsiteY173" fmla="*/ 213711 h 537079"/>
                    <a:gd name="connsiteX174" fmla="*/ 182960 w 350337"/>
                    <a:gd name="connsiteY174" fmla="*/ 203578 h 537079"/>
                    <a:gd name="connsiteX175" fmla="*/ 188611 w 350337"/>
                    <a:gd name="connsiteY175" fmla="*/ 208645 h 537079"/>
                    <a:gd name="connsiteX176" fmla="*/ 196522 w 350337"/>
                    <a:gd name="connsiteY176" fmla="*/ 208645 h 537079"/>
                    <a:gd name="connsiteX177" fmla="*/ 202172 w 350337"/>
                    <a:gd name="connsiteY177" fmla="*/ 222831 h 537079"/>
                    <a:gd name="connsiteX178" fmla="*/ 213474 w 350337"/>
                    <a:gd name="connsiteY178" fmla="*/ 203578 h 537079"/>
                    <a:gd name="connsiteX179" fmla="*/ 215734 w 350337"/>
                    <a:gd name="connsiteY179" fmla="*/ 210671 h 537079"/>
                    <a:gd name="connsiteX180" fmla="*/ 223645 w 350337"/>
                    <a:gd name="connsiteY180" fmla="*/ 220805 h 537079"/>
                    <a:gd name="connsiteX181" fmla="*/ 231555 w 350337"/>
                    <a:gd name="connsiteY181" fmla="*/ 234992 h 537079"/>
                    <a:gd name="connsiteX182" fmla="*/ 239466 w 350337"/>
                    <a:gd name="connsiteY182" fmla="*/ 234992 h 537079"/>
                    <a:gd name="connsiteX183" fmla="*/ 247377 w 350337"/>
                    <a:gd name="connsiteY183" fmla="*/ 247152 h 537079"/>
                    <a:gd name="connsiteX184" fmla="*/ 253028 w 350337"/>
                    <a:gd name="connsiteY184" fmla="*/ 247152 h 537079"/>
                    <a:gd name="connsiteX185" fmla="*/ 241727 w 350337"/>
                    <a:gd name="connsiteY185" fmla="*/ 210671 h 537079"/>
                    <a:gd name="connsiteX186" fmla="*/ 243987 w 350337"/>
                    <a:gd name="connsiteY186" fmla="*/ 196484 h 537079"/>
                    <a:gd name="connsiteX187" fmla="*/ 236076 w 350337"/>
                    <a:gd name="connsiteY187" fmla="*/ 189391 h 537079"/>
                    <a:gd name="connsiteX188" fmla="*/ 224775 w 350337"/>
                    <a:gd name="connsiteY188" fmla="*/ 196484 h 537079"/>
                    <a:gd name="connsiteX189" fmla="*/ 216864 w 350337"/>
                    <a:gd name="connsiteY189" fmla="*/ 191418 h 537079"/>
                    <a:gd name="connsiteX190" fmla="*/ 219124 w 350337"/>
                    <a:gd name="connsiteY190" fmla="*/ 184324 h 537079"/>
                    <a:gd name="connsiteX191" fmla="*/ 211213 w 350337"/>
                    <a:gd name="connsiteY191" fmla="*/ 179257 h 537079"/>
                    <a:gd name="connsiteX192" fmla="*/ 208953 w 350337"/>
                    <a:gd name="connsiteY192" fmla="*/ 184324 h 537079"/>
                    <a:gd name="connsiteX193" fmla="*/ 193132 w 350337"/>
                    <a:gd name="connsiteY193" fmla="*/ 184324 h 537079"/>
                    <a:gd name="connsiteX194" fmla="*/ 179570 w 350337"/>
                    <a:gd name="connsiteY194" fmla="*/ 191418 h 537079"/>
                    <a:gd name="connsiteX195" fmla="*/ 168269 w 350337"/>
                    <a:gd name="connsiteY195" fmla="*/ 186351 h 537079"/>
                    <a:gd name="connsiteX196" fmla="*/ 166008 w 350337"/>
                    <a:gd name="connsiteY196" fmla="*/ 167097 h 537079"/>
                    <a:gd name="connsiteX197" fmla="*/ 160358 w 350337"/>
                    <a:gd name="connsiteY197" fmla="*/ 165070 h 537079"/>
                    <a:gd name="connsiteX198" fmla="*/ 162618 w 350337"/>
                    <a:gd name="connsiteY198" fmla="*/ 142776 h 537079"/>
                    <a:gd name="connsiteX199" fmla="*/ 173919 w 350337"/>
                    <a:gd name="connsiteY199" fmla="*/ 116429 h 537079"/>
                    <a:gd name="connsiteX200" fmla="*/ 179570 w 350337"/>
                    <a:gd name="connsiteY200" fmla="*/ 116429 h 537079"/>
                    <a:gd name="connsiteX201" fmla="*/ 185221 w 350337"/>
                    <a:gd name="connsiteY201" fmla="*/ 90082 h 537079"/>
                    <a:gd name="connsiteX202" fmla="*/ 196522 w 350337"/>
                    <a:gd name="connsiteY202" fmla="*/ 92109 h 537079"/>
                    <a:gd name="connsiteX203" fmla="*/ 202172 w 350337"/>
                    <a:gd name="connsiteY203" fmla="*/ 81975 h 537079"/>
                    <a:gd name="connsiteX204" fmla="*/ 196522 w 350337"/>
                    <a:gd name="connsiteY204" fmla="*/ 57654 h 537079"/>
                    <a:gd name="connsiteX205" fmla="*/ 188611 w 350337"/>
                    <a:gd name="connsiteY205" fmla="*/ 52588 h 537079"/>
                    <a:gd name="connsiteX206" fmla="*/ 194261 w 350337"/>
                    <a:gd name="connsiteY206" fmla="*/ 18134 h 537079"/>
                    <a:gd name="connsiteX207" fmla="*/ 192001 w 350337"/>
                    <a:gd name="connsiteY207" fmla="*/ 11040 h 537079"/>
                    <a:gd name="connsiteX208" fmla="*/ 156968 w 350337"/>
                    <a:gd name="connsiteY208" fmla="*/ 16107 h 537079"/>
                    <a:gd name="connsiteX209" fmla="*/ 154707 w 350337"/>
                    <a:gd name="connsiteY209" fmla="*/ 9013 h 537079"/>
                    <a:gd name="connsiteX210" fmla="*/ 143406 w 350337"/>
                    <a:gd name="connsiteY210" fmla="*/ 11040 h 537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350337" h="537079">
                      <a:moveTo>
                        <a:pt x="308404" y="382942"/>
                      </a:moveTo>
                      <a:cubicBezTo>
                        <a:pt x="307273" y="386995"/>
                        <a:pt x="307273" y="383955"/>
                        <a:pt x="302753" y="384969"/>
                      </a:cubicBezTo>
                      <a:cubicBezTo>
                        <a:pt x="305013" y="385982"/>
                        <a:pt x="302753" y="407263"/>
                        <a:pt x="302753" y="407263"/>
                      </a:cubicBezTo>
                      <a:cubicBezTo>
                        <a:pt x="298233" y="410302"/>
                        <a:pt x="291452" y="405236"/>
                        <a:pt x="289192" y="405236"/>
                      </a:cubicBezTo>
                      <a:cubicBezTo>
                        <a:pt x="286931" y="408276"/>
                        <a:pt x="282411" y="407263"/>
                        <a:pt x="281281" y="410302"/>
                      </a:cubicBezTo>
                      <a:cubicBezTo>
                        <a:pt x="279020" y="414356"/>
                        <a:pt x="280151" y="419423"/>
                        <a:pt x="279020" y="422463"/>
                      </a:cubicBezTo>
                      <a:cubicBezTo>
                        <a:pt x="274500" y="421449"/>
                        <a:pt x="265459" y="417396"/>
                        <a:pt x="263199" y="417396"/>
                      </a:cubicBezTo>
                      <a:cubicBezTo>
                        <a:pt x="257548" y="418410"/>
                        <a:pt x="259808" y="425503"/>
                        <a:pt x="257548" y="427530"/>
                      </a:cubicBezTo>
                      <a:cubicBezTo>
                        <a:pt x="255288" y="428543"/>
                        <a:pt x="236076" y="432596"/>
                        <a:pt x="236076" y="432596"/>
                      </a:cubicBezTo>
                      <a:cubicBezTo>
                        <a:pt x="232686" y="431583"/>
                        <a:pt x="238336" y="425503"/>
                        <a:pt x="238336" y="425503"/>
                      </a:cubicBezTo>
                      <a:cubicBezTo>
                        <a:pt x="238336" y="425503"/>
                        <a:pt x="238336" y="418410"/>
                        <a:pt x="238336" y="418410"/>
                      </a:cubicBezTo>
                      <a:cubicBezTo>
                        <a:pt x="237206" y="418410"/>
                        <a:pt x="232686" y="416383"/>
                        <a:pt x="232686" y="416383"/>
                      </a:cubicBezTo>
                      <a:lnTo>
                        <a:pt x="232686" y="418410"/>
                      </a:lnTo>
                      <a:lnTo>
                        <a:pt x="219124" y="418410"/>
                      </a:lnTo>
                      <a:cubicBezTo>
                        <a:pt x="216864" y="421449"/>
                        <a:pt x="212344" y="420436"/>
                        <a:pt x="211213" y="423476"/>
                      </a:cubicBezTo>
                      <a:cubicBezTo>
                        <a:pt x="210083" y="425503"/>
                        <a:pt x="211213" y="431583"/>
                        <a:pt x="211213" y="433610"/>
                      </a:cubicBezTo>
                      <a:cubicBezTo>
                        <a:pt x="203302" y="434623"/>
                        <a:pt x="190871" y="437663"/>
                        <a:pt x="184091" y="438677"/>
                      </a:cubicBezTo>
                      <a:cubicBezTo>
                        <a:pt x="185221" y="448810"/>
                        <a:pt x="188611" y="453877"/>
                        <a:pt x="184091" y="462997"/>
                      </a:cubicBezTo>
                      <a:cubicBezTo>
                        <a:pt x="182960" y="464011"/>
                        <a:pt x="176180" y="470091"/>
                        <a:pt x="176180" y="470091"/>
                      </a:cubicBezTo>
                      <a:cubicBezTo>
                        <a:pt x="175049" y="474144"/>
                        <a:pt x="180700" y="471104"/>
                        <a:pt x="178440" y="477184"/>
                      </a:cubicBezTo>
                      <a:cubicBezTo>
                        <a:pt x="180700" y="477184"/>
                        <a:pt x="187481" y="476171"/>
                        <a:pt x="189741" y="477184"/>
                      </a:cubicBezTo>
                      <a:cubicBezTo>
                        <a:pt x="190871" y="473131"/>
                        <a:pt x="189741" y="470091"/>
                        <a:pt x="192001" y="467051"/>
                      </a:cubicBezTo>
                      <a:cubicBezTo>
                        <a:pt x="195392" y="462997"/>
                        <a:pt x="199912" y="458944"/>
                        <a:pt x="203302" y="454890"/>
                      </a:cubicBezTo>
                      <a:cubicBezTo>
                        <a:pt x="208953" y="458944"/>
                        <a:pt x="205563" y="457930"/>
                        <a:pt x="208953" y="465024"/>
                      </a:cubicBezTo>
                      <a:cubicBezTo>
                        <a:pt x="220254" y="464011"/>
                        <a:pt x="229295" y="466037"/>
                        <a:pt x="236076" y="465024"/>
                      </a:cubicBezTo>
                      <a:cubicBezTo>
                        <a:pt x="237206" y="465024"/>
                        <a:pt x="236076" y="458944"/>
                        <a:pt x="243987" y="459957"/>
                      </a:cubicBezTo>
                      <a:cubicBezTo>
                        <a:pt x="243987" y="459957"/>
                        <a:pt x="254158" y="467051"/>
                        <a:pt x="255288" y="467051"/>
                      </a:cubicBezTo>
                      <a:cubicBezTo>
                        <a:pt x="256418" y="464011"/>
                        <a:pt x="258678" y="473131"/>
                        <a:pt x="257548" y="474144"/>
                      </a:cubicBezTo>
                      <a:lnTo>
                        <a:pt x="251898" y="474144"/>
                      </a:lnTo>
                      <a:cubicBezTo>
                        <a:pt x="248507" y="483264"/>
                        <a:pt x="241727" y="497451"/>
                        <a:pt x="249637" y="508598"/>
                      </a:cubicBezTo>
                      <a:cubicBezTo>
                        <a:pt x="250767" y="510625"/>
                        <a:pt x="260939" y="511638"/>
                        <a:pt x="263199" y="513665"/>
                      </a:cubicBezTo>
                      <a:cubicBezTo>
                        <a:pt x="280151" y="524812"/>
                        <a:pt x="268850" y="523799"/>
                        <a:pt x="295972" y="520759"/>
                      </a:cubicBezTo>
                      <a:cubicBezTo>
                        <a:pt x="292582" y="522785"/>
                        <a:pt x="292582" y="532919"/>
                        <a:pt x="295972" y="534946"/>
                      </a:cubicBezTo>
                      <a:cubicBezTo>
                        <a:pt x="298233" y="532919"/>
                        <a:pt x="305013" y="532919"/>
                        <a:pt x="307273" y="529879"/>
                      </a:cubicBezTo>
                      <a:cubicBezTo>
                        <a:pt x="316314" y="517718"/>
                        <a:pt x="309534" y="505558"/>
                        <a:pt x="305013" y="493398"/>
                      </a:cubicBezTo>
                      <a:cubicBezTo>
                        <a:pt x="305013" y="493398"/>
                        <a:pt x="315184" y="489345"/>
                        <a:pt x="318575" y="503531"/>
                      </a:cubicBezTo>
                      <a:lnTo>
                        <a:pt x="324225" y="505558"/>
                      </a:lnTo>
                      <a:cubicBezTo>
                        <a:pt x="319705" y="491371"/>
                        <a:pt x="320835" y="487318"/>
                        <a:pt x="316314" y="474144"/>
                      </a:cubicBezTo>
                      <a:cubicBezTo>
                        <a:pt x="319705" y="471104"/>
                        <a:pt x="326485" y="468064"/>
                        <a:pt x="329876" y="464011"/>
                      </a:cubicBezTo>
                      <a:cubicBezTo>
                        <a:pt x="333266" y="459957"/>
                        <a:pt x="333266" y="450837"/>
                        <a:pt x="337787" y="449824"/>
                      </a:cubicBezTo>
                      <a:lnTo>
                        <a:pt x="343437" y="449824"/>
                      </a:lnTo>
                      <a:cubicBezTo>
                        <a:pt x="346828" y="439690"/>
                        <a:pt x="340047" y="430570"/>
                        <a:pt x="337787" y="425503"/>
                      </a:cubicBezTo>
                      <a:cubicBezTo>
                        <a:pt x="333266" y="412329"/>
                        <a:pt x="329876" y="401182"/>
                        <a:pt x="326485" y="386995"/>
                      </a:cubicBezTo>
                      <a:cubicBezTo>
                        <a:pt x="319705" y="384969"/>
                        <a:pt x="314054" y="384969"/>
                        <a:pt x="308404" y="382942"/>
                      </a:cubicBezTo>
                      <a:close/>
                      <a:moveTo>
                        <a:pt x="262069" y="351528"/>
                      </a:moveTo>
                      <a:cubicBezTo>
                        <a:pt x="259808" y="354568"/>
                        <a:pt x="255288" y="356595"/>
                        <a:pt x="250767" y="358622"/>
                      </a:cubicBezTo>
                      <a:cubicBezTo>
                        <a:pt x="250767" y="358622"/>
                        <a:pt x="250767" y="365715"/>
                        <a:pt x="250767" y="365715"/>
                      </a:cubicBezTo>
                      <a:cubicBezTo>
                        <a:pt x="263199" y="368755"/>
                        <a:pt x="267719" y="366728"/>
                        <a:pt x="277890" y="367742"/>
                      </a:cubicBezTo>
                      <a:lnTo>
                        <a:pt x="280151" y="360648"/>
                      </a:lnTo>
                      <a:cubicBezTo>
                        <a:pt x="276760" y="358622"/>
                        <a:pt x="274500" y="351528"/>
                        <a:pt x="272240" y="350514"/>
                      </a:cubicBezTo>
                      <a:cubicBezTo>
                        <a:pt x="269980" y="350514"/>
                        <a:pt x="265459" y="352541"/>
                        <a:pt x="262069" y="351528"/>
                      </a:cubicBezTo>
                      <a:close/>
                      <a:moveTo>
                        <a:pt x="205563" y="334301"/>
                      </a:moveTo>
                      <a:cubicBezTo>
                        <a:pt x="202172" y="335314"/>
                        <a:pt x="202172" y="338354"/>
                        <a:pt x="207823" y="339368"/>
                      </a:cubicBezTo>
                      <a:cubicBezTo>
                        <a:pt x="207823" y="337341"/>
                        <a:pt x="210083" y="333288"/>
                        <a:pt x="205563" y="334301"/>
                      </a:cubicBezTo>
                      <a:close/>
                      <a:moveTo>
                        <a:pt x="221385" y="322141"/>
                      </a:moveTo>
                      <a:cubicBezTo>
                        <a:pt x="219124" y="329234"/>
                        <a:pt x="216864" y="334301"/>
                        <a:pt x="215734" y="346461"/>
                      </a:cubicBezTo>
                      <a:cubicBezTo>
                        <a:pt x="199912" y="351528"/>
                        <a:pt x="180700" y="351528"/>
                        <a:pt x="194261" y="370782"/>
                      </a:cubicBezTo>
                      <a:cubicBezTo>
                        <a:pt x="198782" y="377875"/>
                        <a:pt x="204433" y="376862"/>
                        <a:pt x="213474" y="380915"/>
                      </a:cubicBezTo>
                      <a:cubicBezTo>
                        <a:pt x="214603" y="381929"/>
                        <a:pt x="221385" y="386995"/>
                        <a:pt x="224775" y="388009"/>
                      </a:cubicBezTo>
                      <a:cubicBezTo>
                        <a:pt x="224775" y="384969"/>
                        <a:pt x="222514" y="362675"/>
                        <a:pt x="224775" y="353555"/>
                      </a:cubicBezTo>
                      <a:cubicBezTo>
                        <a:pt x="224775" y="351528"/>
                        <a:pt x="237206" y="337341"/>
                        <a:pt x="238336" y="336328"/>
                      </a:cubicBezTo>
                      <a:cubicBezTo>
                        <a:pt x="239466" y="333288"/>
                        <a:pt x="237206" y="331261"/>
                        <a:pt x="238336" y="329234"/>
                      </a:cubicBezTo>
                      <a:cubicBezTo>
                        <a:pt x="234946" y="327207"/>
                        <a:pt x="234946" y="325181"/>
                        <a:pt x="232686" y="322141"/>
                      </a:cubicBezTo>
                      <a:cubicBezTo>
                        <a:pt x="230425" y="322141"/>
                        <a:pt x="223645" y="323154"/>
                        <a:pt x="221385" y="322141"/>
                      </a:cubicBezTo>
                      <a:close/>
                      <a:moveTo>
                        <a:pt x="251898" y="315047"/>
                      </a:moveTo>
                      <a:cubicBezTo>
                        <a:pt x="250767" y="319100"/>
                        <a:pt x="253028" y="323154"/>
                        <a:pt x="251898" y="327207"/>
                      </a:cubicBezTo>
                      <a:cubicBezTo>
                        <a:pt x="249637" y="334301"/>
                        <a:pt x="216864" y="361661"/>
                        <a:pt x="236076" y="370782"/>
                      </a:cubicBezTo>
                      <a:cubicBezTo>
                        <a:pt x="237206" y="367742"/>
                        <a:pt x="239466" y="365715"/>
                        <a:pt x="241727" y="363688"/>
                      </a:cubicBezTo>
                      <a:cubicBezTo>
                        <a:pt x="245117" y="359635"/>
                        <a:pt x="241727" y="355581"/>
                        <a:pt x="243987" y="351528"/>
                      </a:cubicBezTo>
                      <a:cubicBezTo>
                        <a:pt x="243987" y="350514"/>
                        <a:pt x="254158" y="347475"/>
                        <a:pt x="255288" y="346461"/>
                      </a:cubicBezTo>
                      <a:cubicBezTo>
                        <a:pt x="262069" y="341394"/>
                        <a:pt x="258678" y="330247"/>
                        <a:pt x="257548" y="317074"/>
                      </a:cubicBezTo>
                      <a:lnTo>
                        <a:pt x="251898" y="315047"/>
                      </a:lnTo>
                      <a:close/>
                      <a:moveTo>
                        <a:pt x="91421" y="307954"/>
                      </a:moveTo>
                      <a:cubicBezTo>
                        <a:pt x="90290" y="310994"/>
                        <a:pt x="90290" y="320114"/>
                        <a:pt x="89160" y="325181"/>
                      </a:cubicBezTo>
                      <a:cubicBezTo>
                        <a:pt x="89160" y="325181"/>
                        <a:pt x="73338" y="336328"/>
                        <a:pt x="73338" y="337341"/>
                      </a:cubicBezTo>
                      <a:cubicBezTo>
                        <a:pt x="71079" y="342408"/>
                        <a:pt x="76729" y="344434"/>
                        <a:pt x="75599" y="347475"/>
                      </a:cubicBezTo>
                      <a:cubicBezTo>
                        <a:pt x="74469" y="351528"/>
                        <a:pt x="66558" y="352541"/>
                        <a:pt x="64298" y="354568"/>
                      </a:cubicBezTo>
                      <a:cubicBezTo>
                        <a:pt x="58647" y="360648"/>
                        <a:pt x="60907" y="367742"/>
                        <a:pt x="56387" y="373822"/>
                      </a:cubicBezTo>
                      <a:cubicBezTo>
                        <a:pt x="54127" y="375848"/>
                        <a:pt x="46216" y="378889"/>
                        <a:pt x="45085" y="380915"/>
                      </a:cubicBezTo>
                      <a:cubicBezTo>
                        <a:pt x="43956" y="381929"/>
                        <a:pt x="46216" y="386995"/>
                        <a:pt x="45085" y="388009"/>
                      </a:cubicBezTo>
                      <a:cubicBezTo>
                        <a:pt x="41695" y="390035"/>
                        <a:pt x="34915" y="388009"/>
                        <a:pt x="31525" y="390035"/>
                      </a:cubicBezTo>
                      <a:cubicBezTo>
                        <a:pt x="30394" y="391049"/>
                        <a:pt x="30394" y="396116"/>
                        <a:pt x="29264" y="397129"/>
                      </a:cubicBezTo>
                      <a:cubicBezTo>
                        <a:pt x="28134" y="398142"/>
                        <a:pt x="22483" y="397129"/>
                        <a:pt x="21353" y="397129"/>
                      </a:cubicBezTo>
                      <a:cubicBezTo>
                        <a:pt x="17963" y="405236"/>
                        <a:pt x="14573" y="412329"/>
                        <a:pt x="10052" y="421449"/>
                      </a:cubicBezTo>
                      <a:cubicBezTo>
                        <a:pt x="21353" y="412329"/>
                        <a:pt x="50736" y="402196"/>
                        <a:pt x="58647" y="392062"/>
                      </a:cubicBezTo>
                      <a:cubicBezTo>
                        <a:pt x="59778" y="390035"/>
                        <a:pt x="57517" y="386995"/>
                        <a:pt x="58647" y="384969"/>
                      </a:cubicBezTo>
                      <a:cubicBezTo>
                        <a:pt x="59778" y="381929"/>
                        <a:pt x="66558" y="373822"/>
                        <a:pt x="69948" y="370782"/>
                      </a:cubicBezTo>
                      <a:lnTo>
                        <a:pt x="72209" y="370782"/>
                      </a:lnTo>
                      <a:cubicBezTo>
                        <a:pt x="73338" y="368755"/>
                        <a:pt x="71079" y="364701"/>
                        <a:pt x="72209" y="363688"/>
                      </a:cubicBezTo>
                      <a:cubicBezTo>
                        <a:pt x="75599" y="360648"/>
                        <a:pt x="84640" y="359635"/>
                        <a:pt x="88031" y="356595"/>
                      </a:cubicBezTo>
                      <a:cubicBezTo>
                        <a:pt x="90290" y="354568"/>
                        <a:pt x="89160" y="348488"/>
                        <a:pt x="90290" y="346461"/>
                      </a:cubicBezTo>
                      <a:cubicBezTo>
                        <a:pt x="91421" y="345448"/>
                        <a:pt x="98201" y="346461"/>
                        <a:pt x="98201" y="344434"/>
                      </a:cubicBezTo>
                      <a:cubicBezTo>
                        <a:pt x="98201" y="342408"/>
                        <a:pt x="98201" y="317074"/>
                        <a:pt x="98201" y="315047"/>
                      </a:cubicBezTo>
                      <a:cubicBezTo>
                        <a:pt x="98201" y="315047"/>
                        <a:pt x="95941" y="309980"/>
                        <a:pt x="95941" y="307954"/>
                      </a:cubicBezTo>
                      <a:lnTo>
                        <a:pt x="91421" y="307954"/>
                      </a:lnTo>
                      <a:close/>
                      <a:moveTo>
                        <a:pt x="275630" y="305927"/>
                      </a:moveTo>
                      <a:cubicBezTo>
                        <a:pt x="276760" y="306940"/>
                        <a:pt x="273370" y="315047"/>
                        <a:pt x="275630" y="316060"/>
                      </a:cubicBezTo>
                      <a:cubicBezTo>
                        <a:pt x="277890" y="317074"/>
                        <a:pt x="284671" y="316060"/>
                        <a:pt x="286931" y="316060"/>
                      </a:cubicBezTo>
                      <a:lnTo>
                        <a:pt x="286931" y="321127"/>
                      </a:lnTo>
                      <a:cubicBezTo>
                        <a:pt x="288061" y="317074"/>
                        <a:pt x="289192" y="323154"/>
                        <a:pt x="289192" y="323154"/>
                      </a:cubicBezTo>
                      <a:cubicBezTo>
                        <a:pt x="280151" y="325181"/>
                        <a:pt x="285801" y="331261"/>
                        <a:pt x="286931" y="335314"/>
                      </a:cubicBezTo>
                      <a:lnTo>
                        <a:pt x="286931" y="340381"/>
                      </a:lnTo>
                      <a:cubicBezTo>
                        <a:pt x="289192" y="341394"/>
                        <a:pt x="293712" y="343421"/>
                        <a:pt x="294842" y="345448"/>
                      </a:cubicBezTo>
                      <a:cubicBezTo>
                        <a:pt x="297103" y="348488"/>
                        <a:pt x="294842" y="350514"/>
                        <a:pt x="297103" y="352541"/>
                      </a:cubicBezTo>
                      <a:cubicBezTo>
                        <a:pt x="299362" y="353555"/>
                        <a:pt x="306143" y="354568"/>
                        <a:pt x="308404" y="354568"/>
                      </a:cubicBezTo>
                      <a:cubicBezTo>
                        <a:pt x="307273" y="349501"/>
                        <a:pt x="302753" y="348488"/>
                        <a:pt x="302753" y="347475"/>
                      </a:cubicBezTo>
                      <a:cubicBezTo>
                        <a:pt x="301623" y="341394"/>
                        <a:pt x="307273" y="343421"/>
                        <a:pt x="305013" y="335314"/>
                      </a:cubicBezTo>
                      <a:cubicBezTo>
                        <a:pt x="303883" y="333288"/>
                        <a:pt x="297103" y="328221"/>
                        <a:pt x="297103" y="325181"/>
                      </a:cubicBezTo>
                      <a:cubicBezTo>
                        <a:pt x="295972" y="319100"/>
                        <a:pt x="300493" y="319100"/>
                        <a:pt x="302753" y="315047"/>
                      </a:cubicBezTo>
                      <a:cubicBezTo>
                        <a:pt x="300493" y="314034"/>
                        <a:pt x="299362" y="308967"/>
                        <a:pt x="297103" y="307954"/>
                      </a:cubicBezTo>
                      <a:cubicBezTo>
                        <a:pt x="290322" y="303900"/>
                        <a:pt x="283541" y="305927"/>
                        <a:pt x="275630" y="305927"/>
                      </a:cubicBezTo>
                      <a:close/>
                      <a:moveTo>
                        <a:pt x="184091" y="295793"/>
                      </a:moveTo>
                      <a:cubicBezTo>
                        <a:pt x="181830" y="315047"/>
                        <a:pt x="180700" y="324167"/>
                        <a:pt x="176180" y="342408"/>
                      </a:cubicBezTo>
                      <a:cubicBezTo>
                        <a:pt x="182960" y="339368"/>
                        <a:pt x="194261" y="331261"/>
                        <a:pt x="201042" y="330247"/>
                      </a:cubicBezTo>
                      <a:cubicBezTo>
                        <a:pt x="202172" y="330247"/>
                        <a:pt x="207823" y="331261"/>
                        <a:pt x="208953" y="330247"/>
                      </a:cubicBezTo>
                      <a:cubicBezTo>
                        <a:pt x="211213" y="329234"/>
                        <a:pt x="210083" y="322141"/>
                        <a:pt x="211213" y="320114"/>
                      </a:cubicBezTo>
                      <a:cubicBezTo>
                        <a:pt x="211213" y="320114"/>
                        <a:pt x="216864" y="318087"/>
                        <a:pt x="216864" y="318087"/>
                      </a:cubicBezTo>
                      <a:cubicBezTo>
                        <a:pt x="217994" y="313020"/>
                        <a:pt x="215734" y="307954"/>
                        <a:pt x="216864" y="303900"/>
                      </a:cubicBezTo>
                      <a:cubicBezTo>
                        <a:pt x="202172" y="298833"/>
                        <a:pt x="197652" y="298833"/>
                        <a:pt x="184091" y="295793"/>
                      </a:cubicBezTo>
                      <a:close/>
                      <a:moveTo>
                        <a:pt x="227035" y="271473"/>
                      </a:moveTo>
                      <a:lnTo>
                        <a:pt x="227035" y="276540"/>
                      </a:lnTo>
                      <a:cubicBezTo>
                        <a:pt x="222514" y="273499"/>
                        <a:pt x="224775" y="284646"/>
                        <a:pt x="224775" y="286673"/>
                      </a:cubicBezTo>
                      <a:cubicBezTo>
                        <a:pt x="232686" y="287687"/>
                        <a:pt x="243987" y="291740"/>
                        <a:pt x="249637" y="291740"/>
                      </a:cubicBezTo>
                      <a:cubicBezTo>
                        <a:pt x="279020" y="290727"/>
                        <a:pt x="229295" y="272486"/>
                        <a:pt x="227035" y="271473"/>
                      </a:cubicBezTo>
                      <a:close/>
                      <a:moveTo>
                        <a:pt x="104982" y="271473"/>
                      </a:moveTo>
                      <a:lnTo>
                        <a:pt x="104982" y="281606"/>
                      </a:lnTo>
                      <a:cubicBezTo>
                        <a:pt x="107242" y="281606"/>
                        <a:pt x="126454" y="286673"/>
                        <a:pt x="116284" y="279580"/>
                      </a:cubicBezTo>
                      <a:cubicBezTo>
                        <a:pt x="112893" y="276540"/>
                        <a:pt x="108373" y="273499"/>
                        <a:pt x="104982" y="271473"/>
                      </a:cubicBezTo>
                      <a:close/>
                      <a:moveTo>
                        <a:pt x="178440" y="259312"/>
                      </a:moveTo>
                      <a:cubicBezTo>
                        <a:pt x="179570" y="259312"/>
                        <a:pt x="181830" y="268433"/>
                        <a:pt x="184091" y="269446"/>
                      </a:cubicBezTo>
                      <a:cubicBezTo>
                        <a:pt x="193132" y="271473"/>
                        <a:pt x="186350" y="264379"/>
                        <a:pt x="189741" y="262353"/>
                      </a:cubicBezTo>
                      <a:cubicBezTo>
                        <a:pt x="185221" y="260326"/>
                        <a:pt x="181830" y="261339"/>
                        <a:pt x="178440" y="259312"/>
                      </a:cubicBezTo>
                      <a:close/>
                      <a:moveTo>
                        <a:pt x="279020" y="252219"/>
                      </a:moveTo>
                      <a:cubicBezTo>
                        <a:pt x="276760" y="255259"/>
                        <a:pt x="271109" y="259312"/>
                        <a:pt x="267719" y="262353"/>
                      </a:cubicBezTo>
                      <a:cubicBezTo>
                        <a:pt x="268850" y="265393"/>
                        <a:pt x="266589" y="266406"/>
                        <a:pt x="267719" y="269446"/>
                      </a:cubicBezTo>
                      <a:cubicBezTo>
                        <a:pt x="269980" y="275526"/>
                        <a:pt x="283541" y="282620"/>
                        <a:pt x="286931" y="288700"/>
                      </a:cubicBezTo>
                      <a:cubicBezTo>
                        <a:pt x="289192" y="293766"/>
                        <a:pt x="285801" y="296807"/>
                        <a:pt x="289192" y="300860"/>
                      </a:cubicBezTo>
                      <a:cubicBezTo>
                        <a:pt x="292582" y="303900"/>
                        <a:pt x="307273" y="305927"/>
                        <a:pt x="305013" y="305927"/>
                      </a:cubicBezTo>
                      <a:lnTo>
                        <a:pt x="307273" y="305927"/>
                      </a:lnTo>
                      <a:cubicBezTo>
                        <a:pt x="309534" y="306940"/>
                        <a:pt x="311794" y="312007"/>
                        <a:pt x="315184" y="313020"/>
                      </a:cubicBezTo>
                      <a:cubicBezTo>
                        <a:pt x="311794" y="306940"/>
                        <a:pt x="303883" y="297820"/>
                        <a:pt x="301623" y="293766"/>
                      </a:cubicBezTo>
                      <a:cubicBezTo>
                        <a:pt x="300493" y="292753"/>
                        <a:pt x="295972" y="288700"/>
                        <a:pt x="295972" y="288700"/>
                      </a:cubicBezTo>
                      <a:cubicBezTo>
                        <a:pt x="294842" y="283633"/>
                        <a:pt x="302753" y="267419"/>
                        <a:pt x="301623" y="262353"/>
                      </a:cubicBezTo>
                      <a:lnTo>
                        <a:pt x="295972" y="262353"/>
                      </a:lnTo>
                      <a:cubicBezTo>
                        <a:pt x="294842" y="256272"/>
                        <a:pt x="294842" y="256272"/>
                        <a:pt x="293712" y="252219"/>
                      </a:cubicBezTo>
                      <a:cubicBezTo>
                        <a:pt x="290322" y="252219"/>
                        <a:pt x="283541" y="253232"/>
                        <a:pt x="279020" y="252219"/>
                      </a:cubicBezTo>
                      <a:close/>
                      <a:moveTo>
                        <a:pt x="132105" y="217765"/>
                      </a:moveTo>
                      <a:cubicBezTo>
                        <a:pt x="132105" y="217765"/>
                        <a:pt x="126454" y="219792"/>
                        <a:pt x="126454" y="219792"/>
                      </a:cubicBezTo>
                      <a:cubicBezTo>
                        <a:pt x="109502" y="222831"/>
                        <a:pt x="132105" y="224858"/>
                        <a:pt x="134365" y="226885"/>
                      </a:cubicBezTo>
                      <a:cubicBezTo>
                        <a:pt x="138886" y="230939"/>
                        <a:pt x="140016" y="246139"/>
                        <a:pt x="145666" y="249179"/>
                      </a:cubicBezTo>
                      <a:cubicBezTo>
                        <a:pt x="149057" y="251206"/>
                        <a:pt x="156968" y="250192"/>
                        <a:pt x="159228" y="251206"/>
                      </a:cubicBezTo>
                      <a:cubicBezTo>
                        <a:pt x="156968" y="262353"/>
                        <a:pt x="151317" y="261339"/>
                        <a:pt x="161488" y="268433"/>
                      </a:cubicBezTo>
                      <a:cubicBezTo>
                        <a:pt x="178440" y="258299"/>
                        <a:pt x="158097" y="215738"/>
                        <a:pt x="132105" y="217765"/>
                      </a:cubicBezTo>
                      <a:close/>
                      <a:moveTo>
                        <a:pt x="262069" y="203578"/>
                      </a:moveTo>
                      <a:cubicBezTo>
                        <a:pt x="262069" y="203578"/>
                        <a:pt x="262069" y="212698"/>
                        <a:pt x="262069" y="213711"/>
                      </a:cubicBezTo>
                      <a:cubicBezTo>
                        <a:pt x="274500" y="216752"/>
                        <a:pt x="268850" y="205605"/>
                        <a:pt x="262069" y="203578"/>
                      </a:cubicBezTo>
                      <a:close/>
                      <a:moveTo>
                        <a:pt x="143406" y="11040"/>
                      </a:moveTo>
                      <a:cubicBezTo>
                        <a:pt x="143406" y="12053"/>
                        <a:pt x="136626" y="27254"/>
                        <a:pt x="135495" y="28267"/>
                      </a:cubicBezTo>
                      <a:cubicBezTo>
                        <a:pt x="135495" y="28267"/>
                        <a:pt x="138886" y="35360"/>
                        <a:pt x="137755" y="38401"/>
                      </a:cubicBezTo>
                      <a:cubicBezTo>
                        <a:pt x="136626" y="42454"/>
                        <a:pt x="127585" y="53601"/>
                        <a:pt x="126454" y="57654"/>
                      </a:cubicBezTo>
                      <a:cubicBezTo>
                        <a:pt x="124194" y="70828"/>
                        <a:pt x="135495" y="74882"/>
                        <a:pt x="132105" y="89069"/>
                      </a:cubicBezTo>
                      <a:cubicBezTo>
                        <a:pt x="132105" y="89069"/>
                        <a:pt x="127585" y="91095"/>
                        <a:pt x="126454" y="91095"/>
                      </a:cubicBezTo>
                      <a:cubicBezTo>
                        <a:pt x="120804" y="96162"/>
                        <a:pt x="123064" y="105282"/>
                        <a:pt x="126454" y="115416"/>
                      </a:cubicBezTo>
                      <a:cubicBezTo>
                        <a:pt x="124194" y="115416"/>
                        <a:pt x="120804" y="118456"/>
                        <a:pt x="115153" y="117442"/>
                      </a:cubicBezTo>
                      <a:cubicBezTo>
                        <a:pt x="112893" y="117442"/>
                        <a:pt x="107242" y="110349"/>
                        <a:pt x="107242" y="110349"/>
                      </a:cubicBezTo>
                      <a:cubicBezTo>
                        <a:pt x="100462" y="109336"/>
                        <a:pt x="107242" y="115416"/>
                        <a:pt x="101591" y="112376"/>
                      </a:cubicBezTo>
                      <a:cubicBezTo>
                        <a:pt x="103852" y="117442"/>
                        <a:pt x="101591" y="121496"/>
                        <a:pt x="103852" y="126563"/>
                      </a:cubicBezTo>
                      <a:cubicBezTo>
                        <a:pt x="103852" y="127576"/>
                        <a:pt x="111763" y="131629"/>
                        <a:pt x="111763" y="133656"/>
                      </a:cubicBezTo>
                      <a:cubicBezTo>
                        <a:pt x="112893" y="139736"/>
                        <a:pt x="109502" y="146830"/>
                        <a:pt x="111763" y="152910"/>
                      </a:cubicBezTo>
                      <a:cubicBezTo>
                        <a:pt x="112893" y="155950"/>
                        <a:pt x="125324" y="169124"/>
                        <a:pt x="127585" y="172164"/>
                      </a:cubicBezTo>
                      <a:cubicBezTo>
                        <a:pt x="132105" y="168110"/>
                        <a:pt x="129844" y="169124"/>
                        <a:pt x="133235" y="162030"/>
                      </a:cubicBezTo>
                      <a:cubicBezTo>
                        <a:pt x="135495" y="162030"/>
                        <a:pt x="140016" y="163043"/>
                        <a:pt x="141146" y="162030"/>
                      </a:cubicBezTo>
                      <a:cubicBezTo>
                        <a:pt x="130975" y="196484"/>
                        <a:pt x="135495" y="190404"/>
                        <a:pt x="152447" y="215738"/>
                      </a:cubicBezTo>
                      <a:cubicBezTo>
                        <a:pt x="154707" y="214725"/>
                        <a:pt x="160358" y="214725"/>
                        <a:pt x="163748" y="213711"/>
                      </a:cubicBezTo>
                      <a:cubicBezTo>
                        <a:pt x="169399" y="210671"/>
                        <a:pt x="167139" y="200538"/>
                        <a:pt x="182960" y="203578"/>
                      </a:cubicBezTo>
                      <a:lnTo>
                        <a:pt x="188611" y="208645"/>
                      </a:lnTo>
                      <a:cubicBezTo>
                        <a:pt x="189741" y="208645"/>
                        <a:pt x="195392" y="207631"/>
                        <a:pt x="196522" y="208645"/>
                      </a:cubicBezTo>
                      <a:cubicBezTo>
                        <a:pt x="199912" y="211685"/>
                        <a:pt x="199912" y="218778"/>
                        <a:pt x="202172" y="222831"/>
                      </a:cubicBezTo>
                      <a:cubicBezTo>
                        <a:pt x="225905" y="219792"/>
                        <a:pt x="188611" y="208645"/>
                        <a:pt x="213474" y="203578"/>
                      </a:cubicBezTo>
                      <a:cubicBezTo>
                        <a:pt x="214603" y="208645"/>
                        <a:pt x="213474" y="208645"/>
                        <a:pt x="215734" y="210671"/>
                      </a:cubicBezTo>
                      <a:cubicBezTo>
                        <a:pt x="219124" y="213711"/>
                        <a:pt x="221385" y="216752"/>
                        <a:pt x="223645" y="220805"/>
                      </a:cubicBezTo>
                      <a:cubicBezTo>
                        <a:pt x="225905" y="224858"/>
                        <a:pt x="228165" y="231952"/>
                        <a:pt x="231555" y="234992"/>
                      </a:cubicBezTo>
                      <a:cubicBezTo>
                        <a:pt x="232686" y="236005"/>
                        <a:pt x="238336" y="233978"/>
                        <a:pt x="239466" y="234992"/>
                      </a:cubicBezTo>
                      <a:cubicBezTo>
                        <a:pt x="242856" y="236005"/>
                        <a:pt x="242856" y="246139"/>
                        <a:pt x="247377" y="247152"/>
                      </a:cubicBezTo>
                      <a:lnTo>
                        <a:pt x="253028" y="247152"/>
                      </a:lnTo>
                      <a:cubicBezTo>
                        <a:pt x="257548" y="216752"/>
                        <a:pt x="247377" y="228912"/>
                        <a:pt x="241727" y="210671"/>
                      </a:cubicBezTo>
                      <a:cubicBezTo>
                        <a:pt x="240597" y="204591"/>
                        <a:pt x="247377" y="204591"/>
                        <a:pt x="243987" y="196484"/>
                      </a:cubicBezTo>
                      <a:cubicBezTo>
                        <a:pt x="243987" y="195471"/>
                        <a:pt x="237206" y="191418"/>
                        <a:pt x="236076" y="189391"/>
                      </a:cubicBezTo>
                      <a:cubicBezTo>
                        <a:pt x="234946" y="190404"/>
                        <a:pt x="224775" y="196484"/>
                        <a:pt x="224775" y="196484"/>
                      </a:cubicBezTo>
                      <a:lnTo>
                        <a:pt x="216864" y="191418"/>
                      </a:lnTo>
                      <a:cubicBezTo>
                        <a:pt x="216864" y="190404"/>
                        <a:pt x="219124" y="186351"/>
                        <a:pt x="219124" y="184324"/>
                      </a:cubicBezTo>
                      <a:cubicBezTo>
                        <a:pt x="214603" y="184324"/>
                        <a:pt x="215734" y="179257"/>
                        <a:pt x="211213" y="179257"/>
                      </a:cubicBezTo>
                      <a:cubicBezTo>
                        <a:pt x="211213" y="179257"/>
                        <a:pt x="208953" y="184324"/>
                        <a:pt x="208953" y="184324"/>
                      </a:cubicBezTo>
                      <a:cubicBezTo>
                        <a:pt x="204433" y="186351"/>
                        <a:pt x="197652" y="183311"/>
                        <a:pt x="193132" y="184324"/>
                      </a:cubicBezTo>
                      <a:cubicBezTo>
                        <a:pt x="192001" y="184324"/>
                        <a:pt x="182960" y="190404"/>
                        <a:pt x="179570" y="191418"/>
                      </a:cubicBezTo>
                      <a:cubicBezTo>
                        <a:pt x="177310" y="189391"/>
                        <a:pt x="171659" y="187364"/>
                        <a:pt x="168269" y="186351"/>
                      </a:cubicBezTo>
                      <a:cubicBezTo>
                        <a:pt x="167139" y="182297"/>
                        <a:pt x="168269" y="173177"/>
                        <a:pt x="166008" y="167097"/>
                      </a:cubicBezTo>
                      <a:lnTo>
                        <a:pt x="160358" y="165070"/>
                      </a:lnTo>
                      <a:cubicBezTo>
                        <a:pt x="159228" y="160004"/>
                        <a:pt x="162618" y="142776"/>
                        <a:pt x="162618" y="142776"/>
                      </a:cubicBezTo>
                      <a:cubicBezTo>
                        <a:pt x="163748" y="128589"/>
                        <a:pt x="160358" y="119469"/>
                        <a:pt x="173919" y="116429"/>
                      </a:cubicBezTo>
                      <a:lnTo>
                        <a:pt x="179570" y="116429"/>
                      </a:lnTo>
                      <a:cubicBezTo>
                        <a:pt x="186350" y="109336"/>
                        <a:pt x="184091" y="97175"/>
                        <a:pt x="185221" y="90082"/>
                      </a:cubicBezTo>
                      <a:cubicBezTo>
                        <a:pt x="188611" y="91095"/>
                        <a:pt x="193132" y="94135"/>
                        <a:pt x="196522" y="92109"/>
                      </a:cubicBezTo>
                      <a:cubicBezTo>
                        <a:pt x="197652" y="91095"/>
                        <a:pt x="199912" y="84002"/>
                        <a:pt x="202172" y="81975"/>
                      </a:cubicBezTo>
                      <a:cubicBezTo>
                        <a:pt x="198782" y="71841"/>
                        <a:pt x="201042" y="67788"/>
                        <a:pt x="196522" y="57654"/>
                      </a:cubicBezTo>
                      <a:cubicBezTo>
                        <a:pt x="196522" y="56641"/>
                        <a:pt x="188611" y="53601"/>
                        <a:pt x="188611" y="52588"/>
                      </a:cubicBezTo>
                      <a:cubicBezTo>
                        <a:pt x="184091" y="41441"/>
                        <a:pt x="186350" y="25227"/>
                        <a:pt x="194261" y="18134"/>
                      </a:cubicBezTo>
                      <a:cubicBezTo>
                        <a:pt x="195392" y="17120"/>
                        <a:pt x="190871" y="14080"/>
                        <a:pt x="192001" y="11040"/>
                      </a:cubicBezTo>
                      <a:cubicBezTo>
                        <a:pt x="185221" y="15093"/>
                        <a:pt x="166008" y="29281"/>
                        <a:pt x="156968" y="16107"/>
                      </a:cubicBezTo>
                      <a:cubicBezTo>
                        <a:pt x="154707" y="13067"/>
                        <a:pt x="156968" y="10027"/>
                        <a:pt x="154707" y="9013"/>
                      </a:cubicBezTo>
                      <a:cubicBezTo>
                        <a:pt x="151317" y="10027"/>
                        <a:pt x="145666" y="12053"/>
                        <a:pt x="143406" y="1104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0" name="Freeform: Shape 309">
                  <a:extLst>
                    <a:ext uri="{FF2B5EF4-FFF2-40B4-BE49-F238E27FC236}">
                      <a16:creationId xmlns:a16="http://schemas.microsoft.com/office/drawing/2014/main" id="{E08EBF44-2EC5-4F3C-BFF0-94C42DC7BBE6}"/>
                    </a:ext>
                  </a:extLst>
                </p:cNvPr>
                <p:cNvSpPr/>
                <p:nvPr/>
              </p:nvSpPr>
              <p:spPr>
                <a:xfrm>
                  <a:off x="3011489" y="4274837"/>
                  <a:ext cx="440747" cy="719483"/>
                </a:xfrm>
                <a:custGeom>
                  <a:avLst/>
                  <a:gdLst>
                    <a:gd name="connsiteX0" fmla="*/ 434977 w 440746"/>
                    <a:gd name="connsiteY0" fmla="*/ 618041 h 719483"/>
                    <a:gd name="connsiteX1" fmla="*/ 430457 w 440746"/>
                    <a:gd name="connsiteY1" fmla="*/ 603854 h 719483"/>
                    <a:gd name="connsiteX2" fmla="*/ 433847 w 440746"/>
                    <a:gd name="connsiteY2" fmla="*/ 590680 h 719483"/>
                    <a:gd name="connsiteX3" fmla="*/ 423676 w 440746"/>
                    <a:gd name="connsiteY3" fmla="*/ 571426 h 719483"/>
                    <a:gd name="connsiteX4" fmla="*/ 427066 w 440746"/>
                    <a:gd name="connsiteY4" fmla="*/ 545079 h 719483"/>
                    <a:gd name="connsiteX5" fmla="*/ 437237 w 440746"/>
                    <a:gd name="connsiteY5" fmla="*/ 520759 h 719483"/>
                    <a:gd name="connsiteX6" fmla="*/ 414635 w 440746"/>
                    <a:gd name="connsiteY6" fmla="*/ 480224 h 719483"/>
                    <a:gd name="connsiteX7" fmla="*/ 373951 w 440746"/>
                    <a:gd name="connsiteY7" fmla="*/ 470091 h 719483"/>
                    <a:gd name="connsiteX8" fmla="*/ 380731 w 440746"/>
                    <a:gd name="connsiteY8" fmla="*/ 374835 h 719483"/>
                    <a:gd name="connsiteX9" fmla="*/ 375081 w 440746"/>
                    <a:gd name="connsiteY9" fmla="*/ 366728 h 719483"/>
                    <a:gd name="connsiteX10" fmla="*/ 347958 w 440746"/>
                    <a:gd name="connsiteY10" fmla="*/ 381929 h 719483"/>
                    <a:gd name="connsiteX11" fmla="*/ 315184 w 440746"/>
                    <a:gd name="connsiteY11" fmla="*/ 381929 h 719483"/>
                    <a:gd name="connsiteX12" fmla="*/ 308404 w 440746"/>
                    <a:gd name="connsiteY12" fmla="*/ 367742 h 719483"/>
                    <a:gd name="connsiteX13" fmla="*/ 284671 w 440746"/>
                    <a:gd name="connsiteY13" fmla="*/ 346461 h 719483"/>
                    <a:gd name="connsiteX14" fmla="*/ 263199 w 440746"/>
                    <a:gd name="connsiteY14" fmla="*/ 331261 h 719483"/>
                    <a:gd name="connsiteX15" fmla="*/ 268850 w 440746"/>
                    <a:gd name="connsiteY15" fmla="*/ 316060 h 719483"/>
                    <a:gd name="connsiteX16" fmla="*/ 263199 w 440746"/>
                    <a:gd name="connsiteY16" fmla="*/ 299847 h 719483"/>
                    <a:gd name="connsiteX17" fmla="*/ 256418 w 440746"/>
                    <a:gd name="connsiteY17" fmla="*/ 276540 h 719483"/>
                    <a:gd name="connsiteX18" fmla="*/ 272240 w 440746"/>
                    <a:gd name="connsiteY18" fmla="*/ 276540 h 719483"/>
                    <a:gd name="connsiteX19" fmla="*/ 272240 w 440746"/>
                    <a:gd name="connsiteY19" fmla="*/ 260326 h 719483"/>
                    <a:gd name="connsiteX20" fmla="*/ 283541 w 440746"/>
                    <a:gd name="connsiteY20" fmla="*/ 239046 h 719483"/>
                    <a:gd name="connsiteX21" fmla="*/ 292582 w 440746"/>
                    <a:gd name="connsiteY21" fmla="*/ 210671 h 719483"/>
                    <a:gd name="connsiteX22" fmla="*/ 321965 w 440746"/>
                    <a:gd name="connsiteY22" fmla="*/ 190404 h 719483"/>
                    <a:gd name="connsiteX23" fmla="*/ 353609 w 440746"/>
                    <a:gd name="connsiteY23" fmla="*/ 179257 h 719483"/>
                    <a:gd name="connsiteX24" fmla="*/ 381862 w 440746"/>
                    <a:gd name="connsiteY24" fmla="*/ 176217 h 719483"/>
                    <a:gd name="connsiteX25" fmla="*/ 393163 w 440746"/>
                    <a:gd name="connsiteY25" fmla="*/ 165070 h 719483"/>
                    <a:gd name="connsiteX26" fmla="*/ 381862 w 440746"/>
                    <a:gd name="connsiteY26" fmla="*/ 158990 h 719483"/>
                    <a:gd name="connsiteX27" fmla="*/ 364910 w 440746"/>
                    <a:gd name="connsiteY27" fmla="*/ 158990 h 719483"/>
                    <a:gd name="connsiteX28" fmla="*/ 399943 w 440746"/>
                    <a:gd name="connsiteY28" fmla="*/ 98189 h 719483"/>
                    <a:gd name="connsiteX29" fmla="*/ 382991 w 440746"/>
                    <a:gd name="connsiteY29" fmla="*/ 88055 h 719483"/>
                    <a:gd name="connsiteX30" fmla="*/ 355869 w 440746"/>
                    <a:gd name="connsiteY30" fmla="*/ 79948 h 719483"/>
                    <a:gd name="connsiteX31" fmla="*/ 329876 w 440746"/>
                    <a:gd name="connsiteY31" fmla="*/ 75895 h 719483"/>
                    <a:gd name="connsiteX32" fmla="*/ 326485 w 440746"/>
                    <a:gd name="connsiteY32" fmla="*/ 86029 h 719483"/>
                    <a:gd name="connsiteX33" fmla="*/ 306143 w 440746"/>
                    <a:gd name="connsiteY33" fmla="*/ 80962 h 719483"/>
                    <a:gd name="connsiteX34" fmla="*/ 294842 w 440746"/>
                    <a:gd name="connsiteY34" fmla="*/ 69815 h 719483"/>
                    <a:gd name="connsiteX35" fmla="*/ 293712 w 440746"/>
                    <a:gd name="connsiteY35" fmla="*/ 58668 h 719483"/>
                    <a:gd name="connsiteX36" fmla="*/ 273370 w 440746"/>
                    <a:gd name="connsiteY36" fmla="*/ 57654 h 719483"/>
                    <a:gd name="connsiteX37" fmla="*/ 256418 w 440746"/>
                    <a:gd name="connsiteY37" fmla="*/ 43468 h 719483"/>
                    <a:gd name="connsiteX38" fmla="*/ 240597 w 440746"/>
                    <a:gd name="connsiteY38" fmla="*/ 25227 h 719483"/>
                    <a:gd name="connsiteX39" fmla="*/ 233816 w 440746"/>
                    <a:gd name="connsiteY39" fmla="*/ 9013 h 719483"/>
                    <a:gd name="connsiteX40" fmla="*/ 211213 w 440746"/>
                    <a:gd name="connsiteY40" fmla="*/ 9013 h 719483"/>
                    <a:gd name="connsiteX41" fmla="*/ 198782 w 440746"/>
                    <a:gd name="connsiteY41" fmla="*/ 18134 h 719483"/>
                    <a:gd name="connsiteX42" fmla="*/ 210083 w 440746"/>
                    <a:gd name="connsiteY42" fmla="*/ 24214 h 719483"/>
                    <a:gd name="connsiteX43" fmla="*/ 214604 w 440746"/>
                    <a:gd name="connsiteY43" fmla="*/ 44481 h 719483"/>
                    <a:gd name="connsiteX44" fmla="*/ 215734 w 440746"/>
                    <a:gd name="connsiteY44" fmla="*/ 67788 h 719483"/>
                    <a:gd name="connsiteX45" fmla="*/ 208953 w 440746"/>
                    <a:gd name="connsiteY45" fmla="*/ 67788 h 719483"/>
                    <a:gd name="connsiteX46" fmla="*/ 182961 w 440746"/>
                    <a:gd name="connsiteY46" fmla="*/ 107309 h 719483"/>
                    <a:gd name="connsiteX47" fmla="*/ 137756 w 440746"/>
                    <a:gd name="connsiteY47" fmla="*/ 133656 h 719483"/>
                    <a:gd name="connsiteX48" fmla="*/ 124194 w 440746"/>
                    <a:gd name="connsiteY48" fmla="*/ 151897 h 719483"/>
                    <a:gd name="connsiteX49" fmla="*/ 101592 w 440746"/>
                    <a:gd name="connsiteY49" fmla="*/ 187364 h 719483"/>
                    <a:gd name="connsiteX50" fmla="*/ 81250 w 440746"/>
                    <a:gd name="connsiteY50" fmla="*/ 203578 h 719483"/>
                    <a:gd name="connsiteX51" fmla="*/ 71079 w 440746"/>
                    <a:gd name="connsiteY51" fmla="*/ 197498 h 719483"/>
                    <a:gd name="connsiteX52" fmla="*/ 60907 w 440746"/>
                    <a:gd name="connsiteY52" fmla="*/ 178244 h 719483"/>
                    <a:gd name="connsiteX53" fmla="*/ 46216 w 440746"/>
                    <a:gd name="connsiteY53" fmla="*/ 187364 h 719483"/>
                    <a:gd name="connsiteX54" fmla="*/ 30394 w 440746"/>
                    <a:gd name="connsiteY54" fmla="*/ 177231 h 719483"/>
                    <a:gd name="connsiteX55" fmla="*/ 46216 w 440746"/>
                    <a:gd name="connsiteY55" fmla="*/ 167097 h 719483"/>
                    <a:gd name="connsiteX56" fmla="*/ 41696 w 440746"/>
                    <a:gd name="connsiteY56" fmla="*/ 161017 h 719483"/>
                    <a:gd name="connsiteX57" fmla="*/ 37175 w 440746"/>
                    <a:gd name="connsiteY57" fmla="*/ 148857 h 719483"/>
                    <a:gd name="connsiteX58" fmla="*/ 12312 w 440746"/>
                    <a:gd name="connsiteY58" fmla="*/ 178244 h 719483"/>
                    <a:gd name="connsiteX59" fmla="*/ 10052 w 440746"/>
                    <a:gd name="connsiteY59" fmla="*/ 188378 h 719483"/>
                    <a:gd name="connsiteX60" fmla="*/ 15703 w 440746"/>
                    <a:gd name="connsiteY60" fmla="*/ 198511 h 719483"/>
                    <a:gd name="connsiteX61" fmla="*/ 21353 w 440746"/>
                    <a:gd name="connsiteY61" fmla="*/ 200538 h 719483"/>
                    <a:gd name="connsiteX62" fmla="*/ 21353 w 440746"/>
                    <a:gd name="connsiteY62" fmla="*/ 202565 h 719483"/>
                    <a:gd name="connsiteX63" fmla="*/ 19093 w 440746"/>
                    <a:gd name="connsiteY63" fmla="*/ 212698 h 719483"/>
                    <a:gd name="connsiteX64" fmla="*/ 27004 w 440746"/>
                    <a:gd name="connsiteY64" fmla="*/ 222832 h 719483"/>
                    <a:gd name="connsiteX65" fmla="*/ 21353 w 440746"/>
                    <a:gd name="connsiteY65" fmla="*/ 245125 h 719483"/>
                    <a:gd name="connsiteX66" fmla="*/ 62038 w 440746"/>
                    <a:gd name="connsiteY66" fmla="*/ 276540 h 719483"/>
                    <a:gd name="connsiteX67" fmla="*/ 69949 w 440746"/>
                    <a:gd name="connsiteY67" fmla="*/ 281606 h 719483"/>
                    <a:gd name="connsiteX68" fmla="*/ 69949 w 440746"/>
                    <a:gd name="connsiteY68" fmla="*/ 288700 h 719483"/>
                    <a:gd name="connsiteX69" fmla="*/ 89160 w 440746"/>
                    <a:gd name="connsiteY69" fmla="*/ 300860 h 719483"/>
                    <a:gd name="connsiteX70" fmla="*/ 91421 w 440746"/>
                    <a:gd name="connsiteY70" fmla="*/ 310994 h 719483"/>
                    <a:gd name="connsiteX71" fmla="*/ 112893 w 440746"/>
                    <a:gd name="connsiteY71" fmla="*/ 328221 h 719483"/>
                    <a:gd name="connsiteX72" fmla="*/ 126455 w 440746"/>
                    <a:gd name="connsiteY72" fmla="*/ 350515 h 719483"/>
                    <a:gd name="connsiteX73" fmla="*/ 132105 w 440746"/>
                    <a:gd name="connsiteY73" fmla="*/ 352541 h 719483"/>
                    <a:gd name="connsiteX74" fmla="*/ 134365 w 440746"/>
                    <a:gd name="connsiteY74" fmla="*/ 366728 h 719483"/>
                    <a:gd name="connsiteX75" fmla="*/ 142276 w 440746"/>
                    <a:gd name="connsiteY75" fmla="*/ 371795 h 719483"/>
                    <a:gd name="connsiteX76" fmla="*/ 142276 w 440746"/>
                    <a:gd name="connsiteY76" fmla="*/ 389022 h 719483"/>
                    <a:gd name="connsiteX77" fmla="*/ 150187 w 440746"/>
                    <a:gd name="connsiteY77" fmla="*/ 399156 h 719483"/>
                    <a:gd name="connsiteX78" fmla="*/ 150187 w 440746"/>
                    <a:gd name="connsiteY78" fmla="*/ 416383 h 719483"/>
                    <a:gd name="connsiteX79" fmla="*/ 155838 w 440746"/>
                    <a:gd name="connsiteY79" fmla="*/ 445770 h 719483"/>
                    <a:gd name="connsiteX80" fmla="*/ 171659 w 440746"/>
                    <a:gd name="connsiteY80" fmla="*/ 475158 h 719483"/>
                    <a:gd name="connsiteX81" fmla="*/ 171659 w 440746"/>
                    <a:gd name="connsiteY81" fmla="*/ 482251 h 719483"/>
                    <a:gd name="connsiteX82" fmla="*/ 182961 w 440746"/>
                    <a:gd name="connsiteY82" fmla="*/ 484278 h 719483"/>
                    <a:gd name="connsiteX83" fmla="*/ 194262 w 440746"/>
                    <a:gd name="connsiteY83" fmla="*/ 513665 h 719483"/>
                    <a:gd name="connsiteX84" fmla="*/ 202172 w 440746"/>
                    <a:gd name="connsiteY84" fmla="*/ 518732 h 719483"/>
                    <a:gd name="connsiteX85" fmla="*/ 199912 w 440746"/>
                    <a:gd name="connsiteY85" fmla="*/ 560279 h 719483"/>
                    <a:gd name="connsiteX86" fmla="*/ 227035 w 440746"/>
                    <a:gd name="connsiteY86" fmla="*/ 591694 h 719483"/>
                    <a:gd name="connsiteX87" fmla="*/ 229295 w 440746"/>
                    <a:gd name="connsiteY87" fmla="*/ 603854 h 719483"/>
                    <a:gd name="connsiteX88" fmla="*/ 258678 w 440746"/>
                    <a:gd name="connsiteY88" fmla="*/ 621081 h 719483"/>
                    <a:gd name="connsiteX89" fmla="*/ 277890 w 440746"/>
                    <a:gd name="connsiteY89" fmla="*/ 635268 h 719483"/>
                    <a:gd name="connsiteX90" fmla="*/ 280151 w 440746"/>
                    <a:gd name="connsiteY90" fmla="*/ 642361 h 719483"/>
                    <a:gd name="connsiteX91" fmla="*/ 288061 w 440746"/>
                    <a:gd name="connsiteY91" fmla="*/ 642361 h 719483"/>
                    <a:gd name="connsiteX92" fmla="*/ 295972 w 440746"/>
                    <a:gd name="connsiteY92" fmla="*/ 649455 h 719483"/>
                    <a:gd name="connsiteX93" fmla="*/ 311794 w 440746"/>
                    <a:gd name="connsiteY93" fmla="*/ 651482 h 719483"/>
                    <a:gd name="connsiteX94" fmla="*/ 314054 w 440746"/>
                    <a:gd name="connsiteY94" fmla="*/ 656548 h 719483"/>
                    <a:gd name="connsiteX95" fmla="*/ 343437 w 440746"/>
                    <a:gd name="connsiteY95" fmla="*/ 670735 h 719483"/>
                    <a:gd name="connsiteX96" fmla="*/ 351348 w 440746"/>
                    <a:gd name="connsiteY96" fmla="*/ 670735 h 719483"/>
                    <a:gd name="connsiteX97" fmla="*/ 364910 w 440746"/>
                    <a:gd name="connsiteY97" fmla="*/ 680869 h 719483"/>
                    <a:gd name="connsiteX98" fmla="*/ 372820 w 440746"/>
                    <a:gd name="connsiteY98" fmla="*/ 680869 h 719483"/>
                    <a:gd name="connsiteX99" fmla="*/ 384122 w 440746"/>
                    <a:gd name="connsiteY99" fmla="*/ 703163 h 719483"/>
                    <a:gd name="connsiteX100" fmla="*/ 399943 w 440746"/>
                    <a:gd name="connsiteY100" fmla="*/ 715323 h 719483"/>
                    <a:gd name="connsiteX101" fmla="*/ 413505 w 440746"/>
                    <a:gd name="connsiteY101" fmla="*/ 707216 h 719483"/>
                    <a:gd name="connsiteX102" fmla="*/ 421416 w 440746"/>
                    <a:gd name="connsiteY102" fmla="*/ 697083 h 719483"/>
                    <a:gd name="connsiteX103" fmla="*/ 414635 w 440746"/>
                    <a:gd name="connsiteY103" fmla="*/ 678842 h 719483"/>
                    <a:gd name="connsiteX104" fmla="*/ 434977 w 440746"/>
                    <a:gd name="connsiteY104" fmla="*/ 650468 h 719483"/>
                    <a:gd name="connsiteX105" fmla="*/ 433847 w 440746"/>
                    <a:gd name="connsiteY105" fmla="*/ 634255 h 719483"/>
                    <a:gd name="connsiteX106" fmla="*/ 433847 w 440746"/>
                    <a:gd name="connsiteY106" fmla="*/ 632228 h 719483"/>
                    <a:gd name="connsiteX107" fmla="*/ 420286 w 440746"/>
                    <a:gd name="connsiteY107" fmla="*/ 619054 h 719483"/>
                    <a:gd name="connsiteX108" fmla="*/ 406724 w 440746"/>
                    <a:gd name="connsiteY108" fmla="*/ 621081 h 719483"/>
                    <a:gd name="connsiteX109" fmla="*/ 406724 w 440746"/>
                    <a:gd name="connsiteY109" fmla="*/ 601827 h 719483"/>
                    <a:gd name="connsiteX110" fmla="*/ 414635 w 440746"/>
                    <a:gd name="connsiteY110" fmla="*/ 599800 h 719483"/>
                    <a:gd name="connsiteX111" fmla="*/ 425936 w 440746"/>
                    <a:gd name="connsiteY111" fmla="*/ 611961 h 719483"/>
                    <a:gd name="connsiteX112" fmla="*/ 425936 w 440746"/>
                    <a:gd name="connsiteY112" fmla="*/ 619054 h 719483"/>
                    <a:gd name="connsiteX113" fmla="*/ 434977 w 440746"/>
                    <a:gd name="connsiteY113" fmla="*/ 618041 h 71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40746" h="719483">
                      <a:moveTo>
                        <a:pt x="434977" y="618041"/>
                      </a:moveTo>
                      <a:cubicBezTo>
                        <a:pt x="434977" y="618041"/>
                        <a:pt x="434977" y="608921"/>
                        <a:pt x="430457" y="603854"/>
                      </a:cubicBezTo>
                      <a:cubicBezTo>
                        <a:pt x="425936" y="598787"/>
                        <a:pt x="433847" y="590680"/>
                        <a:pt x="433847" y="590680"/>
                      </a:cubicBezTo>
                      <a:cubicBezTo>
                        <a:pt x="433847" y="590680"/>
                        <a:pt x="428196" y="580547"/>
                        <a:pt x="423676" y="571426"/>
                      </a:cubicBezTo>
                      <a:cubicBezTo>
                        <a:pt x="419155" y="562306"/>
                        <a:pt x="427066" y="545079"/>
                        <a:pt x="427066" y="545079"/>
                      </a:cubicBezTo>
                      <a:lnTo>
                        <a:pt x="437237" y="520759"/>
                      </a:lnTo>
                      <a:lnTo>
                        <a:pt x="414635" y="480224"/>
                      </a:lnTo>
                      <a:lnTo>
                        <a:pt x="373951" y="470091"/>
                      </a:lnTo>
                      <a:lnTo>
                        <a:pt x="380731" y="374835"/>
                      </a:lnTo>
                      <a:cubicBezTo>
                        <a:pt x="380731" y="374835"/>
                        <a:pt x="384122" y="360648"/>
                        <a:pt x="375081" y="366728"/>
                      </a:cubicBezTo>
                      <a:cubicBezTo>
                        <a:pt x="366040" y="372808"/>
                        <a:pt x="347958" y="381929"/>
                        <a:pt x="347958" y="381929"/>
                      </a:cubicBezTo>
                      <a:lnTo>
                        <a:pt x="315184" y="381929"/>
                      </a:lnTo>
                      <a:cubicBezTo>
                        <a:pt x="315184" y="381929"/>
                        <a:pt x="308404" y="375849"/>
                        <a:pt x="308404" y="367742"/>
                      </a:cubicBezTo>
                      <a:cubicBezTo>
                        <a:pt x="308404" y="359635"/>
                        <a:pt x="286931" y="354568"/>
                        <a:pt x="284671" y="346461"/>
                      </a:cubicBezTo>
                      <a:cubicBezTo>
                        <a:pt x="282411" y="338354"/>
                        <a:pt x="263199" y="331261"/>
                        <a:pt x="263199" y="331261"/>
                      </a:cubicBezTo>
                      <a:lnTo>
                        <a:pt x="268850" y="316060"/>
                      </a:lnTo>
                      <a:cubicBezTo>
                        <a:pt x="268850" y="316060"/>
                        <a:pt x="268850" y="300860"/>
                        <a:pt x="263199" y="299847"/>
                      </a:cubicBezTo>
                      <a:cubicBezTo>
                        <a:pt x="257548" y="298834"/>
                        <a:pt x="257548" y="283633"/>
                        <a:pt x="256418" y="276540"/>
                      </a:cubicBezTo>
                      <a:cubicBezTo>
                        <a:pt x="255288" y="269446"/>
                        <a:pt x="272240" y="276540"/>
                        <a:pt x="272240" y="276540"/>
                      </a:cubicBezTo>
                      <a:cubicBezTo>
                        <a:pt x="272240" y="276540"/>
                        <a:pt x="271110" y="268433"/>
                        <a:pt x="272240" y="260326"/>
                      </a:cubicBezTo>
                      <a:cubicBezTo>
                        <a:pt x="273370" y="252219"/>
                        <a:pt x="277890" y="247152"/>
                        <a:pt x="283541" y="239046"/>
                      </a:cubicBezTo>
                      <a:cubicBezTo>
                        <a:pt x="289192" y="230939"/>
                        <a:pt x="288061" y="218778"/>
                        <a:pt x="292582" y="210671"/>
                      </a:cubicBezTo>
                      <a:cubicBezTo>
                        <a:pt x="297103" y="202565"/>
                        <a:pt x="314054" y="197498"/>
                        <a:pt x="321965" y="190404"/>
                      </a:cubicBezTo>
                      <a:cubicBezTo>
                        <a:pt x="329876" y="183311"/>
                        <a:pt x="344567" y="181284"/>
                        <a:pt x="353609" y="179257"/>
                      </a:cubicBezTo>
                      <a:cubicBezTo>
                        <a:pt x="362649" y="177231"/>
                        <a:pt x="371690" y="176217"/>
                        <a:pt x="381862" y="176217"/>
                      </a:cubicBezTo>
                      <a:cubicBezTo>
                        <a:pt x="392033" y="176217"/>
                        <a:pt x="393163" y="165070"/>
                        <a:pt x="393163" y="165070"/>
                      </a:cubicBezTo>
                      <a:lnTo>
                        <a:pt x="381862" y="158990"/>
                      </a:lnTo>
                      <a:lnTo>
                        <a:pt x="364910" y="158990"/>
                      </a:lnTo>
                      <a:lnTo>
                        <a:pt x="399943" y="98189"/>
                      </a:lnTo>
                      <a:cubicBezTo>
                        <a:pt x="399943" y="98189"/>
                        <a:pt x="393163" y="88055"/>
                        <a:pt x="382991" y="88055"/>
                      </a:cubicBezTo>
                      <a:cubicBezTo>
                        <a:pt x="372820" y="88055"/>
                        <a:pt x="360389" y="85015"/>
                        <a:pt x="355869" y="79948"/>
                      </a:cubicBezTo>
                      <a:cubicBezTo>
                        <a:pt x="351348" y="74882"/>
                        <a:pt x="329876" y="75895"/>
                        <a:pt x="329876" y="75895"/>
                      </a:cubicBezTo>
                      <a:lnTo>
                        <a:pt x="326485" y="86029"/>
                      </a:lnTo>
                      <a:cubicBezTo>
                        <a:pt x="326485" y="86029"/>
                        <a:pt x="314054" y="80962"/>
                        <a:pt x="306143" y="80962"/>
                      </a:cubicBezTo>
                      <a:cubicBezTo>
                        <a:pt x="298233" y="80962"/>
                        <a:pt x="294842" y="69815"/>
                        <a:pt x="294842" y="69815"/>
                      </a:cubicBezTo>
                      <a:lnTo>
                        <a:pt x="293712" y="58668"/>
                      </a:lnTo>
                      <a:lnTo>
                        <a:pt x="273370" y="57654"/>
                      </a:lnTo>
                      <a:cubicBezTo>
                        <a:pt x="273370" y="57654"/>
                        <a:pt x="255288" y="48534"/>
                        <a:pt x="256418" y="43468"/>
                      </a:cubicBezTo>
                      <a:cubicBezTo>
                        <a:pt x="257548" y="38401"/>
                        <a:pt x="247377" y="25227"/>
                        <a:pt x="240597" y="25227"/>
                      </a:cubicBezTo>
                      <a:cubicBezTo>
                        <a:pt x="233816" y="25227"/>
                        <a:pt x="233816" y="9013"/>
                        <a:pt x="233816" y="9013"/>
                      </a:cubicBezTo>
                      <a:lnTo>
                        <a:pt x="211213" y="9013"/>
                      </a:lnTo>
                      <a:lnTo>
                        <a:pt x="198782" y="18134"/>
                      </a:lnTo>
                      <a:lnTo>
                        <a:pt x="210083" y="24214"/>
                      </a:lnTo>
                      <a:cubicBezTo>
                        <a:pt x="210083" y="24214"/>
                        <a:pt x="211213" y="33334"/>
                        <a:pt x="214604" y="44481"/>
                      </a:cubicBezTo>
                      <a:cubicBezTo>
                        <a:pt x="217994" y="55628"/>
                        <a:pt x="215734" y="67788"/>
                        <a:pt x="215734" y="67788"/>
                      </a:cubicBezTo>
                      <a:lnTo>
                        <a:pt x="208953" y="67788"/>
                      </a:lnTo>
                      <a:cubicBezTo>
                        <a:pt x="208953" y="67788"/>
                        <a:pt x="212344" y="92109"/>
                        <a:pt x="182961" y="107309"/>
                      </a:cubicBezTo>
                      <a:cubicBezTo>
                        <a:pt x="154708" y="122510"/>
                        <a:pt x="143406" y="127576"/>
                        <a:pt x="137756" y="133656"/>
                      </a:cubicBezTo>
                      <a:cubicBezTo>
                        <a:pt x="132105" y="139736"/>
                        <a:pt x="130975" y="143790"/>
                        <a:pt x="124194" y="151897"/>
                      </a:cubicBezTo>
                      <a:cubicBezTo>
                        <a:pt x="115153" y="162030"/>
                        <a:pt x="108373" y="167097"/>
                        <a:pt x="101592" y="187364"/>
                      </a:cubicBezTo>
                      <a:cubicBezTo>
                        <a:pt x="98202" y="198511"/>
                        <a:pt x="81250" y="203578"/>
                        <a:pt x="81250" y="203578"/>
                      </a:cubicBezTo>
                      <a:cubicBezTo>
                        <a:pt x="81250" y="203578"/>
                        <a:pt x="74469" y="207631"/>
                        <a:pt x="71079" y="197498"/>
                      </a:cubicBezTo>
                      <a:cubicBezTo>
                        <a:pt x="67688" y="187364"/>
                        <a:pt x="60907" y="178244"/>
                        <a:pt x="60907" y="178244"/>
                      </a:cubicBezTo>
                      <a:cubicBezTo>
                        <a:pt x="60907" y="178244"/>
                        <a:pt x="54127" y="187364"/>
                        <a:pt x="46216" y="187364"/>
                      </a:cubicBezTo>
                      <a:cubicBezTo>
                        <a:pt x="39435" y="187364"/>
                        <a:pt x="30394" y="177231"/>
                        <a:pt x="30394" y="177231"/>
                      </a:cubicBezTo>
                      <a:lnTo>
                        <a:pt x="46216" y="167097"/>
                      </a:lnTo>
                      <a:lnTo>
                        <a:pt x="41696" y="161017"/>
                      </a:lnTo>
                      <a:lnTo>
                        <a:pt x="37175" y="148857"/>
                      </a:lnTo>
                      <a:cubicBezTo>
                        <a:pt x="27004" y="156964"/>
                        <a:pt x="16833" y="167097"/>
                        <a:pt x="12312" y="178244"/>
                      </a:cubicBezTo>
                      <a:cubicBezTo>
                        <a:pt x="11182" y="179257"/>
                        <a:pt x="13443" y="190404"/>
                        <a:pt x="10052" y="188378"/>
                      </a:cubicBezTo>
                      <a:cubicBezTo>
                        <a:pt x="10052" y="188378"/>
                        <a:pt x="13443" y="195471"/>
                        <a:pt x="15703" y="198511"/>
                      </a:cubicBezTo>
                      <a:cubicBezTo>
                        <a:pt x="15703" y="199524"/>
                        <a:pt x="20223" y="200538"/>
                        <a:pt x="21353" y="200538"/>
                      </a:cubicBezTo>
                      <a:cubicBezTo>
                        <a:pt x="21353" y="201551"/>
                        <a:pt x="21353" y="202565"/>
                        <a:pt x="21353" y="202565"/>
                      </a:cubicBezTo>
                      <a:cubicBezTo>
                        <a:pt x="21353" y="200538"/>
                        <a:pt x="17963" y="209658"/>
                        <a:pt x="19093" y="212698"/>
                      </a:cubicBezTo>
                      <a:cubicBezTo>
                        <a:pt x="19093" y="213712"/>
                        <a:pt x="27004" y="220805"/>
                        <a:pt x="27004" y="222832"/>
                      </a:cubicBezTo>
                      <a:cubicBezTo>
                        <a:pt x="28134" y="228912"/>
                        <a:pt x="23614" y="238032"/>
                        <a:pt x="21353" y="245125"/>
                      </a:cubicBezTo>
                      <a:cubicBezTo>
                        <a:pt x="39435" y="255259"/>
                        <a:pt x="49606" y="262353"/>
                        <a:pt x="62038" y="276540"/>
                      </a:cubicBezTo>
                      <a:cubicBezTo>
                        <a:pt x="63168" y="277553"/>
                        <a:pt x="69949" y="280593"/>
                        <a:pt x="69949" y="281606"/>
                      </a:cubicBezTo>
                      <a:cubicBezTo>
                        <a:pt x="71079" y="283633"/>
                        <a:pt x="68818" y="287687"/>
                        <a:pt x="69949" y="288700"/>
                      </a:cubicBezTo>
                      <a:cubicBezTo>
                        <a:pt x="74469" y="293767"/>
                        <a:pt x="85770" y="295793"/>
                        <a:pt x="89160" y="300860"/>
                      </a:cubicBezTo>
                      <a:cubicBezTo>
                        <a:pt x="91421" y="303900"/>
                        <a:pt x="89160" y="307954"/>
                        <a:pt x="91421" y="310994"/>
                      </a:cubicBezTo>
                      <a:cubicBezTo>
                        <a:pt x="97071" y="318087"/>
                        <a:pt x="107242" y="321127"/>
                        <a:pt x="112893" y="328221"/>
                      </a:cubicBezTo>
                      <a:cubicBezTo>
                        <a:pt x="118544" y="335314"/>
                        <a:pt x="120804" y="343421"/>
                        <a:pt x="126455" y="350515"/>
                      </a:cubicBezTo>
                      <a:cubicBezTo>
                        <a:pt x="126455" y="351528"/>
                        <a:pt x="130975" y="352541"/>
                        <a:pt x="132105" y="352541"/>
                      </a:cubicBezTo>
                      <a:cubicBezTo>
                        <a:pt x="134365" y="358622"/>
                        <a:pt x="130975" y="361661"/>
                        <a:pt x="134365" y="366728"/>
                      </a:cubicBezTo>
                      <a:cubicBezTo>
                        <a:pt x="135495" y="367742"/>
                        <a:pt x="142276" y="369769"/>
                        <a:pt x="142276" y="371795"/>
                      </a:cubicBezTo>
                      <a:cubicBezTo>
                        <a:pt x="144537" y="376862"/>
                        <a:pt x="141146" y="382942"/>
                        <a:pt x="142276" y="389022"/>
                      </a:cubicBezTo>
                      <a:cubicBezTo>
                        <a:pt x="142276" y="390036"/>
                        <a:pt x="150187" y="397129"/>
                        <a:pt x="150187" y="399156"/>
                      </a:cubicBezTo>
                      <a:cubicBezTo>
                        <a:pt x="151317" y="405236"/>
                        <a:pt x="149057" y="410303"/>
                        <a:pt x="150187" y="416383"/>
                      </a:cubicBezTo>
                      <a:cubicBezTo>
                        <a:pt x="150187" y="416383"/>
                        <a:pt x="166009" y="445770"/>
                        <a:pt x="155838" y="445770"/>
                      </a:cubicBezTo>
                      <a:cubicBezTo>
                        <a:pt x="163748" y="455904"/>
                        <a:pt x="175050" y="460971"/>
                        <a:pt x="171659" y="475158"/>
                      </a:cubicBezTo>
                      <a:cubicBezTo>
                        <a:pt x="171659" y="475158"/>
                        <a:pt x="171659" y="482251"/>
                        <a:pt x="171659" y="482251"/>
                      </a:cubicBezTo>
                      <a:cubicBezTo>
                        <a:pt x="175050" y="484278"/>
                        <a:pt x="179570" y="482251"/>
                        <a:pt x="182961" y="484278"/>
                      </a:cubicBezTo>
                      <a:cubicBezTo>
                        <a:pt x="188611" y="488331"/>
                        <a:pt x="189741" y="505558"/>
                        <a:pt x="194262" y="513665"/>
                      </a:cubicBezTo>
                      <a:cubicBezTo>
                        <a:pt x="195392" y="514678"/>
                        <a:pt x="201042" y="516705"/>
                        <a:pt x="202172" y="518732"/>
                      </a:cubicBezTo>
                      <a:cubicBezTo>
                        <a:pt x="207823" y="533932"/>
                        <a:pt x="203303" y="548119"/>
                        <a:pt x="199912" y="560279"/>
                      </a:cubicBezTo>
                      <a:cubicBezTo>
                        <a:pt x="210083" y="568387"/>
                        <a:pt x="221385" y="579533"/>
                        <a:pt x="227035" y="591694"/>
                      </a:cubicBezTo>
                      <a:cubicBezTo>
                        <a:pt x="229295" y="597774"/>
                        <a:pt x="225905" y="599800"/>
                        <a:pt x="229295" y="603854"/>
                      </a:cubicBezTo>
                      <a:cubicBezTo>
                        <a:pt x="233816" y="608921"/>
                        <a:pt x="253028" y="616014"/>
                        <a:pt x="258678" y="621081"/>
                      </a:cubicBezTo>
                      <a:cubicBezTo>
                        <a:pt x="264329" y="626148"/>
                        <a:pt x="271110" y="630201"/>
                        <a:pt x="277890" y="635268"/>
                      </a:cubicBezTo>
                      <a:cubicBezTo>
                        <a:pt x="280151" y="636281"/>
                        <a:pt x="277890" y="641348"/>
                        <a:pt x="280151" y="642361"/>
                      </a:cubicBezTo>
                      <a:cubicBezTo>
                        <a:pt x="282411" y="643375"/>
                        <a:pt x="285801" y="642361"/>
                        <a:pt x="288061" y="642361"/>
                      </a:cubicBezTo>
                      <a:cubicBezTo>
                        <a:pt x="290322" y="643375"/>
                        <a:pt x="293712" y="648442"/>
                        <a:pt x="295972" y="649455"/>
                      </a:cubicBezTo>
                      <a:cubicBezTo>
                        <a:pt x="301623" y="652495"/>
                        <a:pt x="306143" y="649455"/>
                        <a:pt x="311794" y="651482"/>
                      </a:cubicBezTo>
                      <a:cubicBezTo>
                        <a:pt x="312924" y="651482"/>
                        <a:pt x="314054" y="656548"/>
                        <a:pt x="314054" y="656548"/>
                      </a:cubicBezTo>
                      <a:cubicBezTo>
                        <a:pt x="326485" y="660602"/>
                        <a:pt x="333266" y="666682"/>
                        <a:pt x="343437" y="670735"/>
                      </a:cubicBezTo>
                      <a:cubicBezTo>
                        <a:pt x="346828" y="671749"/>
                        <a:pt x="347958" y="669722"/>
                        <a:pt x="351348" y="670735"/>
                      </a:cubicBezTo>
                      <a:cubicBezTo>
                        <a:pt x="354738" y="671749"/>
                        <a:pt x="360389" y="679856"/>
                        <a:pt x="364910" y="680869"/>
                      </a:cubicBezTo>
                      <a:cubicBezTo>
                        <a:pt x="367170" y="680869"/>
                        <a:pt x="371690" y="679856"/>
                        <a:pt x="372820" y="680869"/>
                      </a:cubicBezTo>
                      <a:cubicBezTo>
                        <a:pt x="380731" y="685936"/>
                        <a:pt x="378471" y="695056"/>
                        <a:pt x="384122" y="703163"/>
                      </a:cubicBezTo>
                      <a:cubicBezTo>
                        <a:pt x="387512" y="707216"/>
                        <a:pt x="394293" y="711270"/>
                        <a:pt x="399943" y="715323"/>
                      </a:cubicBezTo>
                      <a:cubicBezTo>
                        <a:pt x="399943" y="715323"/>
                        <a:pt x="410115" y="714310"/>
                        <a:pt x="413505" y="707216"/>
                      </a:cubicBezTo>
                      <a:cubicBezTo>
                        <a:pt x="416895" y="700123"/>
                        <a:pt x="421416" y="697083"/>
                        <a:pt x="421416" y="697083"/>
                      </a:cubicBezTo>
                      <a:lnTo>
                        <a:pt x="414635" y="678842"/>
                      </a:lnTo>
                      <a:cubicBezTo>
                        <a:pt x="414635" y="678842"/>
                        <a:pt x="429326" y="658575"/>
                        <a:pt x="434977" y="650468"/>
                      </a:cubicBezTo>
                      <a:cubicBezTo>
                        <a:pt x="440628" y="642361"/>
                        <a:pt x="433847" y="634255"/>
                        <a:pt x="433847" y="634255"/>
                      </a:cubicBezTo>
                      <a:lnTo>
                        <a:pt x="433847" y="632228"/>
                      </a:lnTo>
                      <a:cubicBezTo>
                        <a:pt x="429326" y="629188"/>
                        <a:pt x="423676" y="623108"/>
                        <a:pt x="420286" y="619054"/>
                      </a:cubicBezTo>
                      <a:cubicBezTo>
                        <a:pt x="414635" y="620067"/>
                        <a:pt x="411244" y="622094"/>
                        <a:pt x="406724" y="621081"/>
                      </a:cubicBezTo>
                      <a:cubicBezTo>
                        <a:pt x="406724" y="613988"/>
                        <a:pt x="406724" y="610947"/>
                        <a:pt x="406724" y="601827"/>
                      </a:cubicBezTo>
                      <a:cubicBezTo>
                        <a:pt x="410115" y="600814"/>
                        <a:pt x="414635" y="601827"/>
                        <a:pt x="414635" y="599800"/>
                      </a:cubicBezTo>
                      <a:cubicBezTo>
                        <a:pt x="416895" y="602841"/>
                        <a:pt x="424806" y="607907"/>
                        <a:pt x="425936" y="611961"/>
                      </a:cubicBezTo>
                      <a:cubicBezTo>
                        <a:pt x="425936" y="612974"/>
                        <a:pt x="424806" y="618041"/>
                        <a:pt x="425936" y="619054"/>
                      </a:cubicBezTo>
                      <a:cubicBezTo>
                        <a:pt x="431587" y="617028"/>
                        <a:pt x="433847" y="617028"/>
                        <a:pt x="434977" y="61804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2" name="Freeform: Shape 311">
                  <a:extLst>
                    <a:ext uri="{FF2B5EF4-FFF2-40B4-BE49-F238E27FC236}">
                      <a16:creationId xmlns:a16="http://schemas.microsoft.com/office/drawing/2014/main" id="{67AF4675-9BE5-4576-BD76-85D08E1A5706}"/>
                    </a:ext>
                  </a:extLst>
                </p:cNvPr>
                <p:cNvSpPr/>
                <p:nvPr/>
              </p:nvSpPr>
              <p:spPr>
                <a:xfrm>
                  <a:off x="3680520" y="5019655"/>
                  <a:ext cx="293831" cy="354675"/>
                </a:xfrm>
                <a:custGeom>
                  <a:avLst/>
                  <a:gdLst>
                    <a:gd name="connsiteX0" fmla="*/ 153577 w 293831"/>
                    <a:gd name="connsiteY0" fmla="*/ 29281 h 354674"/>
                    <a:gd name="connsiteX1" fmla="*/ 138886 w 293831"/>
                    <a:gd name="connsiteY1" fmla="*/ 17120 h 354674"/>
                    <a:gd name="connsiteX2" fmla="*/ 106112 w 293831"/>
                    <a:gd name="connsiteY2" fmla="*/ 9013 h 354674"/>
                    <a:gd name="connsiteX3" fmla="*/ 64298 w 293831"/>
                    <a:gd name="connsiteY3" fmla="*/ 13067 h 354674"/>
                    <a:gd name="connsiteX4" fmla="*/ 43956 w 293831"/>
                    <a:gd name="connsiteY4" fmla="*/ 42454 h 354674"/>
                    <a:gd name="connsiteX5" fmla="*/ 31524 w 293831"/>
                    <a:gd name="connsiteY5" fmla="*/ 63735 h 354674"/>
                    <a:gd name="connsiteX6" fmla="*/ 31524 w 293831"/>
                    <a:gd name="connsiteY6" fmla="*/ 76908 h 354674"/>
                    <a:gd name="connsiteX7" fmla="*/ 10052 w 293831"/>
                    <a:gd name="connsiteY7" fmla="*/ 120483 h 354674"/>
                    <a:gd name="connsiteX8" fmla="*/ 30394 w 293831"/>
                    <a:gd name="connsiteY8" fmla="*/ 131630 h 354674"/>
                    <a:gd name="connsiteX9" fmla="*/ 40565 w 293831"/>
                    <a:gd name="connsiteY9" fmla="*/ 146830 h 354674"/>
                    <a:gd name="connsiteX10" fmla="*/ 55257 w 293831"/>
                    <a:gd name="connsiteY10" fmla="*/ 162030 h 354674"/>
                    <a:gd name="connsiteX11" fmla="*/ 69948 w 293831"/>
                    <a:gd name="connsiteY11" fmla="*/ 176217 h 354674"/>
                    <a:gd name="connsiteX12" fmla="*/ 85770 w 293831"/>
                    <a:gd name="connsiteY12" fmla="*/ 199524 h 354674"/>
                    <a:gd name="connsiteX13" fmla="*/ 107242 w 293831"/>
                    <a:gd name="connsiteY13" fmla="*/ 214725 h 354674"/>
                    <a:gd name="connsiteX14" fmla="*/ 130975 w 293831"/>
                    <a:gd name="connsiteY14" fmla="*/ 223845 h 354674"/>
                    <a:gd name="connsiteX15" fmla="*/ 145666 w 293831"/>
                    <a:gd name="connsiteY15" fmla="*/ 234992 h 354674"/>
                    <a:gd name="connsiteX16" fmla="*/ 168269 w 293831"/>
                    <a:gd name="connsiteY16" fmla="*/ 258299 h 354674"/>
                    <a:gd name="connsiteX17" fmla="*/ 169399 w 293831"/>
                    <a:gd name="connsiteY17" fmla="*/ 282620 h 354674"/>
                    <a:gd name="connsiteX18" fmla="*/ 153577 w 293831"/>
                    <a:gd name="connsiteY18" fmla="*/ 313020 h 354674"/>
                    <a:gd name="connsiteX19" fmla="*/ 138886 w 293831"/>
                    <a:gd name="connsiteY19" fmla="*/ 337341 h 354674"/>
                    <a:gd name="connsiteX20" fmla="*/ 151317 w 293831"/>
                    <a:gd name="connsiteY20" fmla="*/ 338354 h 354674"/>
                    <a:gd name="connsiteX21" fmla="*/ 177310 w 293831"/>
                    <a:gd name="connsiteY21" fmla="*/ 342408 h 354674"/>
                    <a:gd name="connsiteX22" fmla="*/ 201042 w 293831"/>
                    <a:gd name="connsiteY22" fmla="*/ 345448 h 354674"/>
                    <a:gd name="connsiteX23" fmla="*/ 230425 w 293831"/>
                    <a:gd name="connsiteY23" fmla="*/ 348488 h 354674"/>
                    <a:gd name="connsiteX24" fmla="*/ 250767 w 293831"/>
                    <a:gd name="connsiteY24" fmla="*/ 346461 h 354674"/>
                    <a:gd name="connsiteX25" fmla="*/ 255288 w 293831"/>
                    <a:gd name="connsiteY25" fmla="*/ 339368 h 354674"/>
                    <a:gd name="connsiteX26" fmla="*/ 273370 w 293831"/>
                    <a:gd name="connsiteY26" fmla="*/ 320114 h 354674"/>
                    <a:gd name="connsiteX27" fmla="*/ 276760 w 293831"/>
                    <a:gd name="connsiteY27" fmla="*/ 289713 h 354674"/>
                    <a:gd name="connsiteX28" fmla="*/ 282411 w 293831"/>
                    <a:gd name="connsiteY28" fmla="*/ 271473 h 354674"/>
                    <a:gd name="connsiteX29" fmla="*/ 286931 w 293831"/>
                    <a:gd name="connsiteY29" fmla="*/ 234992 h 354674"/>
                    <a:gd name="connsiteX30" fmla="*/ 292582 w 293831"/>
                    <a:gd name="connsiteY30" fmla="*/ 203578 h 354674"/>
                    <a:gd name="connsiteX31" fmla="*/ 272240 w 293831"/>
                    <a:gd name="connsiteY31" fmla="*/ 206618 h 354674"/>
                    <a:gd name="connsiteX32" fmla="*/ 262069 w 293831"/>
                    <a:gd name="connsiteY32" fmla="*/ 188378 h 354674"/>
                    <a:gd name="connsiteX33" fmla="*/ 263199 w 293831"/>
                    <a:gd name="connsiteY33" fmla="*/ 152910 h 354674"/>
                    <a:gd name="connsiteX34" fmla="*/ 245117 w 293831"/>
                    <a:gd name="connsiteY34" fmla="*/ 136696 h 354674"/>
                    <a:gd name="connsiteX35" fmla="*/ 234946 w 293831"/>
                    <a:gd name="connsiteY35" fmla="*/ 125549 h 354674"/>
                    <a:gd name="connsiteX36" fmla="*/ 229295 w 293831"/>
                    <a:gd name="connsiteY36" fmla="*/ 117443 h 354674"/>
                    <a:gd name="connsiteX37" fmla="*/ 219124 w 293831"/>
                    <a:gd name="connsiteY37" fmla="*/ 122510 h 354674"/>
                    <a:gd name="connsiteX38" fmla="*/ 179570 w 293831"/>
                    <a:gd name="connsiteY38" fmla="*/ 113389 h 354674"/>
                    <a:gd name="connsiteX39" fmla="*/ 173919 w 293831"/>
                    <a:gd name="connsiteY39" fmla="*/ 87042 h 354674"/>
                    <a:gd name="connsiteX40" fmla="*/ 172789 w 293831"/>
                    <a:gd name="connsiteY40" fmla="*/ 56641 h 354674"/>
                    <a:gd name="connsiteX41" fmla="*/ 163748 w 293831"/>
                    <a:gd name="connsiteY41" fmla="*/ 43468 h 354674"/>
                    <a:gd name="connsiteX42" fmla="*/ 153577 w 293831"/>
                    <a:gd name="connsiteY42" fmla="*/ 29281 h 35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3831" h="354674">
                      <a:moveTo>
                        <a:pt x="153577" y="29281"/>
                      </a:moveTo>
                      <a:lnTo>
                        <a:pt x="138886" y="17120"/>
                      </a:lnTo>
                      <a:lnTo>
                        <a:pt x="106112" y="9013"/>
                      </a:lnTo>
                      <a:lnTo>
                        <a:pt x="64298" y="13067"/>
                      </a:lnTo>
                      <a:cubicBezTo>
                        <a:pt x="64298" y="13067"/>
                        <a:pt x="43956" y="37387"/>
                        <a:pt x="43956" y="42454"/>
                      </a:cubicBezTo>
                      <a:cubicBezTo>
                        <a:pt x="43956" y="47521"/>
                        <a:pt x="31524" y="63735"/>
                        <a:pt x="31524" y="63735"/>
                      </a:cubicBezTo>
                      <a:lnTo>
                        <a:pt x="31524" y="76908"/>
                      </a:lnTo>
                      <a:lnTo>
                        <a:pt x="10052" y="120483"/>
                      </a:lnTo>
                      <a:lnTo>
                        <a:pt x="30394" y="131630"/>
                      </a:lnTo>
                      <a:cubicBezTo>
                        <a:pt x="30394" y="131630"/>
                        <a:pt x="36045" y="140750"/>
                        <a:pt x="40565" y="146830"/>
                      </a:cubicBezTo>
                      <a:cubicBezTo>
                        <a:pt x="45086" y="152910"/>
                        <a:pt x="46216" y="161017"/>
                        <a:pt x="55257" y="162030"/>
                      </a:cubicBezTo>
                      <a:cubicBezTo>
                        <a:pt x="64298" y="163044"/>
                        <a:pt x="64298" y="170137"/>
                        <a:pt x="69948" y="176217"/>
                      </a:cubicBezTo>
                      <a:cubicBezTo>
                        <a:pt x="75599" y="182298"/>
                        <a:pt x="74469" y="199524"/>
                        <a:pt x="85770" y="199524"/>
                      </a:cubicBezTo>
                      <a:cubicBezTo>
                        <a:pt x="97071" y="199524"/>
                        <a:pt x="97071" y="203578"/>
                        <a:pt x="107242" y="214725"/>
                      </a:cubicBezTo>
                      <a:cubicBezTo>
                        <a:pt x="117413" y="225872"/>
                        <a:pt x="124194" y="217765"/>
                        <a:pt x="130975" y="223845"/>
                      </a:cubicBezTo>
                      <a:cubicBezTo>
                        <a:pt x="137755" y="229925"/>
                        <a:pt x="140016" y="232965"/>
                        <a:pt x="145666" y="234992"/>
                      </a:cubicBezTo>
                      <a:cubicBezTo>
                        <a:pt x="151317" y="237019"/>
                        <a:pt x="156968" y="251206"/>
                        <a:pt x="168269" y="258299"/>
                      </a:cubicBezTo>
                      <a:cubicBezTo>
                        <a:pt x="179570" y="264379"/>
                        <a:pt x="169399" y="272486"/>
                        <a:pt x="169399" y="282620"/>
                      </a:cubicBezTo>
                      <a:cubicBezTo>
                        <a:pt x="169399" y="292753"/>
                        <a:pt x="160358" y="305927"/>
                        <a:pt x="153577" y="313020"/>
                      </a:cubicBezTo>
                      <a:cubicBezTo>
                        <a:pt x="146797" y="320114"/>
                        <a:pt x="138886" y="337341"/>
                        <a:pt x="138886" y="337341"/>
                      </a:cubicBezTo>
                      <a:cubicBezTo>
                        <a:pt x="138886" y="337341"/>
                        <a:pt x="144536" y="341394"/>
                        <a:pt x="151317" y="338354"/>
                      </a:cubicBezTo>
                      <a:cubicBezTo>
                        <a:pt x="158098" y="335314"/>
                        <a:pt x="168269" y="337341"/>
                        <a:pt x="177310" y="342408"/>
                      </a:cubicBezTo>
                      <a:cubicBezTo>
                        <a:pt x="186351" y="347475"/>
                        <a:pt x="193132" y="346461"/>
                        <a:pt x="201042" y="345448"/>
                      </a:cubicBezTo>
                      <a:cubicBezTo>
                        <a:pt x="210083" y="344435"/>
                        <a:pt x="221385" y="345448"/>
                        <a:pt x="230425" y="348488"/>
                      </a:cubicBezTo>
                      <a:cubicBezTo>
                        <a:pt x="239466" y="351528"/>
                        <a:pt x="250767" y="346461"/>
                        <a:pt x="250767" y="346461"/>
                      </a:cubicBezTo>
                      <a:cubicBezTo>
                        <a:pt x="250767" y="346461"/>
                        <a:pt x="253028" y="347475"/>
                        <a:pt x="255288" y="339368"/>
                      </a:cubicBezTo>
                      <a:cubicBezTo>
                        <a:pt x="258678" y="331261"/>
                        <a:pt x="266589" y="325181"/>
                        <a:pt x="273370" y="320114"/>
                      </a:cubicBezTo>
                      <a:cubicBezTo>
                        <a:pt x="280151" y="315047"/>
                        <a:pt x="280151" y="294780"/>
                        <a:pt x="276760" y="289713"/>
                      </a:cubicBezTo>
                      <a:cubicBezTo>
                        <a:pt x="272240" y="284647"/>
                        <a:pt x="282411" y="271473"/>
                        <a:pt x="282411" y="271473"/>
                      </a:cubicBezTo>
                      <a:cubicBezTo>
                        <a:pt x="282411" y="271473"/>
                        <a:pt x="281281" y="242085"/>
                        <a:pt x="286931" y="234992"/>
                      </a:cubicBezTo>
                      <a:cubicBezTo>
                        <a:pt x="292582" y="227899"/>
                        <a:pt x="292582" y="208645"/>
                        <a:pt x="292582" y="203578"/>
                      </a:cubicBezTo>
                      <a:cubicBezTo>
                        <a:pt x="292582" y="198511"/>
                        <a:pt x="280151" y="203578"/>
                        <a:pt x="272240" y="206618"/>
                      </a:cubicBezTo>
                      <a:cubicBezTo>
                        <a:pt x="265459" y="209658"/>
                        <a:pt x="263199" y="198511"/>
                        <a:pt x="262069" y="188378"/>
                      </a:cubicBezTo>
                      <a:cubicBezTo>
                        <a:pt x="260939" y="178244"/>
                        <a:pt x="263199" y="164057"/>
                        <a:pt x="263199" y="152910"/>
                      </a:cubicBezTo>
                      <a:cubicBezTo>
                        <a:pt x="263199" y="141763"/>
                        <a:pt x="256418" y="137710"/>
                        <a:pt x="245117" y="136696"/>
                      </a:cubicBezTo>
                      <a:cubicBezTo>
                        <a:pt x="233816" y="135683"/>
                        <a:pt x="234946" y="125549"/>
                        <a:pt x="234946" y="125549"/>
                      </a:cubicBezTo>
                      <a:lnTo>
                        <a:pt x="229295" y="117443"/>
                      </a:lnTo>
                      <a:lnTo>
                        <a:pt x="219124" y="122510"/>
                      </a:lnTo>
                      <a:cubicBezTo>
                        <a:pt x="219124" y="122510"/>
                        <a:pt x="178440" y="122510"/>
                        <a:pt x="179570" y="113389"/>
                      </a:cubicBezTo>
                      <a:cubicBezTo>
                        <a:pt x="180700" y="104269"/>
                        <a:pt x="170529" y="99202"/>
                        <a:pt x="173919" y="87042"/>
                      </a:cubicBezTo>
                      <a:cubicBezTo>
                        <a:pt x="177310" y="74882"/>
                        <a:pt x="178440" y="63735"/>
                        <a:pt x="172789" y="56641"/>
                      </a:cubicBezTo>
                      <a:cubicBezTo>
                        <a:pt x="167139" y="49548"/>
                        <a:pt x="163748" y="43468"/>
                        <a:pt x="163748" y="43468"/>
                      </a:cubicBezTo>
                      <a:lnTo>
                        <a:pt x="153577" y="2928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3" name="Freeform: Shape 312">
                  <a:extLst>
                    <a:ext uri="{FF2B5EF4-FFF2-40B4-BE49-F238E27FC236}">
                      <a16:creationId xmlns:a16="http://schemas.microsoft.com/office/drawing/2014/main" id="{E0FE8EA3-6895-48D4-88E8-E996DE8439D1}"/>
                    </a:ext>
                  </a:extLst>
                </p:cNvPr>
                <p:cNvSpPr/>
                <p:nvPr/>
              </p:nvSpPr>
              <p:spPr>
                <a:xfrm>
                  <a:off x="10818355" y="4363000"/>
                  <a:ext cx="553759" cy="344541"/>
                </a:xfrm>
                <a:custGeom>
                  <a:avLst/>
                  <a:gdLst>
                    <a:gd name="connsiteX0" fmla="*/ 13443 w 553758"/>
                    <a:gd name="connsiteY0" fmla="*/ 29281 h 344541"/>
                    <a:gd name="connsiteX1" fmla="*/ 15703 w 553758"/>
                    <a:gd name="connsiteY1" fmla="*/ 174190 h 344541"/>
                    <a:gd name="connsiteX2" fmla="*/ 10052 w 553758"/>
                    <a:gd name="connsiteY2" fmla="*/ 184324 h 344541"/>
                    <a:gd name="connsiteX3" fmla="*/ 15703 w 553758"/>
                    <a:gd name="connsiteY3" fmla="*/ 199524 h 344541"/>
                    <a:gd name="connsiteX4" fmla="*/ 17964 w 553758"/>
                    <a:gd name="connsiteY4" fmla="*/ 282620 h 344541"/>
                    <a:gd name="connsiteX5" fmla="*/ 54127 w 553758"/>
                    <a:gd name="connsiteY5" fmla="*/ 282620 h 344541"/>
                    <a:gd name="connsiteX6" fmla="*/ 62037 w 553758"/>
                    <a:gd name="connsiteY6" fmla="*/ 275526 h 344541"/>
                    <a:gd name="connsiteX7" fmla="*/ 67688 w 553758"/>
                    <a:gd name="connsiteY7" fmla="*/ 280593 h 344541"/>
                    <a:gd name="connsiteX8" fmla="*/ 102723 w 553758"/>
                    <a:gd name="connsiteY8" fmla="*/ 273499 h 344541"/>
                    <a:gd name="connsiteX9" fmla="*/ 102723 w 553758"/>
                    <a:gd name="connsiteY9" fmla="*/ 268433 h 344541"/>
                    <a:gd name="connsiteX10" fmla="*/ 110633 w 553758"/>
                    <a:gd name="connsiteY10" fmla="*/ 263366 h 344541"/>
                    <a:gd name="connsiteX11" fmla="*/ 108373 w 553758"/>
                    <a:gd name="connsiteY11" fmla="*/ 246139 h 344541"/>
                    <a:gd name="connsiteX12" fmla="*/ 116284 w 553758"/>
                    <a:gd name="connsiteY12" fmla="*/ 236005 h 344541"/>
                    <a:gd name="connsiteX13" fmla="*/ 118543 w 553758"/>
                    <a:gd name="connsiteY13" fmla="*/ 238032 h 344541"/>
                    <a:gd name="connsiteX14" fmla="*/ 137756 w 553758"/>
                    <a:gd name="connsiteY14" fmla="*/ 236005 h 344541"/>
                    <a:gd name="connsiteX15" fmla="*/ 151317 w 553758"/>
                    <a:gd name="connsiteY15" fmla="*/ 243099 h 344541"/>
                    <a:gd name="connsiteX16" fmla="*/ 186350 w 553758"/>
                    <a:gd name="connsiteY16" fmla="*/ 245125 h 344541"/>
                    <a:gd name="connsiteX17" fmla="*/ 211214 w 553758"/>
                    <a:gd name="connsiteY17" fmla="*/ 267419 h 344541"/>
                    <a:gd name="connsiteX18" fmla="*/ 211214 w 553758"/>
                    <a:gd name="connsiteY18" fmla="*/ 281606 h 344541"/>
                    <a:gd name="connsiteX19" fmla="*/ 216864 w 553758"/>
                    <a:gd name="connsiteY19" fmla="*/ 281606 h 344541"/>
                    <a:gd name="connsiteX20" fmla="*/ 219124 w 553758"/>
                    <a:gd name="connsiteY20" fmla="*/ 283633 h 344541"/>
                    <a:gd name="connsiteX21" fmla="*/ 238337 w 553758"/>
                    <a:gd name="connsiteY21" fmla="*/ 295793 h 344541"/>
                    <a:gd name="connsiteX22" fmla="*/ 238337 w 553758"/>
                    <a:gd name="connsiteY22" fmla="*/ 302887 h 344541"/>
                    <a:gd name="connsiteX23" fmla="*/ 254158 w 553758"/>
                    <a:gd name="connsiteY23" fmla="*/ 313020 h 344541"/>
                    <a:gd name="connsiteX24" fmla="*/ 254158 w 553758"/>
                    <a:gd name="connsiteY24" fmla="*/ 323154 h 344541"/>
                    <a:gd name="connsiteX25" fmla="*/ 265459 w 553758"/>
                    <a:gd name="connsiteY25" fmla="*/ 323154 h 344541"/>
                    <a:gd name="connsiteX26" fmla="*/ 276760 w 553758"/>
                    <a:gd name="connsiteY26" fmla="*/ 330247 h 344541"/>
                    <a:gd name="connsiteX27" fmla="*/ 288061 w 553758"/>
                    <a:gd name="connsiteY27" fmla="*/ 328221 h 344541"/>
                    <a:gd name="connsiteX28" fmla="*/ 293712 w 553758"/>
                    <a:gd name="connsiteY28" fmla="*/ 333288 h 344541"/>
                    <a:gd name="connsiteX29" fmla="*/ 320835 w 553758"/>
                    <a:gd name="connsiteY29" fmla="*/ 335314 h 344541"/>
                    <a:gd name="connsiteX30" fmla="*/ 326485 w 553758"/>
                    <a:gd name="connsiteY30" fmla="*/ 342408 h 344541"/>
                    <a:gd name="connsiteX31" fmla="*/ 351349 w 553758"/>
                    <a:gd name="connsiteY31" fmla="*/ 344434 h 344541"/>
                    <a:gd name="connsiteX32" fmla="*/ 351349 w 553758"/>
                    <a:gd name="connsiteY32" fmla="*/ 330247 h 344541"/>
                    <a:gd name="connsiteX33" fmla="*/ 335527 w 553758"/>
                    <a:gd name="connsiteY33" fmla="*/ 328221 h 344541"/>
                    <a:gd name="connsiteX34" fmla="*/ 329876 w 553758"/>
                    <a:gd name="connsiteY34" fmla="*/ 321127 h 344541"/>
                    <a:gd name="connsiteX35" fmla="*/ 332136 w 553758"/>
                    <a:gd name="connsiteY35" fmla="*/ 310994 h 344541"/>
                    <a:gd name="connsiteX36" fmla="*/ 324226 w 553758"/>
                    <a:gd name="connsiteY36" fmla="*/ 305927 h 344541"/>
                    <a:gd name="connsiteX37" fmla="*/ 312925 w 553758"/>
                    <a:gd name="connsiteY37" fmla="*/ 307954 h 344541"/>
                    <a:gd name="connsiteX38" fmla="*/ 305013 w 553758"/>
                    <a:gd name="connsiteY38" fmla="*/ 283633 h 344541"/>
                    <a:gd name="connsiteX39" fmla="*/ 283542 w 553758"/>
                    <a:gd name="connsiteY39" fmla="*/ 281606 h 344541"/>
                    <a:gd name="connsiteX40" fmla="*/ 283542 w 553758"/>
                    <a:gd name="connsiteY40" fmla="*/ 267419 h 344541"/>
                    <a:gd name="connsiteX41" fmla="*/ 275630 w 553758"/>
                    <a:gd name="connsiteY41" fmla="*/ 260326 h 344541"/>
                    <a:gd name="connsiteX42" fmla="*/ 275630 w 553758"/>
                    <a:gd name="connsiteY42" fmla="*/ 250192 h 344541"/>
                    <a:gd name="connsiteX43" fmla="*/ 262069 w 553758"/>
                    <a:gd name="connsiteY43" fmla="*/ 245125 h 344541"/>
                    <a:gd name="connsiteX44" fmla="*/ 242856 w 553758"/>
                    <a:gd name="connsiteY44" fmla="*/ 203578 h 344541"/>
                    <a:gd name="connsiteX45" fmla="*/ 240597 w 553758"/>
                    <a:gd name="connsiteY45" fmla="*/ 193444 h 344541"/>
                    <a:gd name="connsiteX46" fmla="*/ 254158 w 553758"/>
                    <a:gd name="connsiteY46" fmla="*/ 195471 h 344541"/>
                    <a:gd name="connsiteX47" fmla="*/ 259808 w 553758"/>
                    <a:gd name="connsiteY47" fmla="*/ 190404 h 344541"/>
                    <a:gd name="connsiteX48" fmla="*/ 265459 w 553758"/>
                    <a:gd name="connsiteY48" fmla="*/ 185337 h 344541"/>
                    <a:gd name="connsiteX49" fmla="*/ 265459 w 553758"/>
                    <a:gd name="connsiteY49" fmla="*/ 171151 h 344541"/>
                    <a:gd name="connsiteX50" fmla="*/ 259808 w 553758"/>
                    <a:gd name="connsiteY50" fmla="*/ 169124 h 344541"/>
                    <a:gd name="connsiteX51" fmla="*/ 257548 w 553758"/>
                    <a:gd name="connsiteY51" fmla="*/ 158990 h 344541"/>
                    <a:gd name="connsiteX52" fmla="*/ 243988 w 553758"/>
                    <a:gd name="connsiteY52" fmla="*/ 156963 h 344541"/>
                    <a:gd name="connsiteX53" fmla="*/ 241727 w 553758"/>
                    <a:gd name="connsiteY53" fmla="*/ 162030 h 344541"/>
                    <a:gd name="connsiteX54" fmla="*/ 233816 w 553758"/>
                    <a:gd name="connsiteY54" fmla="*/ 162030 h 344541"/>
                    <a:gd name="connsiteX55" fmla="*/ 228166 w 553758"/>
                    <a:gd name="connsiteY55" fmla="*/ 149870 h 344541"/>
                    <a:gd name="connsiteX56" fmla="*/ 222515 w 553758"/>
                    <a:gd name="connsiteY56" fmla="*/ 147843 h 344541"/>
                    <a:gd name="connsiteX57" fmla="*/ 222515 w 553758"/>
                    <a:gd name="connsiteY57" fmla="*/ 140750 h 344541"/>
                    <a:gd name="connsiteX58" fmla="*/ 187482 w 553758"/>
                    <a:gd name="connsiteY58" fmla="*/ 133656 h 344541"/>
                    <a:gd name="connsiteX59" fmla="*/ 189741 w 553758"/>
                    <a:gd name="connsiteY59" fmla="*/ 121496 h 344541"/>
                    <a:gd name="connsiteX60" fmla="*/ 168269 w 553758"/>
                    <a:gd name="connsiteY60" fmla="*/ 92109 h 344541"/>
                    <a:gd name="connsiteX61" fmla="*/ 152447 w 553758"/>
                    <a:gd name="connsiteY61" fmla="*/ 92109 h 344541"/>
                    <a:gd name="connsiteX62" fmla="*/ 136626 w 553758"/>
                    <a:gd name="connsiteY62" fmla="*/ 72855 h 344541"/>
                    <a:gd name="connsiteX63" fmla="*/ 120804 w 553758"/>
                    <a:gd name="connsiteY63" fmla="*/ 72855 h 344541"/>
                    <a:gd name="connsiteX64" fmla="*/ 109503 w 553758"/>
                    <a:gd name="connsiteY64" fmla="*/ 62721 h 344541"/>
                    <a:gd name="connsiteX65" fmla="*/ 93681 w 553758"/>
                    <a:gd name="connsiteY65" fmla="*/ 62721 h 344541"/>
                    <a:gd name="connsiteX66" fmla="*/ 85771 w 553758"/>
                    <a:gd name="connsiteY66" fmla="*/ 55628 h 344541"/>
                    <a:gd name="connsiteX67" fmla="*/ 52997 w 553758"/>
                    <a:gd name="connsiteY67" fmla="*/ 48534 h 344541"/>
                    <a:gd name="connsiteX68" fmla="*/ 25874 w 553758"/>
                    <a:gd name="connsiteY68" fmla="*/ 31307 h 344541"/>
                    <a:gd name="connsiteX69" fmla="*/ 25874 w 553758"/>
                    <a:gd name="connsiteY69" fmla="*/ 26240 h 344541"/>
                    <a:gd name="connsiteX70" fmla="*/ 13443 w 553758"/>
                    <a:gd name="connsiteY70" fmla="*/ 29281 h 344541"/>
                    <a:gd name="connsiteX71" fmla="*/ 375081 w 553758"/>
                    <a:gd name="connsiteY71" fmla="*/ 321127 h 344541"/>
                    <a:gd name="connsiteX72" fmla="*/ 375081 w 553758"/>
                    <a:gd name="connsiteY72" fmla="*/ 328221 h 344541"/>
                    <a:gd name="connsiteX73" fmla="*/ 375081 w 553758"/>
                    <a:gd name="connsiteY73" fmla="*/ 321127 h 344541"/>
                    <a:gd name="connsiteX74" fmla="*/ 355868 w 553758"/>
                    <a:gd name="connsiteY74" fmla="*/ 298833 h 344541"/>
                    <a:gd name="connsiteX75" fmla="*/ 353609 w 553758"/>
                    <a:gd name="connsiteY75" fmla="*/ 305927 h 344541"/>
                    <a:gd name="connsiteX76" fmla="*/ 367170 w 553758"/>
                    <a:gd name="connsiteY76" fmla="*/ 307954 h 344541"/>
                    <a:gd name="connsiteX77" fmla="*/ 367170 w 553758"/>
                    <a:gd name="connsiteY77" fmla="*/ 300860 h 344541"/>
                    <a:gd name="connsiteX78" fmla="*/ 355868 w 553758"/>
                    <a:gd name="connsiteY78" fmla="*/ 298833 h 344541"/>
                    <a:gd name="connsiteX79" fmla="*/ 255289 w 553758"/>
                    <a:gd name="connsiteY79" fmla="*/ 140750 h 344541"/>
                    <a:gd name="connsiteX80" fmla="*/ 260939 w 553758"/>
                    <a:gd name="connsiteY80" fmla="*/ 147843 h 344541"/>
                    <a:gd name="connsiteX81" fmla="*/ 263199 w 553758"/>
                    <a:gd name="connsiteY81" fmla="*/ 145817 h 344541"/>
                    <a:gd name="connsiteX82" fmla="*/ 265459 w 553758"/>
                    <a:gd name="connsiteY82" fmla="*/ 140750 h 344541"/>
                    <a:gd name="connsiteX83" fmla="*/ 255289 w 553758"/>
                    <a:gd name="connsiteY83" fmla="*/ 140750 h 344541"/>
                    <a:gd name="connsiteX84" fmla="*/ 228166 w 553758"/>
                    <a:gd name="connsiteY84" fmla="*/ 126563 h 344541"/>
                    <a:gd name="connsiteX85" fmla="*/ 228166 w 553758"/>
                    <a:gd name="connsiteY85" fmla="*/ 133656 h 344541"/>
                    <a:gd name="connsiteX86" fmla="*/ 228166 w 553758"/>
                    <a:gd name="connsiteY86" fmla="*/ 126563 h 344541"/>
                    <a:gd name="connsiteX87" fmla="*/ 491483 w 553758"/>
                    <a:gd name="connsiteY87" fmla="*/ 123523 h 344541"/>
                    <a:gd name="connsiteX88" fmla="*/ 491483 w 553758"/>
                    <a:gd name="connsiteY88" fmla="*/ 152910 h 344541"/>
                    <a:gd name="connsiteX89" fmla="*/ 502784 w 553758"/>
                    <a:gd name="connsiteY89" fmla="*/ 167097 h 344541"/>
                    <a:gd name="connsiteX90" fmla="*/ 502784 w 553758"/>
                    <a:gd name="connsiteY90" fmla="*/ 177230 h 344541"/>
                    <a:gd name="connsiteX91" fmla="*/ 510696 w 553758"/>
                    <a:gd name="connsiteY91" fmla="*/ 182297 h 344541"/>
                    <a:gd name="connsiteX92" fmla="*/ 512955 w 553758"/>
                    <a:gd name="connsiteY92" fmla="*/ 192431 h 344541"/>
                    <a:gd name="connsiteX93" fmla="*/ 537819 w 553758"/>
                    <a:gd name="connsiteY93" fmla="*/ 202564 h 344541"/>
                    <a:gd name="connsiteX94" fmla="*/ 549120 w 553758"/>
                    <a:gd name="connsiteY94" fmla="*/ 192431 h 344541"/>
                    <a:gd name="connsiteX95" fmla="*/ 537819 w 553758"/>
                    <a:gd name="connsiteY95" fmla="*/ 170137 h 344541"/>
                    <a:gd name="connsiteX96" fmla="*/ 529907 w 553758"/>
                    <a:gd name="connsiteY96" fmla="*/ 170137 h 344541"/>
                    <a:gd name="connsiteX97" fmla="*/ 514085 w 553758"/>
                    <a:gd name="connsiteY97" fmla="*/ 155950 h 344541"/>
                    <a:gd name="connsiteX98" fmla="*/ 514085 w 553758"/>
                    <a:gd name="connsiteY98" fmla="*/ 145817 h 344541"/>
                    <a:gd name="connsiteX99" fmla="*/ 500524 w 553758"/>
                    <a:gd name="connsiteY99" fmla="*/ 138723 h 344541"/>
                    <a:gd name="connsiteX100" fmla="*/ 498264 w 553758"/>
                    <a:gd name="connsiteY100" fmla="*/ 124536 h 344541"/>
                    <a:gd name="connsiteX101" fmla="*/ 491483 w 553758"/>
                    <a:gd name="connsiteY101" fmla="*/ 124536 h 344541"/>
                    <a:gd name="connsiteX102" fmla="*/ 406724 w 553758"/>
                    <a:gd name="connsiteY102" fmla="*/ 94135 h 344541"/>
                    <a:gd name="connsiteX103" fmla="*/ 398813 w 553758"/>
                    <a:gd name="connsiteY103" fmla="*/ 113389 h 344541"/>
                    <a:gd name="connsiteX104" fmla="*/ 385253 w 553758"/>
                    <a:gd name="connsiteY104" fmla="*/ 118456 h 344541"/>
                    <a:gd name="connsiteX105" fmla="*/ 385253 w 553758"/>
                    <a:gd name="connsiteY105" fmla="*/ 125549 h 344541"/>
                    <a:gd name="connsiteX106" fmla="*/ 352479 w 553758"/>
                    <a:gd name="connsiteY106" fmla="*/ 139736 h 344541"/>
                    <a:gd name="connsiteX107" fmla="*/ 346828 w 553758"/>
                    <a:gd name="connsiteY107" fmla="*/ 127576 h 344541"/>
                    <a:gd name="connsiteX108" fmla="*/ 311795 w 553758"/>
                    <a:gd name="connsiteY108" fmla="*/ 149870 h 344541"/>
                    <a:gd name="connsiteX109" fmla="*/ 295973 w 553758"/>
                    <a:gd name="connsiteY109" fmla="*/ 144803 h 344541"/>
                    <a:gd name="connsiteX110" fmla="*/ 288061 w 553758"/>
                    <a:gd name="connsiteY110" fmla="*/ 151896 h 344541"/>
                    <a:gd name="connsiteX111" fmla="*/ 307274 w 553758"/>
                    <a:gd name="connsiteY111" fmla="*/ 158990 h 344541"/>
                    <a:gd name="connsiteX112" fmla="*/ 312925 w 553758"/>
                    <a:gd name="connsiteY112" fmla="*/ 166084 h 344541"/>
                    <a:gd name="connsiteX113" fmla="*/ 342307 w 553758"/>
                    <a:gd name="connsiteY113" fmla="*/ 164057 h 344541"/>
                    <a:gd name="connsiteX114" fmla="*/ 375081 w 553758"/>
                    <a:gd name="connsiteY114" fmla="*/ 162030 h 344541"/>
                    <a:gd name="connsiteX115" fmla="*/ 382991 w 553758"/>
                    <a:gd name="connsiteY115" fmla="*/ 151896 h 344541"/>
                    <a:gd name="connsiteX116" fmla="*/ 394293 w 553758"/>
                    <a:gd name="connsiteY116" fmla="*/ 146830 h 344541"/>
                    <a:gd name="connsiteX117" fmla="*/ 396554 w 553758"/>
                    <a:gd name="connsiteY117" fmla="*/ 136696 h 344541"/>
                    <a:gd name="connsiteX118" fmla="*/ 412374 w 553758"/>
                    <a:gd name="connsiteY118" fmla="*/ 134670 h 344541"/>
                    <a:gd name="connsiteX119" fmla="*/ 412374 w 553758"/>
                    <a:gd name="connsiteY119" fmla="*/ 120483 h 344541"/>
                    <a:gd name="connsiteX120" fmla="*/ 420286 w 553758"/>
                    <a:gd name="connsiteY120" fmla="*/ 118456 h 344541"/>
                    <a:gd name="connsiteX121" fmla="*/ 420286 w 553758"/>
                    <a:gd name="connsiteY121" fmla="*/ 111362 h 344541"/>
                    <a:gd name="connsiteX122" fmla="*/ 420286 w 553758"/>
                    <a:gd name="connsiteY122" fmla="*/ 101229 h 344541"/>
                    <a:gd name="connsiteX123" fmla="*/ 414635 w 553758"/>
                    <a:gd name="connsiteY123" fmla="*/ 101229 h 344541"/>
                    <a:gd name="connsiteX124" fmla="*/ 414635 w 553758"/>
                    <a:gd name="connsiteY124" fmla="*/ 94135 h 344541"/>
                    <a:gd name="connsiteX125" fmla="*/ 406724 w 553758"/>
                    <a:gd name="connsiteY125" fmla="*/ 94135 h 344541"/>
                    <a:gd name="connsiteX126" fmla="*/ 410115 w 553758"/>
                    <a:gd name="connsiteY126" fmla="*/ 65761 h 344541"/>
                    <a:gd name="connsiteX127" fmla="*/ 412374 w 553758"/>
                    <a:gd name="connsiteY127" fmla="*/ 75895 h 344541"/>
                    <a:gd name="connsiteX128" fmla="*/ 425937 w 553758"/>
                    <a:gd name="connsiteY128" fmla="*/ 88055 h 344541"/>
                    <a:gd name="connsiteX129" fmla="*/ 431587 w 553758"/>
                    <a:gd name="connsiteY129" fmla="*/ 112376 h 344541"/>
                    <a:gd name="connsiteX130" fmla="*/ 437238 w 553758"/>
                    <a:gd name="connsiteY130" fmla="*/ 112376 h 344541"/>
                    <a:gd name="connsiteX131" fmla="*/ 439497 w 553758"/>
                    <a:gd name="connsiteY131" fmla="*/ 105282 h 344541"/>
                    <a:gd name="connsiteX132" fmla="*/ 410115 w 553758"/>
                    <a:gd name="connsiteY132" fmla="*/ 65761 h 344541"/>
                    <a:gd name="connsiteX133" fmla="*/ 366040 w 553758"/>
                    <a:gd name="connsiteY133" fmla="*/ 41441 h 344541"/>
                    <a:gd name="connsiteX134" fmla="*/ 368301 w 553758"/>
                    <a:gd name="connsiteY134" fmla="*/ 48534 h 344541"/>
                    <a:gd name="connsiteX135" fmla="*/ 395423 w 553758"/>
                    <a:gd name="connsiteY135" fmla="*/ 60694 h 344541"/>
                    <a:gd name="connsiteX136" fmla="*/ 406724 w 553758"/>
                    <a:gd name="connsiteY136" fmla="*/ 62721 h 344541"/>
                    <a:gd name="connsiteX137" fmla="*/ 406724 w 553758"/>
                    <a:gd name="connsiteY137" fmla="*/ 55628 h 344541"/>
                    <a:gd name="connsiteX138" fmla="*/ 366040 w 553758"/>
                    <a:gd name="connsiteY138" fmla="*/ 41441 h 344541"/>
                    <a:gd name="connsiteX139" fmla="*/ 338917 w 553758"/>
                    <a:gd name="connsiteY139" fmla="*/ 31307 h 344541"/>
                    <a:gd name="connsiteX140" fmla="*/ 341178 w 553758"/>
                    <a:gd name="connsiteY140" fmla="*/ 38401 h 344541"/>
                    <a:gd name="connsiteX141" fmla="*/ 341178 w 553758"/>
                    <a:gd name="connsiteY141" fmla="*/ 40427 h 344541"/>
                    <a:gd name="connsiteX142" fmla="*/ 354738 w 553758"/>
                    <a:gd name="connsiteY142" fmla="*/ 40427 h 344541"/>
                    <a:gd name="connsiteX143" fmla="*/ 354738 w 553758"/>
                    <a:gd name="connsiteY143" fmla="*/ 30294 h 344541"/>
                    <a:gd name="connsiteX144" fmla="*/ 338917 w 553758"/>
                    <a:gd name="connsiteY144" fmla="*/ 31307 h 344541"/>
                    <a:gd name="connsiteX145" fmla="*/ 216864 w 553758"/>
                    <a:gd name="connsiteY145" fmla="*/ 9013 h 344541"/>
                    <a:gd name="connsiteX146" fmla="*/ 214603 w 553758"/>
                    <a:gd name="connsiteY146" fmla="*/ 19147 h 344541"/>
                    <a:gd name="connsiteX147" fmla="*/ 241727 w 553758"/>
                    <a:gd name="connsiteY147" fmla="*/ 19147 h 344541"/>
                    <a:gd name="connsiteX148" fmla="*/ 236076 w 553758"/>
                    <a:gd name="connsiteY148" fmla="*/ 14080 h 344541"/>
                    <a:gd name="connsiteX149" fmla="*/ 216864 w 553758"/>
                    <a:gd name="connsiteY149" fmla="*/ 9013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553758" h="344541">
                      <a:moveTo>
                        <a:pt x="13443" y="29281"/>
                      </a:moveTo>
                      <a:lnTo>
                        <a:pt x="15703" y="174190"/>
                      </a:lnTo>
                      <a:lnTo>
                        <a:pt x="10052" y="184324"/>
                      </a:lnTo>
                      <a:lnTo>
                        <a:pt x="15703" y="199524"/>
                      </a:lnTo>
                      <a:lnTo>
                        <a:pt x="17964" y="282620"/>
                      </a:lnTo>
                      <a:cubicBezTo>
                        <a:pt x="29265" y="284646"/>
                        <a:pt x="45085" y="283633"/>
                        <a:pt x="54127" y="282620"/>
                      </a:cubicBezTo>
                      <a:cubicBezTo>
                        <a:pt x="55257" y="282620"/>
                        <a:pt x="62037" y="275526"/>
                        <a:pt x="62037" y="275526"/>
                      </a:cubicBezTo>
                      <a:cubicBezTo>
                        <a:pt x="65428" y="275526"/>
                        <a:pt x="66558" y="279580"/>
                        <a:pt x="67688" y="280593"/>
                      </a:cubicBezTo>
                      <a:cubicBezTo>
                        <a:pt x="78989" y="283633"/>
                        <a:pt x="98202" y="276540"/>
                        <a:pt x="102723" y="273499"/>
                      </a:cubicBezTo>
                      <a:lnTo>
                        <a:pt x="102723" y="268433"/>
                      </a:lnTo>
                      <a:cubicBezTo>
                        <a:pt x="102723" y="267419"/>
                        <a:pt x="109503" y="264379"/>
                        <a:pt x="110633" y="263366"/>
                      </a:cubicBezTo>
                      <a:cubicBezTo>
                        <a:pt x="109503" y="257286"/>
                        <a:pt x="104982" y="254246"/>
                        <a:pt x="108373" y="246139"/>
                      </a:cubicBezTo>
                      <a:cubicBezTo>
                        <a:pt x="108373" y="245125"/>
                        <a:pt x="115154" y="237019"/>
                        <a:pt x="116284" y="236005"/>
                      </a:cubicBezTo>
                      <a:cubicBezTo>
                        <a:pt x="121934" y="234992"/>
                        <a:pt x="116284" y="237019"/>
                        <a:pt x="118543" y="238032"/>
                      </a:cubicBezTo>
                      <a:cubicBezTo>
                        <a:pt x="126455" y="244112"/>
                        <a:pt x="125325" y="233978"/>
                        <a:pt x="137756" y="236005"/>
                      </a:cubicBezTo>
                      <a:cubicBezTo>
                        <a:pt x="140016" y="236005"/>
                        <a:pt x="149057" y="243099"/>
                        <a:pt x="151317" y="243099"/>
                      </a:cubicBezTo>
                      <a:cubicBezTo>
                        <a:pt x="164879" y="245125"/>
                        <a:pt x="172789" y="240059"/>
                        <a:pt x="186350" y="245125"/>
                      </a:cubicBezTo>
                      <a:cubicBezTo>
                        <a:pt x="188611" y="246139"/>
                        <a:pt x="210084" y="264379"/>
                        <a:pt x="211214" y="267419"/>
                      </a:cubicBezTo>
                      <a:cubicBezTo>
                        <a:pt x="212344" y="271473"/>
                        <a:pt x="208953" y="277553"/>
                        <a:pt x="211214" y="281606"/>
                      </a:cubicBezTo>
                      <a:lnTo>
                        <a:pt x="216864" y="281606"/>
                      </a:lnTo>
                      <a:lnTo>
                        <a:pt x="219124" y="283633"/>
                      </a:lnTo>
                      <a:cubicBezTo>
                        <a:pt x="224775" y="298833"/>
                        <a:pt x="228166" y="288700"/>
                        <a:pt x="238337" y="295793"/>
                      </a:cubicBezTo>
                      <a:cubicBezTo>
                        <a:pt x="239467" y="296807"/>
                        <a:pt x="237206" y="301873"/>
                        <a:pt x="238337" y="302887"/>
                      </a:cubicBezTo>
                      <a:cubicBezTo>
                        <a:pt x="239467" y="305927"/>
                        <a:pt x="253028" y="307954"/>
                        <a:pt x="254158" y="313020"/>
                      </a:cubicBezTo>
                      <a:cubicBezTo>
                        <a:pt x="255289" y="315047"/>
                        <a:pt x="253028" y="321127"/>
                        <a:pt x="254158" y="323154"/>
                      </a:cubicBezTo>
                      <a:cubicBezTo>
                        <a:pt x="258678" y="327207"/>
                        <a:pt x="262069" y="322141"/>
                        <a:pt x="265459" y="323154"/>
                      </a:cubicBezTo>
                      <a:cubicBezTo>
                        <a:pt x="266590" y="323154"/>
                        <a:pt x="274500" y="330247"/>
                        <a:pt x="276760" y="330247"/>
                      </a:cubicBezTo>
                      <a:cubicBezTo>
                        <a:pt x="282411" y="331261"/>
                        <a:pt x="284672" y="327207"/>
                        <a:pt x="288061" y="328221"/>
                      </a:cubicBezTo>
                      <a:lnTo>
                        <a:pt x="293712" y="333288"/>
                      </a:lnTo>
                      <a:cubicBezTo>
                        <a:pt x="303883" y="335314"/>
                        <a:pt x="310664" y="332274"/>
                        <a:pt x="320835" y="335314"/>
                      </a:cubicBezTo>
                      <a:cubicBezTo>
                        <a:pt x="321965" y="335314"/>
                        <a:pt x="324226" y="342408"/>
                        <a:pt x="326485" y="342408"/>
                      </a:cubicBezTo>
                      <a:cubicBezTo>
                        <a:pt x="334397" y="345448"/>
                        <a:pt x="341178" y="343421"/>
                        <a:pt x="351349" y="344434"/>
                      </a:cubicBezTo>
                      <a:cubicBezTo>
                        <a:pt x="350218" y="341394"/>
                        <a:pt x="351349" y="337341"/>
                        <a:pt x="351349" y="330247"/>
                      </a:cubicBezTo>
                      <a:cubicBezTo>
                        <a:pt x="346828" y="328221"/>
                        <a:pt x="340048" y="330247"/>
                        <a:pt x="335527" y="328221"/>
                      </a:cubicBezTo>
                      <a:cubicBezTo>
                        <a:pt x="334397" y="327207"/>
                        <a:pt x="333266" y="322141"/>
                        <a:pt x="329876" y="321127"/>
                      </a:cubicBezTo>
                      <a:cubicBezTo>
                        <a:pt x="331006" y="317074"/>
                        <a:pt x="333266" y="316060"/>
                        <a:pt x="332136" y="310994"/>
                      </a:cubicBezTo>
                      <a:cubicBezTo>
                        <a:pt x="329876" y="310994"/>
                        <a:pt x="325356" y="305927"/>
                        <a:pt x="324226" y="305927"/>
                      </a:cubicBezTo>
                      <a:cubicBezTo>
                        <a:pt x="317445" y="304913"/>
                        <a:pt x="317445" y="307954"/>
                        <a:pt x="312925" y="307954"/>
                      </a:cubicBezTo>
                      <a:cubicBezTo>
                        <a:pt x="308404" y="298833"/>
                        <a:pt x="305013" y="291740"/>
                        <a:pt x="305013" y="283633"/>
                      </a:cubicBezTo>
                      <a:cubicBezTo>
                        <a:pt x="295973" y="282620"/>
                        <a:pt x="291452" y="282620"/>
                        <a:pt x="283542" y="281606"/>
                      </a:cubicBezTo>
                      <a:cubicBezTo>
                        <a:pt x="282411" y="276540"/>
                        <a:pt x="284672" y="271473"/>
                        <a:pt x="283542" y="267419"/>
                      </a:cubicBezTo>
                      <a:cubicBezTo>
                        <a:pt x="283542" y="266406"/>
                        <a:pt x="275630" y="261339"/>
                        <a:pt x="275630" y="260326"/>
                      </a:cubicBezTo>
                      <a:cubicBezTo>
                        <a:pt x="274500" y="258299"/>
                        <a:pt x="276760" y="252219"/>
                        <a:pt x="275630" y="250192"/>
                      </a:cubicBezTo>
                      <a:cubicBezTo>
                        <a:pt x="272241" y="246139"/>
                        <a:pt x="267720" y="248165"/>
                        <a:pt x="262069" y="245125"/>
                      </a:cubicBezTo>
                      <a:cubicBezTo>
                        <a:pt x="243988" y="237019"/>
                        <a:pt x="241727" y="222831"/>
                        <a:pt x="242856" y="203578"/>
                      </a:cubicBezTo>
                      <a:cubicBezTo>
                        <a:pt x="234946" y="206618"/>
                        <a:pt x="240597" y="194458"/>
                        <a:pt x="240597" y="193444"/>
                      </a:cubicBezTo>
                      <a:cubicBezTo>
                        <a:pt x="243988" y="193444"/>
                        <a:pt x="247377" y="197498"/>
                        <a:pt x="254158" y="195471"/>
                      </a:cubicBezTo>
                      <a:lnTo>
                        <a:pt x="259808" y="190404"/>
                      </a:lnTo>
                      <a:lnTo>
                        <a:pt x="265459" y="185337"/>
                      </a:lnTo>
                      <a:cubicBezTo>
                        <a:pt x="266590" y="180271"/>
                        <a:pt x="264329" y="175204"/>
                        <a:pt x="265459" y="171151"/>
                      </a:cubicBezTo>
                      <a:cubicBezTo>
                        <a:pt x="264329" y="171151"/>
                        <a:pt x="259808" y="169124"/>
                        <a:pt x="259808" y="169124"/>
                      </a:cubicBezTo>
                      <a:cubicBezTo>
                        <a:pt x="257548" y="166084"/>
                        <a:pt x="258678" y="163043"/>
                        <a:pt x="257548" y="158990"/>
                      </a:cubicBezTo>
                      <a:cubicBezTo>
                        <a:pt x="250768" y="158990"/>
                        <a:pt x="247377" y="156963"/>
                        <a:pt x="243988" y="156963"/>
                      </a:cubicBezTo>
                      <a:cubicBezTo>
                        <a:pt x="245117" y="156963"/>
                        <a:pt x="241727" y="161017"/>
                        <a:pt x="241727" y="162030"/>
                      </a:cubicBezTo>
                      <a:cubicBezTo>
                        <a:pt x="240597" y="161017"/>
                        <a:pt x="234946" y="162030"/>
                        <a:pt x="233816" y="162030"/>
                      </a:cubicBezTo>
                      <a:cubicBezTo>
                        <a:pt x="232686" y="158990"/>
                        <a:pt x="230425" y="152910"/>
                        <a:pt x="228166" y="149870"/>
                      </a:cubicBezTo>
                      <a:lnTo>
                        <a:pt x="222515" y="147843"/>
                      </a:lnTo>
                      <a:cubicBezTo>
                        <a:pt x="221385" y="146830"/>
                        <a:pt x="223645" y="140750"/>
                        <a:pt x="222515" y="140750"/>
                      </a:cubicBezTo>
                      <a:cubicBezTo>
                        <a:pt x="213474" y="135683"/>
                        <a:pt x="195392" y="139736"/>
                        <a:pt x="187482" y="133656"/>
                      </a:cubicBezTo>
                      <a:cubicBezTo>
                        <a:pt x="182961" y="130616"/>
                        <a:pt x="190871" y="124536"/>
                        <a:pt x="189741" y="121496"/>
                      </a:cubicBezTo>
                      <a:cubicBezTo>
                        <a:pt x="188611" y="116429"/>
                        <a:pt x="173919" y="95149"/>
                        <a:pt x="168269" y="92109"/>
                      </a:cubicBezTo>
                      <a:cubicBezTo>
                        <a:pt x="163748" y="90082"/>
                        <a:pt x="156968" y="93122"/>
                        <a:pt x="152447" y="92109"/>
                      </a:cubicBezTo>
                      <a:cubicBezTo>
                        <a:pt x="145666" y="90082"/>
                        <a:pt x="142277" y="75895"/>
                        <a:pt x="136626" y="72855"/>
                      </a:cubicBezTo>
                      <a:cubicBezTo>
                        <a:pt x="133235" y="70828"/>
                        <a:pt x="124194" y="73868"/>
                        <a:pt x="120804" y="72855"/>
                      </a:cubicBezTo>
                      <a:cubicBezTo>
                        <a:pt x="118543" y="71841"/>
                        <a:pt x="112893" y="63735"/>
                        <a:pt x="109503" y="62721"/>
                      </a:cubicBezTo>
                      <a:cubicBezTo>
                        <a:pt x="104982" y="60694"/>
                        <a:pt x="98202" y="63735"/>
                        <a:pt x="93681" y="62721"/>
                      </a:cubicBezTo>
                      <a:cubicBezTo>
                        <a:pt x="92551" y="62721"/>
                        <a:pt x="86901" y="55628"/>
                        <a:pt x="85771" y="55628"/>
                      </a:cubicBezTo>
                      <a:cubicBezTo>
                        <a:pt x="74470" y="51574"/>
                        <a:pt x="63168" y="52588"/>
                        <a:pt x="52997" y="48534"/>
                      </a:cubicBezTo>
                      <a:cubicBezTo>
                        <a:pt x="43956" y="44481"/>
                        <a:pt x="34915" y="36374"/>
                        <a:pt x="25874" y="31307"/>
                      </a:cubicBezTo>
                      <a:lnTo>
                        <a:pt x="25874" y="26240"/>
                      </a:lnTo>
                      <a:cubicBezTo>
                        <a:pt x="17964" y="25227"/>
                        <a:pt x="16832" y="29281"/>
                        <a:pt x="13443" y="29281"/>
                      </a:cubicBezTo>
                      <a:close/>
                      <a:moveTo>
                        <a:pt x="375081" y="321127"/>
                      </a:moveTo>
                      <a:cubicBezTo>
                        <a:pt x="370560" y="322141"/>
                        <a:pt x="368301" y="330247"/>
                        <a:pt x="375081" y="328221"/>
                      </a:cubicBezTo>
                      <a:cubicBezTo>
                        <a:pt x="375081" y="328221"/>
                        <a:pt x="381862" y="319100"/>
                        <a:pt x="375081" y="321127"/>
                      </a:cubicBezTo>
                      <a:close/>
                      <a:moveTo>
                        <a:pt x="355868" y="298833"/>
                      </a:moveTo>
                      <a:lnTo>
                        <a:pt x="353609" y="305927"/>
                      </a:lnTo>
                      <a:cubicBezTo>
                        <a:pt x="360389" y="304913"/>
                        <a:pt x="361519" y="306940"/>
                        <a:pt x="367170" y="307954"/>
                      </a:cubicBezTo>
                      <a:cubicBezTo>
                        <a:pt x="367170" y="307954"/>
                        <a:pt x="367170" y="300860"/>
                        <a:pt x="367170" y="300860"/>
                      </a:cubicBezTo>
                      <a:cubicBezTo>
                        <a:pt x="361519" y="299847"/>
                        <a:pt x="359259" y="300860"/>
                        <a:pt x="355868" y="298833"/>
                      </a:cubicBezTo>
                      <a:close/>
                      <a:moveTo>
                        <a:pt x="255289" y="140750"/>
                      </a:moveTo>
                      <a:lnTo>
                        <a:pt x="260939" y="147843"/>
                      </a:lnTo>
                      <a:cubicBezTo>
                        <a:pt x="260939" y="147843"/>
                        <a:pt x="268850" y="147843"/>
                        <a:pt x="263199" y="145817"/>
                      </a:cubicBezTo>
                      <a:cubicBezTo>
                        <a:pt x="263199" y="145817"/>
                        <a:pt x="268850" y="141763"/>
                        <a:pt x="265459" y="140750"/>
                      </a:cubicBezTo>
                      <a:cubicBezTo>
                        <a:pt x="263199" y="139736"/>
                        <a:pt x="258678" y="141763"/>
                        <a:pt x="255289" y="140750"/>
                      </a:cubicBezTo>
                      <a:close/>
                      <a:moveTo>
                        <a:pt x="228166" y="126563"/>
                      </a:moveTo>
                      <a:lnTo>
                        <a:pt x="228166" y="133656"/>
                      </a:lnTo>
                      <a:cubicBezTo>
                        <a:pt x="234946" y="133656"/>
                        <a:pt x="234946" y="125549"/>
                        <a:pt x="228166" y="126563"/>
                      </a:cubicBezTo>
                      <a:close/>
                      <a:moveTo>
                        <a:pt x="491483" y="123523"/>
                      </a:moveTo>
                      <a:cubicBezTo>
                        <a:pt x="493744" y="135683"/>
                        <a:pt x="489223" y="142776"/>
                        <a:pt x="491483" y="152910"/>
                      </a:cubicBezTo>
                      <a:cubicBezTo>
                        <a:pt x="492614" y="157977"/>
                        <a:pt x="500524" y="163043"/>
                        <a:pt x="502784" y="167097"/>
                      </a:cubicBezTo>
                      <a:cubicBezTo>
                        <a:pt x="503915" y="169124"/>
                        <a:pt x="501654" y="174190"/>
                        <a:pt x="502784" y="177230"/>
                      </a:cubicBezTo>
                      <a:cubicBezTo>
                        <a:pt x="503915" y="178244"/>
                        <a:pt x="509566" y="180271"/>
                        <a:pt x="510696" y="182297"/>
                      </a:cubicBezTo>
                      <a:cubicBezTo>
                        <a:pt x="512955" y="185337"/>
                        <a:pt x="510696" y="189391"/>
                        <a:pt x="512955" y="192431"/>
                      </a:cubicBezTo>
                      <a:cubicBezTo>
                        <a:pt x="515216" y="194458"/>
                        <a:pt x="533298" y="200538"/>
                        <a:pt x="537819" y="202564"/>
                      </a:cubicBezTo>
                      <a:cubicBezTo>
                        <a:pt x="541208" y="199524"/>
                        <a:pt x="544599" y="195471"/>
                        <a:pt x="549120" y="192431"/>
                      </a:cubicBezTo>
                      <a:cubicBezTo>
                        <a:pt x="545729" y="186351"/>
                        <a:pt x="543469" y="175204"/>
                        <a:pt x="537819" y="170137"/>
                      </a:cubicBezTo>
                      <a:cubicBezTo>
                        <a:pt x="536687" y="169124"/>
                        <a:pt x="531037" y="171151"/>
                        <a:pt x="529907" y="170137"/>
                      </a:cubicBezTo>
                      <a:cubicBezTo>
                        <a:pt x="527647" y="169124"/>
                        <a:pt x="515216" y="156963"/>
                        <a:pt x="514085" y="155950"/>
                      </a:cubicBezTo>
                      <a:cubicBezTo>
                        <a:pt x="512955" y="153923"/>
                        <a:pt x="515216" y="148857"/>
                        <a:pt x="514085" y="145817"/>
                      </a:cubicBezTo>
                      <a:cubicBezTo>
                        <a:pt x="512955" y="141763"/>
                        <a:pt x="502784" y="140750"/>
                        <a:pt x="500524" y="138723"/>
                      </a:cubicBezTo>
                      <a:cubicBezTo>
                        <a:pt x="497133" y="133656"/>
                        <a:pt x="500524" y="129603"/>
                        <a:pt x="498264" y="124536"/>
                      </a:cubicBezTo>
                      <a:lnTo>
                        <a:pt x="491483" y="124536"/>
                      </a:lnTo>
                      <a:close/>
                      <a:moveTo>
                        <a:pt x="406724" y="94135"/>
                      </a:moveTo>
                      <a:cubicBezTo>
                        <a:pt x="384121" y="109336"/>
                        <a:pt x="405594" y="102242"/>
                        <a:pt x="398813" y="113389"/>
                      </a:cubicBezTo>
                      <a:cubicBezTo>
                        <a:pt x="397684" y="116429"/>
                        <a:pt x="387512" y="115416"/>
                        <a:pt x="385253" y="118456"/>
                      </a:cubicBezTo>
                      <a:cubicBezTo>
                        <a:pt x="384121" y="120483"/>
                        <a:pt x="385253" y="123523"/>
                        <a:pt x="385253" y="125549"/>
                      </a:cubicBezTo>
                      <a:cubicBezTo>
                        <a:pt x="381862" y="138723"/>
                        <a:pt x="369431" y="137710"/>
                        <a:pt x="352479" y="139736"/>
                      </a:cubicBezTo>
                      <a:cubicBezTo>
                        <a:pt x="349088" y="132643"/>
                        <a:pt x="349088" y="133656"/>
                        <a:pt x="346828" y="127576"/>
                      </a:cubicBezTo>
                      <a:cubicBezTo>
                        <a:pt x="340048" y="137710"/>
                        <a:pt x="329876" y="150883"/>
                        <a:pt x="311795" y="149870"/>
                      </a:cubicBezTo>
                      <a:cubicBezTo>
                        <a:pt x="307274" y="149870"/>
                        <a:pt x="305013" y="142776"/>
                        <a:pt x="295973" y="144803"/>
                      </a:cubicBezTo>
                      <a:cubicBezTo>
                        <a:pt x="293712" y="144803"/>
                        <a:pt x="289192" y="151896"/>
                        <a:pt x="288061" y="151896"/>
                      </a:cubicBezTo>
                      <a:cubicBezTo>
                        <a:pt x="292582" y="153923"/>
                        <a:pt x="301623" y="155950"/>
                        <a:pt x="307274" y="158990"/>
                      </a:cubicBezTo>
                      <a:cubicBezTo>
                        <a:pt x="309534" y="160004"/>
                        <a:pt x="309534" y="166084"/>
                        <a:pt x="312925" y="166084"/>
                      </a:cubicBezTo>
                      <a:cubicBezTo>
                        <a:pt x="323096" y="168110"/>
                        <a:pt x="337787" y="164057"/>
                        <a:pt x="342307" y="164057"/>
                      </a:cubicBezTo>
                      <a:cubicBezTo>
                        <a:pt x="351349" y="164057"/>
                        <a:pt x="363780" y="167097"/>
                        <a:pt x="375081" y="162030"/>
                      </a:cubicBezTo>
                      <a:cubicBezTo>
                        <a:pt x="377341" y="161017"/>
                        <a:pt x="380732" y="153923"/>
                        <a:pt x="382991" y="151896"/>
                      </a:cubicBezTo>
                      <a:cubicBezTo>
                        <a:pt x="386382" y="149870"/>
                        <a:pt x="392033" y="149870"/>
                        <a:pt x="394293" y="146830"/>
                      </a:cubicBezTo>
                      <a:cubicBezTo>
                        <a:pt x="396554" y="143790"/>
                        <a:pt x="393163" y="138723"/>
                        <a:pt x="396554" y="136696"/>
                      </a:cubicBezTo>
                      <a:cubicBezTo>
                        <a:pt x="402204" y="133656"/>
                        <a:pt x="405594" y="136696"/>
                        <a:pt x="412374" y="134670"/>
                      </a:cubicBezTo>
                      <a:cubicBezTo>
                        <a:pt x="412374" y="132643"/>
                        <a:pt x="416895" y="121496"/>
                        <a:pt x="412374" y="120483"/>
                      </a:cubicBezTo>
                      <a:cubicBezTo>
                        <a:pt x="412374" y="119469"/>
                        <a:pt x="419156" y="118456"/>
                        <a:pt x="420286" y="118456"/>
                      </a:cubicBezTo>
                      <a:cubicBezTo>
                        <a:pt x="421416" y="117442"/>
                        <a:pt x="422546" y="108322"/>
                        <a:pt x="420286" y="111362"/>
                      </a:cubicBezTo>
                      <a:cubicBezTo>
                        <a:pt x="420286" y="110349"/>
                        <a:pt x="419156" y="102242"/>
                        <a:pt x="420286" y="101229"/>
                      </a:cubicBezTo>
                      <a:lnTo>
                        <a:pt x="414635" y="101229"/>
                      </a:lnTo>
                      <a:cubicBezTo>
                        <a:pt x="414635" y="100216"/>
                        <a:pt x="414635" y="94135"/>
                        <a:pt x="414635" y="94135"/>
                      </a:cubicBezTo>
                      <a:cubicBezTo>
                        <a:pt x="413506" y="93122"/>
                        <a:pt x="408985" y="96162"/>
                        <a:pt x="406724" y="94135"/>
                      </a:cubicBezTo>
                      <a:close/>
                      <a:moveTo>
                        <a:pt x="410115" y="65761"/>
                      </a:moveTo>
                      <a:cubicBezTo>
                        <a:pt x="412374" y="68801"/>
                        <a:pt x="410115" y="72855"/>
                        <a:pt x="412374" y="75895"/>
                      </a:cubicBezTo>
                      <a:cubicBezTo>
                        <a:pt x="414635" y="78935"/>
                        <a:pt x="424807" y="84002"/>
                        <a:pt x="425937" y="88055"/>
                      </a:cubicBezTo>
                      <a:cubicBezTo>
                        <a:pt x="431587" y="106295"/>
                        <a:pt x="415765" y="99202"/>
                        <a:pt x="431587" y="112376"/>
                      </a:cubicBezTo>
                      <a:lnTo>
                        <a:pt x="437238" y="112376"/>
                      </a:lnTo>
                      <a:cubicBezTo>
                        <a:pt x="438368" y="108322"/>
                        <a:pt x="439497" y="106295"/>
                        <a:pt x="439497" y="105282"/>
                      </a:cubicBezTo>
                      <a:cubicBezTo>
                        <a:pt x="448539" y="81975"/>
                        <a:pt x="424807" y="73868"/>
                        <a:pt x="410115" y="65761"/>
                      </a:cubicBezTo>
                      <a:close/>
                      <a:moveTo>
                        <a:pt x="366040" y="41441"/>
                      </a:moveTo>
                      <a:cubicBezTo>
                        <a:pt x="367170" y="42454"/>
                        <a:pt x="367170" y="47521"/>
                        <a:pt x="368301" y="48534"/>
                      </a:cubicBezTo>
                      <a:cubicBezTo>
                        <a:pt x="377341" y="54614"/>
                        <a:pt x="386382" y="55628"/>
                        <a:pt x="395423" y="60694"/>
                      </a:cubicBezTo>
                      <a:cubicBezTo>
                        <a:pt x="390903" y="61708"/>
                        <a:pt x="405594" y="62721"/>
                        <a:pt x="406724" y="62721"/>
                      </a:cubicBezTo>
                      <a:cubicBezTo>
                        <a:pt x="406724" y="62721"/>
                        <a:pt x="406724" y="55628"/>
                        <a:pt x="406724" y="55628"/>
                      </a:cubicBezTo>
                      <a:cubicBezTo>
                        <a:pt x="392033" y="49548"/>
                        <a:pt x="382991" y="45494"/>
                        <a:pt x="366040" y="41441"/>
                      </a:cubicBezTo>
                      <a:close/>
                      <a:moveTo>
                        <a:pt x="338917" y="31307"/>
                      </a:moveTo>
                      <a:cubicBezTo>
                        <a:pt x="338917" y="31307"/>
                        <a:pt x="335527" y="36374"/>
                        <a:pt x="341178" y="38401"/>
                      </a:cubicBezTo>
                      <a:lnTo>
                        <a:pt x="341178" y="40427"/>
                      </a:lnTo>
                      <a:cubicBezTo>
                        <a:pt x="344567" y="39414"/>
                        <a:pt x="351349" y="40427"/>
                        <a:pt x="354738" y="40427"/>
                      </a:cubicBezTo>
                      <a:cubicBezTo>
                        <a:pt x="354738" y="40427"/>
                        <a:pt x="359259" y="32321"/>
                        <a:pt x="354738" y="30294"/>
                      </a:cubicBezTo>
                      <a:cubicBezTo>
                        <a:pt x="350218" y="29281"/>
                        <a:pt x="344567" y="32321"/>
                        <a:pt x="338917" y="31307"/>
                      </a:cubicBezTo>
                      <a:close/>
                      <a:moveTo>
                        <a:pt x="216864" y="9013"/>
                      </a:moveTo>
                      <a:cubicBezTo>
                        <a:pt x="216864" y="9013"/>
                        <a:pt x="214603" y="16107"/>
                        <a:pt x="214603" y="19147"/>
                      </a:cubicBezTo>
                      <a:cubicBezTo>
                        <a:pt x="225905" y="20160"/>
                        <a:pt x="233816" y="19147"/>
                        <a:pt x="241727" y="19147"/>
                      </a:cubicBezTo>
                      <a:cubicBezTo>
                        <a:pt x="241727" y="19147"/>
                        <a:pt x="234946" y="15093"/>
                        <a:pt x="236076" y="14080"/>
                      </a:cubicBezTo>
                      <a:cubicBezTo>
                        <a:pt x="230425" y="13067"/>
                        <a:pt x="222515" y="11040"/>
                        <a:pt x="216864"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4" name="Freeform: Shape 313">
                  <a:extLst>
                    <a:ext uri="{FF2B5EF4-FFF2-40B4-BE49-F238E27FC236}">
                      <a16:creationId xmlns:a16="http://schemas.microsoft.com/office/drawing/2014/main" id="{63BB99AF-5C24-4DCC-9ED0-83418EB94645}"/>
                    </a:ext>
                  </a:extLst>
                </p:cNvPr>
                <p:cNvSpPr/>
                <p:nvPr/>
              </p:nvSpPr>
              <p:spPr>
                <a:xfrm>
                  <a:off x="2959250" y="3881655"/>
                  <a:ext cx="226024" cy="121603"/>
                </a:xfrm>
                <a:custGeom>
                  <a:avLst/>
                  <a:gdLst>
                    <a:gd name="connsiteX0" fmla="*/ 211467 w 226023"/>
                    <a:gd name="connsiteY0" fmla="*/ 60694 h 121602"/>
                    <a:gd name="connsiteX1" fmla="*/ 195645 w 226023"/>
                    <a:gd name="connsiteY1" fmla="*/ 53601 h 121602"/>
                    <a:gd name="connsiteX2" fmla="*/ 195645 w 226023"/>
                    <a:gd name="connsiteY2" fmla="*/ 43468 h 121602"/>
                    <a:gd name="connsiteX3" fmla="*/ 176433 w 226023"/>
                    <a:gd name="connsiteY3" fmla="*/ 33334 h 121602"/>
                    <a:gd name="connsiteX4" fmla="*/ 178693 w 226023"/>
                    <a:gd name="connsiteY4" fmla="*/ 21174 h 121602"/>
                    <a:gd name="connsiteX5" fmla="*/ 173043 w 226023"/>
                    <a:gd name="connsiteY5" fmla="*/ 23200 h 121602"/>
                    <a:gd name="connsiteX6" fmla="*/ 173043 w 226023"/>
                    <a:gd name="connsiteY6" fmla="*/ 16107 h 121602"/>
                    <a:gd name="connsiteX7" fmla="*/ 132358 w 226023"/>
                    <a:gd name="connsiteY7" fmla="*/ 9013 h 121602"/>
                    <a:gd name="connsiteX8" fmla="*/ 130098 w 226023"/>
                    <a:gd name="connsiteY8" fmla="*/ 21174 h 121602"/>
                    <a:gd name="connsiteX9" fmla="*/ 95064 w 226023"/>
                    <a:gd name="connsiteY9" fmla="*/ 28267 h 121602"/>
                    <a:gd name="connsiteX10" fmla="*/ 79242 w 226023"/>
                    <a:gd name="connsiteY10" fmla="*/ 40427 h 121602"/>
                    <a:gd name="connsiteX11" fmla="*/ 40818 w 226023"/>
                    <a:gd name="connsiteY11" fmla="*/ 33334 h 121602"/>
                    <a:gd name="connsiteX12" fmla="*/ 32908 w 226023"/>
                    <a:gd name="connsiteY12" fmla="*/ 26240 h 121602"/>
                    <a:gd name="connsiteX13" fmla="*/ 32908 w 226023"/>
                    <a:gd name="connsiteY13" fmla="*/ 9013 h 121602"/>
                    <a:gd name="connsiteX14" fmla="*/ 19346 w 226023"/>
                    <a:gd name="connsiteY14" fmla="*/ 13067 h 121602"/>
                    <a:gd name="connsiteX15" fmla="*/ 12565 w 226023"/>
                    <a:gd name="connsiteY15" fmla="*/ 12053 h 121602"/>
                    <a:gd name="connsiteX16" fmla="*/ 11435 w 226023"/>
                    <a:gd name="connsiteY16" fmla="*/ 27254 h 121602"/>
                    <a:gd name="connsiteX17" fmla="*/ 18216 w 226023"/>
                    <a:gd name="connsiteY17" fmla="*/ 48534 h 121602"/>
                    <a:gd name="connsiteX18" fmla="*/ 13696 w 226023"/>
                    <a:gd name="connsiteY18" fmla="*/ 65761 h 121602"/>
                    <a:gd name="connsiteX19" fmla="*/ 24997 w 226023"/>
                    <a:gd name="connsiteY19" fmla="*/ 60694 h 121602"/>
                    <a:gd name="connsiteX20" fmla="*/ 24997 w 226023"/>
                    <a:gd name="connsiteY20" fmla="*/ 58668 h 121602"/>
                    <a:gd name="connsiteX21" fmla="*/ 32908 w 226023"/>
                    <a:gd name="connsiteY21" fmla="*/ 58668 h 121602"/>
                    <a:gd name="connsiteX22" fmla="*/ 35168 w 226023"/>
                    <a:gd name="connsiteY22" fmla="*/ 65761 h 121602"/>
                    <a:gd name="connsiteX23" fmla="*/ 56640 w 226023"/>
                    <a:gd name="connsiteY23" fmla="*/ 63735 h 121602"/>
                    <a:gd name="connsiteX24" fmla="*/ 64551 w 226023"/>
                    <a:gd name="connsiteY24" fmla="*/ 82988 h 121602"/>
                    <a:gd name="connsiteX25" fmla="*/ 89414 w 226023"/>
                    <a:gd name="connsiteY25" fmla="*/ 100216 h 121602"/>
                    <a:gd name="connsiteX26" fmla="*/ 102975 w 226023"/>
                    <a:gd name="connsiteY26" fmla="*/ 98189 h 121602"/>
                    <a:gd name="connsiteX27" fmla="*/ 108626 w 226023"/>
                    <a:gd name="connsiteY27" fmla="*/ 88055 h 121602"/>
                    <a:gd name="connsiteX28" fmla="*/ 116537 w 226023"/>
                    <a:gd name="connsiteY28" fmla="*/ 88055 h 121602"/>
                    <a:gd name="connsiteX29" fmla="*/ 116537 w 226023"/>
                    <a:gd name="connsiteY29" fmla="*/ 77922 h 121602"/>
                    <a:gd name="connsiteX30" fmla="*/ 108626 w 226023"/>
                    <a:gd name="connsiteY30" fmla="*/ 70828 h 121602"/>
                    <a:gd name="connsiteX31" fmla="*/ 100715 w 226023"/>
                    <a:gd name="connsiteY31" fmla="*/ 70828 h 121602"/>
                    <a:gd name="connsiteX32" fmla="*/ 98455 w 226023"/>
                    <a:gd name="connsiteY32" fmla="*/ 63735 h 121602"/>
                    <a:gd name="connsiteX33" fmla="*/ 117667 w 226023"/>
                    <a:gd name="connsiteY33" fmla="*/ 58668 h 121602"/>
                    <a:gd name="connsiteX34" fmla="*/ 139139 w 226023"/>
                    <a:gd name="connsiteY34" fmla="*/ 34347 h 121602"/>
                    <a:gd name="connsiteX35" fmla="*/ 150440 w 226023"/>
                    <a:gd name="connsiteY35" fmla="*/ 39414 h 121602"/>
                    <a:gd name="connsiteX36" fmla="*/ 166262 w 226023"/>
                    <a:gd name="connsiteY36" fmla="*/ 68801 h 121602"/>
                    <a:gd name="connsiteX37" fmla="*/ 187734 w 226023"/>
                    <a:gd name="connsiteY37" fmla="*/ 63735 h 121602"/>
                    <a:gd name="connsiteX38" fmla="*/ 187734 w 226023"/>
                    <a:gd name="connsiteY38" fmla="*/ 73868 h 121602"/>
                    <a:gd name="connsiteX39" fmla="*/ 174173 w 226023"/>
                    <a:gd name="connsiteY39" fmla="*/ 84002 h 121602"/>
                    <a:gd name="connsiteX40" fmla="*/ 203556 w 226023"/>
                    <a:gd name="connsiteY40" fmla="*/ 116429 h 121602"/>
                    <a:gd name="connsiteX41" fmla="*/ 203556 w 226023"/>
                    <a:gd name="connsiteY41" fmla="*/ 115416 h 121602"/>
                    <a:gd name="connsiteX42" fmla="*/ 208076 w 226023"/>
                    <a:gd name="connsiteY42" fmla="*/ 105282 h 121602"/>
                    <a:gd name="connsiteX43" fmla="*/ 215987 w 226023"/>
                    <a:gd name="connsiteY43" fmla="*/ 89069 h 121602"/>
                    <a:gd name="connsiteX44" fmla="*/ 208076 w 226023"/>
                    <a:gd name="connsiteY44" fmla="*/ 75895 h 121602"/>
                    <a:gd name="connsiteX45" fmla="*/ 211467 w 226023"/>
                    <a:gd name="connsiteY45" fmla="*/ 60694 h 121602"/>
                    <a:gd name="connsiteX46" fmla="*/ 112016 w 226023"/>
                    <a:gd name="connsiteY46" fmla="*/ 92109 h 121602"/>
                    <a:gd name="connsiteX47" fmla="*/ 106366 w 226023"/>
                    <a:gd name="connsiteY47" fmla="*/ 102242 h 121602"/>
                    <a:gd name="connsiteX48" fmla="*/ 114276 w 226023"/>
                    <a:gd name="connsiteY48" fmla="*/ 100216 h 121602"/>
                    <a:gd name="connsiteX49" fmla="*/ 116537 w 226023"/>
                    <a:gd name="connsiteY49" fmla="*/ 100216 h 121602"/>
                    <a:gd name="connsiteX50" fmla="*/ 116537 w 226023"/>
                    <a:gd name="connsiteY50" fmla="*/ 93122 h 121602"/>
                    <a:gd name="connsiteX51" fmla="*/ 116537 w 226023"/>
                    <a:gd name="connsiteY51" fmla="*/ 98189 h 121602"/>
                    <a:gd name="connsiteX52" fmla="*/ 112016 w 226023"/>
                    <a:gd name="connsiteY52" fmla="*/ 92109 h 121602"/>
                    <a:gd name="connsiteX53" fmla="*/ 57770 w 226023"/>
                    <a:gd name="connsiteY53" fmla="*/ 92109 h 121602"/>
                    <a:gd name="connsiteX54" fmla="*/ 60031 w 226023"/>
                    <a:gd name="connsiteY54" fmla="*/ 99202 h 121602"/>
                    <a:gd name="connsiteX55" fmla="*/ 57770 w 226023"/>
                    <a:gd name="connsiteY55" fmla="*/ 92109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6023" h="121602">
                      <a:moveTo>
                        <a:pt x="211467" y="60694"/>
                      </a:moveTo>
                      <a:cubicBezTo>
                        <a:pt x="205816" y="58668"/>
                        <a:pt x="197905" y="55628"/>
                        <a:pt x="195645" y="53601"/>
                      </a:cubicBezTo>
                      <a:cubicBezTo>
                        <a:pt x="193385" y="51574"/>
                        <a:pt x="196775" y="45494"/>
                        <a:pt x="195645" y="43468"/>
                      </a:cubicBezTo>
                      <a:lnTo>
                        <a:pt x="176433" y="33334"/>
                      </a:lnTo>
                      <a:cubicBezTo>
                        <a:pt x="177563" y="29281"/>
                        <a:pt x="178693" y="22187"/>
                        <a:pt x="178693" y="21174"/>
                      </a:cubicBezTo>
                      <a:cubicBezTo>
                        <a:pt x="176433" y="22187"/>
                        <a:pt x="176433" y="24214"/>
                        <a:pt x="173043" y="23200"/>
                      </a:cubicBezTo>
                      <a:cubicBezTo>
                        <a:pt x="173043" y="23200"/>
                        <a:pt x="173043" y="16107"/>
                        <a:pt x="173043" y="16107"/>
                      </a:cubicBezTo>
                      <a:cubicBezTo>
                        <a:pt x="161741" y="11040"/>
                        <a:pt x="143659" y="12053"/>
                        <a:pt x="132358" y="9013"/>
                      </a:cubicBezTo>
                      <a:cubicBezTo>
                        <a:pt x="130098" y="11040"/>
                        <a:pt x="130098" y="19147"/>
                        <a:pt x="130098" y="21174"/>
                      </a:cubicBezTo>
                      <a:cubicBezTo>
                        <a:pt x="117667" y="22187"/>
                        <a:pt x="104105" y="24214"/>
                        <a:pt x="95064" y="28267"/>
                      </a:cubicBezTo>
                      <a:cubicBezTo>
                        <a:pt x="91674" y="30294"/>
                        <a:pt x="83763" y="40427"/>
                        <a:pt x="79242" y="40427"/>
                      </a:cubicBezTo>
                      <a:cubicBezTo>
                        <a:pt x="60031" y="41441"/>
                        <a:pt x="72462" y="25227"/>
                        <a:pt x="40818" y="33334"/>
                      </a:cubicBezTo>
                      <a:cubicBezTo>
                        <a:pt x="39688" y="30294"/>
                        <a:pt x="32908" y="28267"/>
                        <a:pt x="32908" y="26240"/>
                      </a:cubicBezTo>
                      <a:cubicBezTo>
                        <a:pt x="30647" y="20160"/>
                        <a:pt x="37428" y="17120"/>
                        <a:pt x="32908" y="9013"/>
                      </a:cubicBezTo>
                      <a:lnTo>
                        <a:pt x="19346" y="13067"/>
                      </a:lnTo>
                      <a:lnTo>
                        <a:pt x="12565" y="12053"/>
                      </a:lnTo>
                      <a:cubicBezTo>
                        <a:pt x="12565" y="12053"/>
                        <a:pt x="14826" y="21174"/>
                        <a:pt x="11435" y="27254"/>
                      </a:cubicBezTo>
                      <a:cubicBezTo>
                        <a:pt x="5785" y="37387"/>
                        <a:pt x="19346" y="42454"/>
                        <a:pt x="18216" y="48534"/>
                      </a:cubicBezTo>
                      <a:cubicBezTo>
                        <a:pt x="17086" y="54614"/>
                        <a:pt x="13696" y="65761"/>
                        <a:pt x="13696" y="65761"/>
                      </a:cubicBezTo>
                      <a:cubicBezTo>
                        <a:pt x="18216" y="63735"/>
                        <a:pt x="20476" y="62721"/>
                        <a:pt x="24997" y="60694"/>
                      </a:cubicBezTo>
                      <a:lnTo>
                        <a:pt x="24997" y="58668"/>
                      </a:lnTo>
                      <a:cubicBezTo>
                        <a:pt x="26127" y="59681"/>
                        <a:pt x="31778" y="58668"/>
                        <a:pt x="32908" y="58668"/>
                      </a:cubicBezTo>
                      <a:cubicBezTo>
                        <a:pt x="34038" y="60694"/>
                        <a:pt x="32908" y="65761"/>
                        <a:pt x="35168" y="65761"/>
                      </a:cubicBezTo>
                      <a:cubicBezTo>
                        <a:pt x="43079" y="66775"/>
                        <a:pt x="53250" y="63735"/>
                        <a:pt x="56640" y="63735"/>
                      </a:cubicBezTo>
                      <a:cubicBezTo>
                        <a:pt x="58900" y="68801"/>
                        <a:pt x="62291" y="77922"/>
                        <a:pt x="64551" y="82988"/>
                      </a:cubicBezTo>
                      <a:cubicBezTo>
                        <a:pt x="88284" y="81975"/>
                        <a:pt x="81503" y="77922"/>
                        <a:pt x="89414" y="100216"/>
                      </a:cubicBezTo>
                      <a:cubicBezTo>
                        <a:pt x="93934" y="98189"/>
                        <a:pt x="98455" y="100216"/>
                        <a:pt x="102975" y="98189"/>
                      </a:cubicBezTo>
                      <a:cubicBezTo>
                        <a:pt x="105235" y="97175"/>
                        <a:pt x="105235" y="89069"/>
                        <a:pt x="108626" y="88055"/>
                      </a:cubicBezTo>
                      <a:cubicBezTo>
                        <a:pt x="110886" y="87042"/>
                        <a:pt x="115406" y="89069"/>
                        <a:pt x="116537" y="88055"/>
                      </a:cubicBezTo>
                      <a:cubicBezTo>
                        <a:pt x="117667" y="87042"/>
                        <a:pt x="115406" y="79948"/>
                        <a:pt x="116537" y="77922"/>
                      </a:cubicBezTo>
                      <a:cubicBezTo>
                        <a:pt x="113146" y="75895"/>
                        <a:pt x="109756" y="73868"/>
                        <a:pt x="108626" y="70828"/>
                      </a:cubicBezTo>
                      <a:cubicBezTo>
                        <a:pt x="107495" y="70828"/>
                        <a:pt x="101845" y="71841"/>
                        <a:pt x="100715" y="70828"/>
                      </a:cubicBezTo>
                      <a:cubicBezTo>
                        <a:pt x="98455" y="69815"/>
                        <a:pt x="99585" y="64748"/>
                        <a:pt x="98455" y="63735"/>
                      </a:cubicBezTo>
                      <a:cubicBezTo>
                        <a:pt x="101845" y="62721"/>
                        <a:pt x="113146" y="61708"/>
                        <a:pt x="117667" y="58668"/>
                      </a:cubicBezTo>
                      <a:cubicBezTo>
                        <a:pt x="124447" y="54614"/>
                        <a:pt x="130098" y="40427"/>
                        <a:pt x="139139" y="34347"/>
                      </a:cubicBezTo>
                      <a:cubicBezTo>
                        <a:pt x="142529" y="36374"/>
                        <a:pt x="147050" y="36374"/>
                        <a:pt x="150440" y="39414"/>
                      </a:cubicBezTo>
                      <a:cubicBezTo>
                        <a:pt x="156091" y="44481"/>
                        <a:pt x="162872" y="61708"/>
                        <a:pt x="166262" y="68801"/>
                      </a:cubicBezTo>
                      <a:cubicBezTo>
                        <a:pt x="174173" y="66775"/>
                        <a:pt x="178693" y="65761"/>
                        <a:pt x="187734" y="63735"/>
                      </a:cubicBezTo>
                      <a:cubicBezTo>
                        <a:pt x="185474" y="65761"/>
                        <a:pt x="189994" y="71841"/>
                        <a:pt x="187734" y="73868"/>
                      </a:cubicBezTo>
                      <a:cubicBezTo>
                        <a:pt x="183214" y="77922"/>
                        <a:pt x="176433" y="74882"/>
                        <a:pt x="174173" y="84002"/>
                      </a:cubicBezTo>
                      <a:cubicBezTo>
                        <a:pt x="169652" y="103255"/>
                        <a:pt x="182083" y="111362"/>
                        <a:pt x="203556" y="116429"/>
                      </a:cubicBezTo>
                      <a:lnTo>
                        <a:pt x="203556" y="115416"/>
                      </a:lnTo>
                      <a:lnTo>
                        <a:pt x="208076" y="105282"/>
                      </a:lnTo>
                      <a:cubicBezTo>
                        <a:pt x="208076" y="105282"/>
                        <a:pt x="215987" y="98189"/>
                        <a:pt x="215987" y="89069"/>
                      </a:cubicBezTo>
                      <a:cubicBezTo>
                        <a:pt x="215987" y="79948"/>
                        <a:pt x="208076" y="75895"/>
                        <a:pt x="208076" y="75895"/>
                      </a:cubicBezTo>
                      <a:lnTo>
                        <a:pt x="211467" y="60694"/>
                      </a:lnTo>
                      <a:close/>
                      <a:moveTo>
                        <a:pt x="112016" y="92109"/>
                      </a:moveTo>
                      <a:cubicBezTo>
                        <a:pt x="110886" y="96162"/>
                        <a:pt x="108626" y="98189"/>
                        <a:pt x="106366" y="102242"/>
                      </a:cubicBezTo>
                      <a:cubicBezTo>
                        <a:pt x="108626" y="101229"/>
                        <a:pt x="116537" y="98189"/>
                        <a:pt x="114276" y="100216"/>
                      </a:cubicBezTo>
                      <a:lnTo>
                        <a:pt x="116537" y="100216"/>
                      </a:lnTo>
                      <a:cubicBezTo>
                        <a:pt x="116537" y="100216"/>
                        <a:pt x="122187" y="90082"/>
                        <a:pt x="116537" y="93122"/>
                      </a:cubicBezTo>
                      <a:lnTo>
                        <a:pt x="116537" y="98189"/>
                      </a:lnTo>
                      <a:cubicBezTo>
                        <a:pt x="116537" y="96162"/>
                        <a:pt x="113146" y="92109"/>
                        <a:pt x="112016" y="92109"/>
                      </a:cubicBezTo>
                      <a:close/>
                      <a:moveTo>
                        <a:pt x="57770" y="92109"/>
                      </a:moveTo>
                      <a:cubicBezTo>
                        <a:pt x="57770" y="92109"/>
                        <a:pt x="60031" y="99202"/>
                        <a:pt x="60031" y="99202"/>
                      </a:cubicBezTo>
                      <a:cubicBezTo>
                        <a:pt x="69071" y="101229"/>
                        <a:pt x="63421" y="93122"/>
                        <a:pt x="57770" y="9210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5" name="Freeform: Shape 314">
                  <a:extLst>
                    <a:ext uri="{FF2B5EF4-FFF2-40B4-BE49-F238E27FC236}">
                      <a16:creationId xmlns:a16="http://schemas.microsoft.com/office/drawing/2014/main" id="{D85202EF-CFC7-4F4A-9137-AE2C9C83C1D5}"/>
                    </a:ext>
                  </a:extLst>
                </p:cNvPr>
                <p:cNvSpPr/>
                <p:nvPr/>
              </p:nvSpPr>
              <p:spPr>
                <a:xfrm>
                  <a:off x="8042781" y="2779123"/>
                  <a:ext cx="553759" cy="557346"/>
                </a:xfrm>
                <a:custGeom>
                  <a:avLst/>
                  <a:gdLst>
                    <a:gd name="connsiteX0" fmla="*/ 551380 w 553758"/>
                    <a:gd name="connsiteY0" fmla="*/ 58668 h 557346"/>
                    <a:gd name="connsiteX1" fmla="*/ 542338 w 553758"/>
                    <a:gd name="connsiteY1" fmla="*/ 76908 h 557346"/>
                    <a:gd name="connsiteX2" fmla="*/ 531037 w 553758"/>
                    <a:gd name="connsiteY2" fmla="*/ 87042 h 557346"/>
                    <a:gd name="connsiteX3" fmla="*/ 524256 w 553758"/>
                    <a:gd name="connsiteY3" fmla="*/ 96162 h 557346"/>
                    <a:gd name="connsiteX4" fmla="*/ 506175 w 553758"/>
                    <a:gd name="connsiteY4" fmla="*/ 109336 h 557346"/>
                    <a:gd name="connsiteX5" fmla="*/ 482442 w 553758"/>
                    <a:gd name="connsiteY5" fmla="*/ 115416 h 557346"/>
                    <a:gd name="connsiteX6" fmla="*/ 466621 w 553758"/>
                    <a:gd name="connsiteY6" fmla="*/ 121496 h 557346"/>
                    <a:gd name="connsiteX7" fmla="*/ 463230 w 553758"/>
                    <a:gd name="connsiteY7" fmla="*/ 127576 h 557346"/>
                    <a:gd name="connsiteX8" fmla="*/ 454189 w 553758"/>
                    <a:gd name="connsiteY8" fmla="*/ 133657 h 557346"/>
                    <a:gd name="connsiteX9" fmla="*/ 441758 w 553758"/>
                    <a:gd name="connsiteY9" fmla="*/ 128590 h 557346"/>
                    <a:gd name="connsiteX10" fmla="*/ 429326 w 553758"/>
                    <a:gd name="connsiteY10" fmla="*/ 133657 h 557346"/>
                    <a:gd name="connsiteX11" fmla="*/ 413505 w 553758"/>
                    <a:gd name="connsiteY11" fmla="*/ 139736 h 557346"/>
                    <a:gd name="connsiteX12" fmla="*/ 410115 w 553758"/>
                    <a:gd name="connsiteY12" fmla="*/ 151897 h 557346"/>
                    <a:gd name="connsiteX13" fmla="*/ 424806 w 553758"/>
                    <a:gd name="connsiteY13" fmla="*/ 166084 h 557346"/>
                    <a:gd name="connsiteX14" fmla="*/ 430457 w 553758"/>
                    <a:gd name="connsiteY14" fmla="*/ 195471 h 557346"/>
                    <a:gd name="connsiteX15" fmla="*/ 437237 w 553758"/>
                    <a:gd name="connsiteY15" fmla="*/ 203578 h 557346"/>
                    <a:gd name="connsiteX16" fmla="*/ 448538 w 553758"/>
                    <a:gd name="connsiteY16" fmla="*/ 211685 h 557346"/>
                    <a:gd name="connsiteX17" fmla="*/ 464360 w 553758"/>
                    <a:gd name="connsiteY17" fmla="*/ 227899 h 557346"/>
                    <a:gd name="connsiteX18" fmla="*/ 464360 w 553758"/>
                    <a:gd name="connsiteY18" fmla="*/ 245126 h 557346"/>
                    <a:gd name="connsiteX19" fmla="*/ 456449 w 553758"/>
                    <a:gd name="connsiteY19" fmla="*/ 260326 h 557346"/>
                    <a:gd name="connsiteX20" fmla="*/ 444018 w 553758"/>
                    <a:gd name="connsiteY20" fmla="*/ 275526 h 557346"/>
                    <a:gd name="connsiteX21" fmla="*/ 441758 w 553758"/>
                    <a:gd name="connsiteY21" fmla="*/ 296807 h 557346"/>
                    <a:gd name="connsiteX22" fmla="*/ 439497 w 553758"/>
                    <a:gd name="connsiteY22" fmla="*/ 314034 h 557346"/>
                    <a:gd name="connsiteX23" fmla="*/ 423676 w 553758"/>
                    <a:gd name="connsiteY23" fmla="*/ 326194 h 557346"/>
                    <a:gd name="connsiteX24" fmla="*/ 412374 w 553758"/>
                    <a:gd name="connsiteY24" fmla="*/ 335314 h 557346"/>
                    <a:gd name="connsiteX25" fmla="*/ 399943 w 553758"/>
                    <a:gd name="connsiteY25" fmla="*/ 346461 h 557346"/>
                    <a:gd name="connsiteX26" fmla="*/ 379601 w 553758"/>
                    <a:gd name="connsiteY26" fmla="*/ 359635 h 557346"/>
                    <a:gd name="connsiteX27" fmla="*/ 363779 w 553758"/>
                    <a:gd name="connsiteY27" fmla="*/ 379902 h 557346"/>
                    <a:gd name="connsiteX28" fmla="*/ 349088 w 553758"/>
                    <a:gd name="connsiteY28" fmla="*/ 398142 h 557346"/>
                    <a:gd name="connsiteX29" fmla="*/ 332136 w 553758"/>
                    <a:gd name="connsiteY29" fmla="*/ 402196 h 557346"/>
                    <a:gd name="connsiteX30" fmla="*/ 325356 w 553758"/>
                    <a:gd name="connsiteY30" fmla="*/ 393076 h 557346"/>
                    <a:gd name="connsiteX31" fmla="*/ 316314 w 553758"/>
                    <a:gd name="connsiteY31" fmla="*/ 412330 h 557346"/>
                    <a:gd name="connsiteX32" fmla="*/ 306143 w 553758"/>
                    <a:gd name="connsiteY32" fmla="*/ 421450 h 557346"/>
                    <a:gd name="connsiteX33" fmla="*/ 294842 w 553758"/>
                    <a:gd name="connsiteY33" fmla="*/ 439690 h 557346"/>
                    <a:gd name="connsiteX34" fmla="*/ 303883 w 553758"/>
                    <a:gd name="connsiteY34" fmla="*/ 449824 h 557346"/>
                    <a:gd name="connsiteX35" fmla="*/ 310664 w 553758"/>
                    <a:gd name="connsiteY35" fmla="*/ 454890 h 557346"/>
                    <a:gd name="connsiteX36" fmla="*/ 306143 w 553758"/>
                    <a:gd name="connsiteY36" fmla="*/ 466037 h 557346"/>
                    <a:gd name="connsiteX37" fmla="*/ 306143 w 553758"/>
                    <a:gd name="connsiteY37" fmla="*/ 481238 h 557346"/>
                    <a:gd name="connsiteX38" fmla="*/ 320835 w 553758"/>
                    <a:gd name="connsiteY38" fmla="*/ 486305 h 557346"/>
                    <a:gd name="connsiteX39" fmla="*/ 326485 w 553758"/>
                    <a:gd name="connsiteY39" fmla="*/ 500491 h 557346"/>
                    <a:gd name="connsiteX40" fmla="*/ 327615 w 553758"/>
                    <a:gd name="connsiteY40" fmla="*/ 538999 h 557346"/>
                    <a:gd name="connsiteX41" fmla="*/ 316314 w 553758"/>
                    <a:gd name="connsiteY41" fmla="*/ 535959 h 557346"/>
                    <a:gd name="connsiteX42" fmla="*/ 295972 w 553758"/>
                    <a:gd name="connsiteY42" fmla="*/ 534946 h 557346"/>
                    <a:gd name="connsiteX43" fmla="*/ 283541 w 553758"/>
                    <a:gd name="connsiteY43" fmla="*/ 535959 h 557346"/>
                    <a:gd name="connsiteX44" fmla="*/ 268850 w 553758"/>
                    <a:gd name="connsiteY44" fmla="*/ 542039 h 557346"/>
                    <a:gd name="connsiteX45" fmla="*/ 264329 w 553758"/>
                    <a:gd name="connsiteY45" fmla="*/ 556226 h 557346"/>
                    <a:gd name="connsiteX46" fmla="*/ 247377 w 553758"/>
                    <a:gd name="connsiteY46" fmla="*/ 556226 h 557346"/>
                    <a:gd name="connsiteX47" fmla="*/ 247377 w 553758"/>
                    <a:gd name="connsiteY47" fmla="*/ 547106 h 557346"/>
                    <a:gd name="connsiteX48" fmla="*/ 242856 w 553758"/>
                    <a:gd name="connsiteY48" fmla="*/ 546093 h 557346"/>
                    <a:gd name="connsiteX49" fmla="*/ 231555 w 553758"/>
                    <a:gd name="connsiteY49" fmla="*/ 547106 h 557346"/>
                    <a:gd name="connsiteX50" fmla="*/ 227035 w 553758"/>
                    <a:gd name="connsiteY50" fmla="*/ 536972 h 557346"/>
                    <a:gd name="connsiteX51" fmla="*/ 219124 w 553758"/>
                    <a:gd name="connsiteY51" fmla="*/ 524812 h 557346"/>
                    <a:gd name="connsiteX52" fmla="*/ 193132 w 553758"/>
                    <a:gd name="connsiteY52" fmla="*/ 515692 h 557346"/>
                    <a:gd name="connsiteX53" fmla="*/ 193132 w 553758"/>
                    <a:gd name="connsiteY53" fmla="*/ 493398 h 557346"/>
                    <a:gd name="connsiteX54" fmla="*/ 187481 w 553758"/>
                    <a:gd name="connsiteY54" fmla="*/ 493398 h 557346"/>
                    <a:gd name="connsiteX55" fmla="*/ 187481 w 553758"/>
                    <a:gd name="connsiteY55" fmla="*/ 481238 h 557346"/>
                    <a:gd name="connsiteX56" fmla="*/ 162618 w 553758"/>
                    <a:gd name="connsiteY56" fmla="*/ 486305 h 557346"/>
                    <a:gd name="connsiteX57" fmla="*/ 146796 w 553758"/>
                    <a:gd name="connsiteY57" fmla="*/ 484278 h 557346"/>
                    <a:gd name="connsiteX58" fmla="*/ 127585 w 553758"/>
                    <a:gd name="connsiteY58" fmla="*/ 494411 h 557346"/>
                    <a:gd name="connsiteX59" fmla="*/ 81249 w 553758"/>
                    <a:gd name="connsiteY59" fmla="*/ 494411 h 557346"/>
                    <a:gd name="connsiteX60" fmla="*/ 78989 w 553758"/>
                    <a:gd name="connsiteY60" fmla="*/ 501505 h 557346"/>
                    <a:gd name="connsiteX61" fmla="*/ 46216 w 553758"/>
                    <a:gd name="connsiteY61" fmla="*/ 494411 h 557346"/>
                    <a:gd name="connsiteX62" fmla="*/ 40565 w 553758"/>
                    <a:gd name="connsiteY62" fmla="*/ 501505 h 557346"/>
                    <a:gd name="connsiteX63" fmla="*/ 27004 w 553758"/>
                    <a:gd name="connsiteY63" fmla="*/ 499478 h 557346"/>
                    <a:gd name="connsiteX64" fmla="*/ 24743 w 553758"/>
                    <a:gd name="connsiteY64" fmla="*/ 504545 h 557346"/>
                    <a:gd name="connsiteX65" fmla="*/ 10052 w 553758"/>
                    <a:gd name="connsiteY65" fmla="*/ 504545 h 557346"/>
                    <a:gd name="connsiteX66" fmla="*/ 15703 w 553758"/>
                    <a:gd name="connsiteY66" fmla="*/ 469077 h 557346"/>
                    <a:gd name="connsiteX67" fmla="*/ 38305 w 553758"/>
                    <a:gd name="connsiteY67" fmla="*/ 440703 h 557346"/>
                    <a:gd name="connsiteX68" fmla="*/ 58647 w 553758"/>
                    <a:gd name="connsiteY68" fmla="*/ 434623 h 557346"/>
                    <a:gd name="connsiteX69" fmla="*/ 81249 w 553758"/>
                    <a:gd name="connsiteY69" fmla="*/ 429557 h 557346"/>
                    <a:gd name="connsiteX70" fmla="*/ 95941 w 553758"/>
                    <a:gd name="connsiteY70" fmla="*/ 419423 h 557346"/>
                    <a:gd name="connsiteX71" fmla="*/ 95941 w 553758"/>
                    <a:gd name="connsiteY71" fmla="*/ 408276 h 557346"/>
                    <a:gd name="connsiteX72" fmla="*/ 78989 w 553758"/>
                    <a:gd name="connsiteY72" fmla="*/ 400169 h 557346"/>
                    <a:gd name="connsiteX73" fmla="*/ 77859 w 553758"/>
                    <a:gd name="connsiteY73" fmla="*/ 380916 h 557346"/>
                    <a:gd name="connsiteX74" fmla="*/ 66558 w 553758"/>
                    <a:gd name="connsiteY74" fmla="*/ 365715 h 557346"/>
                    <a:gd name="connsiteX75" fmla="*/ 51867 w 553758"/>
                    <a:gd name="connsiteY75" fmla="*/ 361662 h 557346"/>
                    <a:gd name="connsiteX76" fmla="*/ 36045 w 553758"/>
                    <a:gd name="connsiteY76" fmla="*/ 341395 h 557346"/>
                    <a:gd name="connsiteX77" fmla="*/ 30394 w 553758"/>
                    <a:gd name="connsiteY77" fmla="*/ 330248 h 557346"/>
                    <a:gd name="connsiteX78" fmla="*/ 34915 w 553758"/>
                    <a:gd name="connsiteY78" fmla="*/ 322141 h 557346"/>
                    <a:gd name="connsiteX79" fmla="*/ 20223 w 553758"/>
                    <a:gd name="connsiteY79" fmla="*/ 287687 h 557346"/>
                    <a:gd name="connsiteX80" fmla="*/ 57517 w 553758"/>
                    <a:gd name="connsiteY80" fmla="*/ 306940 h 557346"/>
                    <a:gd name="connsiteX81" fmla="*/ 69948 w 553758"/>
                    <a:gd name="connsiteY81" fmla="*/ 302887 h 557346"/>
                    <a:gd name="connsiteX82" fmla="*/ 82380 w 553758"/>
                    <a:gd name="connsiteY82" fmla="*/ 301873 h 557346"/>
                    <a:gd name="connsiteX83" fmla="*/ 115153 w 553758"/>
                    <a:gd name="connsiteY83" fmla="*/ 301873 h 557346"/>
                    <a:gd name="connsiteX84" fmla="*/ 133235 w 553758"/>
                    <a:gd name="connsiteY84" fmla="*/ 306940 h 557346"/>
                    <a:gd name="connsiteX85" fmla="*/ 137755 w 553758"/>
                    <a:gd name="connsiteY85" fmla="*/ 293767 h 557346"/>
                    <a:gd name="connsiteX86" fmla="*/ 158097 w 553758"/>
                    <a:gd name="connsiteY86" fmla="*/ 289713 h 557346"/>
                    <a:gd name="connsiteX87" fmla="*/ 161488 w 553758"/>
                    <a:gd name="connsiteY87" fmla="*/ 275526 h 557346"/>
                    <a:gd name="connsiteX88" fmla="*/ 166008 w 553758"/>
                    <a:gd name="connsiteY88" fmla="*/ 261339 h 557346"/>
                    <a:gd name="connsiteX89" fmla="*/ 182960 w 553758"/>
                    <a:gd name="connsiteY89" fmla="*/ 252219 h 557346"/>
                    <a:gd name="connsiteX90" fmla="*/ 206693 w 553758"/>
                    <a:gd name="connsiteY90" fmla="*/ 223845 h 557346"/>
                    <a:gd name="connsiteX91" fmla="*/ 216864 w 553758"/>
                    <a:gd name="connsiteY91" fmla="*/ 227899 h 557346"/>
                    <a:gd name="connsiteX92" fmla="*/ 227035 w 553758"/>
                    <a:gd name="connsiteY92" fmla="*/ 223845 h 557346"/>
                    <a:gd name="connsiteX93" fmla="*/ 232686 w 553758"/>
                    <a:gd name="connsiteY93" fmla="*/ 214725 h 557346"/>
                    <a:gd name="connsiteX94" fmla="*/ 220254 w 553758"/>
                    <a:gd name="connsiteY94" fmla="*/ 200538 h 557346"/>
                    <a:gd name="connsiteX95" fmla="*/ 238336 w 553758"/>
                    <a:gd name="connsiteY95" fmla="*/ 191418 h 557346"/>
                    <a:gd name="connsiteX96" fmla="*/ 247377 w 553758"/>
                    <a:gd name="connsiteY96" fmla="*/ 181284 h 557346"/>
                    <a:gd name="connsiteX97" fmla="*/ 254158 w 553758"/>
                    <a:gd name="connsiteY97" fmla="*/ 189391 h 557346"/>
                    <a:gd name="connsiteX98" fmla="*/ 269980 w 553758"/>
                    <a:gd name="connsiteY98" fmla="*/ 193444 h 557346"/>
                    <a:gd name="connsiteX99" fmla="*/ 282411 w 553758"/>
                    <a:gd name="connsiteY99" fmla="*/ 190404 h 557346"/>
                    <a:gd name="connsiteX100" fmla="*/ 286931 w 553758"/>
                    <a:gd name="connsiteY100" fmla="*/ 176217 h 557346"/>
                    <a:gd name="connsiteX101" fmla="*/ 285801 w 553758"/>
                    <a:gd name="connsiteY101" fmla="*/ 163044 h 557346"/>
                    <a:gd name="connsiteX102" fmla="*/ 301623 w 553758"/>
                    <a:gd name="connsiteY102" fmla="*/ 151897 h 557346"/>
                    <a:gd name="connsiteX103" fmla="*/ 302753 w 553758"/>
                    <a:gd name="connsiteY103" fmla="*/ 133657 h 557346"/>
                    <a:gd name="connsiteX104" fmla="*/ 290322 w 553758"/>
                    <a:gd name="connsiteY104" fmla="*/ 122510 h 557346"/>
                    <a:gd name="connsiteX105" fmla="*/ 297103 w 553758"/>
                    <a:gd name="connsiteY105" fmla="*/ 109336 h 557346"/>
                    <a:gd name="connsiteX106" fmla="*/ 311794 w 553758"/>
                    <a:gd name="connsiteY106" fmla="*/ 112376 h 557346"/>
                    <a:gd name="connsiteX107" fmla="*/ 329876 w 553758"/>
                    <a:gd name="connsiteY107" fmla="*/ 109336 h 557346"/>
                    <a:gd name="connsiteX108" fmla="*/ 335526 w 553758"/>
                    <a:gd name="connsiteY108" fmla="*/ 89069 h 557346"/>
                    <a:gd name="connsiteX109" fmla="*/ 326485 w 553758"/>
                    <a:gd name="connsiteY109" fmla="*/ 77922 h 557346"/>
                    <a:gd name="connsiteX110" fmla="*/ 340047 w 553758"/>
                    <a:gd name="connsiteY110" fmla="*/ 68801 h 557346"/>
                    <a:gd name="connsiteX111" fmla="*/ 338917 w 553758"/>
                    <a:gd name="connsiteY111" fmla="*/ 50561 h 557346"/>
                    <a:gd name="connsiteX112" fmla="*/ 378471 w 553758"/>
                    <a:gd name="connsiteY112" fmla="*/ 29281 h 557346"/>
                    <a:gd name="connsiteX113" fmla="*/ 399943 w 553758"/>
                    <a:gd name="connsiteY113" fmla="*/ 24214 h 557346"/>
                    <a:gd name="connsiteX114" fmla="*/ 423676 w 553758"/>
                    <a:gd name="connsiteY114" fmla="*/ 16107 h 557346"/>
                    <a:gd name="connsiteX115" fmla="*/ 446278 w 553758"/>
                    <a:gd name="connsiteY115" fmla="*/ 17120 h 557346"/>
                    <a:gd name="connsiteX116" fmla="*/ 457579 w 553758"/>
                    <a:gd name="connsiteY116" fmla="*/ 16107 h 557346"/>
                    <a:gd name="connsiteX117" fmla="*/ 466621 w 553758"/>
                    <a:gd name="connsiteY117" fmla="*/ 10027 h 557346"/>
                    <a:gd name="connsiteX118" fmla="*/ 490353 w 553758"/>
                    <a:gd name="connsiteY118" fmla="*/ 9013 h 557346"/>
                    <a:gd name="connsiteX119" fmla="*/ 531037 w 553758"/>
                    <a:gd name="connsiteY119" fmla="*/ 32321 h 557346"/>
                    <a:gd name="connsiteX120" fmla="*/ 540078 w 553758"/>
                    <a:gd name="connsiteY120" fmla="*/ 42454 h 557346"/>
                    <a:gd name="connsiteX121" fmla="*/ 551380 w 553758"/>
                    <a:gd name="connsiteY121" fmla="*/ 58668 h 55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553758" h="557346">
                      <a:moveTo>
                        <a:pt x="551380" y="58668"/>
                      </a:moveTo>
                      <a:lnTo>
                        <a:pt x="542338" y="76908"/>
                      </a:lnTo>
                      <a:lnTo>
                        <a:pt x="531037" y="87042"/>
                      </a:lnTo>
                      <a:lnTo>
                        <a:pt x="524256" y="96162"/>
                      </a:lnTo>
                      <a:lnTo>
                        <a:pt x="506175" y="109336"/>
                      </a:lnTo>
                      <a:lnTo>
                        <a:pt x="482442" y="115416"/>
                      </a:lnTo>
                      <a:lnTo>
                        <a:pt x="466621" y="121496"/>
                      </a:lnTo>
                      <a:lnTo>
                        <a:pt x="463230" y="127576"/>
                      </a:lnTo>
                      <a:lnTo>
                        <a:pt x="454189" y="133657"/>
                      </a:lnTo>
                      <a:lnTo>
                        <a:pt x="441758" y="128590"/>
                      </a:lnTo>
                      <a:lnTo>
                        <a:pt x="429326" y="133657"/>
                      </a:lnTo>
                      <a:lnTo>
                        <a:pt x="413505" y="139736"/>
                      </a:lnTo>
                      <a:lnTo>
                        <a:pt x="410115" y="151897"/>
                      </a:lnTo>
                      <a:lnTo>
                        <a:pt x="424806" y="166084"/>
                      </a:lnTo>
                      <a:lnTo>
                        <a:pt x="430457" y="195471"/>
                      </a:lnTo>
                      <a:lnTo>
                        <a:pt x="437237" y="203578"/>
                      </a:lnTo>
                      <a:lnTo>
                        <a:pt x="448538" y="211685"/>
                      </a:lnTo>
                      <a:lnTo>
                        <a:pt x="464360" y="227899"/>
                      </a:lnTo>
                      <a:lnTo>
                        <a:pt x="464360" y="245126"/>
                      </a:lnTo>
                      <a:lnTo>
                        <a:pt x="456449" y="260326"/>
                      </a:lnTo>
                      <a:lnTo>
                        <a:pt x="444018" y="275526"/>
                      </a:lnTo>
                      <a:lnTo>
                        <a:pt x="441758" y="296807"/>
                      </a:lnTo>
                      <a:lnTo>
                        <a:pt x="439497" y="314034"/>
                      </a:lnTo>
                      <a:lnTo>
                        <a:pt x="423676" y="326194"/>
                      </a:lnTo>
                      <a:lnTo>
                        <a:pt x="412374" y="335314"/>
                      </a:lnTo>
                      <a:lnTo>
                        <a:pt x="399943" y="346461"/>
                      </a:lnTo>
                      <a:lnTo>
                        <a:pt x="379601" y="359635"/>
                      </a:lnTo>
                      <a:lnTo>
                        <a:pt x="363779" y="379902"/>
                      </a:lnTo>
                      <a:lnTo>
                        <a:pt x="349088" y="398142"/>
                      </a:lnTo>
                      <a:lnTo>
                        <a:pt x="332136" y="402196"/>
                      </a:lnTo>
                      <a:lnTo>
                        <a:pt x="325356" y="393076"/>
                      </a:lnTo>
                      <a:lnTo>
                        <a:pt x="316314" y="412330"/>
                      </a:lnTo>
                      <a:lnTo>
                        <a:pt x="306143" y="421450"/>
                      </a:lnTo>
                      <a:lnTo>
                        <a:pt x="294842" y="439690"/>
                      </a:lnTo>
                      <a:lnTo>
                        <a:pt x="303883" y="449824"/>
                      </a:lnTo>
                      <a:lnTo>
                        <a:pt x="310664" y="454890"/>
                      </a:lnTo>
                      <a:lnTo>
                        <a:pt x="306143" y="466037"/>
                      </a:lnTo>
                      <a:lnTo>
                        <a:pt x="306143" y="481238"/>
                      </a:lnTo>
                      <a:lnTo>
                        <a:pt x="320835" y="486305"/>
                      </a:lnTo>
                      <a:lnTo>
                        <a:pt x="326485" y="500491"/>
                      </a:lnTo>
                      <a:lnTo>
                        <a:pt x="327615" y="538999"/>
                      </a:lnTo>
                      <a:lnTo>
                        <a:pt x="316314" y="535959"/>
                      </a:lnTo>
                      <a:lnTo>
                        <a:pt x="295972" y="534946"/>
                      </a:lnTo>
                      <a:lnTo>
                        <a:pt x="283541" y="535959"/>
                      </a:lnTo>
                      <a:lnTo>
                        <a:pt x="268850" y="542039"/>
                      </a:lnTo>
                      <a:lnTo>
                        <a:pt x="264329" y="556226"/>
                      </a:lnTo>
                      <a:lnTo>
                        <a:pt x="247377" y="556226"/>
                      </a:lnTo>
                      <a:lnTo>
                        <a:pt x="247377" y="547106"/>
                      </a:lnTo>
                      <a:cubicBezTo>
                        <a:pt x="247377" y="547106"/>
                        <a:pt x="246247" y="546093"/>
                        <a:pt x="242856" y="546093"/>
                      </a:cubicBezTo>
                      <a:cubicBezTo>
                        <a:pt x="238336" y="546093"/>
                        <a:pt x="231555" y="547106"/>
                        <a:pt x="231555" y="547106"/>
                      </a:cubicBezTo>
                      <a:cubicBezTo>
                        <a:pt x="231555" y="547106"/>
                        <a:pt x="229295" y="542039"/>
                        <a:pt x="227035" y="536972"/>
                      </a:cubicBezTo>
                      <a:cubicBezTo>
                        <a:pt x="225905" y="533932"/>
                        <a:pt x="225905" y="531906"/>
                        <a:pt x="219124" y="524812"/>
                      </a:cubicBezTo>
                      <a:cubicBezTo>
                        <a:pt x="215734" y="521772"/>
                        <a:pt x="206693" y="518732"/>
                        <a:pt x="193132" y="515692"/>
                      </a:cubicBezTo>
                      <a:cubicBezTo>
                        <a:pt x="196522" y="512652"/>
                        <a:pt x="197652" y="496438"/>
                        <a:pt x="193132" y="493398"/>
                      </a:cubicBezTo>
                      <a:lnTo>
                        <a:pt x="187481" y="493398"/>
                      </a:lnTo>
                      <a:cubicBezTo>
                        <a:pt x="186350" y="490358"/>
                        <a:pt x="188611" y="484278"/>
                        <a:pt x="187481" y="481238"/>
                      </a:cubicBezTo>
                      <a:cubicBezTo>
                        <a:pt x="178440" y="482251"/>
                        <a:pt x="168269" y="485291"/>
                        <a:pt x="162618" y="486305"/>
                      </a:cubicBezTo>
                      <a:cubicBezTo>
                        <a:pt x="154707" y="486305"/>
                        <a:pt x="154707" y="482251"/>
                        <a:pt x="146796" y="484278"/>
                      </a:cubicBezTo>
                      <a:cubicBezTo>
                        <a:pt x="141146" y="485291"/>
                        <a:pt x="133235" y="492385"/>
                        <a:pt x="127585" y="494411"/>
                      </a:cubicBezTo>
                      <a:cubicBezTo>
                        <a:pt x="111763" y="498465"/>
                        <a:pt x="94811" y="495425"/>
                        <a:pt x="81249" y="494411"/>
                      </a:cubicBezTo>
                      <a:lnTo>
                        <a:pt x="78989" y="501505"/>
                      </a:lnTo>
                      <a:cubicBezTo>
                        <a:pt x="67688" y="502518"/>
                        <a:pt x="54127" y="493398"/>
                        <a:pt x="46216" y="494411"/>
                      </a:cubicBezTo>
                      <a:lnTo>
                        <a:pt x="40565" y="501505"/>
                      </a:lnTo>
                      <a:cubicBezTo>
                        <a:pt x="33784" y="502518"/>
                        <a:pt x="34915" y="497452"/>
                        <a:pt x="27004" y="499478"/>
                      </a:cubicBezTo>
                      <a:cubicBezTo>
                        <a:pt x="27004" y="499478"/>
                        <a:pt x="24743" y="503532"/>
                        <a:pt x="24743" y="504545"/>
                      </a:cubicBezTo>
                      <a:cubicBezTo>
                        <a:pt x="20223" y="504545"/>
                        <a:pt x="14573" y="504545"/>
                        <a:pt x="10052" y="504545"/>
                      </a:cubicBezTo>
                      <a:lnTo>
                        <a:pt x="15703" y="469077"/>
                      </a:lnTo>
                      <a:lnTo>
                        <a:pt x="38305" y="440703"/>
                      </a:lnTo>
                      <a:lnTo>
                        <a:pt x="58647" y="434623"/>
                      </a:lnTo>
                      <a:lnTo>
                        <a:pt x="81249" y="429557"/>
                      </a:lnTo>
                      <a:lnTo>
                        <a:pt x="95941" y="419423"/>
                      </a:lnTo>
                      <a:lnTo>
                        <a:pt x="95941" y="408276"/>
                      </a:lnTo>
                      <a:lnTo>
                        <a:pt x="78989" y="400169"/>
                      </a:lnTo>
                      <a:lnTo>
                        <a:pt x="77859" y="380916"/>
                      </a:lnTo>
                      <a:lnTo>
                        <a:pt x="66558" y="365715"/>
                      </a:lnTo>
                      <a:lnTo>
                        <a:pt x="51867" y="361662"/>
                      </a:lnTo>
                      <a:lnTo>
                        <a:pt x="36045" y="341395"/>
                      </a:lnTo>
                      <a:lnTo>
                        <a:pt x="30394" y="330248"/>
                      </a:lnTo>
                      <a:lnTo>
                        <a:pt x="34915" y="322141"/>
                      </a:lnTo>
                      <a:lnTo>
                        <a:pt x="20223" y="287687"/>
                      </a:lnTo>
                      <a:lnTo>
                        <a:pt x="57517" y="306940"/>
                      </a:lnTo>
                      <a:lnTo>
                        <a:pt x="69948" y="302887"/>
                      </a:lnTo>
                      <a:lnTo>
                        <a:pt x="82380" y="301873"/>
                      </a:lnTo>
                      <a:lnTo>
                        <a:pt x="115153" y="301873"/>
                      </a:lnTo>
                      <a:lnTo>
                        <a:pt x="133235" y="306940"/>
                      </a:lnTo>
                      <a:lnTo>
                        <a:pt x="137755" y="293767"/>
                      </a:lnTo>
                      <a:lnTo>
                        <a:pt x="158097" y="289713"/>
                      </a:lnTo>
                      <a:lnTo>
                        <a:pt x="161488" y="275526"/>
                      </a:lnTo>
                      <a:lnTo>
                        <a:pt x="166008" y="261339"/>
                      </a:lnTo>
                      <a:lnTo>
                        <a:pt x="182960" y="252219"/>
                      </a:lnTo>
                      <a:lnTo>
                        <a:pt x="206693" y="223845"/>
                      </a:lnTo>
                      <a:lnTo>
                        <a:pt x="216864" y="227899"/>
                      </a:lnTo>
                      <a:lnTo>
                        <a:pt x="227035" y="223845"/>
                      </a:lnTo>
                      <a:lnTo>
                        <a:pt x="232686" y="214725"/>
                      </a:lnTo>
                      <a:lnTo>
                        <a:pt x="220254" y="200538"/>
                      </a:lnTo>
                      <a:lnTo>
                        <a:pt x="238336" y="191418"/>
                      </a:lnTo>
                      <a:lnTo>
                        <a:pt x="247377" y="181284"/>
                      </a:lnTo>
                      <a:lnTo>
                        <a:pt x="254158" y="189391"/>
                      </a:lnTo>
                      <a:lnTo>
                        <a:pt x="269980" y="193444"/>
                      </a:lnTo>
                      <a:lnTo>
                        <a:pt x="282411" y="190404"/>
                      </a:lnTo>
                      <a:lnTo>
                        <a:pt x="286931" y="176217"/>
                      </a:lnTo>
                      <a:lnTo>
                        <a:pt x="285801" y="163044"/>
                      </a:lnTo>
                      <a:lnTo>
                        <a:pt x="301623" y="151897"/>
                      </a:lnTo>
                      <a:lnTo>
                        <a:pt x="302753" y="133657"/>
                      </a:lnTo>
                      <a:lnTo>
                        <a:pt x="290322" y="122510"/>
                      </a:lnTo>
                      <a:lnTo>
                        <a:pt x="297103" y="109336"/>
                      </a:lnTo>
                      <a:lnTo>
                        <a:pt x="311794" y="112376"/>
                      </a:lnTo>
                      <a:lnTo>
                        <a:pt x="329876" y="109336"/>
                      </a:lnTo>
                      <a:lnTo>
                        <a:pt x="335526" y="89069"/>
                      </a:lnTo>
                      <a:lnTo>
                        <a:pt x="326485" y="77922"/>
                      </a:lnTo>
                      <a:lnTo>
                        <a:pt x="340047" y="68801"/>
                      </a:lnTo>
                      <a:lnTo>
                        <a:pt x="338917" y="50561"/>
                      </a:lnTo>
                      <a:lnTo>
                        <a:pt x="378471" y="29281"/>
                      </a:lnTo>
                      <a:lnTo>
                        <a:pt x="399943" y="24214"/>
                      </a:lnTo>
                      <a:lnTo>
                        <a:pt x="423676" y="16107"/>
                      </a:lnTo>
                      <a:lnTo>
                        <a:pt x="446278" y="17120"/>
                      </a:lnTo>
                      <a:lnTo>
                        <a:pt x="457579" y="16107"/>
                      </a:lnTo>
                      <a:lnTo>
                        <a:pt x="466621" y="10027"/>
                      </a:lnTo>
                      <a:lnTo>
                        <a:pt x="490353" y="9013"/>
                      </a:lnTo>
                      <a:lnTo>
                        <a:pt x="531037" y="32321"/>
                      </a:lnTo>
                      <a:lnTo>
                        <a:pt x="540078" y="42454"/>
                      </a:lnTo>
                      <a:lnTo>
                        <a:pt x="551380" y="5866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6" name="Freeform: Shape 315">
                  <a:extLst>
                    <a:ext uri="{FF2B5EF4-FFF2-40B4-BE49-F238E27FC236}">
                      <a16:creationId xmlns:a16="http://schemas.microsoft.com/office/drawing/2014/main" id="{78F67FEA-8BF6-42C1-897D-B8A40778EFBB}"/>
                    </a:ext>
                  </a:extLst>
                </p:cNvPr>
                <p:cNvSpPr/>
                <p:nvPr/>
              </p:nvSpPr>
              <p:spPr>
                <a:xfrm>
                  <a:off x="7710526" y="3225000"/>
                  <a:ext cx="293831" cy="395209"/>
                </a:xfrm>
                <a:custGeom>
                  <a:avLst/>
                  <a:gdLst>
                    <a:gd name="connsiteX0" fmla="*/ 152447 w 293831"/>
                    <a:gd name="connsiteY0" fmla="*/ 24214 h 395209"/>
                    <a:gd name="connsiteX1" fmla="*/ 155838 w 293831"/>
                    <a:gd name="connsiteY1" fmla="*/ 27254 h 395209"/>
                    <a:gd name="connsiteX2" fmla="*/ 152447 w 293831"/>
                    <a:gd name="connsiteY2" fmla="*/ 38401 h 395209"/>
                    <a:gd name="connsiteX3" fmla="*/ 164879 w 293831"/>
                    <a:gd name="connsiteY3" fmla="*/ 38401 h 395209"/>
                    <a:gd name="connsiteX4" fmla="*/ 164879 w 293831"/>
                    <a:gd name="connsiteY4" fmla="*/ 9013 h 395209"/>
                    <a:gd name="connsiteX5" fmla="*/ 153577 w 293831"/>
                    <a:gd name="connsiteY5" fmla="*/ 14080 h 395209"/>
                    <a:gd name="connsiteX6" fmla="*/ 152447 w 293831"/>
                    <a:gd name="connsiteY6" fmla="*/ 24214 h 395209"/>
                    <a:gd name="connsiteX7" fmla="*/ 168269 w 293831"/>
                    <a:gd name="connsiteY7" fmla="*/ 54614 h 395209"/>
                    <a:gd name="connsiteX8" fmla="*/ 176180 w 293831"/>
                    <a:gd name="connsiteY8" fmla="*/ 69815 h 395209"/>
                    <a:gd name="connsiteX9" fmla="*/ 192002 w 293831"/>
                    <a:gd name="connsiteY9" fmla="*/ 79948 h 395209"/>
                    <a:gd name="connsiteX10" fmla="*/ 207823 w 293831"/>
                    <a:gd name="connsiteY10" fmla="*/ 99202 h 395209"/>
                    <a:gd name="connsiteX11" fmla="*/ 219124 w 293831"/>
                    <a:gd name="connsiteY11" fmla="*/ 99202 h 395209"/>
                    <a:gd name="connsiteX12" fmla="*/ 243987 w 293831"/>
                    <a:gd name="connsiteY12" fmla="*/ 109336 h 395209"/>
                    <a:gd name="connsiteX13" fmla="*/ 257548 w 293831"/>
                    <a:gd name="connsiteY13" fmla="*/ 123523 h 395209"/>
                    <a:gd name="connsiteX14" fmla="*/ 265459 w 293831"/>
                    <a:gd name="connsiteY14" fmla="*/ 123523 h 395209"/>
                    <a:gd name="connsiteX15" fmla="*/ 265459 w 293831"/>
                    <a:gd name="connsiteY15" fmla="*/ 125549 h 395209"/>
                    <a:gd name="connsiteX16" fmla="*/ 276761 w 293831"/>
                    <a:gd name="connsiteY16" fmla="*/ 137710 h 395209"/>
                    <a:gd name="connsiteX17" fmla="*/ 276761 w 293831"/>
                    <a:gd name="connsiteY17" fmla="*/ 149870 h 395209"/>
                    <a:gd name="connsiteX18" fmla="*/ 292582 w 293831"/>
                    <a:gd name="connsiteY18" fmla="*/ 156964 h 395209"/>
                    <a:gd name="connsiteX19" fmla="*/ 292582 w 293831"/>
                    <a:gd name="connsiteY19" fmla="*/ 167097 h 395209"/>
                    <a:gd name="connsiteX20" fmla="*/ 281281 w 293831"/>
                    <a:gd name="connsiteY20" fmla="*/ 181284 h 395209"/>
                    <a:gd name="connsiteX21" fmla="*/ 281281 w 293831"/>
                    <a:gd name="connsiteY21" fmla="*/ 191418 h 395209"/>
                    <a:gd name="connsiteX22" fmla="*/ 273370 w 293831"/>
                    <a:gd name="connsiteY22" fmla="*/ 198511 h 395209"/>
                    <a:gd name="connsiteX23" fmla="*/ 273370 w 293831"/>
                    <a:gd name="connsiteY23" fmla="*/ 205605 h 395209"/>
                    <a:gd name="connsiteX24" fmla="*/ 262069 w 293831"/>
                    <a:gd name="connsiteY24" fmla="*/ 212698 h 395209"/>
                    <a:gd name="connsiteX25" fmla="*/ 256419 w 293831"/>
                    <a:gd name="connsiteY25" fmla="*/ 231952 h 395209"/>
                    <a:gd name="connsiteX26" fmla="*/ 245117 w 293831"/>
                    <a:gd name="connsiteY26" fmla="*/ 239046 h 395209"/>
                    <a:gd name="connsiteX27" fmla="*/ 245117 w 293831"/>
                    <a:gd name="connsiteY27" fmla="*/ 253232 h 395209"/>
                    <a:gd name="connsiteX28" fmla="*/ 233816 w 293831"/>
                    <a:gd name="connsiteY28" fmla="*/ 251206 h 395209"/>
                    <a:gd name="connsiteX29" fmla="*/ 225905 w 293831"/>
                    <a:gd name="connsiteY29" fmla="*/ 304914 h 395209"/>
                    <a:gd name="connsiteX30" fmla="*/ 190871 w 293831"/>
                    <a:gd name="connsiteY30" fmla="*/ 312007 h 395209"/>
                    <a:gd name="connsiteX31" fmla="*/ 188611 w 293831"/>
                    <a:gd name="connsiteY31" fmla="*/ 319101 h 395209"/>
                    <a:gd name="connsiteX32" fmla="*/ 177310 w 293831"/>
                    <a:gd name="connsiteY32" fmla="*/ 329234 h 395209"/>
                    <a:gd name="connsiteX33" fmla="*/ 177310 w 293831"/>
                    <a:gd name="connsiteY33" fmla="*/ 339368 h 395209"/>
                    <a:gd name="connsiteX34" fmla="*/ 136626 w 293831"/>
                    <a:gd name="connsiteY34" fmla="*/ 346461 h 395209"/>
                    <a:gd name="connsiteX35" fmla="*/ 123064 w 293831"/>
                    <a:gd name="connsiteY35" fmla="*/ 372808 h 395209"/>
                    <a:gd name="connsiteX36" fmla="*/ 98202 w 293831"/>
                    <a:gd name="connsiteY36" fmla="*/ 377875 h 395209"/>
                    <a:gd name="connsiteX37" fmla="*/ 84640 w 293831"/>
                    <a:gd name="connsiteY37" fmla="*/ 382942 h 395209"/>
                    <a:gd name="connsiteX38" fmla="*/ 84640 w 293831"/>
                    <a:gd name="connsiteY38" fmla="*/ 388009 h 395209"/>
                    <a:gd name="connsiteX39" fmla="*/ 71079 w 293831"/>
                    <a:gd name="connsiteY39" fmla="*/ 389022 h 395209"/>
                    <a:gd name="connsiteX40" fmla="*/ 54127 w 293831"/>
                    <a:gd name="connsiteY40" fmla="*/ 377875 h 395209"/>
                    <a:gd name="connsiteX41" fmla="*/ 10052 w 293831"/>
                    <a:gd name="connsiteY41" fmla="*/ 312007 h 395209"/>
                    <a:gd name="connsiteX42" fmla="*/ 11183 w 293831"/>
                    <a:gd name="connsiteY42" fmla="*/ 300860 h 395209"/>
                    <a:gd name="connsiteX43" fmla="*/ 126455 w 293831"/>
                    <a:gd name="connsiteY43" fmla="*/ 257286 h 395209"/>
                    <a:gd name="connsiteX44" fmla="*/ 150187 w 293831"/>
                    <a:gd name="connsiteY44" fmla="*/ 163044 h 395209"/>
                    <a:gd name="connsiteX45" fmla="*/ 127585 w 293831"/>
                    <a:gd name="connsiteY45" fmla="*/ 136696 h 395209"/>
                    <a:gd name="connsiteX46" fmla="*/ 135496 w 293831"/>
                    <a:gd name="connsiteY46" fmla="*/ 112376 h 395209"/>
                    <a:gd name="connsiteX47" fmla="*/ 140016 w 293831"/>
                    <a:gd name="connsiteY47" fmla="*/ 87042 h 395209"/>
                    <a:gd name="connsiteX48" fmla="*/ 140016 w 293831"/>
                    <a:gd name="connsiteY48" fmla="*/ 77922 h 395209"/>
                    <a:gd name="connsiteX49" fmla="*/ 150187 w 293831"/>
                    <a:gd name="connsiteY49" fmla="*/ 70828 h 395209"/>
                    <a:gd name="connsiteX50" fmla="*/ 142276 w 293831"/>
                    <a:gd name="connsiteY50" fmla="*/ 60695 h 395209"/>
                    <a:gd name="connsiteX51" fmla="*/ 150187 w 293831"/>
                    <a:gd name="connsiteY51" fmla="*/ 54614 h 395209"/>
                    <a:gd name="connsiteX52" fmla="*/ 158098 w 293831"/>
                    <a:gd name="connsiteY52" fmla="*/ 60695 h 395209"/>
                    <a:gd name="connsiteX53" fmla="*/ 168269 w 293831"/>
                    <a:gd name="connsiteY53" fmla="*/ 54614 h 39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93831" h="395209">
                      <a:moveTo>
                        <a:pt x="152447" y="24214"/>
                      </a:moveTo>
                      <a:lnTo>
                        <a:pt x="155838" y="27254"/>
                      </a:lnTo>
                      <a:lnTo>
                        <a:pt x="152447" y="38401"/>
                      </a:lnTo>
                      <a:lnTo>
                        <a:pt x="164879" y="38401"/>
                      </a:lnTo>
                      <a:cubicBezTo>
                        <a:pt x="164879" y="30294"/>
                        <a:pt x="164879" y="18134"/>
                        <a:pt x="164879" y="9013"/>
                      </a:cubicBezTo>
                      <a:cubicBezTo>
                        <a:pt x="163749" y="11040"/>
                        <a:pt x="155838" y="11040"/>
                        <a:pt x="153577" y="14080"/>
                      </a:cubicBezTo>
                      <a:cubicBezTo>
                        <a:pt x="152447" y="18134"/>
                        <a:pt x="154708" y="21174"/>
                        <a:pt x="152447" y="24214"/>
                      </a:cubicBezTo>
                      <a:close/>
                      <a:moveTo>
                        <a:pt x="168269" y="54614"/>
                      </a:moveTo>
                      <a:cubicBezTo>
                        <a:pt x="169399" y="58668"/>
                        <a:pt x="172789" y="65761"/>
                        <a:pt x="176180" y="69815"/>
                      </a:cubicBezTo>
                      <a:cubicBezTo>
                        <a:pt x="180700" y="73868"/>
                        <a:pt x="188611" y="75895"/>
                        <a:pt x="192002" y="79948"/>
                      </a:cubicBezTo>
                      <a:cubicBezTo>
                        <a:pt x="197652" y="85015"/>
                        <a:pt x="201042" y="96162"/>
                        <a:pt x="207823" y="99202"/>
                      </a:cubicBezTo>
                      <a:cubicBezTo>
                        <a:pt x="210083" y="100216"/>
                        <a:pt x="215734" y="98189"/>
                        <a:pt x="219124" y="99202"/>
                      </a:cubicBezTo>
                      <a:lnTo>
                        <a:pt x="243987" y="109336"/>
                      </a:lnTo>
                      <a:cubicBezTo>
                        <a:pt x="248508" y="112376"/>
                        <a:pt x="251898" y="122510"/>
                        <a:pt x="257548" y="123523"/>
                      </a:cubicBezTo>
                      <a:cubicBezTo>
                        <a:pt x="259809" y="124536"/>
                        <a:pt x="264329" y="122510"/>
                        <a:pt x="265459" y="123523"/>
                      </a:cubicBezTo>
                      <a:lnTo>
                        <a:pt x="265459" y="125549"/>
                      </a:lnTo>
                      <a:lnTo>
                        <a:pt x="276761" y="137710"/>
                      </a:lnTo>
                      <a:cubicBezTo>
                        <a:pt x="277890" y="141763"/>
                        <a:pt x="274500" y="146830"/>
                        <a:pt x="276761" y="149870"/>
                      </a:cubicBezTo>
                      <a:cubicBezTo>
                        <a:pt x="279021" y="153924"/>
                        <a:pt x="288062" y="154937"/>
                        <a:pt x="292582" y="156964"/>
                      </a:cubicBezTo>
                      <a:cubicBezTo>
                        <a:pt x="291452" y="160004"/>
                        <a:pt x="293712" y="164057"/>
                        <a:pt x="292582" y="167097"/>
                      </a:cubicBezTo>
                      <a:cubicBezTo>
                        <a:pt x="291452" y="171151"/>
                        <a:pt x="283541" y="177231"/>
                        <a:pt x="281281" y="181284"/>
                      </a:cubicBezTo>
                      <a:cubicBezTo>
                        <a:pt x="280151" y="184324"/>
                        <a:pt x="282411" y="188378"/>
                        <a:pt x="281281" y="191418"/>
                      </a:cubicBezTo>
                      <a:cubicBezTo>
                        <a:pt x="281281" y="192431"/>
                        <a:pt x="273370" y="196484"/>
                        <a:pt x="273370" y="198511"/>
                      </a:cubicBezTo>
                      <a:cubicBezTo>
                        <a:pt x="273370" y="200538"/>
                        <a:pt x="274500" y="203578"/>
                        <a:pt x="273370" y="205605"/>
                      </a:cubicBezTo>
                      <a:cubicBezTo>
                        <a:pt x="272240" y="207631"/>
                        <a:pt x="264329" y="210671"/>
                        <a:pt x="262069" y="212698"/>
                      </a:cubicBezTo>
                      <a:cubicBezTo>
                        <a:pt x="258678" y="218778"/>
                        <a:pt x="259809" y="225872"/>
                        <a:pt x="256419" y="231952"/>
                      </a:cubicBezTo>
                      <a:cubicBezTo>
                        <a:pt x="255288" y="233979"/>
                        <a:pt x="246247" y="237019"/>
                        <a:pt x="245117" y="239046"/>
                      </a:cubicBezTo>
                      <a:cubicBezTo>
                        <a:pt x="243987" y="243099"/>
                        <a:pt x="247377" y="250193"/>
                        <a:pt x="245117" y="253232"/>
                      </a:cubicBezTo>
                      <a:cubicBezTo>
                        <a:pt x="243987" y="254246"/>
                        <a:pt x="236076" y="251206"/>
                        <a:pt x="233816" y="251206"/>
                      </a:cubicBezTo>
                      <a:cubicBezTo>
                        <a:pt x="225905" y="270460"/>
                        <a:pt x="221385" y="278566"/>
                        <a:pt x="225905" y="304914"/>
                      </a:cubicBezTo>
                      <a:cubicBezTo>
                        <a:pt x="217994" y="306940"/>
                        <a:pt x="197652" y="307954"/>
                        <a:pt x="190871" y="312007"/>
                      </a:cubicBezTo>
                      <a:cubicBezTo>
                        <a:pt x="187481" y="314034"/>
                        <a:pt x="189741" y="316061"/>
                        <a:pt x="188611" y="319101"/>
                      </a:cubicBezTo>
                      <a:cubicBezTo>
                        <a:pt x="186351" y="322141"/>
                        <a:pt x="179570" y="326194"/>
                        <a:pt x="177310" y="329234"/>
                      </a:cubicBezTo>
                      <a:cubicBezTo>
                        <a:pt x="176180" y="331261"/>
                        <a:pt x="177310" y="336328"/>
                        <a:pt x="177310" y="339368"/>
                      </a:cubicBezTo>
                      <a:cubicBezTo>
                        <a:pt x="166009" y="344435"/>
                        <a:pt x="156968" y="346461"/>
                        <a:pt x="136626" y="346461"/>
                      </a:cubicBezTo>
                      <a:cubicBezTo>
                        <a:pt x="132105" y="353555"/>
                        <a:pt x="129845" y="368755"/>
                        <a:pt x="123064" y="372808"/>
                      </a:cubicBezTo>
                      <a:cubicBezTo>
                        <a:pt x="115154" y="377875"/>
                        <a:pt x="110633" y="373822"/>
                        <a:pt x="98202" y="377875"/>
                      </a:cubicBezTo>
                      <a:cubicBezTo>
                        <a:pt x="94811" y="378889"/>
                        <a:pt x="89160" y="380916"/>
                        <a:pt x="84640" y="382942"/>
                      </a:cubicBezTo>
                      <a:lnTo>
                        <a:pt x="84640" y="388009"/>
                      </a:lnTo>
                      <a:cubicBezTo>
                        <a:pt x="80120" y="390036"/>
                        <a:pt x="75599" y="389022"/>
                        <a:pt x="71079" y="389022"/>
                      </a:cubicBezTo>
                      <a:lnTo>
                        <a:pt x="54127" y="377875"/>
                      </a:lnTo>
                      <a:lnTo>
                        <a:pt x="10052" y="312007"/>
                      </a:lnTo>
                      <a:lnTo>
                        <a:pt x="11183" y="300860"/>
                      </a:lnTo>
                      <a:cubicBezTo>
                        <a:pt x="11183" y="300860"/>
                        <a:pt x="104982" y="265393"/>
                        <a:pt x="126455" y="257286"/>
                      </a:cubicBezTo>
                      <a:cubicBezTo>
                        <a:pt x="135496" y="254246"/>
                        <a:pt x="149057" y="168111"/>
                        <a:pt x="150187" y="163044"/>
                      </a:cubicBezTo>
                      <a:lnTo>
                        <a:pt x="127585" y="136696"/>
                      </a:lnTo>
                      <a:cubicBezTo>
                        <a:pt x="127585" y="136696"/>
                        <a:pt x="125324" y="123523"/>
                        <a:pt x="135496" y="112376"/>
                      </a:cubicBezTo>
                      <a:cubicBezTo>
                        <a:pt x="144537" y="101229"/>
                        <a:pt x="143407" y="86029"/>
                        <a:pt x="140016" y="87042"/>
                      </a:cubicBezTo>
                      <a:cubicBezTo>
                        <a:pt x="133235" y="89069"/>
                        <a:pt x="132105" y="82989"/>
                        <a:pt x="140016" y="77922"/>
                      </a:cubicBezTo>
                      <a:cubicBezTo>
                        <a:pt x="147927" y="72855"/>
                        <a:pt x="150187" y="70828"/>
                        <a:pt x="150187" y="70828"/>
                      </a:cubicBezTo>
                      <a:cubicBezTo>
                        <a:pt x="150187" y="70828"/>
                        <a:pt x="143407" y="65761"/>
                        <a:pt x="142276" y="60695"/>
                      </a:cubicBezTo>
                      <a:cubicBezTo>
                        <a:pt x="141146" y="54614"/>
                        <a:pt x="145666" y="50561"/>
                        <a:pt x="150187" y="54614"/>
                      </a:cubicBezTo>
                      <a:cubicBezTo>
                        <a:pt x="153577" y="58668"/>
                        <a:pt x="156968" y="64748"/>
                        <a:pt x="158098" y="60695"/>
                      </a:cubicBezTo>
                      <a:cubicBezTo>
                        <a:pt x="161488" y="56641"/>
                        <a:pt x="168269" y="54614"/>
                        <a:pt x="168269" y="5461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7" name="Freeform: Shape 316">
                  <a:extLst>
                    <a:ext uri="{FF2B5EF4-FFF2-40B4-BE49-F238E27FC236}">
                      <a16:creationId xmlns:a16="http://schemas.microsoft.com/office/drawing/2014/main" id="{70DBAE04-77A0-436D-902B-2CA17C3FC2B0}"/>
                    </a:ext>
                  </a:extLst>
                </p:cNvPr>
                <p:cNvSpPr/>
                <p:nvPr/>
              </p:nvSpPr>
              <p:spPr>
                <a:xfrm>
                  <a:off x="6074950" y="440295"/>
                  <a:ext cx="937999" cy="1357898"/>
                </a:xfrm>
                <a:custGeom>
                  <a:avLst/>
                  <a:gdLst>
                    <a:gd name="connsiteX0" fmla="*/ 627391 w 937999"/>
                    <a:gd name="connsiteY0" fmla="*/ 28267 h 1357898"/>
                    <a:gd name="connsiteX1" fmla="*/ 629651 w 937999"/>
                    <a:gd name="connsiteY1" fmla="*/ 35361 h 1357898"/>
                    <a:gd name="connsiteX2" fmla="*/ 627391 w 937999"/>
                    <a:gd name="connsiteY2" fmla="*/ 28267 h 1357898"/>
                    <a:gd name="connsiteX3" fmla="*/ 404757 w 937999"/>
                    <a:gd name="connsiteY3" fmla="*/ 50561 h 1357898"/>
                    <a:gd name="connsiteX4" fmla="*/ 402497 w 937999"/>
                    <a:gd name="connsiteY4" fmla="*/ 60695 h 1357898"/>
                    <a:gd name="connsiteX5" fmla="*/ 391196 w 937999"/>
                    <a:gd name="connsiteY5" fmla="*/ 65761 h 1357898"/>
                    <a:gd name="connsiteX6" fmla="*/ 388936 w 937999"/>
                    <a:gd name="connsiteY6" fmla="*/ 72855 h 1357898"/>
                    <a:gd name="connsiteX7" fmla="*/ 373114 w 937999"/>
                    <a:gd name="connsiteY7" fmla="*/ 79948 h 1357898"/>
                    <a:gd name="connsiteX8" fmla="*/ 375374 w 937999"/>
                    <a:gd name="connsiteY8" fmla="*/ 111362 h 1357898"/>
                    <a:gd name="connsiteX9" fmla="*/ 383285 w 937999"/>
                    <a:gd name="connsiteY9" fmla="*/ 118456 h 1357898"/>
                    <a:gd name="connsiteX10" fmla="*/ 388936 w 937999"/>
                    <a:gd name="connsiteY10" fmla="*/ 140750 h 1357898"/>
                    <a:gd name="connsiteX11" fmla="*/ 381025 w 937999"/>
                    <a:gd name="connsiteY11" fmla="*/ 133656 h 1357898"/>
                    <a:gd name="connsiteX12" fmla="*/ 373114 w 937999"/>
                    <a:gd name="connsiteY12" fmla="*/ 114403 h 1357898"/>
                    <a:gd name="connsiteX13" fmla="*/ 361813 w 937999"/>
                    <a:gd name="connsiteY13" fmla="*/ 107309 h 1357898"/>
                    <a:gd name="connsiteX14" fmla="*/ 345991 w 937999"/>
                    <a:gd name="connsiteY14" fmla="*/ 75895 h 1357898"/>
                    <a:gd name="connsiteX15" fmla="*/ 326779 w 937999"/>
                    <a:gd name="connsiteY15" fmla="*/ 77922 h 1357898"/>
                    <a:gd name="connsiteX16" fmla="*/ 321129 w 937999"/>
                    <a:gd name="connsiteY16" fmla="*/ 104269 h 1357898"/>
                    <a:gd name="connsiteX17" fmla="*/ 315478 w 937999"/>
                    <a:gd name="connsiteY17" fmla="*/ 104269 h 1357898"/>
                    <a:gd name="connsiteX18" fmla="*/ 313218 w 937999"/>
                    <a:gd name="connsiteY18" fmla="*/ 97175 h 1357898"/>
                    <a:gd name="connsiteX19" fmla="*/ 305307 w 937999"/>
                    <a:gd name="connsiteY19" fmla="*/ 97175 h 1357898"/>
                    <a:gd name="connsiteX20" fmla="*/ 303046 w 937999"/>
                    <a:gd name="connsiteY20" fmla="*/ 87042 h 1357898"/>
                    <a:gd name="connsiteX21" fmla="*/ 291745 w 937999"/>
                    <a:gd name="connsiteY21" fmla="*/ 85015 h 1357898"/>
                    <a:gd name="connsiteX22" fmla="*/ 316608 w 937999"/>
                    <a:gd name="connsiteY22" fmla="*/ 79948 h 1357898"/>
                    <a:gd name="connsiteX23" fmla="*/ 316608 w 937999"/>
                    <a:gd name="connsiteY23" fmla="*/ 72855 h 1357898"/>
                    <a:gd name="connsiteX24" fmla="*/ 303046 w 937999"/>
                    <a:gd name="connsiteY24" fmla="*/ 67788 h 1357898"/>
                    <a:gd name="connsiteX25" fmla="*/ 291745 w 937999"/>
                    <a:gd name="connsiteY25" fmla="*/ 72855 h 1357898"/>
                    <a:gd name="connsiteX26" fmla="*/ 275924 w 937999"/>
                    <a:gd name="connsiteY26" fmla="*/ 67788 h 1357898"/>
                    <a:gd name="connsiteX27" fmla="*/ 275924 w 937999"/>
                    <a:gd name="connsiteY27" fmla="*/ 72855 h 1357898"/>
                    <a:gd name="connsiteX28" fmla="*/ 268013 w 937999"/>
                    <a:gd name="connsiteY28" fmla="*/ 74882 h 1357898"/>
                    <a:gd name="connsiteX29" fmla="*/ 268013 w 937999"/>
                    <a:gd name="connsiteY29" fmla="*/ 76908 h 1357898"/>
                    <a:gd name="connsiteX30" fmla="*/ 254451 w 937999"/>
                    <a:gd name="connsiteY30" fmla="*/ 71842 h 1357898"/>
                    <a:gd name="connsiteX31" fmla="*/ 248801 w 937999"/>
                    <a:gd name="connsiteY31" fmla="*/ 101229 h 1357898"/>
                    <a:gd name="connsiteX32" fmla="*/ 256712 w 937999"/>
                    <a:gd name="connsiteY32" fmla="*/ 94135 h 1357898"/>
                    <a:gd name="connsiteX33" fmla="*/ 262362 w 937999"/>
                    <a:gd name="connsiteY33" fmla="*/ 94135 h 1357898"/>
                    <a:gd name="connsiteX34" fmla="*/ 262362 w 937999"/>
                    <a:gd name="connsiteY34" fmla="*/ 108322 h 1357898"/>
                    <a:gd name="connsiteX35" fmla="*/ 268013 w 937999"/>
                    <a:gd name="connsiteY35" fmla="*/ 113389 h 1357898"/>
                    <a:gd name="connsiteX36" fmla="*/ 256712 w 937999"/>
                    <a:gd name="connsiteY36" fmla="*/ 115416 h 1357898"/>
                    <a:gd name="connsiteX37" fmla="*/ 254451 w 937999"/>
                    <a:gd name="connsiteY37" fmla="*/ 127576 h 1357898"/>
                    <a:gd name="connsiteX38" fmla="*/ 275924 w 937999"/>
                    <a:gd name="connsiteY38" fmla="*/ 137710 h 1357898"/>
                    <a:gd name="connsiteX39" fmla="*/ 273664 w 937999"/>
                    <a:gd name="connsiteY39" fmla="*/ 147843 h 1357898"/>
                    <a:gd name="connsiteX40" fmla="*/ 279314 w 937999"/>
                    <a:gd name="connsiteY40" fmla="*/ 152910 h 1357898"/>
                    <a:gd name="connsiteX41" fmla="*/ 292876 w 937999"/>
                    <a:gd name="connsiteY41" fmla="*/ 172164 h 1357898"/>
                    <a:gd name="connsiteX42" fmla="*/ 304177 w 937999"/>
                    <a:gd name="connsiteY42" fmla="*/ 174191 h 1357898"/>
                    <a:gd name="connsiteX43" fmla="*/ 312087 w 937999"/>
                    <a:gd name="connsiteY43" fmla="*/ 167097 h 1357898"/>
                    <a:gd name="connsiteX44" fmla="*/ 312087 w 937999"/>
                    <a:gd name="connsiteY44" fmla="*/ 162030 h 1357898"/>
                    <a:gd name="connsiteX45" fmla="*/ 336950 w 937999"/>
                    <a:gd name="connsiteY45" fmla="*/ 162030 h 1357898"/>
                    <a:gd name="connsiteX46" fmla="*/ 336950 w 937999"/>
                    <a:gd name="connsiteY46" fmla="*/ 147843 h 1357898"/>
                    <a:gd name="connsiteX47" fmla="*/ 344861 w 937999"/>
                    <a:gd name="connsiteY47" fmla="*/ 145817 h 1357898"/>
                    <a:gd name="connsiteX48" fmla="*/ 350512 w 937999"/>
                    <a:gd name="connsiteY48" fmla="*/ 150883 h 1357898"/>
                    <a:gd name="connsiteX49" fmla="*/ 356162 w 937999"/>
                    <a:gd name="connsiteY49" fmla="*/ 143790 h 1357898"/>
                    <a:gd name="connsiteX50" fmla="*/ 361813 w 937999"/>
                    <a:gd name="connsiteY50" fmla="*/ 143790 h 1357898"/>
                    <a:gd name="connsiteX51" fmla="*/ 364073 w 937999"/>
                    <a:gd name="connsiteY51" fmla="*/ 166084 h 1357898"/>
                    <a:gd name="connsiteX52" fmla="*/ 391196 w 937999"/>
                    <a:gd name="connsiteY52" fmla="*/ 164057 h 1357898"/>
                    <a:gd name="connsiteX53" fmla="*/ 404757 w 937999"/>
                    <a:gd name="connsiteY53" fmla="*/ 178244 h 1357898"/>
                    <a:gd name="connsiteX54" fmla="*/ 431880 w 937999"/>
                    <a:gd name="connsiteY54" fmla="*/ 176217 h 1357898"/>
                    <a:gd name="connsiteX55" fmla="*/ 423969 w 937999"/>
                    <a:gd name="connsiteY55" fmla="*/ 186351 h 1357898"/>
                    <a:gd name="connsiteX56" fmla="*/ 377635 w 937999"/>
                    <a:gd name="connsiteY56" fmla="*/ 188378 h 1357898"/>
                    <a:gd name="connsiteX57" fmla="*/ 361813 w 937999"/>
                    <a:gd name="connsiteY57" fmla="*/ 183311 h 1357898"/>
                    <a:gd name="connsiteX58" fmla="*/ 345991 w 937999"/>
                    <a:gd name="connsiteY58" fmla="*/ 195471 h 1357898"/>
                    <a:gd name="connsiteX59" fmla="*/ 338081 w 937999"/>
                    <a:gd name="connsiteY59" fmla="*/ 195471 h 1357898"/>
                    <a:gd name="connsiteX60" fmla="*/ 326779 w 937999"/>
                    <a:gd name="connsiteY60" fmla="*/ 185338 h 1357898"/>
                    <a:gd name="connsiteX61" fmla="*/ 318868 w 937999"/>
                    <a:gd name="connsiteY61" fmla="*/ 185338 h 1357898"/>
                    <a:gd name="connsiteX62" fmla="*/ 318868 w 937999"/>
                    <a:gd name="connsiteY62" fmla="*/ 192431 h 1357898"/>
                    <a:gd name="connsiteX63" fmla="*/ 316608 w 937999"/>
                    <a:gd name="connsiteY63" fmla="*/ 190404 h 1357898"/>
                    <a:gd name="connsiteX64" fmla="*/ 305307 w 937999"/>
                    <a:gd name="connsiteY64" fmla="*/ 188378 h 1357898"/>
                    <a:gd name="connsiteX65" fmla="*/ 305307 w 937999"/>
                    <a:gd name="connsiteY65" fmla="*/ 210671 h 1357898"/>
                    <a:gd name="connsiteX66" fmla="*/ 321129 w 937999"/>
                    <a:gd name="connsiteY66" fmla="*/ 210671 h 1357898"/>
                    <a:gd name="connsiteX67" fmla="*/ 329039 w 937999"/>
                    <a:gd name="connsiteY67" fmla="*/ 215738 h 1357898"/>
                    <a:gd name="connsiteX68" fmla="*/ 358423 w 937999"/>
                    <a:gd name="connsiteY68" fmla="*/ 213711 h 1357898"/>
                    <a:gd name="connsiteX69" fmla="*/ 377635 w 937999"/>
                    <a:gd name="connsiteY69" fmla="*/ 213711 h 1357898"/>
                    <a:gd name="connsiteX70" fmla="*/ 352772 w 937999"/>
                    <a:gd name="connsiteY70" fmla="*/ 220805 h 1357898"/>
                    <a:gd name="connsiteX71" fmla="*/ 350512 w 937999"/>
                    <a:gd name="connsiteY71" fmla="*/ 227899 h 1357898"/>
                    <a:gd name="connsiteX72" fmla="*/ 364073 w 937999"/>
                    <a:gd name="connsiteY72" fmla="*/ 242085 h 1357898"/>
                    <a:gd name="connsiteX73" fmla="*/ 315478 w 937999"/>
                    <a:gd name="connsiteY73" fmla="*/ 231952 h 1357898"/>
                    <a:gd name="connsiteX74" fmla="*/ 313218 w 937999"/>
                    <a:gd name="connsiteY74" fmla="*/ 246139 h 1357898"/>
                    <a:gd name="connsiteX75" fmla="*/ 318868 w 937999"/>
                    <a:gd name="connsiteY75" fmla="*/ 251206 h 1357898"/>
                    <a:gd name="connsiteX76" fmla="*/ 318868 w 937999"/>
                    <a:gd name="connsiteY76" fmla="*/ 261339 h 1357898"/>
                    <a:gd name="connsiteX77" fmla="*/ 357292 w 937999"/>
                    <a:gd name="connsiteY77" fmla="*/ 266406 h 1357898"/>
                    <a:gd name="connsiteX78" fmla="*/ 359552 w 937999"/>
                    <a:gd name="connsiteY78" fmla="*/ 276540 h 1357898"/>
                    <a:gd name="connsiteX79" fmla="*/ 367463 w 937999"/>
                    <a:gd name="connsiteY79" fmla="*/ 276540 h 1357898"/>
                    <a:gd name="connsiteX80" fmla="*/ 369724 w 937999"/>
                    <a:gd name="connsiteY80" fmla="*/ 281606 h 1357898"/>
                    <a:gd name="connsiteX81" fmla="*/ 388936 w 937999"/>
                    <a:gd name="connsiteY81" fmla="*/ 279580 h 1357898"/>
                    <a:gd name="connsiteX82" fmla="*/ 404757 w 937999"/>
                    <a:gd name="connsiteY82" fmla="*/ 308967 h 1357898"/>
                    <a:gd name="connsiteX83" fmla="*/ 407018 w 937999"/>
                    <a:gd name="connsiteY83" fmla="*/ 306940 h 1357898"/>
                    <a:gd name="connsiteX84" fmla="*/ 422840 w 937999"/>
                    <a:gd name="connsiteY84" fmla="*/ 299847 h 1357898"/>
                    <a:gd name="connsiteX85" fmla="*/ 417189 w 937999"/>
                    <a:gd name="connsiteY85" fmla="*/ 282620 h 1357898"/>
                    <a:gd name="connsiteX86" fmla="*/ 425099 w 937999"/>
                    <a:gd name="connsiteY86" fmla="*/ 275526 h 1357898"/>
                    <a:gd name="connsiteX87" fmla="*/ 446572 w 937999"/>
                    <a:gd name="connsiteY87" fmla="*/ 277553 h 1357898"/>
                    <a:gd name="connsiteX88" fmla="*/ 457873 w 937999"/>
                    <a:gd name="connsiteY88" fmla="*/ 267419 h 1357898"/>
                    <a:gd name="connsiteX89" fmla="*/ 460133 w 937999"/>
                    <a:gd name="connsiteY89" fmla="*/ 262353 h 1357898"/>
                    <a:gd name="connsiteX90" fmla="*/ 465784 w 937999"/>
                    <a:gd name="connsiteY90" fmla="*/ 252219 h 1357898"/>
                    <a:gd name="connsiteX91" fmla="*/ 465784 w 937999"/>
                    <a:gd name="connsiteY91" fmla="*/ 250192 h 1357898"/>
                    <a:gd name="connsiteX92" fmla="*/ 481605 w 937999"/>
                    <a:gd name="connsiteY92" fmla="*/ 250192 h 1357898"/>
                    <a:gd name="connsiteX93" fmla="*/ 483866 w 937999"/>
                    <a:gd name="connsiteY93" fmla="*/ 245126 h 1357898"/>
                    <a:gd name="connsiteX94" fmla="*/ 486126 w 937999"/>
                    <a:gd name="connsiteY94" fmla="*/ 245126 h 1357898"/>
                    <a:gd name="connsiteX95" fmla="*/ 501948 w 937999"/>
                    <a:gd name="connsiteY95" fmla="*/ 220805 h 1357898"/>
                    <a:gd name="connsiteX96" fmla="*/ 550543 w 937999"/>
                    <a:gd name="connsiteY96" fmla="*/ 170137 h 1357898"/>
                    <a:gd name="connsiteX97" fmla="*/ 544892 w 937999"/>
                    <a:gd name="connsiteY97" fmla="*/ 157977 h 1357898"/>
                    <a:gd name="connsiteX98" fmla="*/ 506468 w 937999"/>
                    <a:gd name="connsiteY98" fmla="*/ 150883 h 1357898"/>
                    <a:gd name="connsiteX99" fmla="*/ 495167 w 937999"/>
                    <a:gd name="connsiteY99" fmla="*/ 140750 h 1357898"/>
                    <a:gd name="connsiteX100" fmla="*/ 489516 w 937999"/>
                    <a:gd name="connsiteY100" fmla="*/ 140750 h 1357898"/>
                    <a:gd name="connsiteX101" fmla="*/ 491777 w 937999"/>
                    <a:gd name="connsiteY101" fmla="*/ 130616 h 1357898"/>
                    <a:gd name="connsiteX102" fmla="*/ 483866 w 937999"/>
                    <a:gd name="connsiteY102" fmla="*/ 113389 h 1357898"/>
                    <a:gd name="connsiteX103" fmla="*/ 478215 w 937999"/>
                    <a:gd name="connsiteY103" fmla="*/ 108322 h 1357898"/>
                    <a:gd name="connsiteX104" fmla="*/ 472564 w 937999"/>
                    <a:gd name="connsiteY104" fmla="*/ 110349 h 1357898"/>
                    <a:gd name="connsiteX105" fmla="*/ 466914 w 937999"/>
                    <a:gd name="connsiteY105" fmla="*/ 117443 h 1357898"/>
                    <a:gd name="connsiteX106" fmla="*/ 466914 w 937999"/>
                    <a:gd name="connsiteY106" fmla="*/ 91095 h 1357898"/>
                    <a:gd name="connsiteX107" fmla="*/ 437531 w 937999"/>
                    <a:gd name="connsiteY107" fmla="*/ 64748 h 1357898"/>
                    <a:gd name="connsiteX108" fmla="*/ 416058 w 937999"/>
                    <a:gd name="connsiteY108" fmla="*/ 71842 h 1357898"/>
                    <a:gd name="connsiteX109" fmla="*/ 410408 w 937999"/>
                    <a:gd name="connsiteY109" fmla="*/ 64748 h 1357898"/>
                    <a:gd name="connsiteX110" fmla="*/ 410408 w 937999"/>
                    <a:gd name="connsiteY110" fmla="*/ 54614 h 1357898"/>
                    <a:gd name="connsiteX111" fmla="*/ 404757 w 937999"/>
                    <a:gd name="connsiteY111" fmla="*/ 50561 h 1357898"/>
                    <a:gd name="connsiteX112" fmla="*/ 234109 w 937999"/>
                    <a:gd name="connsiteY112" fmla="*/ 121496 h 1357898"/>
                    <a:gd name="connsiteX113" fmla="*/ 236370 w 937999"/>
                    <a:gd name="connsiteY113" fmla="*/ 145817 h 1357898"/>
                    <a:gd name="connsiteX114" fmla="*/ 247671 w 937999"/>
                    <a:gd name="connsiteY114" fmla="*/ 155950 h 1357898"/>
                    <a:gd name="connsiteX115" fmla="*/ 247671 w 937999"/>
                    <a:gd name="connsiteY115" fmla="*/ 163044 h 1357898"/>
                    <a:gd name="connsiteX116" fmla="*/ 261232 w 937999"/>
                    <a:gd name="connsiteY116" fmla="*/ 165070 h 1357898"/>
                    <a:gd name="connsiteX117" fmla="*/ 255581 w 937999"/>
                    <a:gd name="connsiteY117" fmla="*/ 160004 h 1357898"/>
                    <a:gd name="connsiteX118" fmla="*/ 247671 w 937999"/>
                    <a:gd name="connsiteY118" fmla="*/ 140750 h 1357898"/>
                    <a:gd name="connsiteX119" fmla="*/ 239760 w 937999"/>
                    <a:gd name="connsiteY119" fmla="*/ 135683 h 1357898"/>
                    <a:gd name="connsiteX120" fmla="*/ 239760 w 937999"/>
                    <a:gd name="connsiteY120" fmla="*/ 121496 h 1357898"/>
                    <a:gd name="connsiteX121" fmla="*/ 234109 w 937999"/>
                    <a:gd name="connsiteY121" fmla="*/ 121496 h 1357898"/>
                    <a:gd name="connsiteX122" fmla="*/ 846634 w 937999"/>
                    <a:gd name="connsiteY122" fmla="*/ 135683 h 1357898"/>
                    <a:gd name="connsiteX123" fmla="*/ 838723 w 937999"/>
                    <a:gd name="connsiteY123" fmla="*/ 147843 h 1357898"/>
                    <a:gd name="connsiteX124" fmla="*/ 885058 w 937999"/>
                    <a:gd name="connsiteY124" fmla="*/ 149870 h 1357898"/>
                    <a:gd name="connsiteX125" fmla="*/ 890709 w 937999"/>
                    <a:gd name="connsiteY125" fmla="*/ 142777 h 1357898"/>
                    <a:gd name="connsiteX126" fmla="*/ 877147 w 937999"/>
                    <a:gd name="connsiteY126" fmla="*/ 142777 h 1357898"/>
                    <a:gd name="connsiteX127" fmla="*/ 846634 w 937999"/>
                    <a:gd name="connsiteY127" fmla="*/ 135683 h 1357898"/>
                    <a:gd name="connsiteX128" fmla="*/ 786737 w 937999"/>
                    <a:gd name="connsiteY128" fmla="*/ 152910 h 1357898"/>
                    <a:gd name="connsiteX129" fmla="*/ 784478 w 937999"/>
                    <a:gd name="connsiteY129" fmla="*/ 160004 h 1357898"/>
                    <a:gd name="connsiteX130" fmla="*/ 790128 w 937999"/>
                    <a:gd name="connsiteY130" fmla="*/ 167097 h 1357898"/>
                    <a:gd name="connsiteX131" fmla="*/ 798039 w 937999"/>
                    <a:gd name="connsiteY131" fmla="*/ 165070 h 1357898"/>
                    <a:gd name="connsiteX132" fmla="*/ 792388 w 937999"/>
                    <a:gd name="connsiteY132" fmla="*/ 152910 h 1357898"/>
                    <a:gd name="connsiteX133" fmla="*/ 786737 w 937999"/>
                    <a:gd name="connsiteY133" fmla="*/ 152910 h 1357898"/>
                    <a:gd name="connsiteX134" fmla="*/ 542632 w 937999"/>
                    <a:gd name="connsiteY134" fmla="*/ 177231 h 1357898"/>
                    <a:gd name="connsiteX135" fmla="*/ 534721 w 937999"/>
                    <a:gd name="connsiteY135" fmla="*/ 184324 h 1357898"/>
                    <a:gd name="connsiteX136" fmla="*/ 521159 w 937999"/>
                    <a:gd name="connsiteY136" fmla="*/ 186351 h 1357898"/>
                    <a:gd name="connsiteX137" fmla="*/ 529070 w 937999"/>
                    <a:gd name="connsiteY137" fmla="*/ 188378 h 1357898"/>
                    <a:gd name="connsiteX138" fmla="*/ 548283 w 937999"/>
                    <a:gd name="connsiteY138" fmla="*/ 210671 h 1357898"/>
                    <a:gd name="connsiteX139" fmla="*/ 586707 w 937999"/>
                    <a:gd name="connsiteY139" fmla="*/ 210671 h 1357898"/>
                    <a:gd name="connsiteX140" fmla="*/ 592357 w 937999"/>
                    <a:gd name="connsiteY140" fmla="*/ 193444 h 1357898"/>
                    <a:gd name="connsiteX141" fmla="*/ 598008 w 937999"/>
                    <a:gd name="connsiteY141" fmla="*/ 193444 h 1357898"/>
                    <a:gd name="connsiteX142" fmla="*/ 595748 w 937999"/>
                    <a:gd name="connsiteY142" fmla="*/ 186351 h 1357898"/>
                    <a:gd name="connsiteX143" fmla="*/ 542632 w 937999"/>
                    <a:gd name="connsiteY143" fmla="*/ 177231 h 1357898"/>
                    <a:gd name="connsiteX144" fmla="*/ 738142 w 937999"/>
                    <a:gd name="connsiteY144" fmla="*/ 599800 h 1357898"/>
                    <a:gd name="connsiteX145" fmla="*/ 730232 w 937999"/>
                    <a:gd name="connsiteY145" fmla="*/ 606894 h 1357898"/>
                    <a:gd name="connsiteX146" fmla="*/ 730232 w 937999"/>
                    <a:gd name="connsiteY146" fmla="*/ 617028 h 1357898"/>
                    <a:gd name="connsiteX147" fmla="*/ 735882 w 937999"/>
                    <a:gd name="connsiteY147" fmla="*/ 622094 h 1357898"/>
                    <a:gd name="connsiteX148" fmla="*/ 738142 w 937999"/>
                    <a:gd name="connsiteY148" fmla="*/ 617028 h 1357898"/>
                    <a:gd name="connsiteX149" fmla="*/ 751704 w 937999"/>
                    <a:gd name="connsiteY149" fmla="*/ 619054 h 1357898"/>
                    <a:gd name="connsiteX150" fmla="*/ 753964 w 937999"/>
                    <a:gd name="connsiteY150" fmla="*/ 613987 h 1357898"/>
                    <a:gd name="connsiteX151" fmla="*/ 746053 w 937999"/>
                    <a:gd name="connsiteY151" fmla="*/ 613987 h 1357898"/>
                    <a:gd name="connsiteX152" fmla="*/ 748314 w 937999"/>
                    <a:gd name="connsiteY152" fmla="*/ 606894 h 1357898"/>
                    <a:gd name="connsiteX153" fmla="*/ 738142 w 937999"/>
                    <a:gd name="connsiteY153" fmla="*/ 599800 h 1357898"/>
                    <a:gd name="connsiteX154" fmla="*/ 624001 w 937999"/>
                    <a:gd name="connsiteY154" fmla="*/ 609934 h 1357898"/>
                    <a:gd name="connsiteX155" fmla="*/ 618350 w 937999"/>
                    <a:gd name="connsiteY155" fmla="*/ 622094 h 1357898"/>
                    <a:gd name="connsiteX156" fmla="*/ 596878 w 937999"/>
                    <a:gd name="connsiteY156" fmla="*/ 622094 h 1357898"/>
                    <a:gd name="connsiteX157" fmla="*/ 596878 w 937999"/>
                    <a:gd name="connsiteY157" fmla="*/ 639321 h 1357898"/>
                    <a:gd name="connsiteX158" fmla="*/ 612699 w 937999"/>
                    <a:gd name="connsiteY158" fmla="*/ 629188 h 1357898"/>
                    <a:gd name="connsiteX159" fmla="*/ 624001 w 937999"/>
                    <a:gd name="connsiteY159" fmla="*/ 629188 h 1357898"/>
                    <a:gd name="connsiteX160" fmla="*/ 624001 w 937999"/>
                    <a:gd name="connsiteY160" fmla="*/ 609934 h 1357898"/>
                    <a:gd name="connsiteX161" fmla="*/ 654514 w 937999"/>
                    <a:gd name="connsiteY161" fmla="*/ 632228 h 1357898"/>
                    <a:gd name="connsiteX162" fmla="*/ 652254 w 937999"/>
                    <a:gd name="connsiteY162" fmla="*/ 637295 h 1357898"/>
                    <a:gd name="connsiteX163" fmla="*/ 638692 w 937999"/>
                    <a:gd name="connsiteY163" fmla="*/ 635268 h 1357898"/>
                    <a:gd name="connsiteX164" fmla="*/ 646603 w 937999"/>
                    <a:gd name="connsiteY164" fmla="*/ 652495 h 1357898"/>
                    <a:gd name="connsiteX165" fmla="*/ 646603 w 937999"/>
                    <a:gd name="connsiteY165" fmla="*/ 656548 h 1357898"/>
                    <a:gd name="connsiteX166" fmla="*/ 654514 w 937999"/>
                    <a:gd name="connsiteY166" fmla="*/ 632228 h 1357898"/>
                    <a:gd name="connsiteX167" fmla="*/ 499688 w 937999"/>
                    <a:gd name="connsiteY167" fmla="*/ 658575 h 1357898"/>
                    <a:gd name="connsiteX168" fmla="*/ 499688 w 937999"/>
                    <a:gd name="connsiteY168" fmla="*/ 675802 h 1357898"/>
                    <a:gd name="connsiteX169" fmla="*/ 507598 w 937999"/>
                    <a:gd name="connsiteY169" fmla="*/ 680869 h 1357898"/>
                    <a:gd name="connsiteX170" fmla="*/ 509858 w 937999"/>
                    <a:gd name="connsiteY170" fmla="*/ 675802 h 1357898"/>
                    <a:gd name="connsiteX171" fmla="*/ 512119 w 937999"/>
                    <a:gd name="connsiteY171" fmla="*/ 663642 h 1357898"/>
                    <a:gd name="connsiteX172" fmla="*/ 499688 w 937999"/>
                    <a:gd name="connsiteY172" fmla="*/ 658575 h 1357898"/>
                    <a:gd name="connsiteX173" fmla="*/ 486126 w 937999"/>
                    <a:gd name="connsiteY173" fmla="*/ 677829 h 1357898"/>
                    <a:gd name="connsiteX174" fmla="*/ 474825 w 937999"/>
                    <a:gd name="connsiteY174" fmla="*/ 679856 h 1357898"/>
                    <a:gd name="connsiteX175" fmla="*/ 474825 w 937999"/>
                    <a:gd name="connsiteY175" fmla="*/ 686949 h 1357898"/>
                    <a:gd name="connsiteX176" fmla="*/ 472564 w 937999"/>
                    <a:gd name="connsiteY176" fmla="*/ 697083 h 1357898"/>
                    <a:gd name="connsiteX177" fmla="*/ 483866 w 937999"/>
                    <a:gd name="connsiteY177" fmla="*/ 699109 h 1357898"/>
                    <a:gd name="connsiteX178" fmla="*/ 495167 w 937999"/>
                    <a:gd name="connsiteY178" fmla="*/ 676816 h 1357898"/>
                    <a:gd name="connsiteX179" fmla="*/ 486126 w 937999"/>
                    <a:gd name="connsiteY179" fmla="*/ 677829 h 1357898"/>
                    <a:gd name="connsiteX180" fmla="*/ 459003 w 937999"/>
                    <a:gd name="connsiteY180" fmla="*/ 705190 h 1357898"/>
                    <a:gd name="connsiteX181" fmla="*/ 431880 w 937999"/>
                    <a:gd name="connsiteY181" fmla="*/ 748764 h 1357898"/>
                    <a:gd name="connsiteX182" fmla="*/ 437531 w 937999"/>
                    <a:gd name="connsiteY182" fmla="*/ 748764 h 1357898"/>
                    <a:gd name="connsiteX183" fmla="*/ 443182 w 937999"/>
                    <a:gd name="connsiteY183" fmla="*/ 738630 h 1357898"/>
                    <a:gd name="connsiteX184" fmla="*/ 454483 w 937999"/>
                    <a:gd name="connsiteY184" fmla="*/ 740657 h 1357898"/>
                    <a:gd name="connsiteX185" fmla="*/ 465784 w 937999"/>
                    <a:gd name="connsiteY185" fmla="*/ 706203 h 1357898"/>
                    <a:gd name="connsiteX186" fmla="*/ 459003 w 937999"/>
                    <a:gd name="connsiteY186" fmla="*/ 705190 h 1357898"/>
                    <a:gd name="connsiteX187" fmla="*/ 388936 w 937999"/>
                    <a:gd name="connsiteY187" fmla="*/ 748764 h 1357898"/>
                    <a:gd name="connsiteX188" fmla="*/ 367463 w 937999"/>
                    <a:gd name="connsiteY188" fmla="*/ 790312 h 1357898"/>
                    <a:gd name="connsiteX189" fmla="*/ 378765 w 937999"/>
                    <a:gd name="connsiteY189" fmla="*/ 785245 h 1357898"/>
                    <a:gd name="connsiteX190" fmla="*/ 378765 w 937999"/>
                    <a:gd name="connsiteY190" fmla="*/ 795378 h 1357898"/>
                    <a:gd name="connsiteX191" fmla="*/ 386676 w 937999"/>
                    <a:gd name="connsiteY191" fmla="*/ 795378 h 1357898"/>
                    <a:gd name="connsiteX192" fmla="*/ 386676 w 937999"/>
                    <a:gd name="connsiteY192" fmla="*/ 788285 h 1357898"/>
                    <a:gd name="connsiteX193" fmla="*/ 392326 w 937999"/>
                    <a:gd name="connsiteY193" fmla="*/ 790312 h 1357898"/>
                    <a:gd name="connsiteX194" fmla="*/ 421709 w 937999"/>
                    <a:gd name="connsiteY194" fmla="*/ 765991 h 1357898"/>
                    <a:gd name="connsiteX195" fmla="*/ 416058 w 937999"/>
                    <a:gd name="connsiteY195" fmla="*/ 753831 h 1357898"/>
                    <a:gd name="connsiteX196" fmla="*/ 404757 w 937999"/>
                    <a:gd name="connsiteY196" fmla="*/ 755857 h 1357898"/>
                    <a:gd name="connsiteX197" fmla="*/ 404757 w 937999"/>
                    <a:gd name="connsiteY197" fmla="*/ 762951 h 1357898"/>
                    <a:gd name="connsiteX198" fmla="*/ 393456 w 937999"/>
                    <a:gd name="connsiteY198" fmla="*/ 760924 h 1357898"/>
                    <a:gd name="connsiteX199" fmla="*/ 393456 w 937999"/>
                    <a:gd name="connsiteY199" fmla="*/ 748764 h 1357898"/>
                    <a:gd name="connsiteX200" fmla="*/ 388936 w 937999"/>
                    <a:gd name="connsiteY200" fmla="*/ 748764 h 1357898"/>
                    <a:gd name="connsiteX201" fmla="*/ 672596 w 937999"/>
                    <a:gd name="connsiteY201" fmla="*/ 609934 h 1357898"/>
                    <a:gd name="connsiteX202" fmla="*/ 674856 w 937999"/>
                    <a:gd name="connsiteY202" fmla="*/ 620068 h 1357898"/>
                    <a:gd name="connsiteX203" fmla="*/ 677116 w 937999"/>
                    <a:gd name="connsiteY203" fmla="*/ 609934 h 1357898"/>
                    <a:gd name="connsiteX204" fmla="*/ 672596 w 937999"/>
                    <a:gd name="connsiteY204" fmla="*/ 609934 h 1357898"/>
                    <a:gd name="connsiteX205" fmla="*/ 521159 w 937999"/>
                    <a:gd name="connsiteY205" fmla="*/ 644388 h 1357898"/>
                    <a:gd name="connsiteX206" fmla="*/ 526810 w 937999"/>
                    <a:gd name="connsiteY206" fmla="*/ 658575 h 1357898"/>
                    <a:gd name="connsiteX207" fmla="*/ 521159 w 937999"/>
                    <a:gd name="connsiteY207" fmla="*/ 644388 h 1357898"/>
                    <a:gd name="connsiteX208" fmla="*/ 613829 w 937999"/>
                    <a:gd name="connsiteY208" fmla="*/ 644388 h 1357898"/>
                    <a:gd name="connsiteX209" fmla="*/ 625131 w 937999"/>
                    <a:gd name="connsiteY209" fmla="*/ 649455 h 1357898"/>
                    <a:gd name="connsiteX210" fmla="*/ 613829 w 937999"/>
                    <a:gd name="connsiteY210" fmla="*/ 644388 h 1357898"/>
                    <a:gd name="connsiteX211" fmla="*/ 550543 w 937999"/>
                    <a:gd name="connsiteY211" fmla="*/ 648442 h 1357898"/>
                    <a:gd name="connsiteX212" fmla="*/ 550543 w 937999"/>
                    <a:gd name="connsiteY212" fmla="*/ 653508 h 1357898"/>
                    <a:gd name="connsiteX213" fmla="*/ 552803 w 937999"/>
                    <a:gd name="connsiteY213" fmla="*/ 660602 h 1357898"/>
                    <a:gd name="connsiteX214" fmla="*/ 550543 w 937999"/>
                    <a:gd name="connsiteY214" fmla="*/ 648442 h 1357898"/>
                    <a:gd name="connsiteX215" fmla="*/ 420579 w 937999"/>
                    <a:gd name="connsiteY215" fmla="*/ 726470 h 1357898"/>
                    <a:gd name="connsiteX216" fmla="*/ 422840 w 937999"/>
                    <a:gd name="connsiteY216" fmla="*/ 731537 h 1357898"/>
                    <a:gd name="connsiteX217" fmla="*/ 420579 w 937999"/>
                    <a:gd name="connsiteY217" fmla="*/ 726470 h 1357898"/>
                    <a:gd name="connsiteX218" fmla="*/ 366334 w 937999"/>
                    <a:gd name="connsiteY218" fmla="*/ 753831 h 1357898"/>
                    <a:gd name="connsiteX219" fmla="*/ 358423 w 937999"/>
                    <a:gd name="connsiteY219" fmla="*/ 760924 h 1357898"/>
                    <a:gd name="connsiteX220" fmla="*/ 371984 w 937999"/>
                    <a:gd name="connsiteY220" fmla="*/ 765991 h 1357898"/>
                    <a:gd name="connsiteX221" fmla="*/ 366334 w 937999"/>
                    <a:gd name="connsiteY221" fmla="*/ 753831 h 1357898"/>
                    <a:gd name="connsiteX222" fmla="*/ 356162 w 937999"/>
                    <a:gd name="connsiteY222" fmla="*/ 780178 h 1357898"/>
                    <a:gd name="connsiteX223" fmla="*/ 340340 w 937999"/>
                    <a:gd name="connsiteY223" fmla="*/ 797405 h 1357898"/>
                    <a:gd name="connsiteX224" fmla="*/ 334690 w 937999"/>
                    <a:gd name="connsiteY224" fmla="*/ 797405 h 1357898"/>
                    <a:gd name="connsiteX225" fmla="*/ 336950 w 937999"/>
                    <a:gd name="connsiteY225" fmla="*/ 799432 h 1357898"/>
                    <a:gd name="connsiteX226" fmla="*/ 339210 w 937999"/>
                    <a:gd name="connsiteY226" fmla="*/ 801458 h 1357898"/>
                    <a:gd name="connsiteX227" fmla="*/ 360683 w 937999"/>
                    <a:gd name="connsiteY227" fmla="*/ 784231 h 1357898"/>
                    <a:gd name="connsiteX228" fmla="*/ 358423 w 937999"/>
                    <a:gd name="connsiteY228" fmla="*/ 779165 h 1357898"/>
                    <a:gd name="connsiteX229" fmla="*/ 356162 w 937999"/>
                    <a:gd name="connsiteY229" fmla="*/ 779165 h 1357898"/>
                    <a:gd name="connsiteX230" fmla="*/ 315478 w 937999"/>
                    <a:gd name="connsiteY230" fmla="*/ 797405 h 1357898"/>
                    <a:gd name="connsiteX231" fmla="*/ 313218 w 937999"/>
                    <a:gd name="connsiteY231" fmla="*/ 804499 h 1357898"/>
                    <a:gd name="connsiteX232" fmla="*/ 324519 w 937999"/>
                    <a:gd name="connsiteY232" fmla="*/ 809565 h 1357898"/>
                    <a:gd name="connsiteX233" fmla="*/ 324519 w 937999"/>
                    <a:gd name="connsiteY233" fmla="*/ 802472 h 1357898"/>
                    <a:gd name="connsiteX234" fmla="*/ 315478 w 937999"/>
                    <a:gd name="connsiteY234" fmla="*/ 797405 h 1357898"/>
                    <a:gd name="connsiteX235" fmla="*/ 344861 w 937999"/>
                    <a:gd name="connsiteY235" fmla="*/ 924075 h 1357898"/>
                    <a:gd name="connsiteX236" fmla="*/ 342601 w 937999"/>
                    <a:gd name="connsiteY236" fmla="*/ 929141 h 1357898"/>
                    <a:gd name="connsiteX237" fmla="*/ 344861 w 937999"/>
                    <a:gd name="connsiteY237" fmla="*/ 924075 h 1357898"/>
                    <a:gd name="connsiteX238" fmla="*/ 315478 w 937999"/>
                    <a:gd name="connsiteY238" fmla="*/ 926101 h 1357898"/>
                    <a:gd name="connsiteX239" fmla="*/ 317738 w 937999"/>
                    <a:gd name="connsiteY239" fmla="*/ 933195 h 1357898"/>
                    <a:gd name="connsiteX240" fmla="*/ 315478 w 937999"/>
                    <a:gd name="connsiteY240" fmla="*/ 926101 h 1357898"/>
                    <a:gd name="connsiteX241" fmla="*/ 147090 w 937999"/>
                    <a:gd name="connsiteY241" fmla="*/ 1037571 h 1357898"/>
                    <a:gd name="connsiteX242" fmla="*/ 139179 w 937999"/>
                    <a:gd name="connsiteY242" fmla="*/ 1049731 h 1357898"/>
                    <a:gd name="connsiteX243" fmla="*/ 147090 w 937999"/>
                    <a:gd name="connsiteY243" fmla="*/ 1037571 h 1357898"/>
                    <a:gd name="connsiteX244" fmla="*/ 100755 w 937999"/>
                    <a:gd name="connsiteY244" fmla="*/ 1074051 h 1357898"/>
                    <a:gd name="connsiteX245" fmla="*/ 103015 w 937999"/>
                    <a:gd name="connsiteY245" fmla="*/ 1079118 h 1357898"/>
                    <a:gd name="connsiteX246" fmla="*/ 100755 w 937999"/>
                    <a:gd name="connsiteY246" fmla="*/ 1074051 h 1357898"/>
                    <a:gd name="connsiteX247" fmla="*/ 135789 w 937999"/>
                    <a:gd name="connsiteY247" fmla="*/ 1082158 h 1357898"/>
                    <a:gd name="connsiteX248" fmla="*/ 135789 w 937999"/>
                    <a:gd name="connsiteY248" fmla="*/ 1087225 h 1357898"/>
                    <a:gd name="connsiteX249" fmla="*/ 135789 w 937999"/>
                    <a:gd name="connsiteY249" fmla="*/ 1082158 h 1357898"/>
                    <a:gd name="connsiteX250" fmla="*/ 81543 w 937999"/>
                    <a:gd name="connsiteY250" fmla="*/ 1130799 h 1357898"/>
                    <a:gd name="connsiteX251" fmla="*/ 87194 w 937999"/>
                    <a:gd name="connsiteY251" fmla="*/ 1132826 h 1357898"/>
                    <a:gd name="connsiteX252" fmla="*/ 84933 w 937999"/>
                    <a:gd name="connsiteY252" fmla="*/ 1139920 h 1357898"/>
                    <a:gd name="connsiteX253" fmla="*/ 79283 w 937999"/>
                    <a:gd name="connsiteY253" fmla="*/ 1141946 h 1357898"/>
                    <a:gd name="connsiteX254" fmla="*/ 81543 w 937999"/>
                    <a:gd name="connsiteY254" fmla="*/ 1130799 h 1357898"/>
                    <a:gd name="connsiteX255" fmla="*/ 25037 w 937999"/>
                    <a:gd name="connsiteY255" fmla="*/ 1244295 h 1357898"/>
                    <a:gd name="connsiteX256" fmla="*/ 27298 w 937999"/>
                    <a:gd name="connsiteY256" fmla="*/ 1251389 h 1357898"/>
                    <a:gd name="connsiteX257" fmla="*/ 25037 w 937999"/>
                    <a:gd name="connsiteY257" fmla="*/ 1244295 h 1357898"/>
                    <a:gd name="connsiteX258" fmla="*/ 11476 w 937999"/>
                    <a:gd name="connsiteY258" fmla="*/ 1252402 h 1357898"/>
                    <a:gd name="connsiteX259" fmla="*/ 11476 w 937999"/>
                    <a:gd name="connsiteY259" fmla="*/ 1257469 h 1357898"/>
                    <a:gd name="connsiteX260" fmla="*/ 17126 w 937999"/>
                    <a:gd name="connsiteY260" fmla="*/ 1257469 h 1357898"/>
                    <a:gd name="connsiteX261" fmla="*/ 11476 w 937999"/>
                    <a:gd name="connsiteY261" fmla="*/ 1252402 h 1357898"/>
                    <a:gd name="connsiteX262" fmla="*/ 11476 w 937999"/>
                    <a:gd name="connsiteY262" fmla="*/ 1261522 h 1357898"/>
                    <a:gd name="connsiteX263" fmla="*/ 13736 w 937999"/>
                    <a:gd name="connsiteY263" fmla="*/ 1266589 h 1357898"/>
                    <a:gd name="connsiteX264" fmla="*/ 11476 w 937999"/>
                    <a:gd name="connsiteY264" fmla="*/ 1261522 h 1357898"/>
                    <a:gd name="connsiteX265" fmla="*/ 227328 w 937999"/>
                    <a:gd name="connsiteY265" fmla="*/ 1309150 h 1357898"/>
                    <a:gd name="connsiteX266" fmla="*/ 237500 w 937999"/>
                    <a:gd name="connsiteY266" fmla="*/ 1310164 h 1357898"/>
                    <a:gd name="connsiteX267" fmla="*/ 244280 w 937999"/>
                    <a:gd name="connsiteY267" fmla="*/ 1290910 h 1357898"/>
                    <a:gd name="connsiteX268" fmla="*/ 236370 w 937999"/>
                    <a:gd name="connsiteY268" fmla="*/ 1271656 h 1357898"/>
                    <a:gd name="connsiteX269" fmla="*/ 239760 w 937999"/>
                    <a:gd name="connsiteY269" fmla="*/ 1261522 h 1357898"/>
                    <a:gd name="connsiteX270" fmla="*/ 249931 w 937999"/>
                    <a:gd name="connsiteY270" fmla="*/ 1247336 h 1357898"/>
                    <a:gd name="connsiteX271" fmla="*/ 249931 w 937999"/>
                    <a:gd name="connsiteY271" fmla="*/ 1232135 h 1357898"/>
                    <a:gd name="connsiteX272" fmla="*/ 249931 w 937999"/>
                    <a:gd name="connsiteY272" fmla="*/ 1212881 h 1357898"/>
                    <a:gd name="connsiteX273" fmla="*/ 251061 w 937999"/>
                    <a:gd name="connsiteY273" fmla="*/ 1192614 h 1357898"/>
                    <a:gd name="connsiteX274" fmla="*/ 262362 w 937999"/>
                    <a:gd name="connsiteY274" fmla="*/ 1189574 h 1357898"/>
                    <a:gd name="connsiteX275" fmla="*/ 266882 w 937999"/>
                    <a:gd name="connsiteY275" fmla="*/ 1168294 h 1357898"/>
                    <a:gd name="connsiteX276" fmla="*/ 256712 w 937999"/>
                    <a:gd name="connsiteY276" fmla="*/ 1153093 h 1357898"/>
                    <a:gd name="connsiteX277" fmla="*/ 255581 w 937999"/>
                    <a:gd name="connsiteY277" fmla="*/ 1134853 h 1357898"/>
                    <a:gd name="connsiteX278" fmla="*/ 256712 w 937999"/>
                    <a:gd name="connsiteY278" fmla="*/ 1106479 h 1357898"/>
                    <a:gd name="connsiteX279" fmla="*/ 257842 w 937999"/>
                    <a:gd name="connsiteY279" fmla="*/ 1080132 h 1357898"/>
                    <a:gd name="connsiteX280" fmla="*/ 253322 w 937999"/>
                    <a:gd name="connsiteY280" fmla="*/ 1058851 h 1357898"/>
                    <a:gd name="connsiteX281" fmla="*/ 271403 w 937999"/>
                    <a:gd name="connsiteY281" fmla="*/ 1035544 h 1357898"/>
                    <a:gd name="connsiteX282" fmla="*/ 289485 w 937999"/>
                    <a:gd name="connsiteY282" fmla="*/ 1007170 h 1357898"/>
                    <a:gd name="connsiteX283" fmla="*/ 316608 w 937999"/>
                    <a:gd name="connsiteY283" fmla="*/ 986903 h 1357898"/>
                    <a:gd name="connsiteX284" fmla="*/ 340340 w 937999"/>
                    <a:gd name="connsiteY284" fmla="*/ 1002103 h 1357898"/>
                    <a:gd name="connsiteX285" fmla="*/ 352772 w 937999"/>
                    <a:gd name="connsiteY285" fmla="*/ 982849 h 1357898"/>
                    <a:gd name="connsiteX286" fmla="*/ 351641 w 937999"/>
                    <a:gd name="connsiteY286" fmla="*/ 949409 h 1357898"/>
                    <a:gd name="connsiteX287" fmla="*/ 373114 w 937999"/>
                    <a:gd name="connsiteY287" fmla="*/ 934208 h 1357898"/>
                    <a:gd name="connsiteX288" fmla="*/ 391196 w 937999"/>
                    <a:gd name="connsiteY288" fmla="*/ 893674 h 1357898"/>
                    <a:gd name="connsiteX289" fmla="*/ 401367 w 937999"/>
                    <a:gd name="connsiteY289" fmla="*/ 869353 h 1357898"/>
                    <a:gd name="connsiteX290" fmla="*/ 416058 w 937999"/>
                    <a:gd name="connsiteY290" fmla="*/ 863273 h 1357898"/>
                    <a:gd name="connsiteX291" fmla="*/ 433010 w 937999"/>
                    <a:gd name="connsiteY291" fmla="*/ 848073 h 1357898"/>
                    <a:gd name="connsiteX292" fmla="*/ 444311 w 937999"/>
                    <a:gd name="connsiteY292" fmla="*/ 832873 h 1357898"/>
                    <a:gd name="connsiteX293" fmla="*/ 453352 w 937999"/>
                    <a:gd name="connsiteY293" fmla="*/ 807539 h 1357898"/>
                    <a:gd name="connsiteX294" fmla="*/ 465784 w 937999"/>
                    <a:gd name="connsiteY294" fmla="*/ 794365 h 1357898"/>
                    <a:gd name="connsiteX295" fmla="*/ 491777 w 937999"/>
                    <a:gd name="connsiteY295" fmla="*/ 812605 h 1357898"/>
                    <a:gd name="connsiteX296" fmla="*/ 492906 w 937999"/>
                    <a:gd name="connsiteY296" fmla="*/ 795378 h 1357898"/>
                    <a:gd name="connsiteX297" fmla="*/ 504208 w 937999"/>
                    <a:gd name="connsiteY297" fmla="*/ 786258 h 1357898"/>
                    <a:gd name="connsiteX298" fmla="*/ 529070 w 937999"/>
                    <a:gd name="connsiteY298" fmla="*/ 791325 h 1357898"/>
                    <a:gd name="connsiteX299" fmla="*/ 541502 w 937999"/>
                    <a:gd name="connsiteY299" fmla="*/ 776125 h 1357898"/>
                    <a:gd name="connsiteX300" fmla="*/ 547153 w 937999"/>
                    <a:gd name="connsiteY300" fmla="*/ 756871 h 1357898"/>
                    <a:gd name="connsiteX301" fmla="*/ 540372 w 937999"/>
                    <a:gd name="connsiteY301" fmla="*/ 744710 h 1357898"/>
                    <a:gd name="connsiteX302" fmla="*/ 557323 w 937999"/>
                    <a:gd name="connsiteY302" fmla="*/ 744710 h 1357898"/>
                    <a:gd name="connsiteX303" fmla="*/ 575406 w 937999"/>
                    <a:gd name="connsiteY303" fmla="*/ 737617 h 1357898"/>
                    <a:gd name="connsiteX304" fmla="*/ 576536 w 937999"/>
                    <a:gd name="connsiteY304" fmla="*/ 730524 h 1357898"/>
                    <a:gd name="connsiteX305" fmla="*/ 592357 w 937999"/>
                    <a:gd name="connsiteY305" fmla="*/ 725457 h 1357898"/>
                    <a:gd name="connsiteX306" fmla="*/ 633042 w 937999"/>
                    <a:gd name="connsiteY306" fmla="*/ 764978 h 1357898"/>
                    <a:gd name="connsiteX307" fmla="*/ 668075 w 937999"/>
                    <a:gd name="connsiteY307" fmla="*/ 761938 h 1357898"/>
                    <a:gd name="connsiteX308" fmla="*/ 685027 w 937999"/>
                    <a:gd name="connsiteY308" fmla="*/ 758897 h 1357898"/>
                    <a:gd name="connsiteX309" fmla="*/ 694068 w 937999"/>
                    <a:gd name="connsiteY309" fmla="*/ 763964 h 1357898"/>
                    <a:gd name="connsiteX310" fmla="*/ 716671 w 937999"/>
                    <a:gd name="connsiteY310" fmla="*/ 777138 h 1357898"/>
                    <a:gd name="connsiteX311" fmla="*/ 722321 w 937999"/>
                    <a:gd name="connsiteY311" fmla="*/ 765991 h 1357898"/>
                    <a:gd name="connsiteX312" fmla="*/ 741533 w 937999"/>
                    <a:gd name="connsiteY312" fmla="*/ 744710 h 1357898"/>
                    <a:gd name="connsiteX313" fmla="*/ 737013 w 937999"/>
                    <a:gd name="connsiteY313" fmla="*/ 725457 h 1357898"/>
                    <a:gd name="connsiteX314" fmla="*/ 743793 w 937999"/>
                    <a:gd name="connsiteY314" fmla="*/ 715323 h 1357898"/>
                    <a:gd name="connsiteX315" fmla="*/ 760745 w 937999"/>
                    <a:gd name="connsiteY315" fmla="*/ 703163 h 1357898"/>
                    <a:gd name="connsiteX316" fmla="*/ 772046 w 937999"/>
                    <a:gd name="connsiteY316" fmla="*/ 687962 h 1357898"/>
                    <a:gd name="connsiteX317" fmla="*/ 795779 w 937999"/>
                    <a:gd name="connsiteY317" fmla="*/ 693029 h 1357898"/>
                    <a:gd name="connsiteX318" fmla="*/ 824032 w 937999"/>
                    <a:gd name="connsiteY318" fmla="*/ 678842 h 1357898"/>
                    <a:gd name="connsiteX319" fmla="*/ 843243 w 937999"/>
                    <a:gd name="connsiteY319" fmla="*/ 707216 h 1357898"/>
                    <a:gd name="connsiteX320" fmla="*/ 866976 w 937999"/>
                    <a:gd name="connsiteY320" fmla="*/ 722417 h 1357898"/>
                    <a:gd name="connsiteX321" fmla="*/ 881668 w 937999"/>
                    <a:gd name="connsiteY321" fmla="*/ 724443 h 1357898"/>
                    <a:gd name="connsiteX322" fmla="*/ 882798 w 937999"/>
                    <a:gd name="connsiteY322" fmla="*/ 733564 h 1357898"/>
                    <a:gd name="connsiteX323" fmla="*/ 891839 w 937999"/>
                    <a:gd name="connsiteY323" fmla="*/ 737617 h 1357898"/>
                    <a:gd name="connsiteX324" fmla="*/ 897490 w 937999"/>
                    <a:gd name="connsiteY324" fmla="*/ 712283 h 1357898"/>
                    <a:gd name="connsiteX325" fmla="*/ 891839 w 937999"/>
                    <a:gd name="connsiteY325" fmla="*/ 696069 h 1357898"/>
                    <a:gd name="connsiteX326" fmla="*/ 903140 w 937999"/>
                    <a:gd name="connsiteY326" fmla="*/ 695056 h 1357898"/>
                    <a:gd name="connsiteX327" fmla="*/ 929133 w 937999"/>
                    <a:gd name="connsiteY327" fmla="*/ 683909 h 1357898"/>
                    <a:gd name="connsiteX328" fmla="*/ 920092 w 937999"/>
                    <a:gd name="connsiteY328" fmla="*/ 683909 h 1357898"/>
                    <a:gd name="connsiteX329" fmla="*/ 912181 w 937999"/>
                    <a:gd name="connsiteY329" fmla="*/ 678842 h 1357898"/>
                    <a:gd name="connsiteX330" fmla="*/ 904270 w 937999"/>
                    <a:gd name="connsiteY330" fmla="*/ 688976 h 1357898"/>
                    <a:gd name="connsiteX331" fmla="*/ 896359 w 937999"/>
                    <a:gd name="connsiteY331" fmla="*/ 681882 h 1357898"/>
                    <a:gd name="connsiteX332" fmla="*/ 894099 w 937999"/>
                    <a:gd name="connsiteY332" fmla="*/ 692016 h 1357898"/>
                    <a:gd name="connsiteX333" fmla="*/ 880538 w 937999"/>
                    <a:gd name="connsiteY333" fmla="*/ 694043 h 1357898"/>
                    <a:gd name="connsiteX334" fmla="*/ 880538 w 937999"/>
                    <a:gd name="connsiteY334" fmla="*/ 683909 h 1357898"/>
                    <a:gd name="connsiteX335" fmla="*/ 872627 w 937999"/>
                    <a:gd name="connsiteY335" fmla="*/ 673775 h 1357898"/>
                    <a:gd name="connsiteX336" fmla="*/ 902010 w 937999"/>
                    <a:gd name="connsiteY336" fmla="*/ 671749 h 1357898"/>
                    <a:gd name="connsiteX337" fmla="*/ 907660 w 937999"/>
                    <a:gd name="connsiteY337" fmla="*/ 661615 h 1357898"/>
                    <a:gd name="connsiteX338" fmla="*/ 929133 w 937999"/>
                    <a:gd name="connsiteY338" fmla="*/ 661615 h 1357898"/>
                    <a:gd name="connsiteX339" fmla="*/ 899749 w 937999"/>
                    <a:gd name="connsiteY339" fmla="*/ 644388 h 1357898"/>
                    <a:gd name="connsiteX340" fmla="*/ 886189 w 937999"/>
                    <a:gd name="connsiteY340" fmla="*/ 637295 h 1357898"/>
                    <a:gd name="connsiteX341" fmla="*/ 874887 w 937999"/>
                    <a:gd name="connsiteY341" fmla="*/ 615001 h 1357898"/>
                    <a:gd name="connsiteX342" fmla="*/ 863586 w 937999"/>
                    <a:gd name="connsiteY342" fmla="*/ 612974 h 1357898"/>
                    <a:gd name="connsiteX343" fmla="*/ 861326 w 937999"/>
                    <a:gd name="connsiteY343" fmla="*/ 642361 h 1357898"/>
                    <a:gd name="connsiteX344" fmla="*/ 850025 w 937999"/>
                    <a:gd name="connsiteY344" fmla="*/ 649455 h 1357898"/>
                    <a:gd name="connsiteX345" fmla="*/ 847764 w 937999"/>
                    <a:gd name="connsiteY345" fmla="*/ 625134 h 1357898"/>
                    <a:gd name="connsiteX346" fmla="*/ 842114 w 937999"/>
                    <a:gd name="connsiteY346" fmla="*/ 630201 h 1357898"/>
                    <a:gd name="connsiteX347" fmla="*/ 836463 w 937999"/>
                    <a:gd name="connsiteY347" fmla="*/ 632228 h 1357898"/>
                    <a:gd name="connsiteX348" fmla="*/ 834203 w 937999"/>
                    <a:gd name="connsiteY348" fmla="*/ 620068 h 1357898"/>
                    <a:gd name="connsiteX349" fmla="*/ 845504 w 937999"/>
                    <a:gd name="connsiteY349" fmla="*/ 609934 h 1357898"/>
                    <a:gd name="connsiteX350" fmla="*/ 845504 w 937999"/>
                    <a:gd name="connsiteY350" fmla="*/ 599800 h 1357898"/>
                    <a:gd name="connsiteX351" fmla="*/ 831942 w 937999"/>
                    <a:gd name="connsiteY351" fmla="*/ 599800 h 1357898"/>
                    <a:gd name="connsiteX352" fmla="*/ 829683 w 937999"/>
                    <a:gd name="connsiteY352" fmla="*/ 594734 h 1357898"/>
                    <a:gd name="connsiteX353" fmla="*/ 818381 w 937999"/>
                    <a:gd name="connsiteY353" fmla="*/ 594734 h 1357898"/>
                    <a:gd name="connsiteX354" fmla="*/ 818381 w 937999"/>
                    <a:gd name="connsiteY354" fmla="*/ 606894 h 1357898"/>
                    <a:gd name="connsiteX355" fmla="*/ 816121 w 937999"/>
                    <a:gd name="connsiteY355" fmla="*/ 606894 h 1357898"/>
                    <a:gd name="connsiteX356" fmla="*/ 808210 w 937999"/>
                    <a:gd name="connsiteY356" fmla="*/ 608921 h 1357898"/>
                    <a:gd name="connsiteX357" fmla="*/ 808210 w 937999"/>
                    <a:gd name="connsiteY357" fmla="*/ 616014 h 1357898"/>
                    <a:gd name="connsiteX358" fmla="*/ 813861 w 937999"/>
                    <a:gd name="connsiteY358" fmla="*/ 623108 h 1357898"/>
                    <a:gd name="connsiteX359" fmla="*/ 802559 w 937999"/>
                    <a:gd name="connsiteY359" fmla="*/ 628174 h 1357898"/>
                    <a:gd name="connsiteX360" fmla="*/ 796909 w 937999"/>
                    <a:gd name="connsiteY360" fmla="*/ 642361 h 1357898"/>
                    <a:gd name="connsiteX361" fmla="*/ 781087 w 937999"/>
                    <a:gd name="connsiteY361" fmla="*/ 652495 h 1357898"/>
                    <a:gd name="connsiteX362" fmla="*/ 781087 w 937999"/>
                    <a:gd name="connsiteY362" fmla="*/ 659589 h 1357898"/>
                    <a:gd name="connsiteX363" fmla="*/ 778827 w 937999"/>
                    <a:gd name="connsiteY363" fmla="*/ 642361 h 1357898"/>
                    <a:gd name="connsiteX364" fmla="*/ 779957 w 937999"/>
                    <a:gd name="connsiteY364" fmla="*/ 639321 h 1357898"/>
                    <a:gd name="connsiteX365" fmla="*/ 784478 w 937999"/>
                    <a:gd name="connsiteY365" fmla="*/ 642361 h 1357898"/>
                    <a:gd name="connsiteX366" fmla="*/ 782217 w 937999"/>
                    <a:gd name="connsiteY366" fmla="*/ 630201 h 1357898"/>
                    <a:gd name="connsiteX367" fmla="*/ 790128 w 937999"/>
                    <a:gd name="connsiteY367" fmla="*/ 623108 h 1357898"/>
                    <a:gd name="connsiteX368" fmla="*/ 787868 w 937999"/>
                    <a:gd name="connsiteY368" fmla="*/ 612974 h 1357898"/>
                    <a:gd name="connsiteX369" fmla="*/ 782217 w 937999"/>
                    <a:gd name="connsiteY369" fmla="*/ 612974 h 1357898"/>
                    <a:gd name="connsiteX370" fmla="*/ 782217 w 937999"/>
                    <a:gd name="connsiteY370" fmla="*/ 620068 h 1357898"/>
                    <a:gd name="connsiteX371" fmla="*/ 776567 w 937999"/>
                    <a:gd name="connsiteY371" fmla="*/ 620068 h 1357898"/>
                    <a:gd name="connsiteX372" fmla="*/ 770916 w 937999"/>
                    <a:gd name="connsiteY372" fmla="*/ 632228 h 1357898"/>
                    <a:gd name="connsiteX373" fmla="*/ 765266 w 937999"/>
                    <a:gd name="connsiteY373" fmla="*/ 632228 h 1357898"/>
                    <a:gd name="connsiteX374" fmla="*/ 757355 w 937999"/>
                    <a:gd name="connsiteY374" fmla="*/ 651482 h 1357898"/>
                    <a:gd name="connsiteX375" fmla="*/ 743793 w 937999"/>
                    <a:gd name="connsiteY375" fmla="*/ 658575 h 1357898"/>
                    <a:gd name="connsiteX376" fmla="*/ 741533 w 937999"/>
                    <a:gd name="connsiteY376" fmla="*/ 672762 h 1357898"/>
                    <a:gd name="connsiteX377" fmla="*/ 733622 w 937999"/>
                    <a:gd name="connsiteY377" fmla="*/ 682896 h 1357898"/>
                    <a:gd name="connsiteX378" fmla="*/ 725711 w 937999"/>
                    <a:gd name="connsiteY378" fmla="*/ 680869 h 1357898"/>
                    <a:gd name="connsiteX379" fmla="*/ 733622 w 937999"/>
                    <a:gd name="connsiteY379" fmla="*/ 651482 h 1357898"/>
                    <a:gd name="connsiteX380" fmla="*/ 749444 w 937999"/>
                    <a:gd name="connsiteY380" fmla="*/ 644388 h 1357898"/>
                    <a:gd name="connsiteX381" fmla="*/ 751704 w 937999"/>
                    <a:gd name="connsiteY381" fmla="*/ 630201 h 1357898"/>
                    <a:gd name="connsiteX382" fmla="*/ 738142 w 937999"/>
                    <a:gd name="connsiteY382" fmla="*/ 630201 h 1357898"/>
                    <a:gd name="connsiteX383" fmla="*/ 738142 w 937999"/>
                    <a:gd name="connsiteY383" fmla="*/ 623108 h 1357898"/>
                    <a:gd name="connsiteX384" fmla="*/ 732492 w 937999"/>
                    <a:gd name="connsiteY384" fmla="*/ 628174 h 1357898"/>
                    <a:gd name="connsiteX385" fmla="*/ 711020 w 937999"/>
                    <a:gd name="connsiteY385" fmla="*/ 616014 h 1357898"/>
                    <a:gd name="connsiteX386" fmla="*/ 705369 w 937999"/>
                    <a:gd name="connsiteY386" fmla="*/ 618041 h 1357898"/>
                    <a:gd name="connsiteX387" fmla="*/ 707629 w 937999"/>
                    <a:gd name="connsiteY387" fmla="*/ 637295 h 1357898"/>
                    <a:gd name="connsiteX388" fmla="*/ 705369 w 937999"/>
                    <a:gd name="connsiteY388" fmla="*/ 637295 h 1357898"/>
                    <a:gd name="connsiteX389" fmla="*/ 707629 w 937999"/>
                    <a:gd name="connsiteY389" fmla="*/ 642361 h 1357898"/>
                    <a:gd name="connsiteX390" fmla="*/ 696328 w 937999"/>
                    <a:gd name="connsiteY390" fmla="*/ 644388 h 1357898"/>
                    <a:gd name="connsiteX391" fmla="*/ 694068 w 937999"/>
                    <a:gd name="connsiteY391" fmla="*/ 630201 h 1357898"/>
                    <a:gd name="connsiteX392" fmla="*/ 682767 w 937999"/>
                    <a:gd name="connsiteY392" fmla="*/ 630201 h 1357898"/>
                    <a:gd name="connsiteX393" fmla="*/ 685027 w 937999"/>
                    <a:gd name="connsiteY393" fmla="*/ 637295 h 1357898"/>
                    <a:gd name="connsiteX394" fmla="*/ 663555 w 937999"/>
                    <a:gd name="connsiteY394" fmla="*/ 656548 h 1357898"/>
                    <a:gd name="connsiteX395" fmla="*/ 655644 w 937999"/>
                    <a:gd name="connsiteY395" fmla="*/ 656548 h 1357898"/>
                    <a:gd name="connsiteX396" fmla="*/ 649993 w 937999"/>
                    <a:gd name="connsiteY396" fmla="*/ 668709 h 1357898"/>
                    <a:gd name="connsiteX397" fmla="*/ 625131 w 937999"/>
                    <a:gd name="connsiteY397" fmla="*/ 656548 h 1357898"/>
                    <a:gd name="connsiteX398" fmla="*/ 625131 w 937999"/>
                    <a:gd name="connsiteY398" fmla="*/ 649455 h 1357898"/>
                    <a:gd name="connsiteX399" fmla="*/ 611569 w 937999"/>
                    <a:gd name="connsiteY399" fmla="*/ 651482 h 1357898"/>
                    <a:gd name="connsiteX400" fmla="*/ 598008 w 937999"/>
                    <a:gd name="connsiteY400" fmla="*/ 641348 h 1357898"/>
                    <a:gd name="connsiteX401" fmla="*/ 595748 w 937999"/>
                    <a:gd name="connsiteY401" fmla="*/ 648442 h 1357898"/>
                    <a:gd name="connsiteX402" fmla="*/ 582186 w 937999"/>
                    <a:gd name="connsiteY402" fmla="*/ 648442 h 1357898"/>
                    <a:gd name="connsiteX403" fmla="*/ 582186 w 937999"/>
                    <a:gd name="connsiteY403" fmla="*/ 655535 h 1357898"/>
                    <a:gd name="connsiteX404" fmla="*/ 587837 w 937999"/>
                    <a:gd name="connsiteY404" fmla="*/ 660602 h 1357898"/>
                    <a:gd name="connsiteX405" fmla="*/ 603659 w 937999"/>
                    <a:gd name="connsiteY405" fmla="*/ 662629 h 1357898"/>
                    <a:gd name="connsiteX406" fmla="*/ 605918 w 937999"/>
                    <a:gd name="connsiteY406" fmla="*/ 674789 h 1357898"/>
                    <a:gd name="connsiteX407" fmla="*/ 603659 w 937999"/>
                    <a:gd name="connsiteY407" fmla="*/ 679856 h 1357898"/>
                    <a:gd name="connsiteX408" fmla="*/ 590097 w 937999"/>
                    <a:gd name="connsiteY408" fmla="*/ 667695 h 1357898"/>
                    <a:gd name="connsiteX409" fmla="*/ 578796 w 937999"/>
                    <a:gd name="connsiteY409" fmla="*/ 665669 h 1357898"/>
                    <a:gd name="connsiteX410" fmla="*/ 576536 w 937999"/>
                    <a:gd name="connsiteY410" fmla="*/ 670735 h 1357898"/>
                    <a:gd name="connsiteX411" fmla="*/ 582186 w 937999"/>
                    <a:gd name="connsiteY411" fmla="*/ 675802 h 1357898"/>
                    <a:gd name="connsiteX412" fmla="*/ 584446 w 937999"/>
                    <a:gd name="connsiteY412" fmla="*/ 677829 h 1357898"/>
                    <a:gd name="connsiteX413" fmla="*/ 578796 w 937999"/>
                    <a:gd name="connsiteY413" fmla="*/ 687962 h 1357898"/>
                    <a:gd name="connsiteX414" fmla="*/ 570885 w 937999"/>
                    <a:gd name="connsiteY414" fmla="*/ 687962 h 1357898"/>
                    <a:gd name="connsiteX415" fmla="*/ 568625 w 937999"/>
                    <a:gd name="connsiteY415" fmla="*/ 668709 h 1357898"/>
                    <a:gd name="connsiteX416" fmla="*/ 566364 w 937999"/>
                    <a:gd name="connsiteY416" fmla="*/ 673775 h 1357898"/>
                    <a:gd name="connsiteX417" fmla="*/ 564104 w 937999"/>
                    <a:gd name="connsiteY417" fmla="*/ 673775 h 1357898"/>
                    <a:gd name="connsiteX418" fmla="*/ 564104 w 937999"/>
                    <a:gd name="connsiteY418" fmla="*/ 683909 h 1357898"/>
                    <a:gd name="connsiteX419" fmla="*/ 556194 w 937999"/>
                    <a:gd name="connsiteY419" fmla="*/ 688976 h 1357898"/>
                    <a:gd name="connsiteX420" fmla="*/ 556194 w 937999"/>
                    <a:gd name="connsiteY420" fmla="*/ 694043 h 1357898"/>
                    <a:gd name="connsiteX421" fmla="*/ 556194 w 937999"/>
                    <a:gd name="connsiteY421" fmla="*/ 674789 h 1357898"/>
                    <a:gd name="connsiteX422" fmla="*/ 548283 w 937999"/>
                    <a:gd name="connsiteY422" fmla="*/ 672762 h 1357898"/>
                    <a:gd name="connsiteX423" fmla="*/ 526810 w 937999"/>
                    <a:gd name="connsiteY423" fmla="*/ 699109 h 1357898"/>
                    <a:gd name="connsiteX424" fmla="*/ 521159 w 937999"/>
                    <a:gd name="connsiteY424" fmla="*/ 697083 h 1357898"/>
                    <a:gd name="connsiteX425" fmla="*/ 521159 w 937999"/>
                    <a:gd name="connsiteY425" fmla="*/ 682896 h 1357898"/>
                    <a:gd name="connsiteX426" fmla="*/ 509858 w 937999"/>
                    <a:gd name="connsiteY426" fmla="*/ 684922 h 1357898"/>
                    <a:gd name="connsiteX427" fmla="*/ 504208 w 937999"/>
                    <a:gd name="connsiteY427" fmla="*/ 702149 h 1357898"/>
                    <a:gd name="connsiteX428" fmla="*/ 512119 w 937999"/>
                    <a:gd name="connsiteY428" fmla="*/ 704176 h 1357898"/>
                    <a:gd name="connsiteX429" fmla="*/ 509858 w 937999"/>
                    <a:gd name="connsiteY429" fmla="*/ 723430 h 1357898"/>
                    <a:gd name="connsiteX430" fmla="*/ 501948 w 937999"/>
                    <a:gd name="connsiteY430" fmla="*/ 709243 h 1357898"/>
                    <a:gd name="connsiteX431" fmla="*/ 499688 w 937999"/>
                    <a:gd name="connsiteY431" fmla="*/ 716337 h 1357898"/>
                    <a:gd name="connsiteX432" fmla="*/ 497427 w 937999"/>
                    <a:gd name="connsiteY432" fmla="*/ 723430 h 1357898"/>
                    <a:gd name="connsiteX433" fmla="*/ 495167 w 937999"/>
                    <a:gd name="connsiteY433" fmla="*/ 721403 h 1357898"/>
                    <a:gd name="connsiteX434" fmla="*/ 487256 w 937999"/>
                    <a:gd name="connsiteY434" fmla="*/ 721403 h 1357898"/>
                    <a:gd name="connsiteX435" fmla="*/ 481605 w 937999"/>
                    <a:gd name="connsiteY435" fmla="*/ 714310 h 1357898"/>
                    <a:gd name="connsiteX436" fmla="*/ 479345 w 937999"/>
                    <a:gd name="connsiteY436" fmla="*/ 733564 h 1357898"/>
                    <a:gd name="connsiteX437" fmla="*/ 468044 w 937999"/>
                    <a:gd name="connsiteY437" fmla="*/ 735590 h 1357898"/>
                    <a:gd name="connsiteX438" fmla="*/ 465784 w 937999"/>
                    <a:gd name="connsiteY438" fmla="*/ 752817 h 1357898"/>
                    <a:gd name="connsiteX439" fmla="*/ 460133 w 937999"/>
                    <a:gd name="connsiteY439" fmla="*/ 754844 h 1357898"/>
                    <a:gd name="connsiteX440" fmla="*/ 460133 w 937999"/>
                    <a:gd name="connsiteY440" fmla="*/ 772071 h 1357898"/>
                    <a:gd name="connsiteX441" fmla="*/ 452222 w 937999"/>
                    <a:gd name="connsiteY441" fmla="*/ 772071 h 1357898"/>
                    <a:gd name="connsiteX442" fmla="*/ 449962 w 937999"/>
                    <a:gd name="connsiteY442" fmla="*/ 777138 h 1357898"/>
                    <a:gd name="connsiteX443" fmla="*/ 430750 w 937999"/>
                    <a:gd name="connsiteY443" fmla="*/ 779165 h 1357898"/>
                    <a:gd name="connsiteX444" fmla="*/ 422840 w 937999"/>
                    <a:gd name="connsiteY444" fmla="*/ 786258 h 1357898"/>
                    <a:gd name="connsiteX445" fmla="*/ 422840 w 937999"/>
                    <a:gd name="connsiteY445" fmla="*/ 793352 h 1357898"/>
                    <a:gd name="connsiteX446" fmla="*/ 444311 w 937999"/>
                    <a:gd name="connsiteY446" fmla="*/ 793352 h 1357898"/>
                    <a:gd name="connsiteX447" fmla="*/ 457873 w 937999"/>
                    <a:gd name="connsiteY447" fmla="*/ 786258 h 1357898"/>
                    <a:gd name="connsiteX448" fmla="*/ 457873 w 937999"/>
                    <a:gd name="connsiteY448" fmla="*/ 793352 h 1357898"/>
                    <a:gd name="connsiteX449" fmla="*/ 436400 w 937999"/>
                    <a:gd name="connsiteY449" fmla="*/ 819699 h 1357898"/>
                    <a:gd name="connsiteX450" fmla="*/ 401367 w 937999"/>
                    <a:gd name="connsiteY450" fmla="*/ 805512 h 1357898"/>
                    <a:gd name="connsiteX451" fmla="*/ 401367 w 937999"/>
                    <a:gd name="connsiteY451" fmla="*/ 810579 h 1357898"/>
                    <a:gd name="connsiteX452" fmla="*/ 407018 w 937999"/>
                    <a:gd name="connsiteY452" fmla="*/ 810579 h 1357898"/>
                    <a:gd name="connsiteX453" fmla="*/ 414929 w 937999"/>
                    <a:gd name="connsiteY453" fmla="*/ 810579 h 1357898"/>
                    <a:gd name="connsiteX454" fmla="*/ 414929 w 937999"/>
                    <a:gd name="connsiteY454" fmla="*/ 815645 h 1357898"/>
                    <a:gd name="connsiteX455" fmla="*/ 407018 w 937999"/>
                    <a:gd name="connsiteY455" fmla="*/ 822739 h 1357898"/>
                    <a:gd name="connsiteX456" fmla="*/ 420579 w 937999"/>
                    <a:gd name="connsiteY456" fmla="*/ 820712 h 1357898"/>
                    <a:gd name="connsiteX457" fmla="*/ 422840 w 937999"/>
                    <a:gd name="connsiteY457" fmla="*/ 834899 h 1357898"/>
                    <a:gd name="connsiteX458" fmla="*/ 422840 w 937999"/>
                    <a:gd name="connsiteY458" fmla="*/ 841993 h 1357898"/>
                    <a:gd name="connsiteX459" fmla="*/ 397977 w 937999"/>
                    <a:gd name="connsiteY459" fmla="*/ 841993 h 1357898"/>
                    <a:gd name="connsiteX460" fmla="*/ 400237 w 937999"/>
                    <a:gd name="connsiteY460" fmla="*/ 859220 h 1357898"/>
                    <a:gd name="connsiteX461" fmla="*/ 397977 w 937999"/>
                    <a:gd name="connsiteY461" fmla="*/ 864287 h 1357898"/>
                    <a:gd name="connsiteX462" fmla="*/ 386676 w 937999"/>
                    <a:gd name="connsiteY462" fmla="*/ 864287 h 1357898"/>
                    <a:gd name="connsiteX463" fmla="*/ 378765 w 937999"/>
                    <a:gd name="connsiteY463" fmla="*/ 876447 h 1357898"/>
                    <a:gd name="connsiteX464" fmla="*/ 357292 w 937999"/>
                    <a:gd name="connsiteY464" fmla="*/ 876447 h 1357898"/>
                    <a:gd name="connsiteX465" fmla="*/ 359552 w 937999"/>
                    <a:gd name="connsiteY465" fmla="*/ 886580 h 1357898"/>
                    <a:gd name="connsiteX466" fmla="*/ 332430 w 937999"/>
                    <a:gd name="connsiteY466" fmla="*/ 896714 h 1357898"/>
                    <a:gd name="connsiteX467" fmla="*/ 332430 w 937999"/>
                    <a:gd name="connsiteY467" fmla="*/ 903808 h 1357898"/>
                    <a:gd name="connsiteX468" fmla="*/ 332430 w 937999"/>
                    <a:gd name="connsiteY468" fmla="*/ 908874 h 1357898"/>
                    <a:gd name="connsiteX469" fmla="*/ 338081 w 937999"/>
                    <a:gd name="connsiteY469" fmla="*/ 926101 h 1357898"/>
                    <a:gd name="connsiteX470" fmla="*/ 316608 w 937999"/>
                    <a:gd name="connsiteY470" fmla="*/ 940288 h 1357898"/>
                    <a:gd name="connsiteX471" fmla="*/ 305307 w 937999"/>
                    <a:gd name="connsiteY471" fmla="*/ 940288 h 1357898"/>
                    <a:gd name="connsiteX472" fmla="*/ 305307 w 937999"/>
                    <a:gd name="connsiteY472" fmla="*/ 947382 h 1357898"/>
                    <a:gd name="connsiteX473" fmla="*/ 289485 w 937999"/>
                    <a:gd name="connsiteY473" fmla="*/ 947382 h 1357898"/>
                    <a:gd name="connsiteX474" fmla="*/ 281575 w 937999"/>
                    <a:gd name="connsiteY474" fmla="*/ 954475 h 1357898"/>
                    <a:gd name="connsiteX475" fmla="*/ 283834 w 937999"/>
                    <a:gd name="connsiteY475" fmla="*/ 976769 h 1357898"/>
                    <a:gd name="connsiteX476" fmla="*/ 262362 w 937999"/>
                    <a:gd name="connsiteY476" fmla="*/ 971702 h 1357898"/>
                    <a:gd name="connsiteX477" fmla="*/ 260102 w 937999"/>
                    <a:gd name="connsiteY477" fmla="*/ 983863 h 1357898"/>
                    <a:gd name="connsiteX478" fmla="*/ 246540 w 937999"/>
                    <a:gd name="connsiteY478" fmla="*/ 985889 h 1357898"/>
                    <a:gd name="connsiteX479" fmla="*/ 246540 w 937999"/>
                    <a:gd name="connsiteY479" fmla="*/ 992983 h 1357898"/>
                    <a:gd name="connsiteX480" fmla="*/ 235239 w 937999"/>
                    <a:gd name="connsiteY480" fmla="*/ 990956 h 1357898"/>
                    <a:gd name="connsiteX481" fmla="*/ 232979 w 937999"/>
                    <a:gd name="connsiteY481" fmla="*/ 1003116 h 1357898"/>
                    <a:gd name="connsiteX482" fmla="*/ 217158 w 937999"/>
                    <a:gd name="connsiteY482" fmla="*/ 1013250 h 1357898"/>
                    <a:gd name="connsiteX483" fmla="*/ 209247 w 937999"/>
                    <a:gd name="connsiteY483" fmla="*/ 1027437 h 1357898"/>
                    <a:gd name="connsiteX484" fmla="*/ 206986 w 937999"/>
                    <a:gd name="connsiteY484" fmla="*/ 1029464 h 1357898"/>
                    <a:gd name="connsiteX485" fmla="*/ 195685 w 937999"/>
                    <a:gd name="connsiteY485" fmla="*/ 1029464 h 1357898"/>
                    <a:gd name="connsiteX486" fmla="*/ 201336 w 937999"/>
                    <a:gd name="connsiteY486" fmla="*/ 1043651 h 1357898"/>
                    <a:gd name="connsiteX487" fmla="*/ 247671 w 937999"/>
                    <a:gd name="connsiteY487" fmla="*/ 1019330 h 1357898"/>
                    <a:gd name="connsiteX488" fmla="*/ 242020 w 937999"/>
                    <a:gd name="connsiteY488" fmla="*/ 1029464 h 1357898"/>
                    <a:gd name="connsiteX489" fmla="*/ 220548 w 937999"/>
                    <a:gd name="connsiteY489" fmla="*/ 1043651 h 1357898"/>
                    <a:gd name="connsiteX490" fmla="*/ 218287 w 937999"/>
                    <a:gd name="connsiteY490" fmla="*/ 1055811 h 1357898"/>
                    <a:gd name="connsiteX491" fmla="*/ 191165 w 937999"/>
                    <a:gd name="connsiteY491" fmla="*/ 1053784 h 1357898"/>
                    <a:gd name="connsiteX492" fmla="*/ 191165 w 937999"/>
                    <a:gd name="connsiteY492" fmla="*/ 1041624 h 1357898"/>
                    <a:gd name="connsiteX493" fmla="*/ 185514 w 937999"/>
                    <a:gd name="connsiteY493" fmla="*/ 1036557 h 1357898"/>
                    <a:gd name="connsiteX494" fmla="*/ 156131 w 937999"/>
                    <a:gd name="connsiteY494" fmla="*/ 1041624 h 1357898"/>
                    <a:gd name="connsiteX495" fmla="*/ 156131 w 937999"/>
                    <a:gd name="connsiteY495" fmla="*/ 1055811 h 1357898"/>
                    <a:gd name="connsiteX496" fmla="*/ 156131 w 937999"/>
                    <a:gd name="connsiteY496" fmla="*/ 1062905 h 1357898"/>
                    <a:gd name="connsiteX497" fmla="*/ 142569 w 937999"/>
                    <a:gd name="connsiteY497" fmla="*/ 1062905 h 1357898"/>
                    <a:gd name="connsiteX498" fmla="*/ 136919 w 937999"/>
                    <a:gd name="connsiteY498" fmla="*/ 1073038 h 1357898"/>
                    <a:gd name="connsiteX499" fmla="*/ 131268 w 937999"/>
                    <a:gd name="connsiteY499" fmla="*/ 1071011 h 1357898"/>
                    <a:gd name="connsiteX500" fmla="*/ 131268 w 937999"/>
                    <a:gd name="connsiteY500" fmla="*/ 1083172 h 1357898"/>
                    <a:gd name="connsiteX501" fmla="*/ 125618 w 937999"/>
                    <a:gd name="connsiteY501" fmla="*/ 1078105 h 1357898"/>
                    <a:gd name="connsiteX502" fmla="*/ 92844 w 937999"/>
                    <a:gd name="connsiteY502" fmla="*/ 1078105 h 1357898"/>
                    <a:gd name="connsiteX503" fmla="*/ 95105 w 937999"/>
                    <a:gd name="connsiteY503" fmla="*/ 1088239 h 1357898"/>
                    <a:gd name="connsiteX504" fmla="*/ 103015 w 937999"/>
                    <a:gd name="connsiteY504" fmla="*/ 1088239 h 1357898"/>
                    <a:gd name="connsiteX505" fmla="*/ 105275 w 937999"/>
                    <a:gd name="connsiteY505" fmla="*/ 1095332 h 1357898"/>
                    <a:gd name="connsiteX506" fmla="*/ 93974 w 937999"/>
                    <a:gd name="connsiteY506" fmla="*/ 1102425 h 1357898"/>
                    <a:gd name="connsiteX507" fmla="*/ 93974 w 937999"/>
                    <a:gd name="connsiteY507" fmla="*/ 1109519 h 1357898"/>
                    <a:gd name="connsiteX508" fmla="*/ 88324 w 937999"/>
                    <a:gd name="connsiteY508" fmla="*/ 1104452 h 1357898"/>
                    <a:gd name="connsiteX509" fmla="*/ 66852 w 937999"/>
                    <a:gd name="connsiteY509" fmla="*/ 1104452 h 1357898"/>
                    <a:gd name="connsiteX510" fmla="*/ 64591 w 937999"/>
                    <a:gd name="connsiteY510" fmla="*/ 1116612 h 1357898"/>
                    <a:gd name="connsiteX511" fmla="*/ 75893 w 937999"/>
                    <a:gd name="connsiteY511" fmla="*/ 1126746 h 1357898"/>
                    <a:gd name="connsiteX512" fmla="*/ 73632 w 937999"/>
                    <a:gd name="connsiteY512" fmla="*/ 1131813 h 1357898"/>
                    <a:gd name="connsiteX513" fmla="*/ 62331 w 937999"/>
                    <a:gd name="connsiteY513" fmla="*/ 1124719 h 1357898"/>
                    <a:gd name="connsiteX514" fmla="*/ 62331 w 937999"/>
                    <a:gd name="connsiteY514" fmla="*/ 1134853 h 1357898"/>
                    <a:gd name="connsiteX515" fmla="*/ 35208 w 937999"/>
                    <a:gd name="connsiteY515" fmla="*/ 1132826 h 1357898"/>
                    <a:gd name="connsiteX516" fmla="*/ 32948 w 937999"/>
                    <a:gd name="connsiteY516" fmla="*/ 1137893 h 1357898"/>
                    <a:gd name="connsiteX517" fmla="*/ 25037 w 937999"/>
                    <a:gd name="connsiteY517" fmla="*/ 1132826 h 1357898"/>
                    <a:gd name="connsiteX518" fmla="*/ 25037 w 937999"/>
                    <a:gd name="connsiteY518" fmla="*/ 1144986 h 1357898"/>
                    <a:gd name="connsiteX519" fmla="*/ 54420 w 937999"/>
                    <a:gd name="connsiteY519" fmla="*/ 1147013 h 1357898"/>
                    <a:gd name="connsiteX520" fmla="*/ 60071 w 937999"/>
                    <a:gd name="connsiteY520" fmla="*/ 1149040 h 1357898"/>
                    <a:gd name="connsiteX521" fmla="*/ 57810 w 937999"/>
                    <a:gd name="connsiteY521" fmla="*/ 1154107 h 1357898"/>
                    <a:gd name="connsiteX522" fmla="*/ 11476 w 937999"/>
                    <a:gd name="connsiteY522" fmla="*/ 1154107 h 1357898"/>
                    <a:gd name="connsiteX523" fmla="*/ 13736 w 937999"/>
                    <a:gd name="connsiteY523" fmla="*/ 1180454 h 1357898"/>
                    <a:gd name="connsiteX524" fmla="*/ 21647 w 937999"/>
                    <a:gd name="connsiteY524" fmla="*/ 1180454 h 1357898"/>
                    <a:gd name="connsiteX525" fmla="*/ 35208 w 937999"/>
                    <a:gd name="connsiteY525" fmla="*/ 1175387 h 1357898"/>
                    <a:gd name="connsiteX526" fmla="*/ 43119 w 937999"/>
                    <a:gd name="connsiteY526" fmla="*/ 1182481 h 1357898"/>
                    <a:gd name="connsiteX527" fmla="*/ 51030 w 937999"/>
                    <a:gd name="connsiteY527" fmla="*/ 1182481 h 1357898"/>
                    <a:gd name="connsiteX528" fmla="*/ 53290 w 937999"/>
                    <a:gd name="connsiteY528" fmla="*/ 1172347 h 1357898"/>
                    <a:gd name="connsiteX529" fmla="*/ 58941 w 937999"/>
                    <a:gd name="connsiteY529" fmla="*/ 1170320 h 1357898"/>
                    <a:gd name="connsiteX530" fmla="*/ 64591 w 937999"/>
                    <a:gd name="connsiteY530" fmla="*/ 1177414 h 1357898"/>
                    <a:gd name="connsiteX531" fmla="*/ 75893 w 937999"/>
                    <a:gd name="connsiteY531" fmla="*/ 1175387 h 1357898"/>
                    <a:gd name="connsiteX532" fmla="*/ 81543 w 937999"/>
                    <a:gd name="connsiteY532" fmla="*/ 1182481 h 1357898"/>
                    <a:gd name="connsiteX533" fmla="*/ 89454 w 937999"/>
                    <a:gd name="connsiteY533" fmla="*/ 1175387 h 1357898"/>
                    <a:gd name="connsiteX534" fmla="*/ 89454 w 937999"/>
                    <a:gd name="connsiteY534" fmla="*/ 1182481 h 1357898"/>
                    <a:gd name="connsiteX535" fmla="*/ 75893 w 937999"/>
                    <a:gd name="connsiteY535" fmla="*/ 1184507 h 1357898"/>
                    <a:gd name="connsiteX536" fmla="*/ 73632 w 937999"/>
                    <a:gd name="connsiteY536" fmla="*/ 1189574 h 1357898"/>
                    <a:gd name="connsiteX537" fmla="*/ 65721 w 937999"/>
                    <a:gd name="connsiteY537" fmla="*/ 1184507 h 1357898"/>
                    <a:gd name="connsiteX538" fmla="*/ 25037 w 937999"/>
                    <a:gd name="connsiteY538" fmla="*/ 1184507 h 1357898"/>
                    <a:gd name="connsiteX539" fmla="*/ 19387 w 937999"/>
                    <a:gd name="connsiteY539" fmla="*/ 1189574 h 1357898"/>
                    <a:gd name="connsiteX540" fmla="*/ 11476 w 937999"/>
                    <a:gd name="connsiteY540" fmla="*/ 1187547 h 1357898"/>
                    <a:gd name="connsiteX541" fmla="*/ 11476 w 937999"/>
                    <a:gd name="connsiteY541" fmla="*/ 1192614 h 1357898"/>
                    <a:gd name="connsiteX542" fmla="*/ 30688 w 937999"/>
                    <a:gd name="connsiteY542" fmla="*/ 1197681 h 1357898"/>
                    <a:gd name="connsiteX543" fmla="*/ 28427 w 937999"/>
                    <a:gd name="connsiteY543" fmla="*/ 1199708 h 1357898"/>
                    <a:gd name="connsiteX544" fmla="*/ 28427 w 937999"/>
                    <a:gd name="connsiteY544" fmla="*/ 1206801 h 1357898"/>
                    <a:gd name="connsiteX545" fmla="*/ 17126 w 937999"/>
                    <a:gd name="connsiteY545" fmla="*/ 1206801 h 1357898"/>
                    <a:gd name="connsiteX546" fmla="*/ 19387 w 937999"/>
                    <a:gd name="connsiteY546" fmla="*/ 1213895 h 1357898"/>
                    <a:gd name="connsiteX547" fmla="*/ 11476 w 937999"/>
                    <a:gd name="connsiteY547" fmla="*/ 1218961 h 1357898"/>
                    <a:gd name="connsiteX548" fmla="*/ 27298 w 937999"/>
                    <a:gd name="connsiteY548" fmla="*/ 1220988 h 1357898"/>
                    <a:gd name="connsiteX549" fmla="*/ 29557 w 937999"/>
                    <a:gd name="connsiteY549" fmla="*/ 1215921 h 1357898"/>
                    <a:gd name="connsiteX550" fmla="*/ 35208 w 937999"/>
                    <a:gd name="connsiteY550" fmla="*/ 1217948 h 1357898"/>
                    <a:gd name="connsiteX551" fmla="*/ 29557 w 937999"/>
                    <a:gd name="connsiteY551" fmla="*/ 1223015 h 1357898"/>
                    <a:gd name="connsiteX552" fmla="*/ 27298 w 937999"/>
                    <a:gd name="connsiteY552" fmla="*/ 1230108 h 1357898"/>
                    <a:gd name="connsiteX553" fmla="*/ 43119 w 937999"/>
                    <a:gd name="connsiteY553" fmla="*/ 1228082 h 1357898"/>
                    <a:gd name="connsiteX554" fmla="*/ 45379 w 937999"/>
                    <a:gd name="connsiteY554" fmla="*/ 1238215 h 1357898"/>
                    <a:gd name="connsiteX555" fmla="*/ 51030 w 937999"/>
                    <a:gd name="connsiteY555" fmla="*/ 1238215 h 1357898"/>
                    <a:gd name="connsiteX556" fmla="*/ 70242 w 937999"/>
                    <a:gd name="connsiteY556" fmla="*/ 1218961 h 1357898"/>
                    <a:gd name="connsiteX557" fmla="*/ 83804 w 937999"/>
                    <a:gd name="connsiteY557" fmla="*/ 1216935 h 1357898"/>
                    <a:gd name="connsiteX558" fmla="*/ 78153 w 937999"/>
                    <a:gd name="connsiteY558" fmla="*/ 1227068 h 1357898"/>
                    <a:gd name="connsiteX559" fmla="*/ 66852 w 937999"/>
                    <a:gd name="connsiteY559" fmla="*/ 1227068 h 1357898"/>
                    <a:gd name="connsiteX560" fmla="*/ 64591 w 937999"/>
                    <a:gd name="connsiteY560" fmla="*/ 1239229 h 1357898"/>
                    <a:gd name="connsiteX561" fmla="*/ 58941 w 937999"/>
                    <a:gd name="connsiteY561" fmla="*/ 1241255 h 1357898"/>
                    <a:gd name="connsiteX562" fmla="*/ 51030 w 937999"/>
                    <a:gd name="connsiteY562" fmla="*/ 1248349 h 1357898"/>
                    <a:gd name="connsiteX563" fmla="*/ 53290 w 937999"/>
                    <a:gd name="connsiteY563" fmla="*/ 1258482 h 1357898"/>
                    <a:gd name="connsiteX564" fmla="*/ 26167 w 937999"/>
                    <a:gd name="connsiteY564" fmla="*/ 1265576 h 1357898"/>
                    <a:gd name="connsiteX565" fmla="*/ 20517 w 937999"/>
                    <a:gd name="connsiteY565" fmla="*/ 1277736 h 1357898"/>
                    <a:gd name="connsiteX566" fmla="*/ 34078 w 937999"/>
                    <a:gd name="connsiteY566" fmla="*/ 1279763 h 1357898"/>
                    <a:gd name="connsiteX567" fmla="*/ 39729 w 937999"/>
                    <a:gd name="connsiteY567" fmla="*/ 1284830 h 1357898"/>
                    <a:gd name="connsiteX568" fmla="*/ 39729 w 937999"/>
                    <a:gd name="connsiteY568" fmla="*/ 1277736 h 1357898"/>
                    <a:gd name="connsiteX569" fmla="*/ 55551 w 937999"/>
                    <a:gd name="connsiteY569" fmla="*/ 1277736 h 1357898"/>
                    <a:gd name="connsiteX570" fmla="*/ 57810 w 937999"/>
                    <a:gd name="connsiteY570" fmla="*/ 1270643 h 1357898"/>
                    <a:gd name="connsiteX571" fmla="*/ 55551 w 937999"/>
                    <a:gd name="connsiteY571" fmla="*/ 1280776 h 1357898"/>
                    <a:gd name="connsiteX572" fmla="*/ 49900 w 937999"/>
                    <a:gd name="connsiteY572" fmla="*/ 1310164 h 1357898"/>
                    <a:gd name="connsiteX573" fmla="*/ 38599 w 937999"/>
                    <a:gd name="connsiteY573" fmla="*/ 1312190 h 1357898"/>
                    <a:gd name="connsiteX574" fmla="*/ 38599 w 937999"/>
                    <a:gd name="connsiteY574" fmla="*/ 1326377 h 1357898"/>
                    <a:gd name="connsiteX575" fmla="*/ 77022 w 937999"/>
                    <a:gd name="connsiteY575" fmla="*/ 1343604 h 1357898"/>
                    <a:gd name="connsiteX576" fmla="*/ 82673 w 937999"/>
                    <a:gd name="connsiteY576" fmla="*/ 1338538 h 1357898"/>
                    <a:gd name="connsiteX577" fmla="*/ 80413 w 937999"/>
                    <a:gd name="connsiteY577" fmla="*/ 1350698 h 1357898"/>
                    <a:gd name="connsiteX578" fmla="*/ 107536 w 937999"/>
                    <a:gd name="connsiteY578" fmla="*/ 1350698 h 1357898"/>
                    <a:gd name="connsiteX579" fmla="*/ 118837 w 937999"/>
                    <a:gd name="connsiteY579" fmla="*/ 1340564 h 1357898"/>
                    <a:gd name="connsiteX580" fmla="*/ 130138 w 937999"/>
                    <a:gd name="connsiteY580" fmla="*/ 1340564 h 1357898"/>
                    <a:gd name="connsiteX581" fmla="*/ 141439 w 937999"/>
                    <a:gd name="connsiteY581" fmla="*/ 1330431 h 1357898"/>
                    <a:gd name="connsiteX582" fmla="*/ 160652 w 937999"/>
                    <a:gd name="connsiteY582" fmla="*/ 1325364 h 1357898"/>
                    <a:gd name="connsiteX583" fmla="*/ 176473 w 937999"/>
                    <a:gd name="connsiteY583" fmla="*/ 1311177 h 1357898"/>
                    <a:gd name="connsiteX584" fmla="*/ 192295 w 937999"/>
                    <a:gd name="connsiteY584" fmla="*/ 1311177 h 1357898"/>
                    <a:gd name="connsiteX585" fmla="*/ 227328 w 937999"/>
                    <a:gd name="connsiteY585" fmla="*/ 1288883 h 1357898"/>
                    <a:gd name="connsiteX586" fmla="*/ 235239 w 937999"/>
                    <a:gd name="connsiteY586" fmla="*/ 1288883 h 1357898"/>
                    <a:gd name="connsiteX587" fmla="*/ 227328 w 937999"/>
                    <a:gd name="connsiteY587" fmla="*/ 1309150 h 1357898"/>
                    <a:gd name="connsiteX588" fmla="*/ 538111 w 937999"/>
                    <a:gd name="connsiteY588" fmla="*/ 14080 h 1357898"/>
                    <a:gd name="connsiteX589" fmla="*/ 535851 w 937999"/>
                    <a:gd name="connsiteY589" fmla="*/ 28267 h 1357898"/>
                    <a:gd name="connsiteX590" fmla="*/ 543762 w 937999"/>
                    <a:gd name="connsiteY590" fmla="*/ 33334 h 1357898"/>
                    <a:gd name="connsiteX591" fmla="*/ 524550 w 937999"/>
                    <a:gd name="connsiteY591" fmla="*/ 55628 h 1357898"/>
                    <a:gd name="connsiteX592" fmla="*/ 510989 w 937999"/>
                    <a:gd name="connsiteY592" fmla="*/ 55628 h 1357898"/>
                    <a:gd name="connsiteX593" fmla="*/ 505338 w 937999"/>
                    <a:gd name="connsiteY593" fmla="*/ 45494 h 1357898"/>
                    <a:gd name="connsiteX594" fmla="*/ 472564 w 937999"/>
                    <a:gd name="connsiteY594" fmla="*/ 40427 h 1357898"/>
                    <a:gd name="connsiteX595" fmla="*/ 474825 w 937999"/>
                    <a:gd name="connsiteY595" fmla="*/ 50561 h 1357898"/>
                    <a:gd name="connsiteX596" fmla="*/ 477085 w 937999"/>
                    <a:gd name="connsiteY596" fmla="*/ 55628 h 1357898"/>
                    <a:gd name="connsiteX597" fmla="*/ 509858 w 937999"/>
                    <a:gd name="connsiteY597" fmla="*/ 57655 h 1357898"/>
                    <a:gd name="connsiteX598" fmla="*/ 509858 w 937999"/>
                    <a:gd name="connsiteY598" fmla="*/ 64748 h 1357898"/>
                    <a:gd name="connsiteX599" fmla="*/ 507598 w 937999"/>
                    <a:gd name="connsiteY599" fmla="*/ 69815 h 1357898"/>
                    <a:gd name="connsiteX600" fmla="*/ 488386 w 937999"/>
                    <a:gd name="connsiteY600" fmla="*/ 71842 h 1357898"/>
                    <a:gd name="connsiteX601" fmla="*/ 490647 w 937999"/>
                    <a:gd name="connsiteY601" fmla="*/ 84002 h 1357898"/>
                    <a:gd name="connsiteX602" fmla="*/ 523420 w 937999"/>
                    <a:gd name="connsiteY602" fmla="*/ 91095 h 1357898"/>
                    <a:gd name="connsiteX603" fmla="*/ 539242 w 937999"/>
                    <a:gd name="connsiteY603" fmla="*/ 84002 h 1357898"/>
                    <a:gd name="connsiteX604" fmla="*/ 585576 w 937999"/>
                    <a:gd name="connsiteY604" fmla="*/ 86029 h 1357898"/>
                    <a:gd name="connsiteX605" fmla="*/ 583316 w 937999"/>
                    <a:gd name="connsiteY605" fmla="*/ 93122 h 1357898"/>
                    <a:gd name="connsiteX606" fmla="*/ 544892 w 937999"/>
                    <a:gd name="connsiteY606" fmla="*/ 95149 h 1357898"/>
                    <a:gd name="connsiteX607" fmla="*/ 547153 w 937999"/>
                    <a:gd name="connsiteY607" fmla="*/ 102242 h 1357898"/>
                    <a:gd name="connsiteX608" fmla="*/ 535851 w 937999"/>
                    <a:gd name="connsiteY608" fmla="*/ 100216 h 1357898"/>
                    <a:gd name="connsiteX609" fmla="*/ 522290 w 937999"/>
                    <a:gd name="connsiteY609" fmla="*/ 95149 h 1357898"/>
                    <a:gd name="connsiteX610" fmla="*/ 516639 w 937999"/>
                    <a:gd name="connsiteY610" fmla="*/ 100216 h 1357898"/>
                    <a:gd name="connsiteX611" fmla="*/ 524550 w 937999"/>
                    <a:gd name="connsiteY611" fmla="*/ 114403 h 1357898"/>
                    <a:gd name="connsiteX612" fmla="*/ 570885 w 937999"/>
                    <a:gd name="connsiteY612" fmla="*/ 114403 h 1357898"/>
                    <a:gd name="connsiteX613" fmla="*/ 576536 w 937999"/>
                    <a:gd name="connsiteY613" fmla="*/ 119469 h 1357898"/>
                    <a:gd name="connsiteX614" fmla="*/ 601398 w 937999"/>
                    <a:gd name="connsiteY614" fmla="*/ 119469 h 1357898"/>
                    <a:gd name="connsiteX615" fmla="*/ 609309 w 937999"/>
                    <a:gd name="connsiteY615" fmla="*/ 126563 h 1357898"/>
                    <a:gd name="connsiteX616" fmla="*/ 630781 w 937999"/>
                    <a:gd name="connsiteY616" fmla="*/ 126563 h 1357898"/>
                    <a:gd name="connsiteX617" fmla="*/ 657904 w 937999"/>
                    <a:gd name="connsiteY617" fmla="*/ 133656 h 1357898"/>
                    <a:gd name="connsiteX618" fmla="*/ 690677 w 937999"/>
                    <a:gd name="connsiteY618" fmla="*/ 131630 h 1357898"/>
                    <a:gd name="connsiteX619" fmla="*/ 712150 w 937999"/>
                    <a:gd name="connsiteY619" fmla="*/ 133656 h 1357898"/>
                    <a:gd name="connsiteX620" fmla="*/ 720061 w 937999"/>
                    <a:gd name="connsiteY620" fmla="*/ 111362 h 1357898"/>
                    <a:gd name="connsiteX621" fmla="*/ 758484 w 937999"/>
                    <a:gd name="connsiteY621" fmla="*/ 106296 h 1357898"/>
                    <a:gd name="connsiteX622" fmla="*/ 764135 w 937999"/>
                    <a:gd name="connsiteY622" fmla="*/ 101229 h 1357898"/>
                    <a:gd name="connsiteX623" fmla="*/ 758484 w 937999"/>
                    <a:gd name="connsiteY623" fmla="*/ 99202 h 1357898"/>
                    <a:gd name="connsiteX624" fmla="*/ 758484 w 937999"/>
                    <a:gd name="connsiteY624" fmla="*/ 89069 h 1357898"/>
                    <a:gd name="connsiteX625" fmla="*/ 777697 w 937999"/>
                    <a:gd name="connsiteY625" fmla="*/ 89069 h 1357898"/>
                    <a:gd name="connsiteX626" fmla="*/ 802559 w 937999"/>
                    <a:gd name="connsiteY626" fmla="*/ 54614 h 1357898"/>
                    <a:gd name="connsiteX627" fmla="*/ 773177 w 937999"/>
                    <a:gd name="connsiteY627" fmla="*/ 54614 h 1357898"/>
                    <a:gd name="connsiteX628" fmla="*/ 751704 w 937999"/>
                    <a:gd name="connsiteY628" fmla="*/ 49548 h 1357898"/>
                    <a:gd name="connsiteX629" fmla="*/ 753964 w 937999"/>
                    <a:gd name="connsiteY629" fmla="*/ 44481 h 1357898"/>
                    <a:gd name="connsiteX630" fmla="*/ 753964 w 937999"/>
                    <a:gd name="connsiteY630" fmla="*/ 42454 h 1357898"/>
                    <a:gd name="connsiteX631" fmla="*/ 753964 w 937999"/>
                    <a:gd name="connsiteY631" fmla="*/ 37387 h 1357898"/>
                    <a:gd name="connsiteX632" fmla="*/ 748314 w 937999"/>
                    <a:gd name="connsiteY632" fmla="*/ 39414 h 1357898"/>
                    <a:gd name="connsiteX633" fmla="*/ 740403 w 937999"/>
                    <a:gd name="connsiteY633" fmla="*/ 44481 h 1357898"/>
                    <a:gd name="connsiteX634" fmla="*/ 729102 w 937999"/>
                    <a:gd name="connsiteY634" fmla="*/ 49548 h 1357898"/>
                    <a:gd name="connsiteX635" fmla="*/ 731362 w 937999"/>
                    <a:gd name="connsiteY635" fmla="*/ 39414 h 1357898"/>
                    <a:gd name="connsiteX636" fmla="*/ 731362 w 937999"/>
                    <a:gd name="connsiteY636" fmla="*/ 32321 h 1357898"/>
                    <a:gd name="connsiteX637" fmla="*/ 712150 w 937999"/>
                    <a:gd name="connsiteY637" fmla="*/ 42454 h 1357898"/>
                    <a:gd name="connsiteX638" fmla="*/ 698588 w 937999"/>
                    <a:gd name="connsiteY638" fmla="*/ 56641 h 1357898"/>
                    <a:gd name="connsiteX639" fmla="*/ 687287 w 937999"/>
                    <a:gd name="connsiteY639" fmla="*/ 56641 h 1357898"/>
                    <a:gd name="connsiteX640" fmla="*/ 681637 w 937999"/>
                    <a:gd name="connsiteY640" fmla="*/ 25227 h 1357898"/>
                    <a:gd name="connsiteX641" fmla="*/ 665815 w 937999"/>
                    <a:gd name="connsiteY641" fmla="*/ 37387 h 1357898"/>
                    <a:gd name="connsiteX642" fmla="*/ 652254 w 937999"/>
                    <a:gd name="connsiteY642" fmla="*/ 59681 h 1357898"/>
                    <a:gd name="connsiteX643" fmla="*/ 633042 w 937999"/>
                    <a:gd name="connsiteY643" fmla="*/ 49548 h 1357898"/>
                    <a:gd name="connsiteX644" fmla="*/ 621740 w 937999"/>
                    <a:gd name="connsiteY644" fmla="*/ 49548 h 1357898"/>
                    <a:gd name="connsiteX645" fmla="*/ 613829 w 937999"/>
                    <a:gd name="connsiteY645" fmla="*/ 39414 h 1357898"/>
                    <a:gd name="connsiteX646" fmla="*/ 602528 w 937999"/>
                    <a:gd name="connsiteY646" fmla="*/ 41441 h 1357898"/>
                    <a:gd name="connsiteX647" fmla="*/ 575406 w 937999"/>
                    <a:gd name="connsiteY647" fmla="*/ 31307 h 1357898"/>
                    <a:gd name="connsiteX648" fmla="*/ 567495 w 937999"/>
                    <a:gd name="connsiteY648" fmla="*/ 19147 h 1357898"/>
                    <a:gd name="connsiteX649" fmla="*/ 551673 w 937999"/>
                    <a:gd name="connsiteY649" fmla="*/ 21174 h 1357898"/>
                    <a:gd name="connsiteX650" fmla="*/ 543762 w 937999"/>
                    <a:gd name="connsiteY650" fmla="*/ 9013 h 1357898"/>
                    <a:gd name="connsiteX651" fmla="*/ 538111 w 937999"/>
                    <a:gd name="connsiteY651" fmla="*/ 14080 h 1357898"/>
                    <a:gd name="connsiteX652" fmla="*/ 573145 w 937999"/>
                    <a:gd name="connsiteY652" fmla="*/ 215738 h 1357898"/>
                    <a:gd name="connsiteX653" fmla="*/ 559584 w 937999"/>
                    <a:gd name="connsiteY653" fmla="*/ 222832 h 1357898"/>
                    <a:gd name="connsiteX654" fmla="*/ 559584 w 937999"/>
                    <a:gd name="connsiteY654" fmla="*/ 234992 h 1357898"/>
                    <a:gd name="connsiteX655" fmla="*/ 567495 w 937999"/>
                    <a:gd name="connsiteY655" fmla="*/ 237019 h 1357898"/>
                    <a:gd name="connsiteX656" fmla="*/ 565234 w 937999"/>
                    <a:gd name="connsiteY656" fmla="*/ 247152 h 1357898"/>
                    <a:gd name="connsiteX657" fmla="*/ 557323 w 937999"/>
                    <a:gd name="connsiteY657" fmla="*/ 252219 h 1357898"/>
                    <a:gd name="connsiteX658" fmla="*/ 557323 w 937999"/>
                    <a:gd name="connsiteY658" fmla="*/ 262353 h 1357898"/>
                    <a:gd name="connsiteX659" fmla="*/ 603659 w 937999"/>
                    <a:gd name="connsiteY659" fmla="*/ 252219 h 1357898"/>
                    <a:gd name="connsiteX660" fmla="*/ 603659 w 937999"/>
                    <a:gd name="connsiteY660" fmla="*/ 259313 h 1357898"/>
                    <a:gd name="connsiteX661" fmla="*/ 603659 w 937999"/>
                    <a:gd name="connsiteY661" fmla="*/ 264379 h 1357898"/>
                    <a:gd name="connsiteX662" fmla="*/ 617220 w 937999"/>
                    <a:gd name="connsiteY662" fmla="*/ 264379 h 1357898"/>
                    <a:gd name="connsiteX663" fmla="*/ 625131 w 937999"/>
                    <a:gd name="connsiteY663" fmla="*/ 259313 h 1357898"/>
                    <a:gd name="connsiteX664" fmla="*/ 640952 w 937999"/>
                    <a:gd name="connsiteY664" fmla="*/ 259313 h 1357898"/>
                    <a:gd name="connsiteX665" fmla="*/ 652254 w 937999"/>
                    <a:gd name="connsiteY665" fmla="*/ 252219 h 1357898"/>
                    <a:gd name="connsiteX666" fmla="*/ 679376 w 937999"/>
                    <a:gd name="connsiteY666" fmla="*/ 252219 h 1357898"/>
                    <a:gd name="connsiteX667" fmla="*/ 685027 w 937999"/>
                    <a:gd name="connsiteY667" fmla="*/ 247152 h 1357898"/>
                    <a:gd name="connsiteX668" fmla="*/ 685027 w 937999"/>
                    <a:gd name="connsiteY668" fmla="*/ 232965 h 1357898"/>
                    <a:gd name="connsiteX669" fmla="*/ 649993 w 937999"/>
                    <a:gd name="connsiteY669" fmla="*/ 232965 h 1357898"/>
                    <a:gd name="connsiteX670" fmla="*/ 611569 w 937999"/>
                    <a:gd name="connsiteY670" fmla="*/ 210671 h 1357898"/>
                    <a:gd name="connsiteX671" fmla="*/ 609309 w 937999"/>
                    <a:gd name="connsiteY671" fmla="*/ 217765 h 1357898"/>
                    <a:gd name="connsiteX672" fmla="*/ 576536 w 937999"/>
                    <a:gd name="connsiteY672" fmla="*/ 212698 h 1357898"/>
                    <a:gd name="connsiteX673" fmla="*/ 573145 w 937999"/>
                    <a:gd name="connsiteY673" fmla="*/ 215738 h 135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Lst>
                  <a:rect l="l" t="t" r="r" b="b"/>
                  <a:pathLst>
                    <a:path w="937999" h="1357898">
                      <a:moveTo>
                        <a:pt x="627391" y="28267"/>
                      </a:moveTo>
                      <a:cubicBezTo>
                        <a:pt x="628521" y="28267"/>
                        <a:pt x="629651" y="35361"/>
                        <a:pt x="629651" y="35361"/>
                      </a:cubicBezTo>
                      <a:cubicBezTo>
                        <a:pt x="638692" y="39414"/>
                        <a:pt x="635302" y="32321"/>
                        <a:pt x="627391" y="28267"/>
                      </a:cubicBezTo>
                      <a:close/>
                      <a:moveTo>
                        <a:pt x="404757" y="50561"/>
                      </a:moveTo>
                      <a:cubicBezTo>
                        <a:pt x="402497" y="53601"/>
                        <a:pt x="403627" y="57655"/>
                        <a:pt x="402497" y="60695"/>
                      </a:cubicBezTo>
                      <a:cubicBezTo>
                        <a:pt x="400237" y="63735"/>
                        <a:pt x="394587" y="62721"/>
                        <a:pt x="391196" y="65761"/>
                      </a:cubicBezTo>
                      <a:cubicBezTo>
                        <a:pt x="388936" y="67788"/>
                        <a:pt x="390066" y="70828"/>
                        <a:pt x="388936" y="72855"/>
                      </a:cubicBezTo>
                      <a:cubicBezTo>
                        <a:pt x="386676" y="76908"/>
                        <a:pt x="376504" y="77922"/>
                        <a:pt x="373114" y="79948"/>
                      </a:cubicBezTo>
                      <a:cubicBezTo>
                        <a:pt x="374244" y="91095"/>
                        <a:pt x="371984" y="100216"/>
                        <a:pt x="375374" y="111362"/>
                      </a:cubicBezTo>
                      <a:cubicBezTo>
                        <a:pt x="376504" y="113389"/>
                        <a:pt x="382155" y="116429"/>
                        <a:pt x="383285" y="118456"/>
                      </a:cubicBezTo>
                      <a:cubicBezTo>
                        <a:pt x="386676" y="124536"/>
                        <a:pt x="386676" y="133656"/>
                        <a:pt x="388936" y="140750"/>
                      </a:cubicBezTo>
                      <a:cubicBezTo>
                        <a:pt x="387805" y="138723"/>
                        <a:pt x="382155" y="135683"/>
                        <a:pt x="381025" y="133656"/>
                      </a:cubicBezTo>
                      <a:cubicBezTo>
                        <a:pt x="376504" y="126563"/>
                        <a:pt x="377635" y="120483"/>
                        <a:pt x="373114" y="114403"/>
                      </a:cubicBezTo>
                      <a:cubicBezTo>
                        <a:pt x="370854" y="111362"/>
                        <a:pt x="365203" y="110349"/>
                        <a:pt x="361813" y="107309"/>
                      </a:cubicBezTo>
                      <a:cubicBezTo>
                        <a:pt x="353902" y="97175"/>
                        <a:pt x="351641" y="88055"/>
                        <a:pt x="345991" y="75895"/>
                      </a:cubicBezTo>
                      <a:cubicBezTo>
                        <a:pt x="338081" y="76908"/>
                        <a:pt x="332430" y="77922"/>
                        <a:pt x="326779" y="77922"/>
                      </a:cubicBezTo>
                      <a:cubicBezTo>
                        <a:pt x="321129" y="90082"/>
                        <a:pt x="322259" y="92109"/>
                        <a:pt x="321129" y="104269"/>
                      </a:cubicBezTo>
                      <a:lnTo>
                        <a:pt x="315478" y="104269"/>
                      </a:lnTo>
                      <a:cubicBezTo>
                        <a:pt x="314348" y="101229"/>
                        <a:pt x="315478" y="98189"/>
                        <a:pt x="313218" y="97175"/>
                      </a:cubicBezTo>
                      <a:cubicBezTo>
                        <a:pt x="310957" y="96162"/>
                        <a:pt x="306437" y="98189"/>
                        <a:pt x="305307" y="97175"/>
                      </a:cubicBezTo>
                      <a:cubicBezTo>
                        <a:pt x="304177" y="96162"/>
                        <a:pt x="305307" y="89069"/>
                        <a:pt x="303046" y="87042"/>
                      </a:cubicBezTo>
                      <a:cubicBezTo>
                        <a:pt x="300786" y="86029"/>
                        <a:pt x="292876" y="85015"/>
                        <a:pt x="291745" y="85015"/>
                      </a:cubicBezTo>
                      <a:cubicBezTo>
                        <a:pt x="298526" y="82988"/>
                        <a:pt x="305307" y="81975"/>
                        <a:pt x="316608" y="79948"/>
                      </a:cubicBezTo>
                      <a:cubicBezTo>
                        <a:pt x="316608" y="78935"/>
                        <a:pt x="316608" y="72855"/>
                        <a:pt x="316608" y="72855"/>
                      </a:cubicBezTo>
                      <a:lnTo>
                        <a:pt x="303046" y="67788"/>
                      </a:lnTo>
                      <a:cubicBezTo>
                        <a:pt x="299656" y="66775"/>
                        <a:pt x="296266" y="72855"/>
                        <a:pt x="291745" y="72855"/>
                      </a:cubicBezTo>
                      <a:cubicBezTo>
                        <a:pt x="288355" y="72855"/>
                        <a:pt x="283834" y="65761"/>
                        <a:pt x="275924" y="67788"/>
                      </a:cubicBezTo>
                      <a:lnTo>
                        <a:pt x="275924" y="72855"/>
                      </a:lnTo>
                      <a:cubicBezTo>
                        <a:pt x="271403" y="73868"/>
                        <a:pt x="271403" y="73868"/>
                        <a:pt x="268013" y="74882"/>
                      </a:cubicBezTo>
                      <a:lnTo>
                        <a:pt x="268013" y="76908"/>
                      </a:lnTo>
                      <a:cubicBezTo>
                        <a:pt x="263492" y="77922"/>
                        <a:pt x="257842" y="73868"/>
                        <a:pt x="254451" y="71842"/>
                      </a:cubicBezTo>
                      <a:cubicBezTo>
                        <a:pt x="252191" y="80962"/>
                        <a:pt x="251061" y="88055"/>
                        <a:pt x="248801" y="101229"/>
                      </a:cubicBezTo>
                      <a:cubicBezTo>
                        <a:pt x="256712" y="97175"/>
                        <a:pt x="253322" y="96162"/>
                        <a:pt x="256712" y="94135"/>
                      </a:cubicBezTo>
                      <a:lnTo>
                        <a:pt x="262362" y="94135"/>
                      </a:lnTo>
                      <a:cubicBezTo>
                        <a:pt x="262362" y="98189"/>
                        <a:pt x="261232" y="105282"/>
                        <a:pt x="262362" y="108322"/>
                      </a:cubicBezTo>
                      <a:cubicBezTo>
                        <a:pt x="262362" y="109336"/>
                        <a:pt x="266882" y="110349"/>
                        <a:pt x="268013" y="113389"/>
                      </a:cubicBezTo>
                      <a:cubicBezTo>
                        <a:pt x="264623" y="116429"/>
                        <a:pt x="263492" y="114403"/>
                        <a:pt x="256712" y="115416"/>
                      </a:cubicBezTo>
                      <a:cubicBezTo>
                        <a:pt x="255581" y="121496"/>
                        <a:pt x="256712" y="123523"/>
                        <a:pt x="254451" y="127576"/>
                      </a:cubicBezTo>
                      <a:cubicBezTo>
                        <a:pt x="255581" y="128590"/>
                        <a:pt x="275924" y="137710"/>
                        <a:pt x="275924" y="137710"/>
                      </a:cubicBezTo>
                      <a:cubicBezTo>
                        <a:pt x="279314" y="141763"/>
                        <a:pt x="272533" y="141763"/>
                        <a:pt x="273664" y="147843"/>
                      </a:cubicBezTo>
                      <a:lnTo>
                        <a:pt x="279314" y="152910"/>
                      </a:lnTo>
                      <a:cubicBezTo>
                        <a:pt x="283834" y="169124"/>
                        <a:pt x="268013" y="170137"/>
                        <a:pt x="292876" y="172164"/>
                      </a:cubicBezTo>
                      <a:cubicBezTo>
                        <a:pt x="298526" y="172164"/>
                        <a:pt x="298526" y="175204"/>
                        <a:pt x="304177" y="174191"/>
                      </a:cubicBezTo>
                      <a:cubicBezTo>
                        <a:pt x="306437" y="173177"/>
                        <a:pt x="309828" y="168110"/>
                        <a:pt x="312087" y="167097"/>
                      </a:cubicBezTo>
                      <a:lnTo>
                        <a:pt x="312087" y="162030"/>
                      </a:lnTo>
                      <a:cubicBezTo>
                        <a:pt x="319998" y="162030"/>
                        <a:pt x="329039" y="162030"/>
                        <a:pt x="336950" y="162030"/>
                      </a:cubicBezTo>
                      <a:cubicBezTo>
                        <a:pt x="338081" y="157977"/>
                        <a:pt x="336950" y="151897"/>
                        <a:pt x="336950" y="147843"/>
                      </a:cubicBezTo>
                      <a:cubicBezTo>
                        <a:pt x="342601" y="148857"/>
                        <a:pt x="341471" y="144803"/>
                        <a:pt x="344861" y="145817"/>
                      </a:cubicBezTo>
                      <a:cubicBezTo>
                        <a:pt x="347121" y="145817"/>
                        <a:pt x="342601" y="151897"/>
                        <a:pt x="350512" y="150883"/>
                      </a:cubicBezTo>
                      <a:cubicBezTo>
                        <a:pt x="351641" y="150883"/>
                        <a:pt x="355032" y="143790"/>
                        <a:pt x="356162" y="143790"/>
                      </a:cubicBezTo>
                      <a:lnTo>
                        <a:pt x="361813" y="143790"/>
                      </a:lnTo>
                      <a:cubicBezTo>
                        <a:pt x="362943" y="151897"/>
                        <a:pt x="364073" y="158990"/>
                        <a:pt x="364073" y="166084"/>
                      </a:cubicBezTo>
                      <a:cubicBezTo>
                        <a:pt x="371984" y="165070"/>
                        <a:pt x="385545" y="162030"/>
                        <a:pt x="391196" y="164057"/>
                      </a:cubicBezTo>
                      <a:cubicBezTo>
                        <a:pt x="393456" y="165070"/>
                        <a:pt x="394587" y="176217"/>
                        <a:pt x="404757" y="178244"/>
                      </a:cubicBezTo>
                      <a:cubicBezTo>
                        <a:pt x="412668" y="180271"/>
                        <a:pt x="422840" y="177231"/>
                        <a:pt x="431880" y="176217"/>
                      </a:cubicBezTo>
                      <a:cubicBezTo>
                        <a:pt x="429620" y="177231"/>
                        <a:pt x="426230" y="185338"/>
                        <a:pt x="423969" y="186351"/>
                      </a:cubicBezTo>
                      <a:cubicBezTo>
                        <a:pt x="416058" y="188378"/>
                        <a:pt x="384415" y="189391"/>
                        <a:pt x="377635" y="188378"/>
                      </a:cubicBezTo>
                      <a:cubicBezTo>
                        <a:pt x="375374" y="188378"/>
                        <a:pt x="366334" y="183311"/>
                        <a:pt x="361813" y="183311"/>
                      </a:cubicBezTo>
                      <a:cubicBezTo>
                        <a:pt x="358423" y="183311"/>
                        <a:pt x="348251" y="194458"/>
                        <a:pt x="345991" y="195471"/>
                      </a:cubicBezTo>
                      <a:cubicBezTo>
                        <a:pt x="342601" y="196484"/>
                        <a:pt x="340340" y="194458"/>
                        <a:pt x="338081" y="195471"/>
                      </a:cubicBezTo>
                      <a:cubicBezTo>
                        <a:pt x="334690" y="192431"/>
                        <a:pt x="331299" y="188378"/>
                        <a:pt x="326779" y="185338"/>
                      </a:cubicBezTo>
                      <a:cubicBezTo>
                        <a:pt x="325649" y="186351"/>
                        <a:pt x="319998" y="185338"/>
                        <a:pt x="318868" y="185338"/>
                      </a:cubicBezTo>
                      <a:cubicBezTo>
                        <a:pt x="318868" y="185338"/>
                        <a:pt x="318868" y="192431"/>
                        <a:pt x="318868" y="192431"/>
                      </a:cubicBezTo>
                      <a:cubicBezTo>
                        <a:pt x="316608" y="193444"/>
                        <a:pt x="314348" y="190404"/>
                        <a:pt x="316608" y="190404"/>
                      </a:cubicBezTo>
                      <a:cubicBezTo>
                        <a:pt x="312087" y="189391"/>
                        <a:pt x="312087" y="188378"/>
                        <a:pt x="305307" y="188378"/>
                      </a:cubicBezTo>
                      <a:cubicBezTo>
                        <a:pt x="305307" y="194458"/>
                        <a:pt x="303046" y="203578"/>
                        <a:pt x="305307" y="210671"/>
                      </a:cubicBezTo>
                      <a:cubicBezTo>
                        <a:pt x="310957" y="232965"/>
                        <a:pt x="316608" y="211685"/>
                        <a:pt x="321129" y="210671"/>
                      </a:cubicBezTo>
                      <a:cubicBezTo>
                        <a:pt x="323388" y="210671"/>
                        <a:pt x="327909" y="215738"/>
                        <a:pt x="329039" y="215738"/>
                      </a:cubicBezTo>
                      <a:cubicBezTo>
                        <a:pt x="335820" y="216752"/>
                        <a:pt x="349382" y="213711"/>
                        <a:pt x="358423" y="213711"/>
                      </a:cubicBezTo>
                      <a:cubicBezTo>
                        <a:pt x="358423" y="213711"/>
                        <a:pt x="386676" y="212698"/>
                        <a:pt x="377635" y="213711"/>
                      </a:cubicBezTo>
                      <a:cubicBezTo>
                        <a:pt x="370854" y="214725"/>
                        <a:pt x="358423" y="219792"/>
                        <a:pt x="352772" y="220805"/>
                      </a:cubicBezTo>
                      <a:cubicBezTo>
                        <a:pt x="353902" y="223845"/>
                        <a:pt x="349382" y="222832"/>
                        <a:pt x="350512" y="227899"/>
                      </a:cubicBezTo>
                      <a:cubicBezTo>
                        <a:pt x="350512" y="233979"/>
                        <a:pt x="360683" y="239045"/>
                        <a:pt x="364073" y="242085"/>
                      </a:cubicBezTo>
                      <a:cubicBezTo>
                        <a:pt x="336950" y="238032"/>
                        <a:pt x="331299" y="244112"/>
                        <a:pt x="315478" y="231952"/>
                      </a:cubicBezTo>
                      <a:cubicBezTo>
                        <a:pt x="314348" y="237019"/>
                        <a:pt x="312087" y="240059"/>
                        <a:pt x="313218" y="246139"/>
                      </a:cubicBezTo>
                      <a:lnTo>
                        <a:pt x="318868" y="251206"/>
                      </a:lnTo>
                      <a:cubicBezTo>
                        <a:pt x="319998" y="253232"/>
                        <a:pt x="318868" y="258299"/>
                        <a:pt x="318868" y="261339"/>
                      </a:cubicBezTo>
                      <a:cubicBezTo>
                        <a:pt x="324519" y="262353"/>
                        <a:pt x="350512" y="263366"/>
                        <a:pt x="357292" y="266406"/>
                      </a:cubicBezTo>
                      <a:cubicBezTo>
                        <a:pt x="358423" y="266406"/>
                        <a:pt x="358423" y="275526"/>
                        <a:pt x="359552" y="276540"/>
                      </a:cubicBezTo>
                      <a:cubicBezTo>
                        <a:pt x="360683" y="277553"/>
                        <a:pt x="365203" y="275526"/>
                        <a:pt x="367463" y="276540"/>
                      </a:cubicBezTo>
                      <a:cubicBezTo>
                        <a:pt x="367463" y="276540"/>
                        <a:pt x="369724" y="280593"/>
                        <a:pt x="369724" y="281606"/>
                      </a:cubicBezTo>
                      <a:cubicBezTo>
                        <a:pt x="377635" y="280593"/>
                        <a:pt x="383285" y="279580"/>
                        <a:pt x="388936" y="279580"/>
                      </a:cubicBezTo>
                      <a:cubicBezTo>
                        <a:pt x="393456" y="293767"/>
                        <a:pt x="399107" y="298833"/>
                        <a:pt x="404757" y="308967"/>
                      </a:cubicBezTo>
                      <a:lnTo>
                        <a:pt x="407018" y="306940"/>
                      </a:lnTo>
                      <a:cubicBezTo>
                        <a:pt x="409278" y="301874"/>
                        <a:pt x="416058" y="300860"/>
                        <a:pt x="422840" y="299847"/>
                      </a:cubicBezTo>
                      <a:cubicBezTo>
                        <a:pt x="420579" y="291740"/>
                        <a:pt x="419449" y="287687"/>
                        <a:pt x="417189" y="282620"/>
                      </a:cubicBezTo>
                      <a:cubicBezTo>
                        <a:pt x="418319" y="282620"/>
                        <a:pt x="423969" y="275526"/>
                        <a:pt x="425099" y="275526"/>
                      </a:cubicBezTo>
                      <a:cubicBezTo>
                        <a:pt x="428490" y="275526"/>
                        <a:pt x="439791" y="279580"/>
                        <a:pt x="446572" y="277553"/>
                      </a:cubicBezTo>
                      <a:cubicBezTo>
                        <a:pt x="447702" y="277553"/>
                        <a:pt x="455613" y="269446"/>
                        <a:pt x="457873" y="267419"/>
                      </a:cubicBezTo>
                      <a:cubicBezTo>
                        <a:pt x="457873" y="267419"/>
                        <a:pt x="460133" y="263366"/>
                        <a:pt x="460133" y="262353"/>
                      </a:cubicBezTo>
                      <a:cubicBezTo>
                        <a:pt x="462394" y="259313"/>
                        <a:pt x="465784" y="258299"/>
                        <a:pt x="465784" y="252219"/>
                      </a:cubicBezTo>
                      <a:lnTo>
                        <a:pt x="465784" y="250192"/>
                      </a:lnTo>
                      <a:cubicBezTo>
                        <a:pt x="469174" y="248166"/>
                        <a:pt x="478215" y="250192"/>
                        <a:pt x="481605" y="250192"/>
                      </a:cubicBezTo>
                      <a:cubicBezTo>
                        <a:pt x="481605" y="249179"/>
                        <a:pt x="483866" y="245126"/>
                        <a:pt x="483866" y="245126"/>
                      </a:cubicBezTo>
                      <a:lnTo>
                        <a:pt x="486126" y="245126"/>
                      </a:lnTo>
                      <a:cubicBezTo>
                        <a:pt x="488386" y="221818"/>
                        <a:pt x="483866" y="228912"/>
                        <a:pt x="501948" y="220805"/>
                      </a:cubicBezTo>
                      <a:cubicBezTo>
                        <a:pt x="488386" y="182297"/>
                        <a:pt x="499688" y="171151"/>
                        <a:pt x="550543" y="170137"/>
                      </a:cubicBezTo>
                      <a:cubicBezTo>
                        <a:pt x="547153" y="168110"/>
                        <a:pt x="549412" y="160004"/>
                        <a:pt x="544892" y="157977"/>
                      </a:cubicBezTo>
                      <a:cubicBezTo>
                        <a:pt x="533591" y="151897"/>
                        <a:pt x="518900" y="155950"/>
                        <a:pt x="506468" y="150883"/>
                      </a:cubicBezTo>
                      <a:cubicBezTo>
                        <a:pt x="503078" y="149870"/>
                        <a:pt x="497427" y="141763"/>
                        <a:pt x="495167" y="140750"/>
                      </a:cubicBezTo>
                      <a:lnTo>
                        <a:pt x="489516" y="140750"/>
                      </a:lnTo>
                      <a:cubicBezTo>
                        <a:pt x="487256" y="135683"/>
                        <a:pt x="492906" y="133656"/>
                        <a:pt x="491777" y="130616"/>
                      </a:cubicBezTo>
                      <a:cubicBezTo>
                        <a:pt x="491777" y="127576"/>
                        <a:pt x="486126" y="118456"/>
                        <a:pt x="483866" y="113389"/>
                      </a:cubicBezTo>
                      <a:cubicBezTo>
                        <a:pt x="479345" y="114403"/>
                        <a:pt x="480475" y="110349"/>
                        <a:pt x="478215" y="108322"/>
                      </a:cubicBezTo>
                      <a:cubicBezTo>
                        <a:pt x="475955" y="109336"/>
                        <a:pt x="474825" y="111362"/>
                        <a:pt x="472564" y="110349"/>
                      </a:cubicBezTo>
                      <a:cubicBezTo>
                        <a:pt x="469174" y="115416"/>
                        <a:pt x="472564" y="114403"/>
                        <a:pt x="466914" y="117443"/>
                      </a:cubicBezTo>
                      <a:cubicBezTo>
                        <a:pt x="466914" y="117443"/>
                        <a:pt x="465784" y="95149"/>
                        <a:pt x="466914" y="91095"/>
                      </a:cubicBezTo>
                      <a:cubicBezTo>
                        <a:pt x="452222" y="81975"/>
                        <a:pt x="446572" y="77922"/>
                        <a:pt x="437531" y="64748"/>
                      </a:cubicBezTo>
                      <a:cubicBezTo>
                        <a:pt x="428490" y="68801"/>
                        <a:pt x="425099" y="67788"/>
                        <a:pt x="416058" y="71842"/>
                      </a:cubicBezTo>
                      <a:cubicBezTo>
                        <a:pt x="413798" y="68801"/>
                        <a:pt x="413798" y="65761"/>
                        <a:pt x="410408" y="64748"/>
                      </a:cubicBezTo>
                      <a:cubicBezTo>
                        <a:pt x="410408" y="62721"/>
                        <a:pt x="411538" y="56641"/>
                        <a:pt x="410408" y="54614"/>
                      </a:cubicBezTo>
                      <a:cubicBezTo>
                        <a:pt x="411538" y="51574"/>
                        <a:pt x="404757" y="51574"/>
                        <a:pt x="404757" y="50561"/>
                      </a:cubicBezTo>
                      <a:close/>
                      <a:moveTo>
                        <a:pt x="234109" y="121496"/>
                      </a:moveTo>
                      <a:cubicBezTo>
                        <a:pt x="235239" y="130616"/>
                        <a:pt x="232979" y="138723"/>
                        <a:pt x="236370" y="145817"/>
                      </a:cubicBezTo>
                      <a:cubicBezTo>
                        <a:pt x="237500" y="147843"/>
                        <a:pt x="246540" y="152910"/>
                        <a:pt x="247671" y="155950"/>
                      </a:cubicBezTo>
                      <a:cubicBezTo>
                        <a:pt x="247671" y="156964"/>
                        <a:pt x="246540" y="163044"/>
                        <a:pt x="247671" y="163044"/>
                      </a:cubicBezTo>
                      <a:cubicBezTo>
                        <a:pt x="252191" y="166084"/>
                        <a:pt x="256712" y="163044"/>
                        <a:pt x="261232" y="165070"/>
                      </a:cubicBezTo>
                      <a:cubicBezTo>
                        <a:pt x="258972" y="163044"/>
                        <a:pt x="260102" y="161017"/>
                        <a:pt x="255581" y="160004"/>
                      </a:cubicBezTo>
                      <a:cubicBezTo>
                        <a:pt x="252191" y="154937"/>
                        <a:pt x="251061" y="145817"/>
                        <a:pt x="247671" y="140750"/>
                      </a:cubicBezTo>
                      <a:cubicBezTo>
                        <a:pt x="246540" y="139736"/>
                        <a:pt x="239760" y="137710"/>
                        <a:pt x="239760" y="135683"/>
                      </a:cubicBezTo>
                      <a:cubicBezTo>
                        <a:pt x="238629" y="130616"/>
                        <a:pt x="240890" y="125549"/>
                        <a:pt x="239760" y="121496"/>
                      </a:cubicBezTo>
                      <a:lnTo>
                        <a:pt x="234109" y="121496"/>
                      </a:lnTo>
                      <a:close/>
                      <a:moveTo>
                        <a:pt x="846634" y="135683"/>
                      </a:moveTo>
                      <a:cubicBezTo>
                        <a:pt x="838723" y="137710"/>
                        <a:pt x="842114" y="141763"/>
                        <a:pt x="838723" y="147843"/>
                      </a:cubicBezTo>
                      <a:cubicBezTo>
                        <a:pt x="855675" y="145817"/>
                        <a:pt x="869237" y="145817"/>
                        <a:pt x="885058" y="149870"/>
                      </a:cubicBezTo>
                      <a:cubicBezTo>
                        <a:pt x="885058" y="149870"/>
                        <a:pt x="889579" y="142777"/>
                        <a:pt x="890709" y="142777"/>
                      </a:cubicBezTo>
                      <a:cubicBezTo>
                        <a:pt x="886189" y="141763"/>
                        <a:pt x="881668" y="143790"/>
                        <a:pt x="877147" y="142777"/>
                      </a:cubicBezTo>
                      <a:cubicBezTo>
                        <a:pt x="870367" y="141763"/>
                        <a:pt x="864716" y="130616"/>
                        <a:pt x="846634" y="135683"/>
                      </a:cubicBezTo>
                      <a:close/>
                      <a:moveTo>
                        <a:pt x="786737" y="152910"/>
                      </a:moveTo>
                      <a:cubicBezTo>
                        <a:pt x="786737" y="153923"/>
                        <a:pt x="784478" y="157977"/>
                        <a:pt x="784478" y="160004"/>
                      </a:cubicBezTo>
                      <a:cubicBezTo>
                        <a:pt x="787868" y="161017"/>
                        <a:pt x="787868" y="164057"/>
                        <a:pt x="790128" y="167097"/>
                      </a:cubicBezTo>
                      <a:cubicBezTo>
                        <a:pt x="793519" y="166084"/>
                        <a:pt x="805950" y="168110"/>
                        <a:pt x="798039" y="165070"/>
                      </a:cubicBezTo>
                      <a:cubicBezTo>
                        <a:pt x="792388" y="163044"/>
                        <a:pt x="795779" y="157977"/>
                        <a:pt x="792388" y="152910"/>
                      </a:cubicBezTo>
                      <a:lnTo>
                        <a:pt x="786737" y="152910"/>
                      </a:lnTo>
                      <a:close/>
                      <a:moveTo>
                        <a:pt x="542632" y="177231"/>
                      </a:moveTo>
                      <a:cubicBezTo>
                        <a:pt x="541502" y="177231"/>
                        <a:pt x="535851" y="184324"/>
                        <a:pt x="534721" y="184324"/>
                      </a:cubicBezTo>
                      <a:cubicBezTo>
                        <a:pt x="530201" y="186351"/>
                        <a:pt x="523420" y="186351"/>
                        <a:pt x="521159" y="186351"/>
                      </a:cubicBezTo>
                      <a:lnTo>
                        <a:pt x="529070" y="188378"/>
                      </a:lnTo>
                      <a:cubicBezTo>
                        <a:pt x="542632" y="194458"/>
                        <a:pt x="542632" y="195471"/>
                        <a:pt x="548283" y="210671"/>
                      </a:cubicBezTo>
                      <a:cubicBezTo>
                        <a:pt x="560714" y="209658"/>
                        <a:pt x="572015" y="208645"/>
                        <a:pt x="586707" y="210671"/>
                      </a:cubicBezTo>
                      <a:cubicBezTo>
                        <a:pt x="587837" y="205605"/>
                        <a:pt x="591227" y="198511"/>
                        <a:pt x="592357" y="193444"/>
                      </a:cubicBezTo>
                      <a:lnTo>
                        <a:pt x="598008" y="193444"/>
                      </a:lnTo>
                      <a:cubicBezTo>
                        <a:pt x="601398" y="190404"/>
                        <a:pt x="595748" y="186351"/>
                        <a:pt x="595748" y="186351"/>
                      </a:cubicBezTo>
                      <a:cubicBezTo>
                        <a:pt x="588967" y="177231"/>
                        <a:pt x="562974" y="173177"/>
                        <a:pt x="542632" y="177231"/>
                      </a:cubicBezTo>
                      <a:close/>
                      <a:moveTo>
                        <a:pt x="738142" y="599800"/>
                      </a:moveTo>
                      <a:cubicBezTo>
                        <a:pt x="734752" y="605881"/>
                        <a:pt x="730232" y="606894"/>
                        <a:pt x="730232" y="606894"/>
                      </a:cubicBezTo>
                      <a:cubicBezTo>
                        <a:pt x="729102" y="609934"/>
                        <a:pt x="731362" y="613987"/>
                        <a:pt x="730232" y="617028"/>
                      </a:cubicBezTo>
                      <a:cubicBezTo>
                        <a:pt x="731362" y="617028"/>
                        <a:pt x="735882" y="621081"/>
                        <a:pt x="735882" y="622094"/>
                      </a:cubicBezTo>
                      <a:cubicBezTo>
                        <a:pt x="735882" y="622094"/>
                        <a:pt x="738142" y="618041"/>
                        <a:pt x="738142" y="617028"/>
                      </a:cubicBezTo>
                      <a:cubicBezTo>
                        <a:pt x="743793" y="618041"/>
                        <a:pt x="744924" y="620068"/>
                        <a:pt x="751704" y="619054"/>
                      </a:cubicBezTo>
                      <a:lnTo>
                        <a:pt x="753964" y="613987"/>
                      </a:lnTo>
                      <a:cubicBezTo>
                        <a:pt x="752834" y="612974"/>
                        <a:pt x="747183" y="613987"/>
                        <a:pt x="746053" y="613987"/>
                      </a:cubicBezTo>
                      <a:cubicBezTo>
                        <a:pt x="743793" y="609934"/>
                        <a:pt x="747183" y="608921"/>
                        <a:pt x="748314" y="606894"/>
                      </a:cubicBezTo>
                      <a:cubicBezTo>
                        <a:pt x="746053" y="604867"/>
                        <a:pt x="740403" y="602841"/>
                        <a:pt x="738142" y="599800"/>
                      </a:cubicBezTo>
                      <a:close/>
                      <a:moveTo>
                        <a:pt x="624001" y="609934"/>
                      </a:moveTo>
                      <a:cubicBezTo>
                        <a:pt x="621740" y="610947"/>
                        <a:pt x="619480" y="620068"/>
                        <a:pt x="618350" y="622094"/>
                      </a:cubicBezTo>
                      <a:cubicBezTo>
                        <a:pt x="611569" y="623108"/>
                        <a:pt x="603659" y="622094"/>
                        <a:pt x="596878" y="622094"/>
                      </a:cubicBezTo>
                      <a:cubicBezTo>
                        <a:pt x="596878" y="624121"/>
                        <a:pt x="585576" y="639321"/>
                        <a:pt x="596878" y="639321"/>
                      </a:cubicBezTo>
                      <a:cubicBezTo>
                        <a:pt x="600268" y="639321"/>
                        <a:pt x="609309" y="630201"/>
                        <a:pt x="612699" y="629188"/>
                      </a:cubicBezTo>
                      <a:cubicBezTo>
                        <a:pt x="614960" y="628174"/>
                        <a:pt x="620610" y="630201"/>
                        <a:pt x="624001" y="629188"/>
                      </a:cubicBezTo>
                      <a:cubicBezTo>
                        <a:pt x="628521" y="627161"/>
                        <a:pt x="643213" y="602841"/>
                        <a:pt x="624001" y="609934"/>
                      </a:cubicBezTo>
                      <a:close/>
                      <a:moveTo>
                        <a:pt x="654514" y="632228"/>
                      </a:moveTo>
                      <a:lnTo>
                        <a:pt x="652254" y="637295"/>
                      </a:lnTo>
                      <a:cubicBezTo>
                        <a:pt x="647733" y="639321"/>
                        <a:pt x="643213" y="635268"/>
                        <a:pt x="638692" y="635268"/>
                      </a:cubicBezTo>
                      <a:cubicBezTo>
                        <a:pt x="640952" y="648442"/>
                        <a:pt x="628521" y="643375"/>
                        <a:pt x="646603" y="652495"/>
                      </a:cubicBezTo>
                      <a:lnTo>
                        <a:pt x="646603" y="656548"/>
                      </a:lnTo>
                      <a:cubicBezTo>
                        <a:pt x="647733" y="652495"/>
                        <a:pt x="669205" y="634255"/>
                        <a:pt x="654514" y="632228"/>
                      </a:cubicBezTo>
                      <a:close/>
                      <a:moveTo>
                        <a:pt x="499688" y="658575"/>
                      </a:moveTo>
                      <a:cubicBezTo>
                        <a:pt x="496297" y="664655"/>
                        <a:pt x="484996" y="675802"/>
                        <a:pt x="499688" y="675802"/>
                      </a:cubicBezTo>
                      <a:cubicBezTo>
                        <a:pt x="495167" y="676816"/>
                        <a:pt x="507598" y="680869"/>
                        <a:pt x="507598" y="680869"/>
                      </a:cubicBezTo>
                      <a:cubicBezTo>
                        <a:pt x="508728" y="676816"/>
                        <a:pt x="505338" y="675802"/>
                        <a:pt x="509858" y="675802"/>
                      </a:cubicBezTo>
                      <a:cubicBezTo>
                        <a:pt x="512119" y="668709"/>
                        <a:pt x="509858" y="669722"/>
                        <a:pt x="512119" y="663642"/>
                      </a:cubicBezTo>
                      <a:cubicBezTo>
                        <a:pt x="506468" y="660602"/>
                        <a:pt x="504208" y="661615"/>
                        <a:pt x="499688" y="658575"/>
                      </a:cubicBezTo>
                      <a:close/>
                      <a:moveTo>
                        <a:pt x="486126" y="677829"/>
                      </a:moveTo>
                      <a:cubicBezTo>
                        <a:pt x="483866" y="679856"/>
                        <a:pt x="480475" y="679856"/>
                        <a:pt x="474825" y="679856"/>
                      </a:cubicBezTo>
                      <a:cubicBezTo>
                        <a:pt x="474825" y="680869"/>
                        <a:pt x="475955" y="686949"/>
                        <a:pt x="474825" y="686949"/>
                      </a:cubicBezTo>
                      <a:cubicBezTo>
                        <a:pt x="470304" y="683909"/>
                        <a:pt x="472564" y="695056"/>
                        <a:pt x="472564" y="697083"/>
                      </a:cubicBezTo>
                      <a:cubicBezTo>
                        <a:pt x="472564" y="697083"/>
                        <a:pt x="482736" y="699109"/>
                        <a:pt x="483866" y="699109"/>
                      </a:cubicBezTo>
                      <a:cubicBezTo>
                        <a:pt x="498557" y="686949"/>
                        <a:pt x="491777" y="692016"/>
                        <a:pt x="495167" y="676816"/>
                      </a:cubicBezTo>
                      <a:cubicBezTo>
                        <a:pt x="492906" y="677829"/>
                        <a:pt x="487256" y="678842"/>
                        <a:pt x="486126" y="677829"/>
                      </a:cubicBezTo>
                      <a:close/>
                      <a:moveTo>
                        <a:pt x="459003" y="705190"/>
                      </a:moveTo>
                      <a:cubicBezTo>
                        <a:pt x="437531" y="716337"/>
                        <a:pt x="433010" y="724443"/>
                        <a:pt x="431880" y="748764"/>
                      </a:cubicBezTo>
                      <a:lnTo>
                        <a:pt x="437531" y="748764"/>
                      </a:lnTo>
                      <a:cubicBezTo>
                        <a:pt x="439791" y="747751"/>
                        <a:pt x="440921" y="739644"/>
                        <a:pt x="443182" y="738630"/>
                      </a:cubicBezTo>
                      <a:cubicBezTo>
                        <a:pt x="448832" y="736604"/>
                        <a:pt x="451093" y="740657"/>
                        <a:pt x="454483" y="740657"/>
                      </a:cubicBezTo>
                      <a:cubicBezTo>
                        <a:pt x="462394" y="729510"/>
                        <a:pt x="464653" y="725457"/>
                        <a:pt x="465784" y="706203"/>
                      </a:cubicBezTo>
                      <a:lnTo>
                        <a:pt x="459003" y="705190"/>
                      </a:lnTo>
                      <a:close/>
                      <a:moveTo>
                        <a:pt x="388936" y="748764"/>
                      </a:moveTo>
                      <a:cubicBezTo>
                        <a:pt x="382155" y="765991"/>
                        <a:pt x="374244" y="773084"/>
                        <a:pt x="367463" y="790312"/>
                      </a:cubicBezTo>
                      <a:cubicBezTo>
                        <a:pt x="370854" y="790312"/>
                        <a:pt x="375374" y="784231"/>
                        <a:pt x="378765" y="785245"/>
                      </a:cubicBezTo>
                      <a:cubicBezTo>
                        <a:pt x="378765" y="785245"/>
                        <a:pt x="378765" y="794365"/>
                        <a:pt x="378765" y="795378"/>
                      </a:cubicBezTo>
                      <a:cubicBezTo>
                        <a:pt x="379894" y="794365"/>
                        <a:pt x="385545" y="795378"/>
                        <a:pt x="386676" y="795378"/>
                      </a:cubicBezTo>
                      <a:cubicBezTo>
                        <a:pt x="386676" y="794365"/>
                        <a:pt x="386676" y="788285"/>
                        <a:pt x="386676" y="788285"/>
                      </a:cubicBezTo>
                      <a:cubicBezTo>
                        <a:pt x="387805" y="787271"/>
                        <a:pt x="395716" y="789298"/>
                        <a:pt x="392326" y="790312"/>
                      </a:cubicBezTo>
                      <a:cubicBezTo>
                        <a:pt x="404757" y="781191"/>
                        <a:pt x="413798" y="778151"/>
                        <a:pt x="421709" y="765991"/>
                      </a:cubicBezTo>
                      <a:lnTo>
                        <a:pt x="416058" y="753831"/>
                      </a:lnTo>
                      <a:cubicBezTo>
                        <a:pt x="412668" y="755857"/>
                        <a:pt x="409278" y="754844"/>
                        <a:pt x="404757" y="755857"/>
                      </a:cubicBezTo>
                      <a:lnTo>
                        <a:pt x="404757" y="762951"/>
                      </a:lnTo>
                      <a:cubicBezTo>
                        <a:pt x="401367" y="761938"/>
                        <a:pt x="394587" y="759911"/>
                        <a:pt x="393456" y="760924"/>
                      </a:cubicBezTo>
                      <a:cubicBezTo>
                        <a:pt x="393456" y="757884"/>
                        <a:pt x="394587" y="751804"/>
                        <a:pt x="393456" y="748764"/>
                      </a:cubicBezTo>
                      <a:lnTo>
                        <a:pt x="388936" y="748764"/>
                      </a:lnTo>
                      <a:close/>
                      <a:moveTo>
                        <a:pt x="672596" y="609934"/>
                      </a:moveTo>
                      <a:cubicBezTo>
                        <a:pt x="673726" y="610947"/>
                        <a:pt x="673726" y="619054"/>
                        <a:pt x="674856" y="620068"/>
                      </a:cubicBezTo>
                      <a:cubicBezTo>
                        <a:pt x="682767" y="625134"/>
                        <a:pt x="678246" y="610947"/>
                        <a:pt x="677116" y="609934"/>
                      </a:cubicBezTo>
                      <a:lnTo>
                        <a:pt x="672596" y="609934"/>
                      </a:lnTo>
                      <a:close/>
                      <a:moveTo>
                        <a:pt x="521159" y="644388"/>
                      </a:moveTo>
                      <a:cubicBezTo>
                        <a:pt x="524550" y="649455"/>
                        <a:pt x="524550" y="653508"/>
                        <a:pt x="526810" y="658575"/>
                      </a:cubicBezTo>
                      <a:cubicBezTo>
                        <a:pt x="548283" y="660602"/>
                        <a:pt x="523420" y="645402"/>
                        <a:pt x="521159" y="644388"/>
                      </a:cubicBezTo>
                      <a:close/>
                      <a:moveTo>
                        <a:pt x="613829" y="644388"/>
                      </a:moveTo>
                      <a:cubicBezTo>
                        <a:pt x="595748" y="645402"/>
                        <a:pt x="625131" y="649455"/>
                        <a:pt x="625131" y="649455"/>
                      </a:cubicBezTo>
                      <a:cubicBezTo>
                        <a:pt x="621740" y="648442"/>
                        <a:pt x="629651" y="642361"/>
                        <a:pt x="613829" y="644388"/>
                      </a:cubicBezTo>
                      <a:close/>
                      <a:moveTo>
                        <a:pt x="550543" y="648442"/>
                      </a:moveTo>
                      <a:lnTo>
                        <a:pt x="550543" y="653508"/>
                      </a:lnTo>
                      <a:cubicBezTo>
                        <a:pt x="548283" y="651482"/>
                        <a:pt x="549412" y="658575"/>
                        <a:pt x="552803" y="660602"/>
                      </a:cubicBezTo>
                      <a:cubicBezTo>
                        <a:pt x="553933" y="660602"/>
                        <a:pt x="560714" y="644388"/>
                        <a:pt x="550543" y="648442"/>
                      </a:cubicBezTo>
                      <a:close/>
                      <a:moveTo>
                        <a:pt x="420579" y="726470"/>
                      </a:moveTo>
                      <a:cubicBezTo>
                        <a:pt x="411538" y="740657"/>
                        <a:pt x="408147" y="742684"/>
                        <a:pt x="422840" y="731537"/>
                      </a:cubicBezTo>
                      <a:cubicBezTo>
                        <a:pt x="423969" y="731537"/>
                        <a:pt x="423969" y="722417"/>
                        <a:pt x="420579" y="726470"/>
                      </a:cubicBezTo>
                      <a:close/>
                      <a:moveTo>
                        <a:pt x="366334" y="753831"/>
                      </a:moveTo>
                      <a:cubicBezTo>
                        <a:pt x="364073" y="753831"/>
                        <a:pt x="359552" y="759911"/>
                        <a:pt x="358423" y="760924"/>
                      </a:cubicBezTo>
                      <a:cubicBezTo>
                        <a:pt x="350512" y="764978"/>
                        <a:pt x="366334" y="763964"/>
                        <a:pt x="371984" y="765991"/>
                      </a:cubicBezTo>
                      <a:cubicBezTo>
                        <a:pt x="370854" y="759911"/>
                        <a:pt x="376504" y="751804"/>
                        <a:pt x="366334" y="753831"/>
                      </a:cubicBezTo>
                      <a:close/>
                      <a:moveTo>
                        <a:pt x="356162" y="780178"/>
                      </a:moveTo>
                      <a:cubicBezTo>
                        <a:pt x="350512" y="782205"/>
                        <a:pt x="345991" y="795378"/>
                        <a:pt x="340340" y="797405"/>
                      </a:cubicBezTo>
                      <a:lnTo>
                        <a:pt x="334690" y="797405"/>
                      </a:lnTo>
                      <a:cubicBezTo>
                        <a:pt x="335820" y="798418"/>
                        <a:pt x="332430" y="803485"/>
                        <a:pt x="336950" y="799432"/>
                      </a:cubicBezTo>
                      <a:cubicBezTo>
                        <a:pt x="340340" y="800445"/>
                        <a:pt x="332430" y="804499"/>
                        <a:pt x="339210" y="801458"/>
                      </a:cubicBezTo>
                      <a:cubicBezTo>
                        <a:pt x="347121" y="798418"/>
                        <a:pt x="353902" y="789298"/>
                        <a:pt x="360683" y="784231"/>
                      </a:cubicBezTo>
                      <a:cubicBezTo>
                        <a:pt x="359552" y="783218"/>
                        <a:pt x="357292" y="781191"/>
                        <a:pt x="358423" y="779165"/>
                      </a:cubicBezTo>
                      <a:lnTo>
                        <a:pt x="356162" y="779165"/>
                      </a:lnTo>
                      <a:close/>
                      <a:moveTo>
                        <a:pt x="315478" y="797405"/>
                      </a:moveTo>
                      <a:lnTo>
                        <a:pt x="313218" y="804499"/>
                      </a:lnTo>
                      <a:cubicBezTo>
                        <a:pt x="307567" y="803485"/>
                        <a:pt x="316608" y="811592"/>
                        <a:pt x="324519" y="809565"/>
                      </a:cubicBezTo>
                      <a:cubicBezTo>
                        <a:pt x="327909" y="808552"/>
                        <a:pt x="324519" y="802472"/>
                        <a:pt x="324519" y="802472"/>
                      </a:cubicBezTo>
                      <a:lnTo>
                        <a:pt x="315478" y="797405"/>
                      </a:lnTo>
                      <a:close/>
                      <a:moveTo>
                        <a:pt x="344861" y="924075"/>
                      </a:moveTo>
                      <a:cubicBezTo>
                        <a:pt x="353902" y="924075"/>
                        <a:pt x="343731" y="928128"/>
                        <a:pt x="342601" y="929141"/>
                      </a:cubicBezTo>
                      <a:cubicBezTo>
                        <a:pt x="343731" y="925088"/>
                        <a:pt x="339210" y="924075"/>
                        <a:pt x="344861" y="924075"/>
                      </a:cubicBezTo>
                      <a:close/>
                      <a:moveTo>
                        <a:pt x="315478" y="926101"/>
                      </a:moveTo>
                      <a:cubicBezTo>
                        <a:pt x="310957" y="927115"/>
                        <a:pt x="312087" y="932181"/>
                        <a:pt x="317738" y="933195"/>
                      </a:cubicBezTo>
                      <a:cubicBezTo>
                        <a:pt x="317738" y="930155"/>
                        <a:pt x="319998" y="925088"/>
                        <a:pt x="315478" y="926101"/>
                      </a:cubicBezTo>
                      <a:close/>
                      <a:moveTo>
                        <a:pt x="147090" y="1037571"/>
                      </a:moveTo>
                      <a:cubicBezTo>
                        <a:pt x="140310" y="1038584"/>
                        <a:pt x="118837" y="1053784"/>
                        <a:pt x="139179" y="1049731"/>
                      </a:cubicBezTo>
                      <a:cubicBezTo>
                        <a:pt x="142569" y="1049731"/>
                        <a:pt x="158391" y="1035544"/>
                        <a:pt x="147090" y="1037571"/>
                      </a:cubicBezTo>
                      <a:close/>
                      <a:moveTo>
                        <a:pt x="100755" y="1074051"/>
                      </a:moveTo>
                      <a:lnTo>
                        <a:pt x="103015" y="1079118"/>
                      </a:lnTo>
                      <a:cubicBezTo>
                        <a:pt x="110926" y="1080132"/>
                        <a:pt x="104146" y="1075065"/>
                        <a:pt x="100755" y="1074051"/>
                      </a:cubicBezTo>
                      <a:close/>
                      <a:moveTo>
                        <a:pt x="135789" y="1082158"/>
                      </a:moveTo>
                      <a:cubicBezTo>
                        <a:pt x="142569" y="1083172"/>
                        <a:pt x="143700" y="1088239"/>
                        <a:pt x="135789" y="1087225"/>
                      </a:cubicBezTo>
                      <a:cubicBezTo>
                        <a:pt x="135789" y="1086212"/>
                        <a:pt x="129008" y="1081145"/>
                        <a:pt x="135789" y="1082158"/>
                      </a:cubicBezTo>
                      <a:close/>
                      <a:moveTo>
                        <a:pt x="81543" y="1130799"/>
                      </a:moveTo>
                      <a:cubicBezTo>
                        <a:pt x="77022" y="1133840"/>
                        <a:pt x="87194" y="1132826"/>
                        <a:pt x="87194" y="1132826"/>
                      </a:cubicBezTo>
                      <a:cubicBezTo>
                        <a:pt x="83804" y="1133840"/>
                        <a:pt x="86063" y="1136880"/>
                        <a:pt x="84933" y="1139920"/>
                      </a:cubicBezTo>
                      <a:cubicBezTo>
                        <a:pt x="82673" y="1138906"/>
                        <a:pt x="80413" y="1141946"/>
                        <a:pt x="79283" y="1141946"/>
                      </a:cubicBezTo>
                      <a:cubicBezTo>
                        <a:pt x="79283" y="1139920"/>
                        <a:pt x="77022" y="1128773"/>
                        <a:pt x="81543" y="1130799"/>
                      </a:cubicBezTo>
                      <a:close/>
                      <a:moveTo>
                        <a:pt x="25037" y="1244295"/>
                      </a:moveTo>
                      <a:cubicBezTo>
                        <a:pt x="25037" y="1244295"/>
                        <a:pt x="27298" y="1251389"/>
                        <a:pt x="27298" y="1251389"/>
                      </a:cubicBezTo>
                      <a:cubicBezTo>
                        <a:pt x="34078" y="1253416"/>
                        <a:pt x="34078" y="1245309"/>
                        <a:pt x="25037" y="1244295"/>
                      </a:cubicBezTo>
                      <a:close/>
                      <a:moveTo>
                        <a:pt x="11476" y="1252402"/>
                      </a:moveTo>
                      <a:lnTo>
                        <a:pt x="11476" y="1257469"/>
                      </a:lnTo>
                      <a:lnTo>
                        <a:pt x="17126" y="1257469"/>
                      </a:lnTo>
                      <a:cubicBezTo>
                        <a:pt x="12606" y="1254429"/>
                        <a:pt x="19387" y="1252402"/>
                        <a:pt x="11476" y="1252402"/>
                      </a:cubicBezTo>
                      <a:close/>
                      <a:moveTo>
                        <a:pt x="11476" y="1261522"/>
                      </a:moveTo>
                      <a:lnTo>
                        <a:pt x="13736" y="1266589"/>
                      </a:lnTo>
                      <a:cubicBezTo>
                        <a:pt x="12606" y="1263549"/>
                        <a:pt x="17126" y="1261522"/>
                        <a:pt x="11476" y="1261522"/>
                      </a:cubicBezTo>
                      <a:close/>
                      <a:moveTo>
                        <a:pt x="227328" y="1309150"/>
                      </a:moveTo>
                      <a:cubicBezTo>
                        <a:pt x="227328" y="1309150"/>
                        <a:pt x="230719" y="1308137"/>
                        <a:pt x="237500" y="1310164"/>
                      </a:cubicBezTo>
                      <a:cubicBezTo>
                        <a:pt x="244280" y="1312190"/>
                        <a:pt x="244280" y="1299017"/>
                        <a:pt x="244280" y="1290910"/>
                      </a:cubicBezTo>
                      <a:cubicBezTo>
                        <a:pt x="244280" y="1282803"/>
                        <a:pt x="236370" y="1280776"/>
                        <a:pt x="236370" y="1271656"/>
                      </a:cubicBezTo>
                      <a:cubicBezTo>
                        <a:pt x="236370" y="1262536"/>
                        <a:pt x="229589" y="1265576"/>
                        <a:pt x="239760" y="1261522"/>
                      </a:cubicBezTo>
                      <a:cubicBezTo>
                        <a:pt x="249931" y="1257469"/>
                        <a:pt x="240890" y="1251389"/>
                        <a:pt x="249931" y="1247336"/>
                      </a:cubicBezTo>
                      <a:cubicBezTo>
                        <a:pt x="258972" y="1243282"/>
                        <a:pt x="256712" y="1239229"/>
                        <a:pt x="249931" y="1232135"/>
                      </a:cubicBezTo>
                      <a:cubicBezTo>
                        <a:pt x="243150" y="1225042"/>
                        <a:pt x="249931" y="1220988"/>
                        <a:pt x="249931" y="1212881"/>
                      </a:cubicBezTo>
                      <a:cubicBezTo>
                        <a:pt x="249931" y="1204775"/>
                        <a:pt x="251061" y="1192614"/>
                        <a:pt x="251061" y="1192614"/>
                      </a:cubicBezTo>
                      <a:cubicBezTo>
                        <a:pt x="251061" y="1192614"/>
                        <a:pt x="254451" y="1195654"/>
                        <a:pt x="262362" y="1189574"/>
                      </a:cubicBezTo>
                      <a:cubicBezTo>
                        <a:pt x="270273" y="1183494"/>
                        <a:pt x="266882" y="1179441"/>
                        <a:pt x="266882" y="1168294"/>
                      </a:cubicBezTo>
                      <a:cubicBezTo>
                        <a:pt x="266882" y="1157147"/>
                        <a:pt x="262362" y="1153093"/>
                        <a:pt x="256712" y="1153093"/>
                      </a:cubicBezTo>
                      <a:cubicBezTo>
                        <a:pt x="251061" y="1153093"/>
                        <a:pt x="249931" y="1143973"/>
                        <a:pt x="255581" y="1134853"/>
                      </a:cubicBezTo>
                      <a:cubicBezTo>
                        <a:pt x="261232" y="1125733"/>
                        <a:pt x="256712" y="1115599"/>
                        <a:pt x="256712" y="1106479"/>
                      </a:cubicBezTo>
                      <a:cubicBezTo>
                        <a:pt x="256712" y="1097359"/>
                        <a:pt x="255581" y="1086212"/>
                        <a:pt x="257842" y="1080132"/>
                      </a:cubicBezTo>
                      <a:cubicBezTo>
                        <a:pt x="261232" y="1074051"/>
                        <a:pt x="257842" y="1065945"/>
                        <a:pt x="253322" y="1058851"/>
                      </a:cubicBezTo>
                      <a:cubicBezTo>
                        <a:pt x="248801" y="1051758"/>
                        <a:pt x="271403" y="1043651"/>
                        <a:pt x="271403" y="1035544"/>
                      </a:cubicBezTo>
                      <a:cubicBezTo>
                        <a:pt x="271403" y="1027437"/>
                        <a:pt x="289485" y="1015277"/>
                        <a:pt x="289485" y="1007170"/>
                      </a:cubicBezTo>
                      <a:cubicBezTo>
                        <a:pt x="289485" y="999063"/>
                        <a:pt x="307567" y="990956"/>
                        <a:pt x="316608" y="986903"/>
                      </a:cubicBezTo>
                      <a:cubicBezTo>
                        <a:pt x="325649" y="982849"/>
                        <a:pt x="332430" y="998050"/>
                        <a:pt x="340340" y="1002103"/>
                      </a:cubicBezTo>
                      <a:cubicBezTo>
                        <a:pt x="348251" y="1006157"/>
                        <a:pt x="349382" y="993996"/>
                        <a:pt x="352772" y="982849"/>
                      </a:cubicBezTo>
                      <a:cubicBezTo>
                        <a:pt x="357292" y="971702"/>
                        <a:pt x="351641" y="956502"/>
                        <a:pt x="351641" y="949409"/>
                      </a:cubicBezTo>
                      <a:cubicBezTo>
                        <a:pt x="351641" y="942315"/>
                        <a:pt x="364073" y="939275"/>
                        <a:pt x="373114" y="934208"/>
                      </a:cubicBezTo>
                      <a:cubicBezTo>
                        <a:pt x="382155" y="929141"/>
                        <a:pt x="391196" y="899754"/>
                        <a:pt x="391196" y="893674"/>
                      </a:cubicBezTo>
                      <a:cubicBezTo>
                        <a:pt x="391196" y="887594"/>
                        <a:pt x="392326" y="869353"/>
                        <a:pt x="401367" y="869353"/>
                      </a:cubicBezTo>
                      <a:cubicBezTo>
                        <a:pt x="410408" y="869353"/>
                        <a:pt x="416058" y="870367"/>
                        <a:pt x="416058" y="863273"/>
                      </a:cubicBezTo>
                      <a:cubicBezTo>
                        <a:pt x="416058" y="856180"/>
                        <a:pt x="427360" y="853140"/>
                        <a:pt x="433010" y="848073"/>
                      </a:cubicBezTo>
                      <a:cubicBezTo>
                        <a:pt x="438661" y="843006"/>
                        <a:pt x="444311" y="839966"/>
                        <a:pt x="444311" y="832873"/>
                      </a:cubicBezTo>
                      <a:cubicBezTo>
                        <a:pt x="444311" y="825779"/>
                        <a:pt x="449962" y="814632"/>
                        <a:pt x="453352" y="807539"/>
                      </a:cubicBezTo>
                      <a:cubicBezTo>
                        <a:pt x="456743" y="800445"/>
                        <a:pt x="465784" y="794365"/>
                        <a:pt x="465784" y="794365"/>
                      </a:cubicBezTo>
                      <a:cubicBezTo>
                        <a:pt x="465784" y="794365"/>
                        <a:pt x="500817" y="823752"/>
                        <a:pt x="491777" y="812605"/>
                      </a:cubicBezTo>
                      <a:cubicBezTo>
                        <a:pt x="487256" y="807539"/>
                        <a:pt x="496297" y="802472"/>
                        <a:pt x="492906" y="795378"/>
                      </a:cubicBezTo>
                      <a:cubicBezTo>
                        <a:pt x="489516" y="788285"/>
                        <a:pt x="500817" y="789298"/>
                        <a:pt x="504208" y="786258"/>
                      </a:cubicBezTo>
                      <a:cubicBezTo>
                        <a:pt x="507598" y="784231"/>
                        <a:pt x="522290" y="790312"/>
                        <a:pt x="529070" y="791325"/>
                      </a:cubicBezTo>
                      <a:cubicBezTo>
                        <a:pt x="535851" y="792338"/>
                        <a:pt x="541502" y="776125"/>
                        <a:pt x="541502" y="776125"/>
                      </a:cubicBezTo>
                      <a:lnTo>
                        <a:pt x="547153" y="756871"/>
                      </a:lnTo>
                      <a:lnTo>
                        <a:pt x="540372" y="744710"/>
                      </a:lnTo>
                      <a:lnTo>
                        <a:pt x="557323" y="744710"/>
                      </a:lnTo>
                      <a:lnTo>
                        <a:pt x="575406" y="737617"/>
                      </a:lnTo>
                      <a:lnTo>
                        <a:pt x="576536" y="730524"/>
                      </a:lnTo>
                      <a:cubicBezTo>
                        <a:pt x="577665" y="723430"/>
                        <a:pt x="592357" y="725457"/>
                        <a:pt x="592357" y="725457"/>
                      </a:cubicBezTo>
                      <a:lnTo>
                        <a:pt x="633042" y="764978"/>
                      </a:lnTo>
                      <a:cubicBezTo>
                        <a:pt x="633042" y="764978"/>
                        <a:pt x="660165" y="758897"/>
                        <a:pt x="668075" y="761938"/>
                      </a:cubicBezTo>
                      <a:cubicBezTo>
                        <a:pt x="687287" y="770044"/>
                        <a:pt x="673726" y="759911"/>
                        <a:pt x="685027" y="758897"/>
                      </a:cubicBezTo>
                      <a:cubicBezTo>
                        <a:pt x="696328" y="757884"/>
                        <a:pt x="694068" y="763964"/>
                        <a:pt x="694068" y="763964"/>
                      </a:cubicBezTo>
                      <a:lnTo>
                        <a:pt x="716671" y="777138"/>
                      </a:lnTo>
                      <a:cubicBezTo>
                        <a:pt x="716671" y="777138"/>
                        <a:pt x="713280" y="770044"/>
                        <a:pt x="722321" y="765991"/>
                      </a:cubicBezTo>
                      <a:cubicBezTo>
                        <a:pt x="731362" y="761938"/>
                        <a:pt x="739273" y="754844"/>
                        <a:pt x="741533" y="744710"/>
                      </a:cubicBezTo>
                      <a:cubicBezTo>
                        <a:pt x="743793" y="734577"/>
                        <a:pt x="737013" y="732550"/>
                        <a:pt x="737013" y="725457"/>
                      </a:cubicBezTo>
                      <a:cubicBezTo>
                        <a:pt x="738142" y="718363"/>
                        <a:pt x="741533" y="722417"/>
                        <a:pt x="743793" y="715323"/>
                      </a:cubicBezTo>
                      <a:cubicBezTo>
                        <a:pt x="746053" y="708230"/>
                        <a:pt x="751704" y="705190"/>
                        <a:pt x="760745" y="703163"/>
                      </a:cubicBezTo>
                      <a:cubicBezTo>
                        <a:pt x="769786" y="701136"/>
                        <a:pt x="772046" y="687962"/>
                        <a:pt x="772046" y="687962"/>
                      </a:cubicBezTo>
                      <a:cubicBezTo>
                        <a:pt x="772046" y="687962"/>
                        <a:pt x="788998" y="689989"/>
                        <a:pt x="795779" y="693029"/>
                      </a:cubicBezTo>
                      <a:cubicBezTo>
                        <a:pt x="802559" y="696069"/>
                        <a:pt x="824032" y="678842"/>
                        <a:pt x="824032" y="678842"/>
                      </a:cubicBezTo>
                      <a:cubicBezTo>
                        <a:pt x="824032" y="678842"/>
                        <a:pt x="835333" y="703163"/>
                        <a:pt x="843243" y="707216"/>
                      </a:cubicBezTo>
                      <a:cubicBezTo>
                        <a:pt x="851154" y="711270"/>
                        <a:pt x="860195" y="717350"/>
                        <a:pt x="866976" y="722417"/>
                      </a:cubicBezTo>
                      <a:cubicBezTo>
                        <a:pt x="877147" y="728497"/>
                        <a:pt x="881668" y="724443"/>
                        <a:pt x="881668" y="724443"/>
                      </a:cubicBezTo>
                      <a:lnTo>
                        <a:pt x="882798" y="733564"/>
                      </a:lnTo>
                      <a:cubicBezTo>
                        <a:pt x="882798" y="733564"/>
                        <a:pt x="886189" y="743697"/>
                        <a:pt x="891839" y="737617"/>
                      </a:cubicBezTo>
                      <a:cubicBezTo>
                        <a:pt x="897490" y="731537"/>
                        <a:pt x="897490" y="719377"/>
                        <a:pt x="897490" y="712283"/>
                      </a:cubicBezTo>
                      <a:cubicBezTo>
                        <a:pt x="897490" y="705190"/>
                        <a:pt x="891839" y="696069"/>
                        <a:pt x="891839" y="696069"/>
                      </a:cubicBezTo>
                      <a:cubicBezTo>
                        <a:pt x="891839" y="696069"/>
                        <a:pt x="902010" y="701136"/>
                        <a:pt x="903140" y="695056"/>
                      </a:cubicBezTo>
                      <a:cubicBezTo>
                        <a:pt x="904270" y="688976"/>
                        <a:pt x="929133" y="683909"/>
                        <a:pt x="929133" y="683909"/>
                      </a:cubicBezTo>
                      <a:cubicBezTo>
                        <a:pt x="925743" y="683909"/>
                        <a:pt x="923482" y="684922"/>
                        <a:pt x="920092" y="683909"/>
                      </a:cubicBezTo>
                      <a:cubicBezTo>
                        <a:pt x="918962" y="683909"/>
                        <a:pt x="913311" y="679856"/>
                        <a:pt x="912181" y="678842"/>
                      </a:cubicBezTo>
                      <a:cubicBezTo>
                        <a:pt x="908791" y="682896"/>
                        <a:pt x="908791" y="684922"/>
                        <a:pt x="904270" y="688976"/>
                      </a:cubicBezTo>
                      <a:cubicBezTo>
                        <a:pt x="900880" y="685936"/>
                        <a:pt x="900880" y="682896"/>
                        <a:pt x="896359" y="681882"/>
                      </a:cubicBezTo>
                      <a:cubicBezTo>
                        <a:pt x="895229" y="684922"/>
                        <a:pt x="896359" y="689989"/>
                        <a:pt x="894099" y="692016"/>
                      </a:cubicBezTo>
                      <a:cubicBezTo>
                        <a:pt x="889579" y="694043"/>
                        <a:pt x="886189" y="692016"/>
                        <a:pt x="880538" y="694043"/>
                      </a:cubicBezTo>
                      <a:cubicBezTo>
                        <a:pt x="879407" y="691003"/>
                        <a:pt x="881668" y="686949"/>
                        <a:pt x="880538" y="683909"/>
                      </a:cubicBezTo>
                      <a:cubicBezTo>
                        <a:pt x="879407" y="681882"/>
                        <a:pt x="874887" y="677829"/>
                        <a:pt x="872627" y="673775"/>
                      </a:cubicBezTo>
                      <a:cubicBezTo>
                        <a:pt x="883928" y="673775"/>
                        <a:pt x="892969" y="677829"/>
                        <a:pt x="902010" y="671749"/>
                      </a:cubicBezTo>
                      <a:cubicBezTo>
                        <a:pt x="904270" y="670735"/>
                        <a:pt x="904270" y="662629"/>
                        <a:pt x="907660" y="661615"/>
                      </a:cubicBezTo>
                      <a:cubicBezTo>
                        <a:pt x="913311" y="659589"/>
                        <a:pt x="922352" y="661615"/>
                        <a:pt x="929133" y="661615"/>
                      </a:cubicBezTo>
                      <a:cubicBezTo>
                        <a:pt x="917832" y="642361"/>
                        <a:pt x="926873" y="642361"/>
                        <a:pt x="899749" y="644388"/>
                      </a:cubicBezTo>
                      <a:cubicBezTo>
                        <a:pt x="911051" y="624121"/>
                        <a:pt x="903140" y="625134"/>
                        <a:pt x="886189" y="637295"/>
                      </a:cubicBezTo>
                      <a:cubicBezTo>
                        <a:pt x="883928" y="633241"/>
                        <a:pt x="878278" y="617028"/>
                        <a:pt x="874887" y="615001"/>
                      </a:cubicBezTo>
                      <a:cubicBezTo>
                        <a:pt x="872627" y="612974"/>
                        <a:pt x="866976" y="613987"/>
                        <a:pt x="863586" y="612974"/>
                      </a:cubicBezTo>
                      <a:cubicBezTo>
                        <a:pt x="855675" y="629188"/>
                        <a:pt x="856805" y="626148"/>
                        <a:pt x="861326" y="642361"/>
                      </a:cubicBezTo>
                      <a:cubicBezTo>
                        <a:pt x="859065" y="644388"/>
                        <a:pt x="852285" y="647428"/>
                        <a:pt x="850025" y="649455"/>
                      </a:cubicBezTo>
                      <a:cubicBezTo>
                        <a:pt x="837593" y="641348"/>
                        <a:pt x="859065" y="623108"/>
                        <a:pt x="847764" y="625134"/>
                      </a:cubicBezTo>
                      <a:cubicBezTo>
                        <a:pt x="846634" y="625134"/>
                        <a:pt x="845504" y="629188"/>
                        <a:pt x="842114" y="630201"/>
                      </a:cubicBezTo>
                      <a:cubicBezTo>
                        <a:pt x="844374" y="634255"/>
                        <a:pt x="838723" y="632228"/>
                        <a:pt x="836463" y="632228"/>
                      </a:cubicBezTo>
                      <a:cubicBezTo>
                        <a:pt x="835333" y="628174"/>
                        <a:pt x="836463" y="622094"/>
                        <a:pt x="834203" y="620068"/>
                      </a:cubicBezTo>
                      <a:cubicBezTo>
                        <a:pt x="839853" y="617028"/>
                        <a:pt x="857936" y="616014"/>
                        <a:pt x="845504" y="609934"/>
                      </a:cubicBezTo>
                      <a:cubicBezTo>
                        <a:pt x="845504" y="609934"/>
                        <a:pt x="845504" y="600814"/>
                        <a:pt x="845504" y="599800"/>
                      </a:cubicBezTo>
                      <a:cubicBezTo>
                        <a:pt x="844374" y="599800"/>
                        <a:pt x="830812" y="599800"/>
                        <a:pt x="831942" y="599800"/>
                      </a:cubicBezTo>
                      <a:lnTo>
                        <a:pt x="829683" y="594734"/>
                      </a:lnTo>
                      <a:cubicBezTo>
                        <a:pt x="826292" y="593720"/>
                        <a:pt x="821772" y="595747"/>
                        <a:pt x="818381" y="594734"/>
                      </a:cubicBezTo>
                      <a:cubicBezTo>
                        <a:pt x="816121" y="598787"/>
                        <a:pt x="820641" y="602841"/>
                        <a:pt x="818381" y="606894"/>
                      </a:cubicBezTo>
                      <a:lnTo>
                        <a:pt x="816121" y="606894"/>
                      </a:lnTo>
                      <a:cubicBezTo>
                        <a:pt x="813861" y="607907"/>
                        <a:pt x="812731" y="608921"/>
                        <a:pt x="808210" y="608921"/>
                      </a:cubicBezTo>
                      <a:cubicBezTo>
                        <a:pt x="808210" y="609934"/>
                        <a:pt x="809340" y="616014"/>
                        <a:pt x="808210" y="616014"/>
                      </a:cubicBezTo>
                      <a:cubicBezTo>
                        <a:pt x="809340" y="618041"/>
                        <a:pt x="812731" y="620068"/>
                        <a:pt x="813861" y="623108"/>
                      </a:cubicBezTo>
                      <a:cubicBezTo>
                        <a:pt x="810470" y="625134"/>
                        <a:pt x="805950" y="626148"/>
                        <a:pt x="802559" y="628174"/>
                      </a:cubicBezTo>
                      <a:cubicBezTo>
                        <a:pt x="794648" y="633241"/>
                        <a:pt x="802559" y="635268"/>
                        <a:pt x="796909" y="642361"/>
                      </a:cubicBezTo>
                      <a:cubicBezTo>
                        <a:pt x="796909" y="642361"/>
                        <a:pt x="781087" y="651482"/>
                        <a:pt x="781087" y="652495"/>
                      </a:cubicBezTo>
                      <a:cubicBezTo>
                        <a:pt x="779957" y="652495"/>
                        <a:pt x="781087" y="659589"/>
                        <a:pt x="781087" y="659589"/>
                      </a:cubicBezTo>
                      <a:cubicBezTo>
                        <a:pt x="775436" y="661615"/>
                        <a:pt x="778827" y="642361"/>
                        <a:pt x="778827" y="642361"/>
                      </a:cubicBezTo>
                      <a:lnTo>
                        <a:pt x="779957" y="639321"/>
                      </a:lnTo>
                      <a:cubicBezTo>
                        <a:pt x="778827" y="656548"/>
                        <a:pt x="784478" y="642361"/>
                        <a:pt x="784478" y="642361"/>
                      </a:cubicBezTo>
                      <a:cubicBezTo>
                        <a:pt x="784478" y="638308"/>
                        <a:pt x="779957" y="636281"/>
                        <a:pt x="782217" y="630201"/>
                      </a:cubicBezTo>
                      <a:cubicBezTo>
                        <a:pt x="782217" y="629188"/>
                        <a:pt x="790128" y="624121"/>
                        <a:pt x="790128" y="623108"/>
                      </a:cubicBezTo>
                      <a:cubicBezTo>
                        <a:pt x="791258" y="617028"/>
                        <a:pt x="786737" y="620068"/>
                        <a:pt x="787868" y="612974"/>
                      </a:cubicBezTo>
                      <a:lnTo>
                        <a:pt x="782217" y="612974"/>
                      </a:lnTo>
                      <a:cubicBezTo>
                        <a:pt x="781087" y="613987"/>
                        <a:pt x="783347" y="619054"/>
                        <a:pt x="782217" y="620068"/>
                      </a:cubicBezTo>
                      <a:lnTo>
                        <a:pt x="776567" y="620068"/>
                      </a:lnTo>
                      <a:cubicBezTo>
                        <a:pt x="775436" y="622094"/>
                        <a:pt x="773177" y="631215"/>
                        <a:pt x="770916" y="632228"/>
                      </a:cubicBezTo>
                      <a:lnTo>
                        <a:pt x="765266" y="632228"/>
                      </a:lnTo>
                      <a:cubicBezTo>
                        <a:pt x="760745" y="637295"/>
                        <a:pt x="760745" y="646415"/>
                        <a:pt x="757355" y="651482"/>
                      </a:cubicBezTo>
                      <a:cubicBezTo>
                        <a:pt x="755094" y="654522"/>
                        <a:pt x="746053" y="655535"/>
                        <a:pt x="743793" y="658575"/>
                      </a:cubicBezTo>
                      <a:cubicBezTo>
                        <a:pt x="740403" y="662629"/>
                        <a:pt x="743793" y="667695"/>
                        <a:pt x="741533" y="672762"/>
                      </a:cubicBezTo>
                      <a:cubicBezTo>
                        <a:pt x="740403" y="674789"/>
                        <a:pt x="735882" y="678842"/>
                        <a:pt x="733622" y="682896"/>
                      </a:cubicBezTo>
                      <a:cubicBezTo>
                        <a:pt x="729102" y="681882"/>
                        <a:pt x="729102" y="681882"/>
                        <a:pt x="725711" y="680869"/>
                      </a:cubicBezTo>
                      <a:cubicBezTo>
                        <a:pt x="726841" y="676816"/>
                        <a:pt x="731362" y="655535"/>
                        <a:pt x="733622" y="651482"/>
                      </a:cubicBezTo>
                      <a:cubicBezTo>
                        <a:pt x="735882" y="648442"/>
                        <a:pt x="747183" y="648442"/>
                        <a:pt x="749444" y="644388"/>
                      </a:cubicBezTo>
                      <a:cubicBezTo>
                        <a:pt x="751704" y="640335"/>
                        <a:pt x="751704" y="631215"/>
                        <a:pt x="751704" y="630201"/>
                      </a:cubicBezTo>
                      <a:cubicBezTo>
                        <a:pt x="746053" y="629188"/>
                        <a:pt x="747183" y="629188"/>
                        <a:pt x="738142" y="630201"/>
                      </a:cubicBezTo>
                      <a:cubicBezTo>
                        <a:pt x="738142" y="630201"/>
                        <a:pt x="738142" y="623108"/>
                        <a:pt x="738142" y="623108"/>
                      </a:cubicBezTo>
                      <a:cubicBezTo>
                        <a:pt x="730232" y="622094"/>
                        <a:pt x="735882" y="627161"/>
                        <a:pt x="732492" y="628174"/>
                      </a:cubicBezTo>
                      <a:cubicBezTo>
                        <a:pt x="725711" y="630201"/>
                        <a:pt x="714410" y="618041"/>
                        <a:pt x="711020" y="616014"/>
                      </a:cubicBezTo>
                      <a:cubicBezTo>
                        <a:pt x="711020" y="616014"/>
                        <a:pt x="706499" y="618041"/>
                        <a:pt x="705369" y="618041"/>
                      </a:cubicBezTo>
                      <a:cubicBezTo>
                        <a:pt x="706499" y="626148"/>
                        <a:pt x="707629" y="630201"/>
                        <a:pt x="707629" y="637295"/>
                      </a:cubicBezTo>
                      <a:lnTo>
                        <a:pt x="705369" y="637295"/>
                      </a:lnTo>
                      <a:cubicBezTo>
                        <a:pt x="705369" y="637295"/>
                        <a:pt x="703109" y="642361"/>
                        <a:pt x="707629" y="642361"/>
                      </a:cubicBezTo>
                      <a:cubicBezTo>
                        <a:pt x="709889" y="642361"/>
                        <a:pt x="698588" y="644388"/>
                        <a:pt x="696328" y="644388"/>
                      </a:cubicBezTo>
                      <a:cubicBezTo>
                        <a:pt x="695198" y="641348"/>
                        <a:pt x="694068" y="631215"/>
                        <a:pt x="694068" y="630201"/>
                      </a:cubicBezTo>
                      <a:cubicBezTo>
                        <a:pt x="691808" y="630201"/>
                        <a:pt x="685027" y="631215"/>
                        <a:pt x="682767" y="630201"/>
                      </a:cubicBezTo>
                      <a:cubicBezTo>
                        <a:pt x="680507" y="636281"/>
                        <a:pt x="686157" y="633241"/>
                        <a:pt x="685027" y="637295"/>
                      </a:cubicBezTo>
                      <a:cubicBezTo>
                        <a:pt x="683897" y="640335"/>
                        <a:pt x="666945" y="655535"/>
                        <a:pt x="663555" y="656548"/>
                      </a:cubicBezTo>
                      <a:cubicBezTo>
                        <a:pt x="661294" y="657562"/>
                        <a:pt x="656774" y="655535"/>
                        <a:pt x="655644" y="656548"/>
                      </a:cubicBezTo>
                      <a:cubicBezTo>
                        <a:pt x="653384" y="657562"/>
                        <a:pt x="651123" y="666682"/>
                        <a:pt x="649993" y="668709"/>
                      </a:cubicBezTo>
                      <a:cubicBezTo>
                        <a:pt x="642082" y="665669"/>
                        <a:pt x="628521" y="663642"/>
                        <a:pt x="625131" y="656548"/>
                      </a:cubicBezTo>
                      <a:cubicBezTo>
                        <a:pt x="624001" y="655535"/>
                        <a:pt x="626261" y="649455"/>
                        <a:pt x="625131" y="649455"/>
                      </a:cubicBezTo>
                      <a:cubicBezTo>
                        <a:pt x="619480" y="646415"/>
                        <a:pt x="613829" y="652495"/>
                        <a:pt x="611569" y="651482"/>
                      </a:cubicBezTo>
                      <a:cubicBezTo>
                        <a:pt x="607049" y="650468"/>
                        <a:pt x="608179" y="641348"/>
                        <a:pt x="598008" y="641348"/>
                      </a:cubicBezTo>
                      <a:cubicBezTo>
                        <a:pt x="595748" y="641348"/>
                        <a:pt x="595748" y="646415"/>
                        <a:pt x="595748" y="648442"/>
                      </a:cubicBezTo>
                      <a:cubicBezTo>
                        <a:pt x="592357" y="648442"/>
                        <a:pt x="585576" y="647428"/>
                        <a:pt x="582186" y="648442"/>
                      </a:cubicBezTo>
                      <a:cubicBezTo>
                        <a:pt x="582186" y="648442"/>
                        <a:pt x="582186" y="655535"/>
                        <a:pt x="582186" y="655535"/>
                      </a:cubicBezTo>
                      <a:cubicBezTo>
                        <a:pt x="585576" y="655535"/>
                        <a:pt x="586707" y="660602"/>
                        <a:pt x="587837" y="660602"/>
                      </a:cubicBezTo>
                      <a:cubicBezTo>
                        <a:pt x="595748" y="661615"/>
                        <a:pt x="598008" y="652495"/>
                        <a:pt x="603659" y="662629"/>
                      </a:cubicBezTo>
                      <a:cubicBezTo>
                        <a:pt x="604789" y="664655"/>
                        <a:pt x="605918" y="673775"/>
                        <a:pt x="605918" y="674789"/>
                      </a:cubicBezTo>
                      <a:cubicBezTo>
                        <a:pt x="611569" y="675802"/>
                        <a:pt x="609309" y="680869"/>
                        <a:pt x="603659" y="679856"/>
                      </a:cubicBezTo>
                      <a:cubicBezTo>
                        <a:pt x="599138" y="678842"/>
                        <a:pt x="593487" y="669722"/>
                        <a:pt x="590097" y="667695"/>
                      </a:cubicBezTo>
                      <a:cubicBezTo>
                        <a:pt x="587837" y="665669"/>
                        <a:pt x="582186" y="666682"/>
                        <a:pt x="578796" y="665669"/>
                      </a:cubicBezTo>
                      <a:cubicBezTo>
                        <a:pt x="579926" y="666682"/>
                        <a:pt x="576536" y="669722"/>
                        <a:pt x="576536" y="670735"/>
                      </a:cubicBezTo>
                      <a:cubicBezTo>
                        <a:pt x="578796" y="672762"/>
                        <a:pt x="581056" y="671749"/>
                        <a:pt x="582186" y="675802"/>
                      </a:cubicBezTo>
                      <a:cubicBezTo>
                        <a:pt x="585576" y="672762"/>
                        <a:pt x="584446" y="677829"/>
                        <a:pt x="584446" y="677829"/>
                      </a:cubicBezTo>
                      <a:cubicBezTo>
                        <a:pt x="585576" y="675802"/>
                        <a:pt x="583316" y="685936"/>
                        <a:pt x="578796" y="687962"/>
                      </a:cubicBezTo>
                      <a:cubicBezTo>
                        <a:pt x="575406" y="688976"/>
                        <a:pt x="573145" y="685936"/>
                        <a:pt x="570885" y="687962"/>
                      </a:cubicBezTo>
                      <a:cubicBezTo>
                        <a:pt x="570885" y="686949"/>
                        <a:pt x="569755" y="667695"/>
                        <a:pt x="568625" y="668709"/>
                      </a:cubicBezTo>
                      <a:cubicBezTo>
                        <a:pt x="568625" y="668709"/>
                        <a:pt x="562974" y="672762"/>
                        <a:pt x="566364" y="673775"/>
                      </a:cubicBezTo>
                      <a:lnTo>
                        <a:pt x="564104" y="673775"/>
                      </a:lnTo>
                      <a:cubicBezTo>
                        <a:pt x="562974" y="675802"/>
                        <a:pt x="565234" y="680869"/>
                        <a:pt x="564104" y="683909"/>
                      </a:cubicBezTo>
                      <a:cubicBezTo>
                        <a:pt x="564104" y="684922"/>
                        <a:pt x="557323" y="687962"/>
                        <a:pt x="556194" y="688976"/>
                      </a:cubicBezTo>
                      <a:lnTo>
                        <a:pt x="556194" y="694043"/>
                      </a:lnTo>
                      <a:cubicBezTo>
                        <a:pt x="551673" y="696069"/>
                        <a:pt x="556194" y="677829"/>
                        <a:pt x="556194" y="674789"/>
                      </a:cubicBezTo>
                      <a:lnTo>
                        <a:pt x="548283" y="672762"/>
                      </a:lnTo>
                      <a:cubicBezTo>
                        <a:pt x="541502" y="683909"/>
                        <a:pt x="535851" y="691003"/>
                        <a:pt x="526810" y="699109"/>
                      </a:cubicBezTo>
                      <a:cubicBezTo>
                        <a:pt x="525680" y="698096"/>
                        <a:pt x="523420" y="696069"/>
                        <a:pt x="521159" y="697083"/>
                      </a:cubicBezTo>
                      <a:cubicBezTo>
                        <a:pt x="521159" y="693029"/>
                        <a:pt x="522290" y="686949"/>
                        <a:pt x="521159" y="682896"/>
                      </a:cubicBezTo>
                      <a:cubicBezTo>
                        <a:pt x="518900" y="683909"/>
                        <a:pt x="515509" y="686949"/>
                        <a:pt x="509858" y="684922"/>
                      </a:cubicBezTo>
                      <a:cubicBezTo>
                        <a:pt x="508728" y="691003"/>
                        <a:pt x="503078" y="693029"/>
                        <a:pt x="504208" y="702149"/>
                      </a:cubicBezTo>
                      <a:cubicBezTo>
                        <a:pt x="504208" y="704176"/>
                        <a:pt x="509858" y="703163"/>
                        <a:pt x="512119" y="704176"/>
                      </a:cubicBezTo>
                      <a:cubicBezTo>
                        <a:pt x="512119" y="709243"/>
                        <a:pt x="514379" y="723430"/>
                        <a:pt x="509858" y="723430"/>
                      </a:cubicBezTo>
                      <a:cubicBezTo>
                        <a:pt x="505338" y="716337"/>
                        <a:pt x="507598" y="713296"/>
                        <a:pt x="501948" y="709243"/>
                      </a:cubicBezTo>
                      <a:cubicBezTo>
                        <a:pt x="489516" y="701136"/>
                        <a:pt x="492906" y="711270"/>
                        <a:pt x="499688" y="716337"/>
                      </a:cubicBezTo>
                      <a:cubicBezTo>
                        <a:pt x="505338" y="714310"/>
                        <a:pt x="497427" y="723430"/>
                        <a:pt x="497427" y="723430"/>
                      </a:cubicBezTo>
                      <a:cubicBezTo>
                        <a:pt x="497427" y="723430"/>
                        <a:pt x="489516" y="724443"/>
                        <a:pt x="495167" y="721403"/>
                      </a:cubicBezTo>
                      <a:cubicBezTo>
                        <a:pt x="494037" y="720390"/>
                        <a:pt x="488386" y="721403"/>
                        <a:pt x="487256" y="721403"/>
                      </a:cubicBezTo>
                      <a:cubicBezTo>
                        <a:pt x="483866" y="716337"/>
                        <a:pt x="487256" y="717350"/>
                        <a:pt x="481605" y="714310"/>
                      </a:cubicBezTo>
                      <a:cubicBezTo>
                        <a:pt x="480475" y="717350"/>
                        <a:pt x="481605" y="729510"/>
                        <a:pt x="479345" y="733564"/>
                      </a:cubicBezTo>
                      <a:lnTo>
                        <a:pt x="468044" y="735590"/>
                      </a:lnTo>
                      <a:cubicBezTo>
                        <a:pt x="465784" y="741670"/>
                        <a:pt x="468044" y="746737"/>
                        <a:pt x="465784" y="752817"/>
                      </a:cubicBezTo>
                      <a:lnTo>
                        <a:pt x="460133" y="754844"/>
                      </a:lnTo>
                      <a:cubicBezTo>
                        <a:pt x="463524" y="756871"/>
                        <a:pt x="462394" y="770044"/>
                        <a:pt x="460133" y="772071"/>
                      </a:cubicBezTo>
                      <a:cubicBezTo>
                        <a:pt x="459003" y="773084"/>
                        <a:pt x="453352" y="771058"/>
                        <a:pt x="452222" y="772071"/>
                      </a:cubicBezTo>
                      <a:lnTo>
                        <a:pt x="449962" y="777138"/>
                      </a:lnTo>
                      <a:cubicBezTo>
                        <a:pt x="445442" y="780178"/>
                        <a:pt x="437531" y="777138"/>
                        <a:pt x="430750" y="779165"/>
                      </a:cubicBezTo>
                      <a:cubicBezTo>
                        <a:pt x="429620" y="780178"/>
                        <a:pt x="426230" y="785245"/>
                        <a:pt x="422840" y="786258"/>
                      </a:cubicBezTo>
                      <a:cubicBezTo>
                        <a:pt x="422840" y="787271"/>
                        <a:pt x="423969" y="792338"/>
                        <a:pt x="422840" y="793352"/>
                      </a:cubicBezTo>
                      <a:cubicBezTo>
                        <a:pt x="429620" y="792338"/>
                        <a:pt x="437531" y="795378"/>
                        <a:pt x="444311" y="793352"/>
                      </a:cubicBezTo>
                      <a:cubicBezTo>
                        <a:pt x="448832" y="792338"/>
                        <a:pt x="447702" y="784231"/>
                        <a:pt x="457873" y="786258"/>
                      </a:cubicBezTo>
                      <a:cubicBezTo>
                        <a:pt x="462394" y="787271"/>
                        <a:pt x="457873" y="793352"/>
                        <a:pt x="457873" y="793352"/>
                      </a:cubicBezTo>
                      <a:cubicBezTo>
                        <a:pt x="433010" y="797405"/>
                        <a:pt x="434141" y="794365"/>
                        <a:pt x="436400" y="819699"/>
                      </a:cubicBezTo>
                      <a:cubicBezTo>
                        <a:pt x="425099" y="802472"/>
                        <a:pt x="425099" y="804499"/>
                        <a:pt x="401367" y="805512"/>
                      </a:cubicBezTo>
                      <a:lnTo>
                        <a:pt x="401367" y="810579"/>
                      </a:lnTo>
                      <a:lnTo>
                        <a:pt x="407018" y="810579"/>
                      </a:lnTo>
                      <a:cubicBezTo>
                        <a:pt x="405888" y="810579"/>
                        <a:pt x="411538" y="809565"/>
                        <a:pt x="414929" y="810579"/>
                      </a:cubicBezTo>
                      <a:lnTo>
                        <a:pt x="414929" y="815645"/>
                      </a:lnTo>
                      <a:cubicBezTo>
                        <a:pt x="402497" y="814632"/>
                        <a:pt x="411538" y="820712"/>
                        <a:pt x="407018" y="822739"/>
                      </a:cubicBezTo>
                      <a:cubicBezTo>
                        <a:pt x="412668" y="821726"/>
                        <a:pt x="416058" y="819699"/>
                        <a:pt x="420579" y="820712"/>
                      </a:cubicBezTo>
                      <a:cubicBezTo>
                        <a:pt x="419449" y="825779"/>
                        <a:pt x="409278" y="839966"/>
                        <a:pt x="422840" y="834899"/>
                      </a:cubicBezTo>
                      <a:cubicBezTo>
                        <a:pt x="422840" y="835913"/>
                        <a:pt x="421709" y="841993"/>
                        <a:pt x="422840" y="841993"/>
                      </a:cubicBezTo>
                      <a:cubicBezTo>
                        <a:pt x="414929" y="841993"/>
                        <a:pt x="405888" y="841993"/>
                        <a:pt x="397977" y="841993"/>
                      </a:cubicBezTo>
                      <a:cubicBezTo>
                        <a:pt x="395716" y="852126"/>
                        <a:pt x="390066" y="854153"/>
                        <a:pt x="400237" y="859220"/>
                      </a:cubicBezTo>
                      <a:cubicBezTo>
                        <a:pt x="399107" y="860233"/>
                        <a:pt x="396846" y="862260"/>
                        <a:pt x="397977" y="864287"/>
                      </a:cubicBezTo>
                      <a:cubicBezTo>
                        <a:pt x="395716" y="865300"/>
                        <a:pt x="390066" y="863273"/>
                        <a:pt x="386676" y="864287"/>
                      </a:cubicBezTo>
                      <a:cubicBezTo>
                        <a:pt x="382155" y="866313"/>
                        <a:pt x="383285" y="874420"/>
                        <a:pt x="378765" y="876447"/>
                      </a:cubicBezTo>
                      <a:cubicBezTo>
                        <a:pt x="373114" y="878474"/>
                        <a:pt x="366334" y="872393"/>
                        <a:pt x="357292" y="876447"/>
                      </a:cubicBezTo>
                      <a:cubicBezTo>
                        <a:pt x="353902" y="877460"/>
                        <a:pt x="359552" y="886580"/>
                        <a:pt x="359552" y="886580"/>
                      </a:cubicBezTo>
                      <a:cubicBezTo>
                        <a:pt x="349382" y="889621"/>
                        <a:pt x="341471" y="893674"/>
                        <a:pt x="332430" y="896714"/>
                      </a:cubicBezTo>
                      <a:cubicBezTo>
                        <a:pt x="333560" y="897727"/>
                        <a:pt x="332430" y="902794"/>
                        <a:pt x="332430" y="903808"/>
                      </a:cubicBezTo>
                      <a:cubicBezTo>
                        <a:pt x="344861" y="903808"/>
                        <a:pt x="340340" y="911914"/>
                        <a:pt x="332430" y="908874"/>
                      </a:cubicBezTo>
                      <a:cubicBezTo>
                        <a:pt x="335820" y="919008"/>
                        <a:pt x="334690" y="916981"/>
                        <a:pt x="338081" y="926101"/>
                      </a:cubicBezTo>
                      <a:cubicBezTo>
                        <a:pt x="335820" y="927115"/>
                        <a:pt x="316608" y="940288"/>
                        <a:pt x="316608" y="940288"/>
                      </a:cubicBezTo>
                      <a:cubicBezTo>
                        <a:pt x="313218" y="941302"/>
                        <a:pt x="308697" y="939275"/>
                        <a:pt x="305307" y="940288"/>
                      </a:cubicBezTo>
                      <a:cubicBezTo>
                        <a:pt x="305307" y="940288"/>
                        <a:pt x="305307" y="947382"/>
                        <a:pt x="305307" y="947382"/>
                      </a:cubicBezTo>
                      <a:cubicBezTo>
                        <a:pt x="300786" y="949409"/>
                        <a:pt x="294006" y="946368"/>
                        <a:pt x="289485" y="947382"/>
                      </a:cubicBezTo>
                      <a:cubicBezTo>
                        <a:pt x="287225" y="948395"/>
                        <a:pt x="283834" y="953462"/>
                        <a:pt x="281575" y="954475"/>
                      </a:cubicBezTo>
                      <a:cubicBezTo>
                        <a:pt x="283834" y="959542"/>
                        <a:pt x="295135" y="973729"/>
                        <a:pt x="283834" y="976769"/>
                      </a:cubicBezTo>
                      <a:cubicBezTo>
                        <a:pt x="277054" y="977783"/>
                        <a:pt x="269143" y="970689"/>
                        <a:pt x="262362" y="971702"/>
                      </a:cubicBezTo>
                      <a:cubicBezTo>
                        <a:pt x="252191" y="972716"/>
                        <a:pt x="260102" y="983863"/>
                        <a:pt x="260102" y="983863"/>
                      </a:cubicBezTo>
                      <a:cubicBezTo>
                        <a:pt x="254451" y="985889"/>
                        <a:pt x="252191" y="983863"/>
                        <a:pt x="246540" y="985889"/>
                      </a:cubicBezTo>
                      <a:cubicBezTo>
                        <a:pt x="246540" y="986903"/>
                        <a:pt x="246540" y="992983"/>
                        <a:pt x="246540" y="992983"/>
                      </a:cubicBezTo>
                      <a:cubicBezTo>
                        <a:pt x="240890" y="995010"/>
                        <a:pt x="240890" y="986903"/>
                        <a:pt x="235239" y="990956"/>
                      </a:cubicBezTo>
                      <a:cubicBezTo>
                        <a:pt x="230719" y="993996"/>
                        <a:pt x="235239" y="999063"/>
                        <a:pt x="232979" y="1003116"/>
                      </a:cubicBezTo>
                      <a:cubicBezTo>
                        <a:pt x="232979" y="1003116"/>
                        <a:pt x="218287" y="1011223"/>
                        <a:pt x="217158" y="1013250"/>
                      </a:cubicBezTo>
                      <a:cubicBezTo>
                        <a:pt x="213767" y="1017303"/>
                        <a:pt x="213767" y="1024397"/>
                        <a:pt x="209247" y="1027437"/>
                      </a:cubicBezTo>
                      <a:lnTo>
                        <a:pt x="206986" y="1029464"/>
                      </a:lnTo>
                      <a:cubicBezTo>
                        <a:pt x="203596" y="1030477"/>
                        <a:pt x="199075" y="1028450"/>
                        <a:pt x="195685" y="1029464"/>
                      </a:cubicBezTo>
                      <a:cubicBezTo>
                        <a:pt x="197945" y="1036557"/>
                        <a:pt x="199075" y="1036557"/>
                        <a:pt x="201336" y="1043651"/>
                      </a:cubicBezTo>
                      <a:cubicBezTo>
                        <a:pt x="219418" y="1035544"/>
                        <a:pt x="232979" y="1029464"/>
                        <a:pt x="247671" y="1019330"/>
                      </a:cubicBezTo>
                      <a:cubicBezTo>
                        <a:pt x="245411" y="1023384"/>
                        <a:pt x="244280" y="1025410"/>
                        <a:pt x="242020" y="1029464"/>
                      </a:cubicBezTo>
                      <a:cubicBezTo>
                        <a:pt x="236370" y="1036557"/>
                        <a:pt x="223938" y="1039597"/>
                        <a:pt x="220548" y="1043651"/>
                      </a:cubicBezTo>
                      <a:cubicBezTo>
                        <a:pt x="217158" y="1047704"/>
                        <a:pt x="220548" y="1051758"/>
                        <a:pt x="218287" y="1055811"/>
                      </a:cubicBezTo>
                      <a:cubicBezTo>
                        <a:pt x="208117" y="1054798"/>
                        <a:pt x="202466" y="1054798"/>
                        <a:pt x="191165" y="1053784"/>
                      </a:cubicBezTo>
                      <a:cubicBezTo>
                        <a:pt x="191165" y="1049731"/>
                        <a:pt x="192295" y="1044664"/>
                        <a:pt x="191165" y="1041624"/>
                      </a:cubicBezTo>
                      <a:cubicBezTo>
                        <a:pt x="191165" y="1040611"/>
                        <a:pt x="186644" y="1039597"/>
                        <a:pt x="185514" y="1036557"/>
                      </a:cubicBezTo>
                      <a:cubicBezTo>
                        <a:pt x="170822" y="1046691"/>
                        <a:pt x="176473" y="1047704"/>
                        <a:pt x="156131" y="1041624"/>
                      </a:cubicBezTo>
                      <a:lnTo>
                        <a:pt x="156131" y="1055811"/>
                      </a:lnTo>
                      <a:cubicBezTo>
                        <a:pt x="161781" y="1053784"/>
                        <a:pt x="157261" y="1062905"/>
                        <a:pt x="156131" y="1062905"/>
                      </a:cubicBezTo>
                      <a:cubicBezTo>
                        <a:pt x="152741" y="1063918"/>
                        <a:pt x="145960" y="1060878"/>
                        <a:pt x="142569" y="1062905"/>
                      </a:cubicBezTo>
                      <a:cubicBezTo>
                        <a:pt x="135789" y="1066958"/>
                        <a:pt x="148220" y="1078105"/>
                        <a:pt x="136919" y="1073038"/>
                      </a:cubicBezTo>
                      <a:cubicBezTo>
                        <a:pt x="135789" y="1072025"/>
                        <a:pt x="135789" y="1072025"/>
                        <a:pt x="131268" y="1071011"/>
                      </a:cubicBezTo>
                      <a:cubicBezTo>
                        <a:pt x="131268" y="1072025"/>
                        <a:pt x="131268" y="1083172"/>
                        <a:pt x="131268" y="1083172"/>
                      </a:cubicBezTo>
                      <a:cubicBezTo>
                        <a:pt x="126748" y="1084185"/>
                        <a:pt x="126748" y="1079118"/>
                        <a:pt x="125618" y="1078105"/>
                      </a:cubicBezTo>
                      <a:cubicBezTo>
                        <a:pt x="121097" y="1077092"/>
                        <a:pt x="98495" y="1078105"/>
                        <a:pt x="92844" y="1078105"/>
                      </a:cubicBezTo>
                      <a:cubicBezTo>
                        <a:pt x="93974" y="1079118"/>
                        <a:pt x="93974" y="1086212"/>
                        <a:pt x="95105" y="1088239"/>
                      </a:cubicBezTo>
                      <a:cubicBezTo>
                        <a:pt x="96235" y="1088239"/>
                        <a:pt x="101885" y="1088239"/>
                        <a:pt x="103015" y="1088239"/>
                      </a:cubicBezTo>
                      <a:cubicBezTo>
                        <a:pt x="101885" y="1092292"/>
                        <a:pt x="106406" y="1090265"/>
                        <a:pt x="105275" y="1095332"/>
                      </a:cubicBezTo>
                      <a:cubicBezTo>
                        <a:pt x="105275" y="1097359"/>
                        <a:pt x="93974" y="1102425"/>
                        <a:pt x="93974" y="1102425"/>
                      </a:cubicBezTo>
                      <a:cubicBezTo>
                        <a:pt x="92844" y="1105466"/>
                        <a:pt x="96235" y="1107492"/>
                        <a:pt x="93974" y="1109519"/>
                      </a:cubicBezTo>
                      <a:cubicBezTo>
                        <a:pt x="90584" y="1108506"/>
                        <a:pt x="89454" y="1105466"/>
                        <a:pt x="88324" y="1104452"/>
                      </a:cubicBezTo>
                      <a:cubicBezTo>
                        <a:pt x="82673" y="1102425"/>
                        <a:pt x="73632" y="1104452"/>
                        <a:pt x="66852" y="1104452"/>
                      </a:cubicBezTo>
                      <a:cubicBezTo>
                        <a:pt x="70242" y="1105466"/>
                        <a:pt x="64591" y="1116612"/>
                        <a:pt x="64591" y="1116612"/>
                      </a:cubicBezTo>
                      <a:cubicBezTo>
                        <a:pt x="75893" y="1117626"/>
                        <a:pt x="106406" y="1116612"/>
                        <a:pt x="75893" y="1126746"/>
                      </a:cubicBezTo>
                      <a:cubicBezTo>
                        <a:pt x="70242" y="1128773"/>
                        <a:pt x="74762" y="1126746"/>
                        <a:pt x="73632" y="1131813"/>
                      </a:cubicBezTo>
                      <a:cubicBezTo>
                        <a:pt x="71372" y="1129786"/>
                        <a:pt x="67982" y="1123706"/>
                        <a:pt x="62331" y="1124719"/>
                      </a:cubicBezTo>
                      <a:cubicBezTo>
                        <a:pt x="62331" y="1124719"/>
                        <a:pt x="62331" y="1133840"/>
                        <a:pt x="62331" y="1134853"/>
                      </a:cubicBezTo>
                      <a:cubicBezTo>
                        <a:pt x="46509" y="1130799"/>
                        <a:pt x="47640" y="1133840"/>
                        <a:pt x="35208" y="1132826"/>
                      </a:cubicBezTo>
                      <a:cubicBezTo>
                        <a:pt x="35208" y="1132826"/>
                        <a:pt x="32948" y="1137893"/>
                        <a:pt x="32948" y="1137893"/>
                      </a:cubicBezTo>
                      <a:cubicBezTo>
                        <a:pt x="28427" y="1137893"/>
                        <a:pt x="29557" y="1132826"/>
                        <a:pt x="25037" y="1132826"/>
                      </a:cubicBezTo>
                      <a:cubicBezTo>
                        <a:pt x="26167" y="1133840"/>
                        <a:pt x="25037" y="1142960"/>
                        <a:pt x="25037" y="1144986"/>
                      </a:cubicBezTo>
                      <a:cubicBezTo>
                        <a:pt x="37468" y="1146000"/>
                        <a:pt x="43119" y="1146000"/>
                        <a:pt x="54420" y="1147013"/>
                      </a:cubicBezTo>
                      <a:cubicBezTo>
                        <a:pt x="48770" y="1148027"/>
                        <a:pt x="60071" y="1149040"/>
                        <a:pt x="60071" y="1149040"/>
                      </a:cubicBezTo>
                      <a:cubicBezTo>
                        <a:pt x="60071" y="1150053"/>
                        <a:pt x="56680" y="1153093"/>
                        <a:pt x="57810" y="1154107"/>
                      </a:cubicBezTo>
                      <a:cubicBezTo>
                        <a:pt x="39729" y="1152080"/>
                        <a:pt x="27298" y="1153093"/>
                        <a:pt x="11476" y="1154107"/>
                      </a:cubicBezTo>
                      <a:cubicBezTo>
                        <a:pt x="14866" y="1167280"/>
                        <a:pt x="15996" y="1169307"/>
                        <a:pt x="13736" y="1180454"/>
                      </a:cubicBezTo>
                      <a:cubicBezTo>
                        <a:pt x="17126" y="1179441"/>
                        <a:pt x="18256" y="1181467"/>
                        <a:pt x="21647" y="1180454"/>
                      </a:cubicBezTo>
                      <a:cubicBezTo>
                        <a:pt x="28427" y="1178427"/>
                        <a:pt x="25037" y="1171334"/>
                        <a:pt x="35208" y="1175387"/>
                      </a:cubicBezTo>
                      <a:cubicBezTo>
                        <a:pt x="37468" y="1176401"/>
                        <a:pt x="40859" y="1181467"/>
                        <a:pt x="43119" y="1182481"/>
                      </a:cubicBezTo>
                      <a:cubicBezTo>
                        <a:pt x="43119" y="1181467"/>
                        <a:pt x="49900" y="1182481"/>
                        <a:pt x="51030" y="1182481"/>
                      </a:cubicBezTo>
                      <a:cubicBezTo>
                        <a:pt x="53290" y="1179441"/>
                        <a:pt x="52160" y="1178427"/>
                        <a:pt x="53290" y="1172347"/>
                      </a:cubicBezTo>
                      <a:cubicBezTo>
                        <a:pt x="55551" y="1173360"/>
                        <a:pt x="56680" y="1170320"/>
                        <a:pt x="58941" y="1170320"/>
                      </a:cubicBezTo>
                      <a:cubicBezTo>
                        <a:pt x="60071" y="1171334"/>
                        <a:pt x="63461" y="1177414"/>
                        <a:pt x="64591" y="1177414"/>
                      </a:cubicBezTo>
                      <a:cubicBezTo>
                        <a:pt x="66852" y="1178427"/>
                        <a:pt x="70242" y="1173360"/>
                        <a:pt x="75893" y="1175387"/>
                      </a:cubicBezTo>
                      <a:cubicBezTo>
                        <a:pt x="78153" y="1176401"/>
                        <a:pt x="77022" y="1181467"/>
                        <a:pt x="81543" y="1182481"/>
                      </a:cubicBezTo>
                      <a:cubicBezTo>
                        <a:pt x="86063" y="1178427"/>
                        <a:pt x="82673" y="1177414"/>
                        <a:pt x="89454" y="1175387"/>
                      </a:cubicBezTo>
                      <a:cubicBezTo>
                        <a:pt x="89454" y="1175387"/>
                        <a:pt x="89454" y="1182481"/>
                        <a:pt x="89454" y="1182481"/>
                      </a:cubicBezTo>
                      <a:cubicBezTo>
                        <a:pt x="83804" y="1184507"/>
                        <a:pt x="81543" y="1182481"/>
                        <a:pt x="75893" y="1184507"/>
                      </a:cubicBezTo>
                      <a:lnTo>
                        <a:pt x="73632" y="1189574"/>
                      </a:lnTo>
                      <a:cubicBezTo>
                        <a:pt x="66852" y="1190587"/>
                        <a:pt x="67982" y="1185521"/>
                        <a:pt x="65721" y="1184507"/>
                      </a:cubicBezTo>
                      <a:cubicBezTo>
                        <a:pt x="65721" y="1184507"/>
                        <a:pt x="28427" y="1183494"/>
                        <a:pt x="25037" y="1184507"/>
                      </a:cubicBezTo>
                      <a:lnTo>
                        <a:pt x="19387" y="1189574"/>
                      </a:lnTo>
                      <a:cubicBezTo>
                        <a:pt x="12606" y="1190587"/>
                        <a:pt x="14866" y="1186534"/>
                        <a:pt x="11476" y="1187547"/>
                      </a:cubicBezTo>
                      <a:lnTo>
                        <a:pt x="11476" y="1192614"/>
                      </a:lnTo>
                      <a:cubicBezTo>
                        <a:pt x="18256" y="1193628"/>
                        <a:pt x="25037" y="1195654"/>
                        <a:pt x="30688" y="1197681"/>
                      </a:cubicBezTo>
                      <a:cubicBezTo>
                        <a:pt x="27298" y="1198694"/>
                        <a:pt x="35208" y="1202748"/>
                        <a:pt x="28427" y="1199708"/>
                      </a:cubicBezTo>
                      <a:cubicBezTo>
                        <a:pt x="28427" y="1200721"/>
                        <a:pt x="27298" y="1206801"/>
                        <a:pt x="28427" y="1206801"/>
                      </a:cubicBezTo>
                      <a:cubicBezTo>
                        <a:pt x="26167" y="1206801"/>
                        <a:pt x="19387" y="1205788"/>
                        <a:pt x="17126" y="1206801"/>
                      </a:cubicBezTo>
                      <a:cubicBezTo>
                        <a:pt x="14866" y="1208828"/>
                        <a:pt x="19387" y="1212881"/>
                        <a:pt x="19387" y="1213895"/>
                      </a:cubicBezTo>
                      <a:cubicBezTo>
                        <a:pt x="-2086" y="1217948"/>
                        <a:pt x="21647" y="1213895"/>
                        <a:pt x="11476" y="1218961"/>
                      </a:cubicBezTo>
                      <a:cubicBezTo>
                        <a:pt x="15996" y="1218961"/>
                        <a:pt x="21647" y="1219975"/>
                        <a:pt x="27298" y="1220988"/>
                      </a:cubicBezTo>
                      <a:cubicBezTo>
                        <a:pt x="27298" y="1219975"/>
                        <a:pt x="29557" y="1215921"/>
                        <a:pt x="29557" y="1215921"/>
                      </a:cubicBezTo>
                      <a:cubicBezTo>
                        <a:pt x="30688" y="1214908"/>
                        <a:pt x="38599" y="1216935"/>
                        <a:pt x="35208" y="1217948"/>
                      </a:cubicBezTo>
                      <a:cubicBezTo>
                        <a:pt x="38599" y="1216935"/>
                        <a:pt x="39729" y="1224028"/>
                        <a:pt x="29557" y="1223015"/>
                      </a:cubicBezTo>
                      <a:cubicBezTo>
                        <a:pt x="29557" y="1223015"/>
                        <a:pt x="27298" y="1230108"/>
                        <a:pt x="27298" y="1230108"/>
                      </a:cubicBezTo>
                      <a:cubicBezTo>
                        <a:pt x="35208" y="1230108"/>
                        <a:pt x="37468" y="1229095"/>
                        <a:pt x="43119" y="1228082"/>
                      </a:cubicBezTo>
                      <a:cubicBezTo>
                        <a:pt x="44249" y="1232135"/>
                        <a:pt x="41989" y="1236189"/>
                        <a:pt x="45379" y="1238215"/>
                      </a:cubicBezTo>
                      <a:lnTo>
                        <a:pt x="51030" y="1238215"/>
                      </a:lnTo>
                      <a:cubicBezTo>
                        <a:pt x="55551" y="1236189"/>
                        <a:pt x="55551" y="1224028"/>
                        <a:pt x="70242" y="1218961"/>
                      </a:cubicBezTo>
                      <a:cubicBezTo>
                        <a:pt x="74762" y="1216935"/>
                        <a:pt x="81543" y="1216935"/>
                        <a:pt x="83804" y="1216935"/>
                      </a:cubicBezTo>
                      <a:cubicBezTo>
                        <a:pt x="90584" y="1215921"/>
                        <a:pt x="81543" y="1222002"/>
                        <a:pt x="78153" y="1227068"/>
                      </a:cubicBezTo>
                      <a:cubicBezTo>
                        <a:pt x="75893" y="1227068"/>
                        <a:pt x="69112" y="1226055"/>
                        <a:pt x="66852" y="1227068"/>
                      </a:cubicBezTo>
                      <a:cubicBezTo>
                        <a:pt x="62331" y="1230108"/>
                        <a:pt x="66852" y="1234162"/>
                        <a:pt x="64591" y="1239229"/>
                      </a:cubicBezTo>
                      <a:lnTo>
                        <a:pt x="58941" y="1241255"/>
                      </a:lnTo>
                      <a:cubicBezTo>
                        <a:pt x="56680" y="1244295"/>
                        <a:pt x="53290" y="1246322"/>
                        <a:pt x="51030" y="1248349"/>
                      </a:cubicBezTo>
                      <a:cubicBezTo>
                        <a:pt x="52160" y="1251389"/>
                        <a:pt x="55551" y="1255442"/>
                        <a:pt x="53290" y="1258482"/>
                      </a:cubicBezTo>
                      <a:cubicBezTo>
                        <a:pt x="48770" y="1264563"/>
                        <a:pt x="32948" y="1262536"/>
                        <a:pt x="26167" y="1265576"/>
                      </a:cubicBezTo>
                      <a:cubicBezTo>
                        <a:pt x="21647" y="1267603"/>
                        <a:pt x="23907" y="1275710"/>
                        <a:pt x="20517" y="1277736"/>
                      </a:cubicBezTo>
                      <a:cubicBezTo>
                        <a:pt x="25037" y="1278749"/>
                        <a:pt x="29557" y="1277736"/>
                        <a:pt x="34078" y="1279763"/>
                      </a:cubicBezTo>
                      <a:cubicBezTo>
                        <a:pt x="41989" y="1283816"/>
                        <a:pt x="27298" y="1286856"/>
                        <a:pt x="39729" y="1284830"/>
                      </a:cubicBezTo>
                      <a:cubicBezTo>
                        <a:pt x="39729" y="1284830"/>
                        <a:pt x="39729" y="1277736"/>
                        <a:pt x="39729" y="1277736"/>
                      </a:cubicBezTo>
                      <a:cubicBezTo>
                        <a:pt x="46509" y="1278749"/>
                        <a:pt x="46509" y="1276723"/>
                        <a:pt x="55551" y="1277736"/>
                      </a:cubicBezTo>
                      <a:cubicBezTo>
                        <a:pt x="56680" y="1274696"/>
                        <a:pt x="55551" y="1271656"/>
                        <a:pt x="57810" y="1270643"/>
                      </a:cubicBezTo>
                      <a:cubicBezTo>
                        <a:pt x="62331" y="1268616"/>
                        <a:pt x="56680" y="1278749"/>
                        <a:pt x="55551" y="1280776"/>
                      </a:cubicBezTo>
                      <a:cubicBezTo>
                        <a:pt x="62331" y="1284830"/>
                        <a:pt x="52160" y="1307123"/>
                        <a:pt x="49900" y="1310164"/>
                      </a:cubicBezTo>
                      <a:cubicBezTo>
                        <a:pt x="47640" y="1313204"/>
                        <a:pt x="44249" y="1311177"/>
                        <a:pt x="38599" y="1312190"/>
                      </a:cubicBezTo>
                      <a:cubicBezTo>
                        <a:pt x="38599" y="1316244"/>
                        <a:pt x="39729" y="1323337"/>
                        <a:pt x="38599" y="1326377"/>
                      </a:cubicBezTo>
                      <a:cubicBezTo>
                        <a:pt x="45379" y="1332457"/>
                        <a:pt x="58941" y="1349684"/>
                        <a:pt x="77022" y="1343604"/>
                      </a:cubicBezTo>
                      <a:cubicBezTo>
                        <a:pt x="79283" y="1342591"/>
                        <a:pt x="74762" y="1336511"/>
                        <a:pt x="82673" y="1338538"/>
                      </a:cubicBezTo>
                      <a:lnTo>
                        <a:pt x="80413" y="1350698"/>
                      </a:lnTo>
                      <a:cubicBezTo>
                        <a:pt x="88324" y="1350698"/>
                        <a:pt x="100755" y="1352725"/>
                        <a:pt x="107536" y="1350698"/>
                      </a:cubicBezTo>
                      <a:cubicBezTo>
                        <a:pt x="109796" y="1349684"/>
                        <a:pt x="114316" y="1341578"/>
                        <a:pt x="118837" y="1340564"/>
                      </a:cubicBezTo>
                      <a:cubicBezTo>
                        <a:pt x="122227" y="1339551"/>
                        <a:pt x="126748" y="1341578"/>
                        <a:pt x="130138" y="1340564"/>
                      </a:cubicBezTo>
                      <a:cubicBezTo>
                        <a:pt x="132399" y="1339551"/>
                        <a:pt x="138049" y="1332457"/>
                        <a:pt x="141439" y="1330431"/>
                      </a:cubicBezTo>
                      <a:cubicBezTo>
                        <a:pt x="148220" y="1327391"/>
                        <a:pt x="153870" y="1329417"/>
                        <a:pt x="160652" y="1325364"/>
                      </a:cubicBezTo>
                      <a:cubicBezTo>
                        <a:pt x="165172" y="1323337"/>
                        <a:pt x="171953" y="1312190"/>
                        <a:pt x="176473" y="1311177"/>
                      </a:cubicBezTo>
                      <a:cubicBezTo>
                        <a:pt x="180994" y="1309150"/>
                        <a:pt x="187774" y="1312190"/>
                        <a:pt x="192295" y="1311177"/>
                      </a:cubicBezTo>
                      <a:cubicBezTo>
                        <a:pt x="204726" y="1308137"/>
                        <a:pt x="217158" y="1294963"/>
                        <a:pt x="227328" y="1288883"/>
                      </a:cubicBezTo>
                      <a:cubicBezTo>
                        <a:pt x="227328" y="1288883"/>
                        <a:pt x="235239" y="1288883"/>
                        <a:pt x="235239" y="1288883"/>
                      </a:cubicBezTo>
                      <a:cubicBezTo>
                        <a:pt x="227328" y="1301043"/>
                        <a:pt x="227328" y="1305097"/>
                        <a:pt x="227328" y="1309150"/>
                      </a:cubicBezTo>
                      <a:close/>
                      <a:moveTo>
                        <a:pt x="538111" y="14080"/>
                      </a:moveTo>
                      <a:cubicBezTo>
                        <a:pt x="538111" y="15094"/>
                        <a:pt x="535851" y="24214"/>
                        <a:pt x="535851" y="28267"/>
                      </a:cubicBezTo>
                      <a:cubicBezTo>
                        <a:pt x="541502" y="31307"/>
                        <a:pt x="541502" y="27254"/>
                        <a:pt x="543762" y="33334"/>
                      </a:cubicBezTo>
                      <a:cubicBezTo>
                        <a:pt x="520030" y="40427"/>
                        <a:pt x="530201" y="34347"/>
                        <a:pt x="524550" y="55628"/>
                      </a:cubicBezTo>
                      <a:cubicBezTo>
                        <a:pt x="521159" y="53601"/>
                        <a:pt x="514379" y="56641"/>
                        <a:pt x="510989" y="55628"/>
                      </a:cubicBezTo>
                      <a:cubicBezTo>
                        <a:pt x="510989" y="55628"/>
                        <a:pt x="507598" y="46508"/>
                        <a:pt x="505338" y="45494"/>
                      </a:cubicBezTo>
                      <a:cubicBezTo>
                        <a:pt x="491777" y="41441"/>
                        <a:pt x="484996" y="44481"/>
                        <a:pt x="472564" y="40427"/>
                      </a:cubicBezTo>
                      <a:cubicBezTo>
                        <a:pt x="473695" y="45494"/>
                        <a:pt x="470304" y="48534"/>
                        <a:pt x="474825" y="50561"/>
                      </a:cubicBezTo>
                      <a:cubicBezTo>
                        <a:pt x="475955" y="50561"/>
                        <a:pt x="477085" y="55628"/>
                        <a:pt x="477085" y="55628"/>
                      </a:cubicBezTo>
                      <a:cubicBezTo>
                        <a:pt x="483866" y="56641"/>
                        <a:pt x="496297" y="55628"/>
                        <a:pt x="509858" y="57655"/>
                      </a:cubicBezTo>
                      <a:cubicBezTo>
                        <a:pt x="509858" y="57655"/>
                        <a:pt x="509858" y="64748"/>
                        <a:pt x="509858" y="64748"/>
                      </a:cubicBezTo>
                      <a:cubicBezTo>
                        <a:pt x="505338" y="66775"/>
                        <a:pt x="508728" y="64748"/>
                        <a:pt x="507598" y="69815"/>
                      </a:cubicBezTo>
                      <a:cubicBezTo>
                        <a:pt x="499688" y="70828"/>
                        <a:pt x="496297" y="69815"/>
                        <a:pt x="488386" y="71842"/>
                      </a:cubicBezTo>
                      <a:cubicBezTo>
                        <a:pt x="489516" y="73868"/>
                        <a:pt x="488386" y="81975"/>
                        <a:pt x="490647" y="84002"/>
                      </a:cubicBezTo>
                      <a:cubicBezTo>
                        <a:pt x="492906" y="86029"/>
                        <a:pt x="515509" y="92109"/>
                        <a:pt x="523420" y="91095"/>
                      </a:cubicBezTo>
                      <a:cubicBezTo>
                        <a:pt x="526810" y="91095"/>
                        <a:pt x="536981" y="84002"/>
                        <a:pt x="539242" y="84002"/>
                      </a:cubicBezTo>
                      <a:cubicBezTo>
                        <a:pt x="553933" y="81975"/>
                        <a:pt x="574275" y="86029"/>
                        <a:pt x="585576" y="86029"/>
                      </a:cubicBezTo>
                      <a:lnTo>
                        <a:pt x="583316" y="93122"/>
                      </a:lnTo>
                      <a:cubicBezTo>
                        <a:pt x="570885" y="95149"/>
                        <a:pt x="558454" y="92109"/>
                        <a:pt x="544892" y="95149"/>
                      </a:cubicBezTo>
                      <a:cubicBezTo>
                        <a:pt x="544892" y="95149"/>
                        <a:pt x="547153" y="100216"/>
                        <a:pt x="547153" y="102242"/>
                      </a:cubicBezTo>
                      <a:cubicBezTo>
                        <a:pt x="546022" y="102242"/>
                        <a:pt x="532461" y="100216"/>
                        <a:pt x="535851" y="100216"/>
                      </a:cubicBezTo>
                      <a:cubicBezTo>
                        <a:pt x="530201" y="98189"/>
                        <a:pt x="527941" y="97175"/>
                        <a:pt x="522290" y="95149"/>
                      </a:cubicBezTo>
                      <a:cubicBezTo>
                        <a:pt x="520030" y="97175"/>
                        <a:pt x="521159" y="100216"/>
                        <a:pt x="516639" y="100216"/>
                      </a:cubicBezTo>
                      <a:cubicBezTo>
                        <a:pt x="520030" y="105282"/>
                        <a:pt x="518900" y="112376"/>
                        <a:pt x="524550" y="114403"/>
                      </a:cubicBezTo>
                      <a:cubicBezTo>
                        <a:pt x="539242" y="120483"/>
                        <a:pt x="551673" y="112376"/>
                        <a:pt x="570885" y="114403"/>
                      </a:cubicBezTo>
                      <a:lnTo>
                        <a:pt x="576536" y="119469"/>
                      </a:lnTo>
                      <a:cubicBezTo>
                        <a:pt x="583316" y="121496"/>
                        <a:pt x="593487" y="117443"/>
                        <a:pt x="601398" y="119469"/>
                      </a:cubicBezTo>
                      <a:cubicBezTo>
                        <a:pt x="602528" y="119469"/>
                        <a:pt x="607049" y="126563"/>
                        <a:pt x="609309" y="126563"/>
                      </a:cubicBezTo>
                      <a:cubicBezTo>
                        <a:pt x="616090" y="127576"/>
                        <a:pt x="624001" y="125549"/>
                        <a:pt x="630781" y="126563"/>
                      </a:cubicBezTo>
                      <a:cubicBezTo>
                        <a:pt x="636432" y="127576"/>
                        <a:pt x="651123" y="133656"/>
                        <a:pt x="657904" y="133656"/>
                      </a:cubicBezTo>
                      <a:cubicBezTo>
                        <a:pt x="671466" y="134670"/>
                        <a:pt x="678246" y="130616"/>
                        <a:pt x="690677" y="131630"/>
                      </a:cubicBezTo>
                      <a:cubicBezTo>
                        <a:pt x="692938" y="131630"/>
                        <a:pt x="705369" y="135683"/>
                        <a:pt x="712150" y="133656"/>
                      </a:cubicBezTo>
                      <a:cubicBezTo>
                        <a:pt x="724581" y="130616"/>
                        <a:pt x="720061" y="111362"/>
                        <a:pt x="720061" y="111362"/>
                      </a:cubicBezTo>
                      <a:cubicBezTo>
                        <a:pt x="723451" y="109336"/>
                        <a:pt x="752834" y="107309"/>
                        <a:pt x="758484" y="106296"/>
                      </a:cubicBezTo>
                      <a:cubicBezTo>
                        <a:pt x="756225" y="105282"/>
                        <a:pt x="763005" y="101229"/>
                        <a:pt x="764135" y="101229"/>
                      </a:cubicBezTo>
                      <a:cubicBezTo>
                        <a:pt x="768656" y="100216"/>
                        <a:pt x="758484" y="99202"/>
                        <a:pt x="758484" y="99202"/>
                      </a:cubicBezTo>
                      <a:cubicBezTo>
                        <a:pt x="758484" y="97175"/>
                        <a:pt x="759615" y="92109"/>
                        <a:pt x="758484" y="89069"/>
                      </a:cubicBezTo>
                      <a:cubicBezTo>
                        <a:pt x="764135" y="88055"/>
                        <a:pt x="772046" y="91095"/>
                        <a:pt x="777697" y="89069"/>
                      </a:cubicBezTo>
                      <a:cubicBezTo>
                        <a:pt x="779957" y="88055"/>
                        <a:pt x="799169" y="59681"/>
                        <a:pt x="802559" y="54614"/>
                      </a:cubicBezTo>
                      <a:cubicBezTo>
                        <a:pt x="787868" y="55628"/>
                        <a:pt x="786737" y="56641"/>
                        <a:pt x="773177" y="54614"/>
                      </a:cubicBezTo>
                      <a:cubicBezTo>
                        <a:pt x="773177" y="54614"/>
                        <a:pt x="752834" y="50561"/>
                        <a:pt x="751704" y="49548"/>
                      </a:cubicBezTo>
                      <a:cubicBezTo>
                        <a:pt x="748314" y="47521"/>
                        <a:pt x="753964" y="44481"/>
                        <a:pt x="753964" y="44481"/>
                      </a:cubicBezTo>
                      <a:lnTo>
                        <a:pt x="753964" y="42454"/>
                      </a:lnTo>
                      <a:lnTo>
                        <a:pt x="753964" y="37387"/>
                      </a:lnTo>
                      <a:cubicBezTo>
                        <a:pt x="753964" y="37387"/>
                        <a:pt x="743793" y="37387"/>
                        <a:pt x="748314" y="39414"/>
                      </a:cubicBezTo>
                      <a:cubicBezTo>
                        <a:pt x="746053" y="41441"/>
                        <a:pt x="742663" y="43468"/>
                        <a:pt x="740403" y="44481"/>
                      </a:cubicBezTo>
                      <a:cubicBezTo>
                        <a:pt x="735882" y="46508"/>
                        <a:pt x="738142" y="47521"/>
                        <a:pt x="729102" y="49548"/>
                      </a:cubicBezTo>
                      <a:cubicBezTo>
                        <a:pt x="714410" y="52588"/>
                        <a:pt x="730232" y="44481"/>
                        <a:pt x="731362" y="39414"/>
                      </a:cubicBezTo>
                      <a:cubicBezTo>
                        <a:pt x="731362" y="37387"/>
                        <a:pt x="730232" y="34347"/>
                        <a:pt x="731362" y="32321"/>
                      </a:cubicBezTo>
                      <a:cubicBezTo>
                        <a:pt x="725711" y="35361"/>
                        <a:pt x="717800" y="37387"/>
                        <a:pt x="712150" y="42454"/>
                      </a:cubicBezTo>
                      <a:cubicBezTo>
                        <a:pt x="706499" y="46508"/>
                        <a:pt x="706499" y="54614"/>
                        <a:pt x="698588" y="56641"/>
                      </a:cubicBezTo>
                      <a:cubicBezTo>
                        <a:pt x="695198" y="57655"/>
                        <a:pt x="690677" y="55628"/>
                        <a:pt x="687287" y="56641"/>
                      </a:cubicBezTo>
                      <a:cubicBezTo>
                        <a:pt x="692938" y="37387"/>
                        <a:pt x="690677" y="42454"/>
                        <a:pt x="681637" y="25227"/>
                      </a:cubicBezTo>
                      <a:cubicBezTo>
                        <a:pt x="678246" y="42454"/>
                        <a:pt x="678246" y="58668"/>
                        <a:pt x="665815" y="37387"/>
                      </a:cubicBezTo>
                      <a:cubicBezTo>
                        <a:pt x="660165" y="48534"/>
                        <a:pt x="660165" y="50561"/>
                        <a:pt x="652254" y="59681"/>
                      </a:cubicBezTo>
                      <a:cubicBezTo>
                        <a:pt x="646603" y="56641"/>
                        <a:pt x="638692" y="51574"/>
                        <a:pt x="633042" y="49548"/>
                      </a:cubicBezTo>
                      <a:cubicBezTo>
                        <a:pt x="629651" y="48534"/>
                        <a:pt x="625131" y="50561"/>
                        <a:pt x="621740" y="49548"/>
                      </a:cubicBezTo>
                      <a:cubicBezTo>
                        <a:pt x="619480" y="48534"/>
                        <a:pt x="616090" y="40427"/>
                        <a:pt x="613829" y="39414"/>
                      </a:cubicBezTo>
                      <a:cubicBezTo>
                        <a:pt x="612699" y="39414"/>
                        <a:pt x="607049" y="42454"/>
                        <a:pt x="602528" y="41441"/>
                      </a:cubicBezTo>
                      <a:cubicBezTo>
                        <a:pt x="601398" y="41441"/>
                        <a:pt x="577665" y="33334"/>
                        <a:pt x="575406" y="31307"/>
                      </a:cubicBezTo>
                      <a:lnTo>
                        <a:pt x="567495" y="19147"/>
                      </a:lnTo>
                      <a:cubicBezTo>
                        <a:pt x="560714" y="17120"/>
                        <a:pt x="556194" y="21174"/>
                        <a:pt x="551673" y="21174"/>
                      </a:cubicBezTo>
                      <a:cubicBezTo>
                        <a:pt x="549412" y="19147"/>
                        <a:pt x="546022" y="10027"/>
                        <a:pt x="543762" y="9013"/>
                      </a:cubicBezTo>
                      <a:cubicBezTo>
                        <a:pt x="543762" y="13067"/>
                        <a:pt x="539242" y="15094"/>
                        <a:pt x="538111" y="14080"/>
                      </a:cubicBezTo>
                      <a:close/>
                      <a:moveTo>
                        <a:pt x="573145" y="215738"/>
                      </a:moveTo>
                      <a:cubicBezTo>
                        <a:pt x="568625" y="218778"/>
                        <a:pt x="564104" y="220805"/>
                        <a:pt x="559584" y="222832"/>
                      </a:cubicBezTo>
                      <a:cubicBezTo>
                        <a:pt x="558454" y="220805"/>
                        <a:pt x="559584" y="233979"/>
                        <a:pt x="559584" y="234992"/>
                      </a:cubicBezTo>
                      <a:cubicBezTo>
                        <a:pt x="562974" y="236005"/>
                        <a:pt x="566364" y="234992"/>
                        <a:pt x="567495" y="237019"/>
                      </a:cubicBezTo>
                      <a:cubicBezTo>
                        <a:pt x="565234" y="239045"/>
                        <a:pt x="566364" y="244112"/>
                        <a:pt x="565234" y="247152"/>
                      </a:cubicBezTo>
                      <a:cubicBezTo>
                        <a:pt x="564104" y="248166"/>
                        <a:pt x="557323" y="250192"/>
                        <a:pt x="557323" y="252219"/>
                      </a:cubicBezTo>
                      <a:cubicBezTo>
                        <a:pt x="556194" y="255259"/>
                        <a:pt x="558454" y="259313"/>
                        <a:pt x="557323" y="262353"/>
                      </a:cubicBezTo>
                      <a:cubicBezTo>
                        <a:pt x="567495" y="260326"/>
                        <a:pt x="594617" y="250192"/>
                        <a:pt x="603659" y="252219"/>
                      </a:cubicBezTo>
                      <a:cubicBezTo>
                        <a:pt x="603659" y="252219"/>
                        <a:pt x="603659" y="259313"/>
                        <a:pt x="603659" y="259313"/>
                      </a:cubicBezTo>
                      <a:lnTo>
                        <a:pt x="603659" y="264379"/>
                      </a:lnTo>
                      <a:cubicBezTo>
                        <a:pt x="605918" y="264379"/>
                        <a:pt x="614960" y="264379"/>
                        <a:pt x="617220" y="264379"/>
                      </a:cubicBezTo>
                      <a:lnTo>
                        <a:pt x="625131" y="259313"/>
                      </a:lnTo>
                      <a:cubicBezTo>
                        <a:pt x="630781" y="258299"/>
                        <a:pt x="636432" y="260326"/>
                        <a:pt x="640952" y="259313"/>
                      </a:cubicBezTo>
                      <a:cubicBezTo>
                        <a:pt x="643213" y="258299"/>
                        <a:pt x="648863" y="252219"/>
                        <a:pt x="652254" y="252219"/>
                      </a:cubicBezTo>
                      <a:cubicBezTo>
                        <a:pt x="660165" y="251206"/>
                        <a:pt x="671466" y="254246"/>
                        <a:pt x="679376" y="252219"/>
                      </a:cubicBezTo>
                      <a:cubicBezTo>
                        <a:pt x="679376" y="252219"/>
                        <a:pt x="685027" y="247152"/>
                        <a:pt x="685027" y="247152"/>
                      </a:cubicBezTo>
                      <a:cubicBezTo>
                        <a:pt x="690677" y="242085"/>
                        <a:pt x="683897" y="236005"/>
                        <a:pt x="685027" y="232965"/>
                      </a:cubicBezTo>
                      <a:cubicBezTo>
                        <a:pt x="671466" y="236005"/>
                        <a:pt x="663555" y="239045"/>
                        <a:pt x="649993" y="232965"/>
                      </a:cubicBezTo>
                      <a:cubicBezTo>
                        <a:pt x="637562" y="226885"/>
                        <a:pt x="633042" y="209658"/>
                        <a:pt x="611569" y="210671"/>
                      </a:cubicBezTo>
                      <a:lnTo>
                        <a:pt x="609309" y="217765"/>
                      </a:lnTo>
                      <a:cubicBezTo>
                        <a:pt x="599138" y="214725"/>
                        <a:pt x="590097" y="210671"/>
                        <a:pt x="576536" y="212698"/>
                      </a:cubicBezTo>
                      <a:lnTo>
                        <a:pt x="573145" y="21573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9" name="Freeform: Shape 318">
                  <a:extLst>
                    <a:ext uri="{FF2B5EF4-FFF2-40B4-BE49-F238E27FC236}">
                      <a16:creationId xmlns:a16="http://schemas.microsoft.com/office/drawing/2014/main" id="{FE6D7BB5-9C25-45CE-9EC0-E520D989E1A2}"/>
                    </a:ext>
                  </a:extLst>
                </p:cNvPr>
                <p:cNvSpPr/>
                <p:nvPr/>
              </p:nvSpPr>
              <p:spPr>
                <a:xfrm>
                  <a:off x="10270247" y="2485249"/>
                  <a:ext cx="226024" cy="273606"/>
                </a:xfrm>
                <a:custGeom>
                  <a:avLst/>
                  <a:gdLst>
                    <a:gd name="connsiteX0" fmla="*/ 145666 w 226023"/>
                    <a:gd name="connsiteY0" fmla="*/ 244112 h 273606"/>
                    <a:gd name="connsiteX1" fmla="*/ 136626 w 226023"/>
                    <a:gd name="connsiteY1" fmla="*/ 234992 h 273606"/>
                    <a:gd name="connsiteX2" fmla="*/ 136626 w 226023"/>
                    <a:gd name="connsiteY2" fmla="*/ 217765 h 273606"/>
                    <a:gd name="connsiteX3" fmla="*/ 101592 w 226023"/>
                    <a:gd name="connsiteY3" fmla="*/ 200538 h 273606"/>
                    <a:gd name="connsiteX4" fmla="*/ 112893 w 226023"/>
                    <a:gd name="connsiteY4" fmla="*/ 188378 h 273606"/>
                    <a:gd name="connsiteX5" fmla="*/ 112893 w 226023"/>
                    <a:gd name="connsiteY5" fmla="*/ 171151 h 273606"/>
                    <a:gd name="connsiteX6" fmla="*/ 137756 w 226023"/>
                    <a:gd name="connsiteY6" fmla="*/ 161017 h 273606"/>
                    <a:gd name="connsiteX7" fmla="*/ 156968 w 226023"/>
                    <a:gd name="connsiteY7" fmla="*/ 136696 h 273606"/>
                    <a:gd name="connsiteX8" fmla="*/ 172789 w 226023"/>
                    <a:gd name="connsiteY8" fmla="*/ 134670 h 273606"/>
                    <a:gd name="connsiteX9" fmla="*/ 180700 w 226023"/>
                    <a:gd name="connsiteY9" fmla="*/ 122510 h 273606"/>
                    <a:gd name="connsiteX10" fmla="*/ 188611 w 226023"/>
                    <a:gd name="connsiteY10" fmla="*/ 120483 h 273606"/>
                    <a:gd name="connsiteX11" fmla="*/ 182961 w 226023"/>
                    <a:gd name="connsiteY11" fmla="*/ 78935 h 273606"/>
                    <a:gd name="connsiteX12" fmla="*/ 190871 w 226023"/>
                    <a:gd name="connsiteY12" fmla="*/ 76908 h 273606"/>
                    <a:gd name="connsiteX13" fmla="*/ 193132 w 226023"/>
                    <a:gd name="connsiteY13" fmla="*/ 66775 h 273606"/>
                    <a:gd name="connsiteX14" fmla="*/ 206693 w 226023"/>
                    <a:gd name="connsiteY14" fmla="*/ 64748 h 273606"/>
                    <a:gd name="connsiteX15" fmla="*/ 225905 w 226023"/>
                    <a:gd name="connsiteY15" fmla="*/ 40428 h 273606"/>
                    <a:gd name="connsiteX16" fmla="*/ 227035 w 226023"/>
                    <a:gd name="connsiteY16" fmla="*/ 40428 h 273606"/>
                    <a:gd name="connsiteX17" fmla="*/ 203303 w 226023"/>
                    <a:gd name="connsiteY17" fmla="*/ 9013 h 273606"/>
                    <a:gd name="connsiteX18" fmla="*/ 201042 w 226023"/>
                    <a:gd name="connsiteY18" fmla="*/ 32321 h 273606"/>
                    <a:gd name="connsiteX19" fmla="*/ 184091 w 226023"/>
                    <a:gd name="connsiteY19" fmla="*/ 38401 h 273606"/>
                    <a:gd name="connsiteX20" fmla="*/ 185221 w 226023"/>
                    <a:gd name="connsiteY20" fmla="*/ 46508 h 273606"/>
                    <a:gd name="connsiteX21" fmla="*/ 176180 w 226023"/>
                    <a:gd name="connsiteY21" fmla="*/ 52588 h 273606"/>
                    <a:gd name="connsiteX22" fmla="*/ 159228 w 226023"/>
                    <a:gd name="connsiteY22" fmla="*/ 51575 h 273606"/>
                    <a:gd name="connsiteX23" fmla="*/ 146797 w 226023"/>
                    <a:gd name="connsiteY23" fmla="*/ 60695 h 273606"/>
                    <a:gd name="connsiteX24" fmla="*/ 147927 w 226023"/>
                    <a:gd name="connsiteY24" fmla="*/ 70828 h 273606"/>
                    <a:gd name="connsiteX25" fmla="*/ 147927 w 226023"/>
                    <a:gd name="connsiteY25" fmla="*/ 84002 h 273606"/>
                    <a:gd name="connsiteX26" fmla="*/ 127585 w 226023"/>
                    <a:gd name="connsiteY26" fmla="*/ 79948 h 273606"/>
                    <a:gd name="connsiteX27" fmla="*/ 112893 w 226023"/>
                    <a:gd name="connsiteY27" fmla="*/ 75895 h 273606"/>
                    <a:gd name="connsiteX28" fmla="*/ 102722 w 226023"/>
                    <a:gd name="connsiteY28" fmla="*/ 62721 h 273606"/>
                    <a:gd name="connsiteX29" fmla="*/ 88031 w 226023"/>
                    <a:gd name="connsiteY29" fmla="*/ 67788 h 273606"/>
                    <a:gd name="connsiteX30" fmla="*/ 89160 w 226023"/>
                    <a:gd name="connsiteY30" fmla="*/ 87042 h 273606"/>
                    <a:gd name="connsiteX31" fmla="*/ 67689 w 226023"/>
                    <a:gd name="connsiteY31" fmla="*/ 103256 h 273606"/>
                    <a:gd name="connsiteX32" fmla="*/ 56387 w 226023"/>
                    <a:gd name="connsiteY32" fmla="*/ 117443 h 273606"/>
                    <a:gd name="connsiteX33" fmla="*/ 41696 w 226023"/>
                    <a:gd name="connsiteY33" fmla="*/ 138723 h 273606"/>
                    <a:gd name="connsiteX34" fmla="*/ 27004 w 226023"/>
                    <a:gd name="connsiteY34" fmla="*/ 149870 h 273606"/>
                    <a:gd name="connsiteX35" fmla="*/ 14573 w 226023"/>
                    <a:gd name="connsiteY35" fmla="*/ 174191 h 273606"/>
                    <a:gd name="connsiteX36" fmla="*/ 15703 w 226023"/>
                    <a:gd name="connsiteY36" fmla="*/ 179257 h 273606"/>
                    <a:gd name="connsiteX37" fmla="*/ 31525 w 226023"/>
                    <a:gd name="connsiteY37" fmla="*/ 186351 h 273606"/>
                    <a:gd name="connsiteX38" fmla="*/ 39436 w 226023"/>
                    <a:gd name="connsiteY38" fmla="*/ 217765 h 273606"/>
                    <a:gd name="connsiteX39" fmla="*/ 10052 w 226023"/>
                    <a:gd name="connsiteY39" fmla="*/ 244112 h 273606"/>
                    <a:gd name="connsiteX40" fmla="*/ 31525 w 226023"/>
                    <a:gd name="connsiteY40" fmla="*/ 251206 h 273606"/>
                    <a:gd name="connsiteX41" fmla="*/ 33785 w 226023"/>
                    <a:gd name="connsiteY41" fmla="*/ 265393 h 273606"/>
                    <a:gd name="connsiteX42" fmla="*/ 39436 w 226023"/>
                    <a:gd name="connsiteY42" fmla="*/ 270460 h 273606"/>
                    <a:gd name="connsiteX43" fmla="*/ 52997 w 226023"/>
                    <a:gd name="connsiteY43" fmla="*/ 263366 h 273606"/>
                    <a:gd name="connsiteX44" fmla="*/ 75599 w 226023"/>
                    <a:gd name="connsiteY44" fmla="*/ 263366 h 273606"/>
                    <a:gd name="connsiteX45" fmla="*/ 95942 w 226023"/>
                    <a:gd name="connsiteY45" fmla="*/ 245126 h 273606"/>
                    <a:gd name="connsiteX46" fmla="*/ 107243 w 226023"/>
                    <a:gd name="connsiteY46" fmla="*/ 241072 h 273606"/>
                    <a:gd name="connsiteX47" fmla="*/ 125324 w 226023"/>
                    <a:gd name="connsiteY47" fmla="*/ 250192 h 273606"/>
                    <a:gd name="connsiteX48" fmla="*/ 145666 w 226023"/>
                    <a:gd name="connsiteY48" fmla="*/ 244112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6023" h="273606">
                      <a:moveTo>
                        <a:pt x="145666" y="244112"/>
                      </a:moveTo>
                      <a:cubicBezTo>
                        <a:pt x="142276" y="241072"/>
                        <a:pt x="137756" y="237019"/>
                        <a:pt x="136626" y="234992"/>
                      </a:cubicBezTo>
                      <a:cubicBezTo>
                        <a:pt x="136626" y="234992"/>
                        <a:pt x="137756" y="219792"/>
                        <a:pt x="136626" y="217765"/>
                      </a:cubicBezTo>
                      <a:cubicBezTo>
                        <a:pt x="134365" y="214725"/>
                        <a:pt x="107243" y="202565"/>
                        <a:pt x="101592" y="200538"/>
                      </a:cubicBezTo>
                      <a:cubicBezTo>
                        <a:pt x="104982" y="196484"/>
                        <a:pt x="110633" y="193444"/>
                        <a:pt x="112893" y="188378"/>
                      </a:cubicBezTo>
                      <a:cubicBezTo>
                        <a:pt x="114023" y="183311"/>
                        <a:pt x="110633" y="176217"/>
                        <a:pt x="112893" y="171151"/>
                      </a:cubicBezTo>
                      <a:cubicBezTo>
                        <a:pt x="115154" y="167097"/>
                        <a:pt x="133235" y="164057"/>
                        <a:pt x="137756" y="161017"/>
                      </a:cubicBezTo>
                      <a:cubicBezTo>
                        <a:pt x="143407" y="156964"/>
                        <a:pt x="151317" y="139737"/>
                        <a:pt x="156968" y="136696"/>
                      </a:cubicBezTo>
                      <a:cubicBezTo>
                        <a:pt x="161488" y="133656"/>
                        <a:pt x="168269" y="136696"/>
                        <a:pt x="172789" y="134670"/>
                      </a:cubicBezTo>
                      <a:cubicBezTo>
                        <a:pt x="177310" y="132643"/>
                        <a:pt x="177310" y="124536"/>
                        <a:pt x="180700" y="122510"/>
                      </a:cubicBezTo>
                      <a:cubicBezTo>
                        <a:pt x="182961" y="121496"/>
                        <a:pt x="188611" y="122510"/>
                        <a:pt x="188611" y="120483"/>
                      </a:cubicBezTo>
                      <a:cubicBezTo>
                        <a:pt x="193132" y="107309"/>
                        <a:pt x="178440" y="94135"/>
                        <a:pt x="182961" y="78935"/>
                      </a:cubicBezTo>
                      <a:cubicBezTo>
                        <a:pt x="184091" y="76908"/>
                        <a:pt x="189741" y="77922"/>
                        <a:pt x="190871" y="76908"/>
                      </a:cubicBezTo>
                      <a:cubicBezTo>
                        <a:pt x="192002" y="75895"/>
                        <a:pt x="192002" y="67788"/>
                        <a:pt x="193132" y="66775"/>
                      </a:cubicBezTo>
                      <a:cubicBezTo>
                        <a:pt x="196522" y="63735"/>
                        <a:pt x="203303" y="66775"/>
                        <a:pt x="206693" y="64748"/>
                      </a:cubicBezTo>
                      <a:cubicBezTo>
                        <a:pt x="208953" y="62721"/>
                        <a:pt x="223645" y="41441"/>
                        <a:pt x="225905" y="40428"/>
                      </a:cubicBezTo>
                      <a:lnTo>
                        <a:pt x="227035" y="40428"/>
                      </a:lnTo>
                      <a:lnTo>
                        <a:pt x="203303" y="9013"/>
                      </a:lnTo>
                      <a:lnTo>
                        <a:pt x="201042" y="32321"/>
                      </a:lnTo>
                      <a:lnTo>
                        <a:pt x="184091" y="38401"/>
                      </a:lnTo>
                      <a:lnTo>
                        <a:pt x="185221" y="46508"/>
                      </a:lnTo>
                      <a:lnTo>
                        <a:pt x="176180" y="52588"/>
                      </a:lnTo>
                      <a:lnTo>
                        <a:pt x="159228" y="51575"/>
                      </a:lnTo>
                      <a:lnTo>
                        <a:pt x="146797" y="60695"/>
                      </a:lnTo>
                      <a:lnTo>
                        <a:pt x="147927" y="70828"/>
                      </a:lnTo>
                      <a:lnTo>
                        <a:pt x="147927" y="84002"/>
                      </a:lnTo>
                      <a:lnTo>
                        <a:pt x="127585" y="79948"/>
                      </a:lnTo>
                      <a:lnTo>
                        <a:pt x="112893" y="75895"/>
                      </a:lnTo>
                      <a:lnTo>
                        <a:pt x="102722" y="62721"/>
                      </a:lnTo>
                      <a:lnTo>
                        <a:pt x="88031" y="67788"/>
                      </a:lnTo>
                      <a:lnTo>
                        <a:pt x="89160" y="87042"/>
                      </a:lnTo>
                      <a:lnTo>
                        <a:pt x="67689" y="103256"/>
                      </a:lnTo>
                      <a:lnTo>
                        <a:pt x="56387" y="117443"/>
                      </a:lnTo>
                      <a:lnTo>
                        <a:pt x="41696" y="138723"/>
                      </a:lnTo>
                      <a:lnTo>
                        <a:pt x="27004" y="149870"/>
                      </a:lnTo>
                      <a:lnTo>
                        <a:pt x="14573" y="174191"/>
                      </a:lnTo>
                      <a:cubicBezTo>
                        <a:pt x="14573" y="176217"/>
                        <a:pt x="14573" y="179257"/>
                        <a:pt x="15703" y="179257"/>
                      </a:cubicBezTo>
                      <a:cubicBezTo>
                        <a:pt x="20223" y="183311"/>
                        <a:pt x="27004" y="183311"/>
                        <a:pt x="31525" y="186351"/>
                      </a:cubicBezTo>
                      <a:cubicBezTo>
                        <a:pt x="28134" y="206618"/>
                        <a:pt x="28134" y="204591"/>
                        <a:pt x="39436" y="217765"/>
                      </a:cubicBezTo>
                      <a:cubicBezTo>
                        <a:pt x="15703" y="222832"/>
                        <a:pt x="16833" y="224858"/>
                        <a:pt x="10052" y="244112"/>
                      </a:cubicBezTo>
                      <a:cubicBezTo>
                        <a:pt x="15703" y="245126"/>
                        <a:pt x="25874" y="250192"/>
                        <a:pt x="31525" y="251206"/>
                      </a:cubicBezTo>
                      <a:cubicBezTo>
                        <a:pt x="22484" y="259313"/>
                        <a:pt x="23614" y="260326"/>
                        <a:pt x="33785" y="265393"/>
                      </a:cubicBezTo>
                      <a:lnTo>
                        <a:pt x="39436" y="270460"/>
                      </a:lnTo>
                      <a:cubicBezTo>
                        <a:pt x="43956" y="270460"/>
                        <a:pt x="49606" y="263366"/>
                        <a:pt x="52997" y="263366"/>
                      </a:cubicBezTo>
                      <a:cubicBezTo>
                        <a:pt x="64298" y="261339"/>
                        <a:pt x="65428" y="263366"/>
                        <a:pt x="75599" y="263366"/>
                      </a:cubicBezTo>
                      <a:lnTo>
                        <a:pt x="95942" y="245126"/>
                      </a:lnTo>
                      <a:lnTo>
                        <a:pt x="107243" y="241072"/>
                      </a:lnTo>
                      <a:cubicBezTo>
                        <a:pt x="107243" y="241072"/>
                        <a:pt x="118544" y="249179"/>
                        <a:pt x="125324" y="250192"/>
                      </a:cubicBezTo>
                      <a:cubicBezTo>
                        <a:pt x="136626" y="250192"/>
                        <a:pt x="145666" y="244112"/>
                        <a:pt x="145666" y="24411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0" name="Freeform: Shape 319">
                  <a:extLst>
                    <a:ext uri="{FF2B5EF4-FFF2-40B4-BE49-F238E27FC236}">
                      <a16:creationId xmlns:a16="http://schemas.microsoft.com/office/drawing/2014/main" id="{20F79992-C982-4B10-851B-53495478EB30}"/>
                    </a:ext>
                  </a:extLst>
                </p:cNvPr>
                <p:cNvSpPr/>
                <p:nvPr/>
              </p:nvSpPr>
              <p:spPr>
                <a:xfrm>
                  <a:off x="5980754" y="3699251"/>
                  <a:ext cx="440747" cy="415476"/>
                </a:xfrm>
                <a:custGeom>
                  <a:avLst/>
                  <a:gdLst>
                    <a:gd name="connsiteX0" fmla="*/ 208512 w 440746"/>
                    <a:gd name="connsiteY0" fmla="*/ 389022 h 415476"/>
                    <a:gd name="connsiteX1" fmla="*/ 208512 w 440746"/>
                    <a:gd name="connsiteY1" fmla="*/ 376862 h 415476"/>
                    <a:gd name="connsiteX2" fmla="*/ 214162 w 440746"/>
                    <a:gd name="connsiteY2" fmla="*/ 362675 h 415476"/>
                    <a:gd name="connsiteX3" fmla="*/ 208512 w 440746"/>
                    <a:gd name="connsiteY3" fmla="*/ 353555 h 415476"/>
                    <a:gd name="connsiteX4" fmla="*/ 211903 w 440746"/>
                    <a:gd name="connsiteY4" fmla="*/ 343421 h 415476"/>
                    <a:gd name="connsiteX5" fmla="*/ 220943 w 440746"/>
                    <a:gd name="connsiteY5" fmla="*/ 322141 h 415476"/>
                    <a:gd name="connsiteX6" fmla="*/ 246936 w 440746"/>
                    <a:gd name="connsiteY6" fmla="*/ 308967 h 415476"/>
                    <a:gd name="connsiteX7" fmla="*/ 259367 w 440746"/>
                    <a:gd name="connsiteY7" fmla="*/ 304913 h 415476"/>
                    <a:gd name="connsiteX8" fmla="*/ 271799 w 440746"/>
                    <a:gd name="connsiteY8" fmla="*/ 308967 h 415476"/>
                    <a:gd name="connsiteX9" fmla="*/ 275189 w 440746"/>
                    <a:gd name="connsiteY9" fmla="*/ 330247 h 415476"/>
                    <a:gd name="connsiteX10" fmla="*/ 301182 w 440746"/>
                    <a:gd name="connsiteY10" fmla="*/ 310994 h 415476"/>
                    <a:gd name="connsiteX11" fmla="*/ 301182 w 440746"/>
                    <a:gd name="connsiteY11" fmla="*/ 294780 h 415476"/>
                    <a:gd name="connsiteX12" fmla="*/ 310222 w 440746"/>
                    <a:gd name="connsiteY12" fmla="*/ 273499 h 415476"/>
                    <a:gd name="connsiteX13" fmla="*/ 326044 w 440746"/>
                    <a:gd name="connsiteY13" fmla="*/ 258299 h 415476"/>
                    <a:gd name="connsiteX14" fmla="*/ 335085 w 440746"/>
                    <a:gd name="connsiteY14" fmla="*/ 242085 h 415476"/>
                    <a:gd name="connsiteX15" fmla="*/ 340736 w 440746"/>
                    <a:gd name="connsiteY15" fmla="*/ 221818 h 415476"/>
                    <a:gd name="connsiteX16" fmla="*/ 352037 w 440746"/>
                    <a:gd name="connsiteY16" fmla="*/ 207631 h 415476"/>
                    <a:gd name="connsiteX17" fmla="*/ 378030 w 440746"/>
                    <a:gd name="connsiteY17" fmla="*/ 196484 h 415476"/>
                    <a:gd name="connsiteX18" fmla="*/ 378030 w 440746"/>
                    <a:gd name="connsiteY18" fmla="*/ 181284 h 415476"/>
                    <a:gd name="connsiteX19" fmla="*/ 383680 w 440746"/>
                    <a:gd name="connsiteY19" fmla="*/ 167097 h 415476"/>
                    <a:gd name="connsiteX20" fmla="*/ 393851 w 440746"/>
                    <a:gd name="connsiteY20" fmla="*/ 151896 h 415476"/>
                    <a:gd name="connsiteX21" fmla="*/ 394981 w 440746"/>
                    <a:gd name="connsiteY21" fmla="*/ 135683 h 415476"/>
                    <a:gd name="connsiteX22" fmla="*/ 409673 w 440746"/>
                    <a:gd name="connsiteY22" fmla="*/ 117442 h 415476"/>
                    <a:gd name="connsiteX23" fmla="*/ 420975 w 440746"/>
                    <a:gd name="connsiteY23" fmla="*/ 109336 h 415476"/>
                    <a:gd name="connsiteX24" fmla="*/ 434536 w 440746"/>
                    <a:gd name="connsiteY24" fmla="*/ 80962 h 415476"/>
                    <a:gd name="connsiteX25" fmla="*/ 423234 w 440746"/>
                    <a:gd name="connsiteY25" fmla="*/ 71841 h 415476"/>
                    <a:gd name="connsiteX26" fmla="*/ 427755 w 440746"/>
                    <a:gd name="connsiteY26" fmla="*/ 42454 h 415476"/>
                    <a:gd name="connsiteX27" fmla="*/ 407413 w 440746"/>
                    <a:gd name="connsiteY27" fmla="*/ 9013 h 415476"/>
                    <a:gd name="connsiteX28" fmla="*/ 383680 w 440746"/>
                    <a:gd name="connsiteY28" fmla="*/ 17120 h 415476"/>
                    <a:gd name="connsiteX29" fmla="*/ 365599 w 440746"/>
                    <a:gd name="connsiteY29" fmla="*/ 31307 h 415476"/>
                    <a:gd name="connsiteX30" fmla="*/ 323784 w 440746"/>
                    <a:gd name="connsiteY30" fmla="*/ 29281 h 415476"/>
                    <a:gd name="connsiteX31" fmla="*/ 287620 w 440746"/>
                    <a:gd name="connsiteY31" fmla="*/ 28267 h 415476"/>
                    <a:gd name="connsiteX32" fmla="*/ 265018 w 440746"/>
                    <a:gd name="connsiteY32" fmla="*/ 39414 h 415476"/>
                    <a:gd name="connsiteX33" fmla="*/ 231114 w 440746"/>
                    <a:gd name="connsiteY33" fmla="*/ 40427 h 415476"/>
                    <a:gd name="connsiteX34" fmla="*/ 213032 w 440746"/>
                    <a:gd name="connsiteY34" fmla="*/ 31307 h 415476"/>
                    <a:gd name="connsiteX35" fmla="*/ 185909 w 440746"/>
                    <a:gd name="connsiteY35" fmla="*/ 34347 h 415476"/>
                    <a:gd name="connsiteX36" fmla="*/ 163307 w 440746"/>
                    <a:gd name="connsiteY36" fmla="*/ 37387 h 415476"/>
                    <a:gd name="connsiteX37" fmla="*/ 145225 w 440746"/>
                    <a:gd name="connsiteY37" fmla="*/ 18134 h 415476"/>
                    <a:gd name="connsiteX38" fmla="*/ 128273 w 440746"/>
                    <a:gd name="connsiteY38" fmla="*/ 10027 h 415476"/>
                    <a:gd name="connsiteX39" fmla="*/ 100020 w 440746"/>
                    <a:gd name="connsiteY39" fmla="*/ 14080 h 415476"/>
                    <a:gd name="connsiteX40" fmla="*/ 64987 w 440746"/>
                    <a:gd name="connsiteY40" fmla="*/ 29281 h 415476"/>
                    <a:gd name="connsiteX41" fmla="*/ 61596 w 440746"/>
                    <a:gd name="connsiteY41" fmla="*/ 47521 h 415476"/>
                    <a:gd name="connsiteX42" fmla="*/ 46905 w 440746"/>
                    <a:gd name="connsiteY42" fmla="*/ 66775 h 415476"/>
                    <a:gd name="connsiteX43" fmla="*/ 34474 w 440746"/>
                    <a:gd name="connsiteY43" fmla="*/ 92109 h 415476"/>
                    <a:gd name="connsiteX44" fmla="*/ 33343 w 440746"/>
                    <a:gd name="connsiteY44" fmla="*/ 111362 h 415476"/>
                    <a:gd name="connsiteX45" fmla="*/ 38994 w 440746"/>
                    <a:gd name="connsiteY45" fmla="*/ 122509 h 415476"/>
                    <a:gd name="connsiteX46" fmla="*/ 42385 w 440746"/>
                    <a:gd name="connsiteY46" fmla="*/ 141763 h 415476"/>
                    <a:gd name="connsiteX47" fmla="*/ 42385 w 440746"/>
                    <a:gd name="connsiteY47" fmla="*/ 161017 h 415476"/>
                    <a:gd name="connsiteX48" fmla="*/ 33343 w 440746"/>
                    <a:gd name="connsiteY48" fmla="*/ 172164 h 415476"/>
                    <a:gd name="connsiteX49" fmla="*/ 29953 w 440746"/>
                    <a:gd name="connsiteY49" fmla="*/ 192431 h 415476"/>
                    <a:gd name="connsiteX50" fmla="*/ 24302 w 440746"/>
                    <a:gd name="connsiteY50" fmla="*/ 206618 h 415476"/>
                    <a:gd name="connsiteX51" fmla="*/ 18652 w 440746"/>
                    <a:gd name="connsiteY51" fmla="*/ 217765 h 415476"/>
                    <a:gd name="connsiteX52" fmla="*/ 15261 w 440746"/>
                    <a:gd name="connsiteY52" fmla="*/ 228912 h 415476"/>
                    <a:gd name="connsiteX53" fmla="*/ 11871 w 440746"/>
                    <a:gd name="connsiteY53" fmla="*/ 272486 h 415476"/>
                    <a:gd name="connsiteX54" fmla="*/ 16391 w 440746"/>
                    <a:gd name="connsiteY54" fmla="*/ 295793 h 415476"/>
                    <a:gd name="connsiteX55" fmla="*/ 10741 w 440746"/>
                    <a:gd name="connsiteY55" fmla="*/ 322141 h 415476"/>
                    <a:gd name="connsiteX56" fmla="*/ 41254 w 440746"/>
                    <a:gd name="connsiteY56" fmla="*/ 316060 h 415476"/>
                    <a:gd name="connsiteX57" fmla="*/ 35603 w 440746"/>
                    <a:gd name="connsiteY57" fmla="*/ 323154 h 415476"/>
                    <a:gd name="connsiteX58" fmla="*/ 74028 w 440746"/>
                    <a:gd name="connsiteY58" fmla="*/ 323154 h 415476"/>
                    <a:gd name="connsiteX59" fmla="*/ 95500 w 440746"/>
                    <a:gd name="connsiteY59" fmla="*/ 342408 h 415476"/>
                    <a:gd name="connsiteX60" fmla="*/ 106801 w 440746"/>
                    <a:gd name="connsiteY60" fmla="*/ 342408 h 415476"/>
                    <a:gd name="connsiteX61" fmla="*/ 106801 w 440746"/>
                    <a:gd name="connsiteY61" fmla="*/ 352541 h 415476"/>
                    <a:gd name="connsiteX62" fmla="*/ 112451 w 440746"/>
                    <a:gd name="connsiteY62" fmla="*/ 352541 h 415476"/>
                    <a:gd name="connsiteX63" fmla="*/ 118102 w 440746"/>
                    <a:gd name="connsiteY63" fmla="*/ 366728 h 415476"/>
                    <a:gd name="connsiteX64" fmla="*/ 120362 w 440746"/>
                    <a:gd name="connsiteY64" fmla="*/ 366728 h 415476"/>
                    <a:gd name="connsiteX65" fmla="*/ 109061 w 440746"/>
                    <a:gd name="connsiteY65" fmla="*/ 373822 h 415476"/>
                    <a:gd name="connsiteX66" fmla="*/ 130534 w 440746"/>
                    <a:gd name="connsiteY66" fmla="*/ 408276 h 415476"/>
                    <a:gd name="connsiteX67" fmla="*/ 157656 w 440746"/>
                    <a:gd name="connsiteY67" fmla="*/ 406249 h 415476"/>
                    <a:gd name="connsiteX68" fmla="*/ 157656 w 440746"/>
                    <a:gd name="connsiteY68" fmla="*/ 401182 h 415476"/>
                    <a:gd name="connsiteX69" fmla="*/ 171218 w 440746"/>
                    <a:gd name="connsiteY69" fmla="*/ 403209 h 415476"/>
                    <a:gd name="connsiteX70" fmla="*/ 173478 w 440746"/>
                    <a:gd name="connsiteY70" fmla="*/ 398142 h 415476"/>
                    <a:gd name="connsiteX71" fmla="*/ 181389 w 440746"/>
                    <a:gd name="connsiteY71" fmla="*/ 400169 h 415476"/>
                    <a:gd name="connsiteX72" fmla="*/ 189300 w 440746"/>
                    <a:gd name="connsiteY72" fmla="*/ 388009 h 415476"/>
                    <a:gd name="connsiteX73" fmla="*/ 200601 w 440746"/>
                    <a:gd name="connsiteY73" fmla="*/ 388009 h 415476"/>
                    <a:gd name="connsiteX74" fmla="*/ 208512 w 440746"/>
                    <a:gd name="connsiteY74" fmla="*/ 398142 h 415476"/>
                    <a:gd name="connsiteX75" fmla="*/ 208512 w 440746"/>
                    <a:gd name="connsiteY75" fmla="*/ 389022 h 41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40746" h="415476">
                      <a:moveTo>
                        <a:pt x="208512" y="389022"/>
                      </a:moveTo>
                      <a:lnTo>
                        <a:pt x="208512" y="376862"/>
                      </a:lnTo>
                      <a:lnTo>
                        <a:pt x="214162" y="362675"/>
                      </a:lnTo>
                      <a:cubicBezTo>
                        <a:pt x="214162" y="362675"/>
                        <a:pt x="208512" y="361661"/>
                        <a:pt x="208512" y="353555"/>
                      </a:cubicBezTo>
                      <a:cubicBezTo>
                        <a:pt x="208512" y="345448"/>
                        <a:pt x="205121" y="344434"/>
                        <a:pt x="211903" y="343421"/>
                      </a:cubicBezTo>
                      <a:cubicBezTo>
                        <a:pt x="218683" y="342408"/>
                        <a:pt x="217553" y="329234"/>
                        <a:pt x="220943" y="322141"/>
                      </a:cubicBezTo>
                      <a:cubicBezTo>
                        <a:pt x="224334" y="315047"/>
                        <a:pt x="239025" y="316060"/>
                        <a:pt x="246936" y="308967"/>
                      </a:cubicBezTo>
                      <a:cubicBezTo>
                        <a:pt x="254847" y="301873"/>
                        <a:pt x="259367" y="304913"/>
                        <a:pt x="259367" y="304913"/>
                      </a:cubicBezTo>
                      <a:cubicBezTo>
                        <a:pt x="259367" y="304913"/>
                        <a:pt x="263888" y="304913"/>
                        <a:pt x="271799" y="308967"/>
                      </a:cubicBezTo>
                      <a:cubicBezTo>
                        <a:pt x="279710" y="313020"/>
                        <a:pt x="275189" y="322141"/>
                        <a:pt x="275189" y="330247"/>
                      </a:cubicBezTo>
                      <a:cubicBezTo>
                        <a:pt x="291011" y="333288"/>
                        <a:pt x="292141" y="315047"/>
                        <a:pt x="301182" y="310994"/>
                      </a:cubicBezTo>
                      <a:cubicBezTo>
                        <a:pt x="310222" y="306940"/>
                        <a:pt x="301182" y="300860"/>
                        <a:pt x="301182" y="294780"/>
                      </a:cubicBezTo>
                      <a:cubicBezTo>
                        <a:pt x="301182" y="288700"/>
                        <a:pt x="305702" y="281606"/>
                        <a:pt x="310222" y="273499"/>
                      </a:cubicBezTo>
                      <a:cubicBezTo>
                        <a:pt x="314743" y="264379"/>
                        <a:pt x="320394" y="268433"/>
                        <a:pt x="326044" y="258299"/>
                      </a:cubicBezTo>
                      <a:cubicBezTo>
                        <a:pt x="331695" y="248165"/>
                        <a:pt x="327174" y="248165"/>
                        <a:pt x="335085" y="242085"/>
                      </a:cubicBezTo>
                      <a:cubicBezTo>
                        <a:pt x="342996" y="236005"/>
                        <a:pt x="339606" y="231952"/>
                        <a:pt x="340736" y="221818"/>
                      </a:cubicBezTo>
                      <a:cubicBezTo>
                        <a:pt x="341866" y="211685"/>
                        <a:pt x="344126" y="210671"/>
                        <a:pt x="352037" y="207631"/>
                      </a:cubicBezTo>
                      <a:cubicBezTo>
                        <a:pt x="359948" y="204591"/>
                        <a:pt x="372379" y="198511"/>
                        <a:pt x="378030" y="196484"/>
                      </a:cubicBezTo>
                      <a:cubicBezTo>
                        <a:pt x="383680" y="194458"/>
                        <a:pt x="378030" y="181284"/>
                        <a:pt x="378030" y="181284"/>
                      </a:cubicBezTo>
                      <a:cubicBezTo>
                        <a:pt x="378030" y="181284"/>
                        <a:pt x="378030" y="168110"/>
                        <a:pt x="383680" y="167097"/>
                      </a:cubicBezTo>
                      <a:cubicBezTo>
                        <a:pt x="389331" y="166084"/>
                        <a:pt x="389331" y="158990"/>
                        <a:pt x="393851" y="151896"/>
                      </a:cubicBezTo>
                      <a:cubicBezTo>
                        <a:pt x="398372" y="144803"/>
                        <a:pt x="389331" y="140750"/>
                        <a:pt x="394981" y="135683"/>
                      </a:cubicBezTo>
                      <a:cubicBezTo>
                        <a:pt x="400632" y="130616"/>
                        <a:pt x="409673" y="124536"/>
                        <a:pt x="409673" y="117442"/>
                      </a:cubicBezTo>
                      <a:cubicBezTo>
                        <a:pt x="409673" y="110349"/>
                        <a:pt x="414194" y="109336"/>
                        <a:pt x="420975" y="109336"/>
                      </a:cubicBezTo>
                      <a:cubicBezTo>
                        <a:pt x="427755" y="109336"/>
                        <a:pt x="434536" y="86028"/>
                        <a:pt x="434536" y="80962"/>
                      </a:cubicBezTo>
                      <a:cubicBezTo>
                        <a:pt x="434536" y="75895"/>
                        <a:pt x="423234" y="71841"/>
                        <a:pt x="423234" y="71841"/>
                      </a:cubicBezTo>
                      <a:lnTo>
                        <a:pt x="427755" y="42454"/>
                      </a:lnTo>
                      <a:lnTo>
                        <a:pt x="407413" y="9013"/>
                      </a:lnTo>
                      <a:lnTo>
                        <a:pt x="383680" y="17120"/>
                      </a:lnTo>
                      <a:cubicBezTo>
                        <a:pt x="383680" y="17120"/>
                        <a:pt x="376900" y="31307"/>
                        <a:pt x="365599" y="31307"/>
                      </a:cubicBezTo>
                      <a:cubicBezTo>
                        <a:pt x="354297" y="31307"/>
                        <a:pt x="339606" y="34347"/>
                        <a:pt x="323784" y="29281"/>
                      </a:cubicBezTo>
                      <a:cubicBezTo>
                        <a:pt x="307963" y="24214"/>
                        <a:pt x="295531" y="28267"/>
                        <a:pt x="287620" y="28267"/>
                      </a:cubicBezTo>
                      <a:cubicBezTo>
                        <a:pt x="278579" y="28267"/>
                        <a:pt x="266148" y="34347"/>
                        <a:pt x="265018" y="39414"/>
                      </a:cubicBezTo>
                      <a:cubicBezTo>
                        <a:pt x="263888" y="44481"/>
                        <a:pt x="250326" y="42454"/>
                        <a:pt x="231114" y="40427"/>
                      </a:cubicBezTo>
                      <a:cubicBezTo>
                        <a:pt x="210772" y="39414"/>
                        <a:pt x="218683" y="37387"/>
                        <a:pt x="213032" y="31307"/>
                      </a:cubicBezTo>
                      <a:cubicBezTo>
                        <a:pt x="207382" y="25227"/>
                        <a:pt x="196081" y="28267"/>
                        <a:pt x="185909" y="34347"/>
                      </a:cubicBezTo>
                      <a:cubicBezTo>
                        <a:pt x="175739" y="40427"/>
                        <a:pt x="163307" y="37387"/>
                        <a:pt x="163307" y="37387"/>
                      </a:cubicBezTo>
                      <a:cubicBezTo>
                        <a:pt x="163307" y="37387"/>
                        <a:pt x="152006" y="18134"/>
                        <a:pt x="145225" y="18134"/>
                      </a:cubicBezTo>
                      <a:cubicBezTo>
                        <a:pt x="138445" y="18134"/>
                        <a:pt x="138445" y="10027"/>
                        <a:pt x="128273" y="10027"/>
                      </a:cubicBezTo>
                      <a:cubicBezTo>
                        <a:pt x="118102" y="10027"/>
                        <a:pt x="110192" y="10027"/>
                        <a:pt x="100020" y="14080"/>
                      </a:cubicBezTo>
                      <a:cubicBezTo>
                        <a:pt x="89849" y="18134"/>
                        <a:pt x="64987" y="29281"/>
                        <a:pt x="64987" y="29281"/>
                      </a:cubicBezTo>
                      <a:cubicBezTo>
                        <a:pt x="64987" y="29281"/>
                        <a:pt x="61596" y="39414"/>
                        <a:pt x="61596" y="47521"/>
                      </a:cubicBezTo>
                      <a:cubicBezTo>
                        <a:pt x="61596" y="55628"/>
                        <a:pt x="46905" y="66775"/>
                        <a:pt x="46905" y="66775"/>
                      </a:cubicBezTo>
                      <a:lnTo>
                        <a:pt x="34474" y="92109"/>
                      </a:lnTo>
                      <a:cubicBezTo>
                        <a:pt x="34474" y="92109"/>
                        <a:pt x="38994" y="106295"/>
                        <a:pt x="33343" y="111362"/>
                      </a:cubicBezTo>
                      <a:cubicBezTo>
                        <a:pt x="27692" y="116429"/>
                        <a:pt x="32213" y="119469"/>
                        <a:pt x="38994" y="122509"/>
                      </a:cubicBezTo>
                      <a:cubicBezTo>
                        <a:pt x="45775" y="125549"/>
                        <a:pt x="45775" y="130616"/>
                        <a:pt x="42385" y="141763"/>
                      </a:cubicBezTo>
                      <a:cubicBezTo>
                        <a:pt x="38994" y="152910"/>
                        <a:pt x="49165" y="161017"/>
                        <a:pt x="42385" y="161017"/>
                      </a:cubicBezTo>
                      <a:cubicBezTo>
                        <a:pt x="35603" y="161017"/>
                        <a:pt x="33343" y="162030"/>
                        <a:pt x="33343" y="172164"/>
                      </a:cubicBezTo>
                      <a:cubicBezTo>
                        <a:pt x="33343" y="182297"/>
                        <a:pt x="34474" y="185337"/>
                        <a:pt x="29953" y="192431"/>
                      </a:cubicBezTo>
                      <a:cubicBezTo>
                        <a:pt x="25433" y="199524"/>
                        <a:pt x="19782" y="200538"/>
                        <a:pt x="24302" y="206618"/>
                      </a:cubicBezTo>
                      <a:cubicBezTo>
                        <a:pt x="28823" y="212698"/>
                        <a:pt x="25433" y="221818"/>
                        <a:pt x="18652" y="217765"/>
                      </a:cubicBezTo>
                      <a:cubicBezTo>
                        <a:pt x="11871" y="213711"/>
                        <a:pt x="11871" y="221818"/>
                        <a:pt x="15261" y="228912"/>
                      </a:cubicBezTo>
                      <a:cubicBezTo>
                        <a:pt x="19782" y="237019"/>
                        <a:pt x="5090" y="264379"/>
                        <a:pt x="11871" y="272486"/>
                      </a:cubicBezTo>
                      <a:cubicBezTo>
                        <a:pt x="18652" y="280593"/>
                        <a:pt x="16391" y="287687"/>
                        <a:pt x="16391" y="295793"/>
                      </a:cubicBezTo>
                      <a:cubicBezTo>
                        <a:pt x="16391" y="303900"/>
                        <a:pt x="10741" y="322141"/>
                        <a:pt x="10741" y="322141"/>
                      </a:cubicBezTo>
                      <a:cubicBezTo>
                        <a:pt x="23172" y="318087"/>
                        <a:pt x="37864" y="315047"/>
                        <a:pt x="41254" y="316060"/>
                      </a:cubicBezTo>
                      <a:cubicBezTo>
                        <a:pt x="41254" y="316060"/>
                        <a:pt x="36734" y="322141"/>
                        <a:pt x="35603" y="323154"/>
                      </a:cubicBezTo>
                      <a:cubicBezTo>
                        <a:pt x="46905" y="323154"/>
                        <a:pt x="62727" y="320114"/>
                        <a:pt x="74028" y="323154"/>
                      </a:cubicBezTo>
                      <a:cubicBezTo>
                        <a:pt x="81939" y="325181"/>
                        <a:pt x="87589" y="340381"/>
                        <a:pt x="95500" y="342408"/>
                      </a:cubicBezTo>
                      <a:cubicBezTo>
                        <a:pt x="97760" y="343421"/>
                        <a:pt x="104541" y="340381"/>
                        <a:pt x="106801" y="342408"/>
                      </a:cubicBezTo>
                      <a:cubicBezTo>
                        <a:pt x="107931" y="343421"/>
                        <a:pt x="105671" y="350514"/>
                        <a:pt x="106801" y="352541"/>
                      </a:cubicBezTo>
                      <a:lnTo>
                        <a:pt x="112451" y="352541"/>
                      </a:lnTo>
                      <a:cubicBezTo>
                        <a:pt x="114712" y="358622"/>
                        <a:pt x="114712" y="361661"/>
                        <a:pt x="118102" y="366728"/>
                      </a:cubicBezTo>
                      <a:cubicBezTo>
                        <a:pt x="119233" y="366728"/>
                        <a:pt x="120362" y="366728"/>
                        <a:pt x="120362" y="366728"/>
                      </a:cubicBezTo>
                      <a:cubicBezTo>
                        <a:pt x="116972" y="368755"/>
                        <a:pt x="113582" y="371795"/>
                        <a:pt x="109061" y="373822"/>
                      </a:cubicBezTo>
                      <a:cubicBezTo>
                        <a:pt x="115842" y="386995"/>
                        <a:pt x="121493" y="397129"/>
                        <a:pt x="130534" y="408276"/>
                      </a:cubicBezTo>
                      <a:cubicBezTo>
                        <a:pt x="140704" y="407263"/>
                        <a:pt x="146355" y="407263"/>
                        <a:pt x="157656" y="406249"/>
                      </a:cubicBezTo>
                      <a:lnTo>
                        <a:pt x="157656" y="401182"/>
                      </a:lnTo>
                      <a:cubicBezTo>
                        <a:pt x="164437" y="400169"/>
                        <a:pt x="164437" y="406249"/>
                        <a:pt x="171218" y="403209"/>
                      </a:cubicBezTo>
                      <a:lnTo>
                        <a:pt x="173478" y="398142"/>
                      </a:lnTo>
                      <a:cubicBezTo>
                        <a:pt x="176868" y="397129"/>
                        <a:pt x="176868" y="403209"/>
                        <a:pt x="181389" y="400169"/>
                      </a:cubicBezTo>
                      <a:cubicBezTo>
                        <a:pt x="184779" y="398142"/>
                        <a:pt x="184779" y="389022"/>
                        <a:pt x="189300" y="388009"/>
                      </a:cubicBezTo>
                      <a:cubicBezTo>
                        <a:pt x="192690" y="386995"/>
                        <a:pt x="197210" y="389022"/>
                        <a:pt x="200601" y="388009"/>
                      </a:cubicBezTo>
                      <a:cubicBezTo>
                        <a:pt x="203992" y="394089"/>
                        <a:pt x="202861" y="393076"/>
                        <a:pt x="208512" y="398142"/>
                      </a:cubicBezTo>
                      <a:cubicBezTo>
                        <a:pt x="206252" y="395102"/>
                        <a:pt x="203992" y="388009"/>
                        <a:pt x="208512" y="3890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1" name="Freeform: Shape 320">
                  <a:extLst>
                    <a:ext uri="{FF2B5EF4-FFF2-40B4-BE49-F238E27FC236}">
                      <a16:creationId xmlns:a16="http://schemas.microsoft.com/office/drawing/2014/main" id="{47716D98-C029-4C4D-AD63-F99ADB3DD815}"/>
                    </a:ext>
                  </a:extLst>
                </p:cNvPr>
                <p:cNvSpPr/>
                <p:nvPr/>
              </p:nvSpPr>
              <p:spPr>
                <a:xfrm>
                  <a:off x="5874082" y="3325322"/>
                  <a:ext cx="576361" cy="466144"/>
                </a:xfrm>
                <a:custGeom>
                  <a:avLst/>
                  <a:gdLst>
                    <a:gd name="connsiteX0" fmla="*/ 537818 w 576360"/>
                    <a:gd name="connsiteY0" fmla="*/ 29281 h 466144"/>
                    <a:gd name="connsiteX1" fmla="*/ 511825 w 576360"/>
                    <a:gd name="connsiteY1" fmla="*/ 45494 h 466144"/>
                    <a:gd name="connsiteX2" fmla="*/ 507305 w 576360"/>
                    <a:gd name="connsiteY2" fmla="*/ 53601 h 466144"/>
                    <a:gd name="connsiteX3" fmla="*/ 422546 w 576360"/>
                    <a:gd name="connsiteY3" fmla="*/ 9013 h 466144"/>
                    <a:gd name="connsiteX4" fmla="*/ 234946 w 576360"/>
                    <a:gd name="connsiteY4" fmla="*/ 139737 h 466144"/>
                    <a:gd name="connsiteX5" fmla="*/ 215734 w 576360"/>
                    <a:gd name="connsiteY5" fmla="*/ 170137 h 466144"/>
                    <a:gd name="connsiteX6" fmla="*/ 166009 w 576360"/>
                    <a:gd name="connsiteY6" fmla="*/ 178244 h 466144"/>
                    <a:gd name="connsiteX7" fmla="*/ 170529 w 576360"/>
                    <a:gd name="connsiteY7" fmla="*/ 270460 h 466144"/>
                    <a:gd name="connsiteX8" fmla="*/ 159228 w 576360"/>
                    <a:gd name="connsiteY8" fmla="*/ 276540 h 466144"/>
                    <a:gd name="connsiteX9" fmla="*/ 158098 w 576360"/>
                    <a:gd name="connsiteY9" fmla="*/ 292753 h 466144"/>
                    <a:gd name="connsiteX10" fmla="*/ 153577 w 576360"/>
                    <a:gd name="connsiteY10" fmla="*/ 301874 h 466144"/>
                    <a:gd name="connsiteX11" fmla="*/ 132105 w 576360"/>
                    <a:gd name="connsiteY11" fmla="*/ 301874 h 466144"/>
                    <a:gd name="connsiteX12" fmla="*/ 86901 w 576360"/>
                    <a:gd name="connsiteY12" fmla="*/ 317074 h 466144"/>
                    <a:gd name="connsiteX13" fmla="*/ 49606 w 576360"/>
                    <a:gd name="connsiteY13" fmla="*/ 323154 h 466144"/>
                    <a:gd name="connsiteX14" fmla="*/ 27004 w 576360"/>
                    <a:gd name="connsiteY14" fmla="*/ 327208 h 466144"/>
                    <a:gd name="connsiteX15" fmla="*/ 22484 w 576360"/>
                    <a:gd name="connsiteY15" fmla="*/ 333288 h 466144"/>
                    <a:gd name="connsiteX16" fmla="*/ 15703 w 576360"/>
                    <a:gd name="connsiteY16" fmla="*/ 332275 h 466144"/>
                    <a:gd name="connsiteX17" fmla="*/ 10052 w 576360"/>
                    <a:gd name="connsiteY17" fmla="*/ 343421 h 466144"/>
                    <a:gd name="connsiteX18" fmla="*/ 22484 w 576360"/>
                    <a:gd name="connsiteY18" fmla="*/ 358622 h 466144"/>
                    <a:gd name="connsiteX19" fmla="*/ 48476 w 576360"/>
                    <a:gd name="connsiteY19" fmla="*/ 372809 h 466144"/>
                    <a:gd name="connsiteX20" fmla="*/ 45086 w 576360"/>
                    <a:gd name="connsiteY20" fmla="*/ 383955 h 466144"/>
                    <a:gd name="connsiteX21" fmla="*/ 60907 w 576360"/>
                    <a:gd name="connsiteY21" fmla="*/ 413343 h 466144"/>
                    <a:gd name="connsiteX22" fmla="*/ 75599 w 576360"/>
                    <a:gd name="connsiteY22" fmla="*/ 416383 h 466144"/>
                    <a:gd name="connsiteX23" fmla="*/ 71079 w 576360"/>
                    <a:gd name="connsiteY23" fmla="*/ 430570 h 466144"/>
                    <a:gd name="connsiteX24" fmla="*/ 81250 w 576360"/>
                    <a:gd name="connsiteY24" fmla="*/ 460971 h 466144"/>
                    <a:gd name="connsiteX25" fmla="*/ 95942 w 576360"/>
                    <a:gd name="connsiteY25" fmla="*/ 444757 h 466144"/>
                    <a:gd name="connsiteX26" fmla="*/ 111763 w 576360"/>
                    <a:gd name="connsiteY26" fmla="*/ 447797 h 466144"/>
                    <a:gd name="connsiteX27" fmla="*/ 116284 w 576360"/>
                    <a:gd name="connsiteY27" fmla="*/ 458944 h 466144"/>
                    <a:gd name="connsiteX28" fmla="*/ 137756 w 576360"/>
                    <a:gd name="connsiteY28" fmla="*/ 467051 h 466144"/>
                    <a:gd name="connsiteX29" fmla="*/ 150187 w 576360"/>
                    <a:gd name="connsiteY29" fmla="*/ 441717 h 466144"/>
                    <a:gd name="connsiteX30" fmla="*/ 164879 w 576360"/>
                    <a:gd name="connsiteY30" fmla="*/ 422463 h 466144"/>
                    <a:gd name="connsiteX31" fmla="*/ 168269 w 576360"/>
                    <a:gd name="connsiteY31" fmla="*/ 404223 h 466144"/>
                    <a:gd name="connsiteX32" fmla="*/ 203303 w 576360"/>
                    <a:gd name="connsiteY32" fmla="*/ 389022 h 466144"/>
                    <a:gd name="connsiteX33" fmla="*/ 231556 w 576360"/>
                    <a:gd name="connsiteY33" fmla="*/ 384969 h 466144"/>
                    <a:gd name="connsiteX34" fmla="*/ 248508 w 576360"/>
                    <a:gd name="connsiteY34" fmla="*/ 393076 h 466144"/>
                    <a:gd name="connsiteX35" fmla="*/ 266589 w 576360"/>
                    <a:gd name="connsiteY35" fmla="*/ 412330 h 466144"/>
                    <a:gd name="connsiteX36" fmla="*/ 289192 w 576360"/>
                    <a:gd name="connsiteY36" fmla="*/ 409289 h 466144"/>
                    <a:gd name="connsiteX37" fmla="*/ 316315 w 576360"/>
                    <a:gd name="connsiteY37" fmla="*/ 406249 h 466144"/>
                    <a:gd name="connsiteX38" fmla="*/ 334396 w 576360"/>
                    <a:gd name="connsiteY38" fmla="*/ 415370 h 466144"/>
                    <a:gd name="connsiteX39" fmla="*/ 368300 w 576360"/>
                    <a:gd name="connsiteY39" fmla="*/ 414356 h 466144"/>
                    <a:gd name="connsiteX40" fmla="*/ 390902 w 576360"/>
                    <a:gd name="connsiteY40" fmla="*/ 403209 h 466144"/>
                    <a:gd name="connsiteX41" fmla="*/ 427066 w 576360"/>
                    <a:gd name="connsiteY41" fmla="*/ 404223 h 466144"/>
                    <a:gd name="connsiteX42" fmla="*/ 468881 w 576360"/>
                    <a:gd name="connsiteY42" fmla="*/ 406249 h 466144"/>
                    <a:gd name="connsiteX43" fmla="*/ 486963 w 576360"/>
                    <a:gd name="connsiteY43" fmla="*/ 392062 h 466144"/>
                    <a:gd name="connsiteX44" fmla="*/ 509565 w 576360"/>
                    <a:gd name="connsiteY44" fmla="*/ 383955 h 466144"/>
                    <a:gd name="connsiteX45" fmla="*/ 509565 w 576360"/>
                    <a:gd name="connsiteY45" fmla="*/ 347475 h 466144"/>
                    <a:gd name="connsiteX46" fmla="*/ 562681 w 576360"/>
                    <a:gd name="connsiteY46" fmla="*/ 306941 h 466144"/>
                    <a:gd name="connsiteX47" fmla="*/ 562681 w 576360"/>
                    <a:gd name="connsiteY47" fmla="*/ 175204 h 466144"/>
                    <a:gd name="connsiteX48" fmla="*/ 573982 w 576360"/>
                    <a:gd name="connsiteY48" fmla="*/ 143790 h 466144"/>
                    <a:gd name="connsiteX49" fmla="*/ 559291 w 576360"/>
                    <a:gd name="connsiteY49" fmla="*/ 109336 h 466144"/>
                    <a:gd name="connsiteX50" fmla="*/ 537818 w 576360"/>
                    <a:gd name="connsiteY50" fmla="*/ 29281 h 46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76360" h="466144">
                      <a:moveTo>
                        <a:pt x="537818" y="29281"/>
                      </a:moveTo>
                      <a:lnTo>
                        <a:pt x="511825" y="45494"/>
                      </a:lnTo>
                      <a:lnTo>
                        <a:pt x="507305" y="53601"/>
                      </a:lnTo>
                      <a:lnTo>
                        <a:pt x="422546" y="9013"/>
                      </a:lnTo>
                      <a:lnTo>
                        <a:pt x="234946" y="139737"/>
                      </a:lnTo>
                      <a:lnTo>
                        <a:pt x="215734" y="170137"/>
                      </a:lnTo>
                      <a:lnTo>
                        <a:pt x="166009" y="178244"/>
                      </a:lnTo>
                      <a:lnTo>
                        <a:pt x="170529" y="270460"/>
                      </a:lnTo>
                      <a:lnTo>
                        <a:pt x="159228" y="276540"/>
                      </a:lnTo>
                      <a:cubicBezTo>
                        <a:pt x="159228" y="276540"/>
                        <a:pt x="159228" y="285660"/>
                        <a:pt x="158098" y="292753"/>
                      </a:cubicBezTo>
                      <a:cubicBezTo>
                        <a:pt x="156968" y="299847"/>
                        <a:pt x="153577" y="301874"/>
                        <a:pt x="153577" y="301874"/>
                      </a:cubicBezTo>
                      <a:lnTo>
                        <a:pt x="132105" y="301874"/>
                      </a:lnTo>
                      <a:cubicBezTo>
                        <a:pt x="132105" y="301874"/>
                        <a:pt x="98202" y="316061"/>
                        <a:pt x="86901" y="317074"/>
                      </a:cubicBezTo>
                      <a:cubicBezTo>
                        <a:pt x="75599" y="318087"/>
                        <a:pt x="55257" y="318087"/>
                        <a:pt x="49606" y="323154"/>
                      </a:cubicBezTo>
                      <a:cubicBezTo>
                        <a:pt x="43956" y="328221"/>
                        <a:pt x="27004" y="327208"/>
                        <a:pt x="27004" y="327208"/>
                      </a:cubicBezTo>
                      <a:lnTo>
                        <a:pt x="22484" y="333288"/>
                      </a:lnTo>
                      <a:lnTo>
                        <a:pt x="15703" y="332275"/>
                      </a:lnTo>
                      <a:lnTo>
                        <a:pt x="10052" y="343421"/>
                      </a:lnTo>
                      <a:lnTo>
                        <a:pt x="22484" y="358622"/>
                      </a:lnTo>
                      <a:lnTo>
                        <a:pt x="48476" y="372809"/>
                      </a:lnTo>
                      <a:lnTo>
                        <a:pt x="45086" y="383955"/>
                      </a:lnTo>
                      <a:lnTo>
                        <a:pt x="60907" y="413343"/>
                      </a:lnTo>
                      <a:cubicBezTo>
                        <a:pt x="60907" y="413343"/>
                        <a:pt x="73339" y="409289"/>
                        <a:pt x="75599" y="416383"/>
                      </a:cubicBezTo>
                      <a:cubicBezTo>
                        <a:pt x="77859" y="423477"/>
                        <a:pt x="71079" y="430570"/>
                        <a:pt x="71079" y="430570"/>
                      </a:cubicBezTo>
                      <a:lnTo>
                        <a:pt x="81250" y="460971"/>
                      </a:lnTo>
                      <a:lnTo>
                        <a:pt x="95942" y="444757"/>
                      </a:lnTo>
                      <a:cubicBezTo>
                        <a:pt x="95942" y="444757"/>
                        <a:pt x="102722" y="441717"/>
                        <a:pt x="111763" y="447797"/>
                      </a:cubicBezTo>
                      <a:cubicBezTo>
                        <a:pt x="120804" y="452864"/>
                        <a:pt x="116284" y="458944"/>
                        <a:pt x="116284" y="458944"/>
                      </a:cubicBezTo>
                      <a:lnTo>
                        <a:pt x="137756" y="467051"/>
                      </a:lnTo>
                      <a:lnTo>
                        <a:pt x="150187" y="441717"/>
                      </a:lnTo>
                      <a:cubicBezTo>
                        <a:pt x="150187" y="441717"/>
                        <a:pt x="164879" y="430570"/>
                        <a:pt x="164879" y="422463"/>
                      </a:cubicBezTo>
                      <a:cubicBezTo>
                        <a:pt x="164879" y="414356"/>
                        <a:pt x="168269" y="404223"/>
                        <a:pt x="168269" y="404223"/>
                      </a:cubicBezTo>
                      <a:cubicBezTo>
                        <a:pt x="168269" y="404223"/>
                        <a:pt x="194262" y="393076"/>
                        <a:pt x="203303" y="389022"/>
                      </a:cubicBezTo>
                      <a:cubicBezTo>
                        <a:pt x="212344" y="384969"/>
                        <a:pt x="221385" y="384969"/>
                        <a:pt x="231556" y="384969"/>
                      </a:cubicBezTo>
                      <a:cubicBezTo>
                        <a:pt x="241727" y="384969"/>
                        <a:pt x="241727" y="393076"/>
                        <a:pt x="248508" y="393076"/>
                      </a:cubicBezTo>
                      <a:cubicBezTo>
                        <a:pt x="255288" y="393076"/>
                        <a:pt x="266589" y="412330"/>
                        <a:pt x="266589" y="412330"/>
                      </a:cubicBezTo>
                      <a:cubicBezTo>
                        <a:pt x="266589" y="412330"/>
                        <a:pt x="279021" y="415370"/>
                        <a:pt x="289192" y="409289"/>
                      </a:cubicBezTo>
                      <a:cubicBezTo>
                        <a:pt x="299363" y="403209"/>
                        <a:pt x="310664" y="400169"/>
                        <a:pt x="316315" y="406249"/>
                      </a:cubicBezTo>
                      <a:cubicBezTo>
                        <a:pt x="321965" y="412330"/>
                        <a:pt x="315184" y="414356"/>
                        <a:pt x="334396" y="415370"/>
                      </a:cubicBezTo>
                      <a:cubicBezTo>
                        <a:pt x="354738" y="416383"/>
                        <a:pt x="367170" y="419423"/>
                        <a:pt x="368300" y="414356"/>
                      </a:cubicBezTo>
                      <a:cubicBezTo>
                        <a:pt x="369431" y="409289"/>
                        <a:pt x="382991" y="403209"/>
                        <a:pt x="390902" y="403209"/>
                      </a:cubicBezTo>
                      <a:cubicBezTo>
                        <a:pt x="399943" y="403209"/>
                        <a:pt x="411244" y="399156"/>
                        <a:pt x="427066" y="404223"/>
                      </a:cubicBezTo>
                      <a:cubicBezTo>
                        <a:pt x="442888" y="409289"/>
                        <a:pt x="457580" y="406249"/>
                        <a:pt x="468881" y="406249"/>
                      </a:cubicBezTo>
                      <a:cubicBezTo>
                        <a:pt x="480182" y="406249"/>
                        <a:pt x="486963" y="392062"/>
                        <a:pt x="486963" y="392062"/>
                      </a:cubicBezTo>
                      <a:lnTo>
                        <a:pt x="509565" y="383955"/>
                      </a:lnTo>
                      <a:lnTo>
                        <a:pt x="509565" y="347475"/>
                      </a:lnTo>
                      <a:lnTo>
                        <a:pt x="562681" y="306941"/>
                      </a:lnTo>
                      <a:cubicBezTo>
                        <a:pt x="562681" y="306941"/>
                        <a:pt x="559291" y="187364"/>
                        <a:pt x="562681" y="175204"/>
                      </a:cubicBezTo>
                      <a:cubicBezTo>
                        <a:pt x="566071" y="162030"/>
                        <a:pt x="566071" y="151897"/>
                        <a:pt x="573982" y="143790"/>
                      </a:cubicBezTo>
                      <a:cubicBezTo>
                        <a:pt x="581893" y="135683"/>
                        <a:pt x="559291" y="109336"/>
                        <a:pt x="559291" y="109336"/>
                      </a:cubicBezTo>
                      <a:lnTo>
                        <a:pt x="537818" y="2928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2" name="Freeform: Shape 321">
                  <a:extLst>
                    <a:ext uri="{FF2B5EF4-FFF2-40B4-BE49-F238E27FC236}">
                      <a16:creationId xmlns:a16="http://schemas.microsoft.com/office/drawing/2014/main" id="{672CB038-FA88-4891-A0C2-7DA945AE680C}"/>
                    </a:ext>
                  </a:extLst>
                </p:cNvPr>
                <p:cNvSpPr/>
                <p:nvPr/>
              </p:nvSpPr>
              <p:spPr>
                <a:xfrm>
                  <a:off x="2808067" y="3677970"/>
                  <a:ext cx="158217" cy="162137"/>
                </a:xfrm>
                <a:custGeom>
                  <a:avLst/>
                  <a:gdLst>
                    <a:gd name="connsiteX0" fmla="*/ 12312 w 158216"/>
                    <a:gd name="connsiteY0" fmla="*/ 75895 h 162137"/>
                    <a:gd name="connsiteX1" fmla="*/ 10052 w 158216"/>
                    <a:gd name="connsiteY1" fmla="*/ 86029 h 162137"/>
                    <a:gd name="connsiteX2" fmla="*/ 31525 w 158216"/>
                    <a:gd name="connsiteY2" fmla="*/ 100216 h 162137"/>
                    <a:gd name="connsiteX3" fmla="*/ 42826 w 158216"/>
                    <a:gd name="connsiteY3" fmla="*/ 126563 h 162137"/>
                    <a:gd name="connsiteX4" fmla="*/ 58647 w 158216"/>
                    <a:gd name="connsiteY4" fmla="*/ 140750 h 162137"/>
                    <a:gd name="connsiteX5" fmla="*/ 73339 w 158216"/>
                    <a:gd name="connsiteY5" fmla="*/ 141763 h 162137"/>
                    <a:gd name="connsiteX6" fmla="*/ 67688 w 158216"/>
                    <a:gd name="connsiteY6" fmla="*/ 131630 h 162137"/>
                    <a:gd name="connsiteX7" fmla="*/ 62038 w 158216"/>
                    <a:gd name="connsiteY7" fmla="*/ 119469 h 162137"/>
                    <a:gd name="connsiteX8" fmla="*/ 67688 w 158216"/>
                    <a:gd name="connsiteY8" fmla="*/ 112376 h 162137"/>
                    <a:gd name="connsiteX9" fmla="*/ 78989 w 158216"/>
                    <a:gd name="connsiteY9" fmla="*/ 126563 h 162137"/>
                    <a:gd name="connsiteX10" fmla="*/ 94811 w 158216"/>
                    <a:gd name="connsiteY10" fmla="*/ 136696 h 162137"/>
                    <a:gd name="connsiteX11" fmla="*/ 101592 w 158216"/>
                    <a:gd name="connsiteY11" fmla="*/ 151897 h 162137"/>
                    <a:gd name="connsiteX12" fmla="*/ 117413 w 158216"/>
                    <a:gd name="connsiteY12" fmla="*/ 150883 h 162137"/>
                    <a:gd name="connsiteX13" fmla="*/ 128715 w 158216"/>
                    <a:gd name="connsiteY13" fmla="*/ 158990 h 162137"/>
                    <a:gd name="connsiteX14" fmla="*/ 143406 w 158216"/>
                    <a:gd name="connsiteY14" fmla="*/ 158990 h 162137"/>
                    <a:gd name="connsiteX15" fmla="*/ 132105 w 158216"/>
                    <a:gd name="connsiteY15" fmla="*/ 146830 h 162137"/>
                    <a:gd name="connsiteX16" fmla="*/ 137756 w 158216"/>
                    <a:gd name="connsiteY16" fmla="*/ 139736 h 162137"/>
                    <a:gd name="connsiteX17" fmla="*/ 135495 w 158216"/>
                    <a:gd name="connsiteY17" fmla="*/ 120483 h 162137"/>
                    <a:gd name="connsiteX18" fmla="*/ 137756 w 158216"/>
                    <a:gd name="connsiteY18" fmla="*/ 94135 h 162137"/>
                    <a:gd name="connsiteX19" fmla="*/ 143406 w 158216"/>
                    <a:gd name="connsiteY19" fmla="*/ 94135 h 162137"/>
                    <a:gd name="connsiteX20" fmla="*/ 145666 w 158216"/>
                    <a:gd name="connsiteY20" fmla="*/ 45494 h 162137"/>
                    <a:gd name="connsiteX21" fmla="*/ 159228 w 158216"/>
                    <a:gd name="connsiteY21" fmla="*/ 26240 h 162137"/>
                    <a:gd name="connsiteX22" fmla="*/ 152447 w 158216"/>
                    <a:gd name="connsiteY22" fmla="*/ 9013 h 162137"/>
                    <a:gd name="connsiteX23" fmla="*/ 130975 w 158216"/>
                    <a:gd name="connsiteY23" fmla="*/ 12053 h 162137"/>
                    <a:gd name="connsiteX24" fmla="*/ 116284 w 158216"/>
                    <a:gd name="connsiteY24" fmla="*/ 26240 h 162137"/>
                    <a:gd name="connsiteX25" fmla="*/ 92551 w 158216"/>
                    <a:gd name="connsiteY25" fmla="*/ 35361 h 162137"/>
                    <a:gd name="connsiteX26" fmla="*/ 74469 w 158216"/>
                    <a:gd name="connsiteY26" fmla="*/ 36374 h 162137"/>
                    <a:gd name="connsiteX27" fmla="*/ 54127 w 158216"/>
                    <a:gd name="connsiteY27" fmla="*/ 32321 h 162137"/>
                    <a:gd name="connsiteX28" fmla="*/ 27004 w 158216"/>
                    <a:gd name="connsiteY28" fmla="*/ 42454 h 162137"/>
                    <a:gd name="connsiteX29" fmla="*/ 27004 w 158216"/>
                    <a:gd name="connsiteY29" fmla="*/ 71841 h 162137"/>
                    <a:gd name="connsiteX30" fmla="*/ 12312 w 158216"/>
                    <a:gd name="connsiteY30" fmla="*/ 75895 h 162137"/>
                    <a:gd name="connsiteX31" fmla="*/ 40565 w 158216"/>
                    <a:gd name="connsiteY31" fmla="*/ 96162 h 162137"/>
                    <a:gd name="connsiteX32" fmla="*/ 48476 w 158216"/>
                    <a:gd name="connsiteY32" fmla="*/ 108322 h 162137"/>
                    <a:gd name="connsiteX33" fmla="*/ 40565 w 158216"/>
                    <a:gd name="connsiteY33" fmla="*/ 96162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8216" h="162137">
                      <a:moveTo>
                        <a:pt x="12312" y="75895"/>
                      </a:moveTo>
                      <a:cubicBezTo>
                        <a:pt x="11182" y="78935"/>
                        <a:pt x="11182" y="82988"/>
                        <a:pt x="10052" y="86029"/>
                      </a:cubicBezTo>
                      <a:cubicBezTo>
                        <a:pt x="16833" y="90082"/>
                        <a:pt x="27004" y="94135"/>
                        <a:pt x="31525" y="100216"/>
                      </a:cubicBezTo>
                      <a:cubicBezTo>
                        <a:pt x="37175" y="108322"/>
                        <a:pt x="37175" y="118456"/>
                        <a:pt x="42826" y="126563"/>
                      </a:cubicBezTo>
                      <a:cubicBezTo>
                        <a:pt x="46216" y="131630"/>
                        <a:pt x="52997" y="136696"/>
                        <a:pt x="58647" y="140750"/>
                      </a:cubicBezTo>
                      <a:cubicBezTo>
                        <a:pt x="58647" y="140750"/>
                        <a:pt x="65428" y="136696"/>
                        <a:pt x="73339" y="141763"/>
                      </a:cubicBezTo>
                      <a:cubicBezTo>
                        <a:pt x="72209" y="138723"/>
                        <a:pt x="69949" y="135683"/>
                        <a:pt x="67688" y="131630"/>
                      </a:cubicBezTo>
                      <a:cubicBezTo>
                        <a:pt x="66558" y="129603"/>
                        <a:pt x="59778" y="130616"/>
                        <a:pt x="62038" y="119469"/>
                      </a:cubicBezTo>
                      <a:lnTo>
                        <a:pt x="67688" y="112376"/>
                      </a:lnTo>
                      <a:cubicBezTo>
                        <a:pt x="71079" y="116429"/>
                        <a:pt x="74469" y="123523"/>
                        <a:pt x="78989" y="126563"/>
                      </a:cubicBezTo>
                      <a:cubicBezTo>
                        <a:pt x="85770" y="131630"/>
                        <a:pt x="85770" y="124536"/>
                        <a:pt x="94811" y="136696"/>
                      </a:cubicBezTo>
                      <a:cubicBezTo>
                        <a:pt x="99332" y="142776"/>
                        <a:pt x="98202" y="145817"/>
                        <a:pt x="101592" y="151897"/>
                      </a:cubicBezTo>
                      <a:cubicBezTo>
                        <a:pt x="108373" y="148857"/>
                        <a:pt x="117413" y="150883"/>
                        <a:pt x="117413" y="150883"/>
                      </a:cubicBezTo>
                      <a:cubicBezTo>
                        <a:pt x="117413" y="150883"/>
                        <a:pt x="120804" y="158990"/>
                        <a:pt x="128715" y="158990"/>
                      </a:cubicBezTo>
                      <a:cubicBezTo>
                        <a:pt x="137756" y="158990"/>
                        <a:pt x="143406" y="158990"/>
                        <a:pt x="143406" y="158990"/>
                      </a:cubicBezTo>
                      <a:cubicBezTo>
                        <a:pt x="142276" y="155950"/>
                        <a:pt x="133235" y="150883"/>
                        <a:pt x="132105" y="146830"/>
                      </a:cubicBezTo>
                      <a:cubicBezTo>
                        <a:pt x="130975" y="140750"/>
                        <a:pt x="136626" y="141763"/>
                        <a:pt x="137756" y="139736"/>
                      </a:cubicBezTo>
                      <a:cubicBezTo>
                        <a:pt x="140016" y="133656"/>
                        <a:pt x="135495" y="122509"/>
                        <a:pt x="135495" y="120483"/>
                      </a:cubicBezTo>
                      <a:cubicBezTo>
                        <a:pt x="135495" y="111363"/>
                        <a:pt x="136626" y="104269"/>
                        <a:pt x="137756" y="94135"/>
                      </a:cubicBezTo>
                      <a:lnTo>
                        <a:pt x="143406" y="94135"/>
                      </a:lnTo>
                      <a:cubicBezTo>
                        <a:pt x="145666" y="75895"/>
                        <a:pt x="138886" y="64748"/>
                        <a:pt x="145666" y="45494"/>
                      </a:cubicBezTo>
                      <a:cubicBezTo>
                        <a:pt x="147927" y="39414"/>
                        <a:pt x="158098" y="32321"/>
                        <a:pt x="159228" y="26240"/>
                      </a:cubicBezTo>
                      <a:cubicBezTo>
                        <a:pt x="159228" y="25227"/>
                        <a:pt x="153577" y="11040"/>
                        <a:pt x="152447" y="9013"/>
                      </a:cubicBezTo>
                      <a:lnTo>
                        <a:pt x="130975" y="12053"/>
                      </a:lnTo>
                      <a:cubicBezTo>
                        <a:pt x="130975" y="12053"/>
                        <a:pt x="116284" y="21174"/>
                        <a:pt x="116284" y="26240"/>
                      </a:cubicBezTo>
                      <a:cubicBezTo>
                        <a:pt x="116284" y="31307"/>
                        <a:pt x="100462" y="32321"/>
                        <a:pt x="92551" y="35361"/>
                      </a:cubicBezTo>
                      <a:cubicBezTo>
                        <a:pt x="83510" y="38401"/>
                        <a:pt x="76729" y="41441"/>
                        <a:pt x="74469" y="36374"/>
                      </a:cubicBezTo>
                      <a:cubicBezTo>
                        <a:pt x="72209" y="31307"/>
                        <a:pt x="64298" y="30294"/>
                        <a:pt x="54127" y="32321"/>
                      </a:cubicBezTo>
                      <a:cubicBezTo>
                        <a:pt x="43956" y="34347"/>
                        <a:pt x="27004" y="42454"/>
                        <a:pt x="27004" y="42454"/>
                      </a:cubicBezTo>
                      <a:cubicBezTo>
                        <a:pt x="27004" y="42454"/>
                        <a:pt x="31525" y="62721"/>
                        <a:pt x="27004" y="71841"/>
                      </a:cubicBezTo>
                      <a:cubicBezTo>
                        <a:pt x="23614" y="79948"/>
                        <a:pt x="12312" y="75895"/>
                        <a:pt x="12312" y="75895"/>
                      </a:cubicBezTo>
                      <a:close/>
                      <a:moveTo>
                        <a:pt x="40565" y="96162"/>
                      </a:moveTo>
                      <a:cubicBezTo>
                        <a:pt x="52997" y="97175"/>
                        <a:pt x="69949" y="103255"/>
                        <a:pt x="48476" y="108322"/>
                      </a:cubicBezTo>
                      <a:cubicBezTo>
                        <a:pt x="47346" y="107309"/>
                        <a:pt x="33785" y="95149"/>
                        <a:pt x="40565" y="9616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3" name="Freeform: Shape 322">
                  <a:extLst>
                    <a:ext uri="{FF2B5EF4-FFF2-40B4-BE49-F238E27FC236}">
                      <a16:creationId xmlns:a16="http://schemas.microsoft.com/office/drawing/2014/main" id="{CFEE3463-35E7-479C-A9AC-44E8E5151D7C}"/>
                    </a:ext>
                  </a:extLst>
                </p:cNvPr>
                <p:cNvSpPr/>
                <p:nvPr/>
              </p:nvSpPr>
              <p:spPr>
                <a:xfrm>
                  <a:off x="11698159" y="5633143"/>
                  <a:ext cx="452048" cy="587747"/>
                </a:xfrm>
                <a:custGeom>
                  <a:avLst/>
                  <a:gdLst>
                    <a:gd name="connsiteX0" fmla="*/ 57754 w 452047"/>
                    <a:gd name="connsiteY0" fmla="*/ 552173 h 587746"/>
                    <a:gd name="connsiteX1" fmla="*/ 49844 w 452047"/>
                    <a:gd name="connsiteY1" fmla="*/ 586627 h 587746"/>
                    <a:gd name="connsiteX2" fmla="*/ 76967 w 452047"/>
                    <a:gd name="connsiteY2" fmla="*/ 584600 h 587746"/>
                    <a:gd name="connsiteX3" fmla="*/ 79227 w 452047"/>
                    <a:gd name="connsiteY3" fmla="*/ 574466 h 587746"/>
                    <a:gd name="connsiteX4" fmla="*/ 71316 w 452047"/>
                    <a:gd name="connsiteY4" fmla="*/ 572440 h 587746"/>
                    <a:gd name="connsiteX5" fmla="*/ 71316 w 452047"/>
                    <a:gd name="connsiteY5" fmla="*/ 562307 h 587746"/>
                    <a:gd name="connsiteX6" fmla="*/ 57754 w 452047"/>
                    <a:gd name="connsiteY6" fmla="*/ 552173 h 587746"/>
                    <a:gd name="connsiteX7" fmla="*/ 271347 w 452047"/>
                    <a:gd name="connsiteY7" fmla="*/ 296807 h 587746"/>
                    <a:gd name="connsiteX8" fmla="*/ 273608 w 452047"/>
                    <a:gd name="connsiteY8" fmla="*/ 301874 h 587746"/>
                    <a:gd name="connsiteX9" fmla="*/ 271347 w 452047"/>
                    <a:gd name="connsiteY9" fmla="*/ 296807 h 587746"/>
                    <a:gd name="connsiteX10" fmla="*/ 230663 w 452047"/>
                    <a:gd name="connsiteY10" fmla="*/ 277553 h 587746"/>
                    <a:gd name="connsiteX11" fmla="*/ 222753 w 452047"/>
                    <a:gd name="connsiteY11" fmla="*/ 287687 h 587746"/>
                    <a:gd name="connsiteX12" fmla="*/ 209190 w 452047"/>
                    <a:gd name="connsiteY12" fmla="*/ 329235 h 587746"/>
                    <a:gd name="connsiteX13" fmla="*/ 197889 w 452047"/>
                    <a:gd name="connsiteY13" fmla="*/ 336328 h 587746"/>
                    <a:gd name="connsiteX14" fmla="*/ 197889 w 452047"/>
                    <a:gd name="connsiteY14" fmla="*/ 346461 h 587746"/>
                    <a:gd name="connsiteX15" fmla="*/ 186588 w 452047"/>
                    <a:gd name="connsiteY15" fmla="*/ 351528 h 587746"/>
                    <a:gd name="connsiteX16" fmla="*/ 180937 w 452047"/>
                    <a:gd name="connsiteY16" fmla="*/ 370782 h 587746"/>
                    <a:gd name="connsiteX17" fmla="*/ 175287 w 452047"/>
                    <a:gd name="connsiteY17" fmla="*/ 372809 h 587746"/>
                    <a:gd name="connsiteX18" fmla="*/ 159465 w 452047"/>
                    <a:gd name="connsiteY18" fmla="*/ 402196 h 587746"/>
                    <a:gd name="connsiteX19" fmla="*/ 145904 w 452047"/>
                    <a:gd name="connsiteY19" fmla="*/ 407263 h 587746"/>
                    <a:gd name="connsiteX20" fmla="*/ 143644 w 452047"/>
                    <a:gd name="connsiteY20" fmla="*/ 414356 h 587746"/>
                    <a:gd name="connsiteX21" fmla="*/ 118781 w 452047"/>
                    <a:gd name="connsiteY21" fmla="*/ 426517 h 587746"/>
                    <a:gd name="connsiteX22" fmla="*/ 110871 w 452047"/>
                    <a:gd name="connsiteY22" fmla="*/ 436650 h 587746"/>
                    <a:gd name="connsiteX23" fmla="*/ 83747 w 452047"/>
                    <a:gd name="connsiteY23" fmla="*/ 441717 h 587746"/>
                    <a:gd name="connsiteX24" fmla="*/ 64536 w 452047"/>
                    <a:gd name="connsiteY24" fmla="*/ 466038 h 587746"/>
                    <a:gd name="connsiteX25" fmla="*/ 50974 w 452047"/>
                    <a:gd name="connsiteY25" fmla="*/ 466038 h 587746"/>
                    <a:gd name="connsiteX26" fmla="*/ 48714 w 452047"/>
                    <a:gd name="connsiteY26" fmla="*/ 476171 h 587746"/>
                    <a:gd name="connsiteX27" fmla="*/ 37413 w 452047"/>
                    <a:gd name="connsiteY27" fmla="*/ 478198 h 587746"/>
                    <a:gd name="connsiteX28" fmla="*/ 31762 w 452047"/>
                    <a:gd name="connsiteY28" fmla="*/ 488331 h 587746"/>
                    <a:gd name="connsiteX29" fmla="*/ 23851 w 452047"/>
                    <a:gd name="connsiteY29" fmla="*/ 488331 h 587746"/>
                    <a:gd name="connsiteX30" fmla="*/ 23851 w 452047"/>
                    <a:gd name="connsiteY30" fmla="*/ 495425 h 587746"/>
                    <a:gd name="connsiteX31" fmla="*/ 29501 w 452047"/>
                    <a:gd name="connsiteY31" fmla="*/ 500491 h 587746"/>
                    <a:gd name="connsiteX32" fmla="*/ 21591 w 452047"/>
                    <a:gd name="connsiteY32" fmla="*/ 507585 h 587746"/>
                    <a:gd name="connsiteX33" fmla="*/ 21591 w 452047"/>
                    <a:gd name="connsiteY33" fmla="*/ 517719 h 587746"/>
                    <a:gd name="connsiteX34" fmla="*/ 10290 w 452047"/>
                    <a:gd name="connsiteY34" fmla="*/ 519746 h 587746"/>
                    <a:gd name="connsiteX35" fmla="*/ 10290 w 452047"/>
                    <a:gd name="connsiteY35" fmla="*/ 526839 h 587746"/>
                    <a:gd name="connsiteX36" fmla="*/ 29501 w 452047"/>
                    <a:gd name="connsiteY36" fmla="*/ 536973 h 587746"/>
                    <a:gd name="connsiteX37" fmla="*/ 31762 w 452047"/>
                    <a:gd name="connsiteY37" fmla="*/ 542040 h 587746"/>
                    <a:gd name="connsiteX38" fmla="*/ 56624 w 452047"/>
                    <a:gd name="connsiteY38" fmla="*/ 536973 h 587746"/>
                    <a:gd name="connsiteX39" fmla="*/ 58885 w 452047"/>
                    <a:gd name="connsiteY39" fmla="*/ 549133 h 587746"/>
                    <a:gd name="connsiteX40" fmla="*/ 74706 w 452047"/>
                    <a:gd name="connsiteY40" fmla="*/ 549133 h 587746"/>
                    <a:gd name="connsiteX41" fmla="*/ 76967 w 452047"/>
                    <a:gd name="connsiteY41" fmla="*/ 554199 h 587746"/>
                    <a:gd name="connsiteX42" fmla="*/ 109741 w 452047"/>
                    <a:gd name="connsiteY42" fmla="*/ 559266 h 587746"/>
                    <a:gd name="connsiteX43" fmla="*/ 128952 w 452047"/>
                    <a:gd name="connsiteY43" fmla="*/ 547106 h 587746"/>
                    <a:gd name="connsiteX44" fmla="*/ 128952 w 452047"/>
                    <a:gd name="connsiteY44" fmla="*/ 542040 h 587746"/>
                    <a:gd name="connsiteX45" fmla="*/ 140253 w 452047"/>
                    <a:gd name="connsiteY45" fmla="*/ 540013 h 587746"/>
                    <a:gd name="connsiteX46" fmla="*/ 140253 w 452047"/>
                    <a:gd name="connsiteY46" fmla="*/ 532919 h 587746"/>
                    <a:gd name="connsiteX47" fmla="*/ 156075 w 452047"/>
                    <a:gd name="connsiteY47" fmla="*/ 520759 h 587746"/>
                    <a:gd name="connsiteX48" fmla="*/ 161726 w 452047"/>
                    <a:gd name="connsiteY48" fmla="*/ 501505 h 587746"/>
                    <a:gd name="connsiteX49" fmla="*/ 177548 w 452047"/>
                    <a:gd name="connsiteY49" fmla="*/ 452864 h 587746"/>
                    <a:gd name="connsiteX50" fmla="*/ 183199 w 452047"/>
                    <a:gd name="connsiteY50" fmla="*/ 447797 h 587746"/>
                    <a:gd name="connsiteX51" fmla="*/ 210320 w 452047"/>
                    <a:gd name="connsiteY51" fmla="*/ 442730 h 587746"/>
                    <a:gd name="connsiteX52" fmla="*/ 215971 w 452047"/>
                    <a:gd name="connsiteY52" fmla="*/ 432596 h 587746"/>
                    <a:gd name="connsiteX53" fmla="*/ 248745 w 452047"/>
                    <a:gd name="connsiteY53" fmla="*/ 432596 h 587746"/>
                    <a:gd name="connsiteX54" fmla="*/ 235184 w 452047"/>
                    <a:gd name="connsiteY54" fmla="*/ 430570 h 587746"/>
                    <a:gd name="connsiteX55" fmla="*/ 248745 w 452047"/>
                    <a:gd name="connsiteY55" fmla="*/ 396116 h 587746"/>
                    <a:gd name="connsiteX56" fmla="*/ 256656 w 452047"/>
                    <a:gd name="connsiteY56" fmla="*/ 394089 h 587746"/>
                    <a:gd name="connsiteX57" fmla="*/ 262307 w 452047"/>
                    <a:gd name="connsiteY57" fmla="*/ 374836 h 587746"/>
                    <a:gd name="connsiteX58" fmla="*/ 273608 w 452047"/>
                    <a:gd name="connsiteY58" fmla="*/ 367742 h 587746"/>
                    <a:gd name="connsiteX59" fmla="*/ 284909 w 452047"/>
                    <a:gd name="connsiteY59" fmla="*/ 348488 h 587746"/>
                    <a:gd name="connsiteX60" fmla="*/ 290560 w 452047"/>
                    <a:gd name="connsiteY60" fmla="*/ 348488 h 587746"/>
                    <a:gd name="connsiteX61" fmla="*/ 284909 w 452047"/>
                    <a:gd name="connsiteY61" fmla="*/ 329235 h 587746"/>
                    <a:gd name="connsiteX62" fmla="*/ 292820 w 452047"/>
                    <a:gd name="connsiteY62" fmla="*/ 324168 h 587746"/>
                    <a:gd name="connsiteX63" fmla="*/ 292820 w 452047"/>
                    <a:gd name="connsiteY63" fmla="*/ 304914 h 587746"/>
                    <a:gd name="connsiteX64" fmla="*/ 281518 w 452047"/>
                    <a:gd name="connsiteY64" fmla="*/ 309981 h 587746"/>
                    <a:gd name="connsiteX65" fmla="*/ 275868 w 452047"/>
                    <a:gd name="connsiteY65" fmla="*/ 312007 h 587746"/>
                    <a:gd name="connsiteX66" fmla="*/ 273608 w 452047"/>
                    <a:gd name="connsiteY66" fmla="*/ 304914 h 587746"/>
                    <a:gd name="connsiteX67" fmla="*/ 265696 w 452047"/>
                    <a:gd name="connsiteY67" fmla="*/ 306941 h 587746"/>
                    <a:gd name="connsiteX68" fmla="*/ 263437 w 452047"/>
                    <a:gd name="connsiteY68" fmla="*/ 312007 h 587746"/>
                    <a:gd name="connsiteX69" fmla="*/ 252136 w 452047"/>
                    <a:gd name="connsiteY69" fmla="*/ 312007 h 587746"/>
                    <a:gd name="connsiteX70" fmla="*/ 249874 w 452047"/>
                    <a:gd name="connsiteY70" fmla="*/ 297820 h 587746"/>
                    <a:gd name="connsiteX71" fmla="*/ 247615 w 452047"/>
                    <a:gd name="connsiteY71" fmla="*/ 297820 h 587746"/>
                    <a:gd name="connsiteX72" fmla="*/ 239705 w 452047"/>
                    <a:gd name="connsiteY72" fmla="*/ 290727 h 587746"/>
                    <a:gd name="connsiteX73" fmla="*/ 237443 w 452047"/>
                    <a:gd name="connsiteY73" fmla="*/ 285660 h 587746"/>
                    <a:gd name="connsiteX74" fmla="*/ 245355 w 452047"/>
                    <a:gd name="connsiteY74" fmla="*/ 278567 h 587746"/>
                    <a:gd name="connsiteX75" fmla="*/ 230663 w 452047"/>
                    <a:gd name="connsiteY75" fmla="*/ 277553 h 587746"/>
                    <a:gd name="connsiteX76" fmla="*/ 342545 w 452047"/>
                    <a:gd name="connsiteY76" fmla="*/ 97176 h 587746"/>
                    <a:gd name="connsiteX77" fmla="*/ 344805 w 452047"/>
                    <a:gd name="connsiteY77" fmla="*/ 104269 h 587746"/>
                    <a:gd name="connsiteX78" fmla="*/ 342545 w 452047"/>
                    <a:gd name="connsiteY78" fmla="*/ 97176 h 587746"/>
                    <a:gd name="connsiteX79" fmla="*/ 236314 w 452047"/>
                    <a:gd name="connsiteY79" fmla="*/ 12053 h 587746"/>
                    <a:gd name="connsiteX80" fmla="*/ 234054 w 452047"/>
                    <a:gd name="connsiteY80" fmla="*/ 19147 h 587746"/>
                    <a:gd name="connsiteX81" fmla="*/ 255525 w 452047"/>
                    <a:gd name="connsiteY81" fmla="*/ 41441 h 587746"/>
                    <a:gd name="connsiteX82" fmla="*/ 266826 w 452047"/>
                    <a:gd name="connsiteY82" fmla="*/ 67788 h 587746"/>
                    <a:gd name="connsiteX83" fmla="*/ 286039 w 452047"/>
                    <a:gd name="connsiteY83" fmla="*/ 90082 h 587746"/>
                    <a:gd name="connsiteX84" fmla="*/ 288299 w 452047"/>
                    <a:gd name="connsiteY84" fmla="*/ 97176 h 587746"/>
                    <a:gd name="connsiteX85" fmla="*/ 299600 w 452047"/>
                    <a:gd name="connsiteY85" fmla="*/ 99202 h 587746"/>
                    <a:gd name="connsiteX86" fmla="*/ 301861 w 452047"/>
                    <a:gd name="connsiteY86" fmla="*/ 111363 h 587746"/>
                    <a:gd name="connsiteX87" fmla="*/ 299600 w 452047"/>
                    <a:gd name="connsiteY87" fmla="*/ 130616 h 587746"/>
                    <a:gd name="connsiteX88" fmla="*/ 313162 w 452047"/>
                    <a:gd name="connsiteY88" fmla="*/ 132643 h 587746"/>
                    <a:gd name="connsiteX89" fmla="*/ 307512 w 452047"/>
                    <a:gd name="connsiteY89" fmla="*/ 137710 h 587746"/>
                    <a:gd name="connsiteX90" fmla="*/ 309771 w 452047"/>
                    <a:gd name="connsiteY90" fmla="*/ 186351 h 587746"/>
                    <a:gd name="connsiteX91" fmla="*/ 301861 w 452047"/>
                    <a:gd name="connsiteY91" fmla="*/ 193444 h 587746"/>
                    <a:gd name="connsiteX92" fmla="*/ 296211 w 452047"/>
                    <a:gd name="connsiteY92" fmla="*/ 212699 h 587746"/>
                    <a:gd name="connsiteX93" fmla="*/ 274738 w 452047"/>
                    <a:gd name="connsiteY93" fmla="*/ 217765 h 587746"/>
                    <a:gd name="connsiteX94" fmla="*/ 272477 w 452047"/>
                    <a:gd name="connsiteY94" fmla="*/ 222832 h 587746"/>
                    <a:gd name="connsiteX95" fmla="*/ 272477 w 452047"/>
                    <a:gd name="connsiteY95" fmla="*/ 229925 h 587746"/>
                    <a:gd name="connsiteX96" fmla="*/ 324463 w 452047"/>
                    <a:gd name="connsiteY96" fmla="*/ 288700 h 587746"/>
                    <a:gd name="connsiteX97" fmla="*/ 310901 w 452047"/>
                    <a:gd name="connsiteY97" fmla="*/ 305927 h 587746"/>
                    <a:gd name="connsiteX98" fmla="*/ 310901 w 452047"/>
                    <a:gd name="connsiteY98" fmla="*/ 313020 h 587746"/>
                    <a:gd name="connsiteX99" fmla="*/ 332374 w 452047"/>
                    <a:gd name="connsiteY99" fmla="*/ 318087 h 587746"/>
                    <a:gd name="connsiteX100" fmla="*/ 340284 w 452047"/>
                    <a:gd name="connsiteY100" fmla="*/ 328221 h 587746"/>
                    <a:gd name="connsiteX101" fmla="*/ 361757 w 452047"/>
                    <a:gd name="connsiteY101" fmla="*/ 305927 h 587746"/>
                    <a:gd name="connsiteX102" fmla="*/ 369668 w 452047"/>
                    <a:gd name="connsiteY102" fmla="*/ 295793 h 587746"/>
                    <a:gd name="connsiteX103" fmla="*/ 369668 w 452047"/>
                    <a:gd name="connsiteY103" fmla="*/ 283634 h 587746"/>
                    <a:gd name="connsiteX104" fmla="*/ 391139 w 452047"/>
                    <a:gd name="connsiteY104" fmla="*/ 271473 h 587746"/>
                    <a:gd name="connsiteX105" fmla="*/ 391139 w 452047"/>
                    <a:gd name="connsiteY105" fmla="*/ 254246 h 587746"/>
                    <a:gd name="connsiteX106" fmla="*/ 399051 w 452047"/>
                    <a:gd name="connsiteY106" fmla="*/ 247152 h 587746"/>
                    <a:gd name="connsiteX107" fmla="*/ 391139 w 452047"/>
                    <a:gd name="connsiteY107" fmla="*/ 237019 h 587746"/>
                    <a:gd name="connsiteX108" fmla="*/ 429564 w 452047"/>
                    <a:gd name="connsiteY108" fmla="*/ 229925 h 587746"/>
                    <a:gd name="connsiteX109" fmla="*/ 423913 w 452047"/>
                    <a:gd name="connsiteY109" fmla="*/ 212699 h 587746"/>
                    <a:gd name="connsiteX110" fmla="*/ 431825 w 452047"/>
                    <a:gd name="connsiteY110" fmla="*/ 207632 h 587746"/>
                    <a:gd name="connsiteX111" fmla="*/ 447645 w 452047"/>
                    <a:gd name="connsiteY111" fmla="*/ 173177 h 587746"/>
                    <a:gd name="connsiteX112" fmla="*/ 404702 w 452047"/>
                    <a:gd name="connsiteY112" fmla="*/ 173177 h 587746"/>
                    <a:gd name="connsiteX113" fmla="*/ 399051 w 452047"/>
                    <a:gd name="connsiteY113" fmla="*/ 178244 h 587746"/>
                    <a:gd name="connsiteX114" fmla="*/ 369668 w 452047"/>
                    <a:gd name="connsiteY114" fmla="*/ 168111 h 587746"/>
                    <a:gd name="connsiteX115" fmla="*/ 358367 w 452047"/>
                    <a:gd name="connsiteY115" fmla="*/ 143790 h 587746"/>
                    <a:gd name="connsiteX116" fmla="*/ 356106 w 452047"/>
                    <a:gd name="connsiteY116" fmla="*/ 124536 h 587746"/>
                    <a:gd name="connsiteX117" fmla="*/ 344805 w 452047"/>
                    <a:gd name="connsiteY117" fmla="*/ 126563 h 587746"/>
                    <a:gd name="connsiteX118" fmla="*/ 344805 w 452047"/>
                    <a:gd name="connsiteY118" fmla="*/ 109336 h 587746"/>
                    <a:gd name="connsiteX119" fmla="*/ 339154 w 452047"/>
                    <a:gd name="connsiteY119" fmla="*/ 109336 h 587746"/>
                    <a:gd name="connsiteX120" fmla="*/ 333504 w 452047"/>
                    <a:gd name="connsiteY120" fmla="*/ 138723 h 587746"/>
                    <a:gd name="connsiteX121" fmla="*/ 331244 w 452047"/>
                    <a:gd name="connsiteY121" fmla="*/ 131630 h 587746"/>
                    <a:gd name="connsiteX122" fmla="*/ 317682 w 452047"/>
                    <a:gd name="connsiteY122" fmla="*/ 126563 h 587746"/>
                    <a:gd name="connsiteX123" fmla="*/ 317682 w 452047"/>
                    <a:gd name="connsiteY123" fmla="*/ 97176 h 587746"/>
                    <a:gd name="connsiteX124" fmla="*/ 306380 w 452047"/>
                    <a:gd name="connsiteY124" fmla="*/ 79948 h 587746"/>
                    <a:gd name="connsiteX125" fmla="*/ 312031 w 452047"/>
                    <a:gd name="connsiteY125" fmla="*/ 72855 h 587746"/>
                    <a:gd name="connsiteX126" fmla="*/ 309771 w 452047"/>
                    <a:gd name="connsiteY126" fmla="*/ 55628 h 587746"/>
                    <a:gd name="connsiteX127" fmla="*/ 296211 w 452047"/>
                    <a:gd name="connsiteY127" fmla="*/ 57654 h 587746"/>
                    <a:gd name="connsiteX128" fmla="*/ 296211 w 452047"/>
                    <a:gd name="connsiteY128" fmla="*/ 47521 h 587746"/>
                    <a:gd name="connsiteX129" fmla="*/ 284909 w 452047"/>
                    <a:gd name="connsiteY129" fmla="*/ 35361 h 587746"/>
                    <a:gd name="connsiteX130" fmla="*/ 273608 w 452047"/>
                    <a:gd name="connsiteY130" fmla="*/ 35361 h 587746"/>
                    <a:gd name="connsiteX131" fmla="*/ 271347 w 452047"/>
                    <a:gd name="connsiteY131" fmla="*/ 28267 h 587746"/>
                    <a:gd name="connsiteX132" fmla="*/ 255525 w 452047"/>
                    <a:gd name="connsiteY132" fmla="*/ 26241 h 587746"/>
                    <a:gd name="connsiteX133" fmla="*/ 244224 w 452047"/>
                    <a:gd name="connsiteY133" fmla="*/ 16107 h 587746"/>
                    <a:gd name="connsiteX134" fmla="*/ 246485 w 452047"/>
                    <a:gd name="connsiteY134" fmla="*/ 9013 h 587746"/>
                    <a:gd name="connsiteX135" fmla="*/ 236314 w 452047"/>
                    <a:gd name="connsiteY135" fmla="*/ 12053 h 58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452047" h="587746">
                      <a:moveTo>
                        <a:pt x="57754" y="552173"/>
                      </a:moveTo>
                      <a:cubicBezTo>
                        <a:pt x="56624" y="562307"/>
                        <a:pt x="52104" y="577507"/>
                        <a:pt x="49844" y="586627"/>
                      </a:cubicBezTo>
                      <a:cubicBezTo>
                        <a:pt x="58885" y="586627"/>
                        <a:pt x="71316" y="584600"/>
                        <a:pt x="76967" y="584600"/>
                      </a:cubicBezTo>
                      <a:cubicBezTo>
                        <a:pt x="78097" y="581560"/>
                        <a:pt x="78097" y="576493"/>
                        <a:pt x="79227" y="574466"/>
                      </a:cubicBezTo>
                      <a:lnTo>
                        <a:pt x="71316" y="572440"/>
                      </a:lnTo>
                      <a:cubicBezTo>
                        <a:pt x="70187" y="569400"/>
                        <a:pt x="72446" y="565347"/>
                        <a:pt x="71316" y="562307"/>
                      </a:cubicBezTo>
                      <a:cubicBezTo>
                        <a:pt x="70187" y="558253"/>
                        <a:pt x="60015" y="554199"/>
                        <a:pt x="57754" y="552173"/>
                      </a:cubicBezTo>
                      <a:close/>
                      <a:moveTo>
                        <a:pt x="271347" y="296807"/>
                      </a:moveTo>
                      <a:lnTo>
                        <a:pt x="273608" y="301874"/>
                      </a:lnTo>
                      <a:cubicBezTo>
                        <a:pt x="273608" y="297820"/>
                        <a:pt x="276998" y="296807"/>
                        <a:pt x="271347" y="296807"/>
                      </a:cubicBezTo>
                      <a:close/>
                      <a:moveTo>
                        <a:pt x="230663" y="277553"/>
                      </a:moveTo>
                      <a:cubicBezTo>
                        <a:pt x="228403" y="278567"/>
                        <a:pt x="223883" y="285660"/>
                        <a:pt x="222753" y="287687"/>
                      </a:cubicBezTo>
                      <a:cubicBezTo>
                        <a:pt x="202410" y="304914"/>
                        <a:pt x="217102" y="302887"/>
                        <a:pt x="209190" y="329235"/>
                      </a:cubicBezTo>
                      <a:cubicBezTo>
                        <a:pt x="208061" y="332275"/>
                        <a:pt x="199019" y="333288"/>
                        <a:pt x="197889" y="336328"/>
                      </a:cubicBezTo>
                      <a:cubicBezTo>
                        <a:pt x="196759" y="339368"/>
                        <a:pt x="199019" y="343421"/>
                        <a:pt x="197889" y="346461"/>
                      </a:cubicBezTo>
                      <a:cubicBezTo>
                        <a:pt x="196759" y="348488"/>
                        <a:pt x="187718" y="350515"/>
                        <a:pt x="186588" y="351528"/>
                      </a:cubicBezTo>
                      <a:cubicBezTo>
                        <a:pt x="183199" y="357608"/>
                        <a:pt x="184328" y="363688"/>
                        <a:pt x="180937" y="370782"/>
                      </a:cubicBezTo>
                      <a:cubicBezTo>
                        <a:pt x="179808" y="371795"/>
                        <a:pt x="176417" y="371795"/>
                        <a:pt x="175287" y="372809"/>
                      </a:cubicBezTo>
                      <a:cubicBezTo>
                        <a:pt x="170766" y="383955"/>
                        <a:pt x="167377" y="394089"/>
                        <a:pt x="159465" y="402196"/>
                      </a:cubicBezTo>
                      <a:cubicBezTo>
                        <a:pt x="154946" y="406249"/>
                        <a:pt x="150425" y="403209"/>
                        <a:pt x="145904" y="407263"/>
                      </a:cubicBezTo>
                      <a:cubicBezTo>
                        <a:pt x="144774" y="408276"/>
                        <a:pt x="144774" y="413343"/>
                        <a:pt x="143644" y="414356"/>
                      </a:cubicBezTo>
                      <a:cubicBezTo>
                        <a:pt x="135733" y="420437"/>
                        <a:pt x="127822" y="421450"/>
                        <a:pt x="118781" y="426517"/>
                      </a:cubicBezTo>
                      <a:cubicBezTo>
                        <a:pt x="116521" y="427530"/>
                        <a:pt x="113130" y="435637"/>
                        <a:pt x="110871" y="436650"/>
                      </a:cubicBezTo>
                      <a:cubicBezTo>
                        <a:pt x="99569" y="440704"/>
                        <a:pt x="92789" y="436650"/>
                        <a:pt x="83747" y="441717"/>
                      </a:cubicBezTo>
                      <a:cubicBezTo>
                        <a:pt x="78097" y="444757"/>
                        <a:pt x="70187" y="461984"/>
                        <a:pt x="64536" y="466038"/>
                      </a:cubicBezTo>
                      <a:cubicBezTo>
                        <a:pt x="61145" y="468064"/>
                        <a:pt x="54365" y="464011"/>
                        <a:pt x="50974" y="466038"/>
                      </a:cubicBezTo>
                      <a:cubicBezTo>
                        <a:pt x="49844" y="466038"/>
                        <a:pt x="49844" y="474144"/>
                        <a:pt x="48714" y="476171"/>
                      </a:cubicBezTo>
                      <a:cubicBezTo>
                        <a:pt x="45323" y="478198"/>
                        <a:pt x="41934" y="476171"/>
                        <a:pt x="37413" y="478198"/>
                      </a:cubicBezTo>
                      <a:cubicBezTo>
                        <a:pt x="35152" y="479211"/>
                        <a:pt x="35152" y="487318"/>
                        <a:pt x="31762" y="488331"/>
                      </a:cubicBezTo>
                      <a:cubicBezTo>
                        <a:pt x="28371" y="489345"/>
                        <a:pt x="26112" y="486305"/>
                        <a:pt x="23851" y="488331"/>
                      </a:cubicBezTo>
                      <a:cubicBezTo>
                        <a:pt x="23851" y="488331"/>
                        <a:pt x="23851" y="495425"/>
                        <a:pt x="23851" y="495425"/>
                      </a:cubicBezTo>
                      <a:cubicBezTo>
                        <a:pt x="26112" y="489345"/>
                        <a:pt x="29501" y="500491"/>
                        <a:pt x="29501" y="500491"/>
                      </a:cubicBezTo>
                      <a:cubicBezTo>
                        <a:pt x="28371" y="502518"/>
                        <a:pt x="21591" y="505558"/>
                        <a:pt x="21591" y="507585"/>
                      </a:cubicBezTo>
                      <a:cubicBezTo>
                        <a:pt x="20461" y="509612"/>
                        <a:pt x="22721" y="514679"/>
                        <a:pt x="21591" y="517719"/>
                      </a:cubicBezTo>
                      <a:lnTo>
                        <a:pt x="10290" y="519746"/>
                      </a:lnTo>
                      <a:cubicBezTo>
                        <a:pt x="12549" y="521772"/>
                        <a:pt x="9160" y="524812"/>
                        <a:pt x="10290" y="526839"/>
                      </a:cubicBezTo>
                      <a:cubicBezTo>
                        <a:pt x="12549" y="531906"/>
                        <a:pt x="22721" y="533932"/>
                        <a:pt x="29501" y="536973"/>
                      </a:cubicBezTo>
                      <a:lnTo>
                        <a:pt x="31762" y="542040"/>
                      </a:lnTo>
                      <a:cubicBezTo>
                        <a:pt x="43063" y="544066"/>
                        <a:pt x="48714" y="534946"/>
                        <a:pt x="56624" y="536973"/>
                      </a:cubicBezTo>
                      <a:lnTo>
                        <a:pt x="58885" y="549133"/>
                      </a:lnTo>
                      <a:cubicBezTo>
                        <a:pt x="64536" y="550146"/>
                        <a:pt x="70187" y="548119"/>
                        <a:pt x="74706" y="549133"/>
                      </a:cubicBezTo>
                      <a:cubicBezTo>
                        <a:pt x="75837" y="549133"/>
                        <a:pt x="76967" y="554199"/>
                        <a:pt x="76967" y="554199"/>
                      </a:cubicBezTo>
                      <a:cubicBezTo>
                        <a:pt x="83747" y="556226"/>
                        <a:pt x="106350" y="559266"/>
                        <a:pt x="109741" y="559266"/>
                      </a:cubicBezTo>
                      <a:cubicBezTo>
                        <a:pt x="113130" y="558253"/>
                        <a:pt x="127822" y="550146"/>
                        <a:pt x="128952" y="547106"/>
                      </a:cubicBezTo>
                      <a:lnTo>
                        <a:pt x="128952" y="542040"/>
                      </a:lnTo>
                      <a:cubicBezTo>
                        <a:pt x="132343" y="540013"/>
                        <a:pt x="136863" y="542040"/>
                        <a:pt x="140253" y="540013"/>
                      </a:cubicBezTo>
                      <a:lnTo>
                        <a:pt x="140253" y="532919"/>
                      </a:lnTo>
                      <a:cubicBezTo>
                        <a:pt x="142513" y="527852"/>
                        <a:pt x="153814" y="524812"/>
                        <a:pt x="156075" y="520759"/>
                      </a:cubicBezTo>
                      <a:cubicBezTo>
                        <a:pt x="160596" y="513665"/>
                        <a:pt x="158335" y="508598"/>
                        <a:pt x="161726" y="501505"/>
                      </a:cubicBezTo>
                      <a:cubicBezTo>
                        <a:pt x="168506" y="484278"/>
                        <a:pt x="175287" y="476171"/>
                        <a:pt x="177548" y="452864"/>
                      </a:cubicBezTo>
                      <a:cubicBezTo>
                        <a:pt x="180937" y="452864"/>
                        <a:pt x="180937" y="447797"/>
                        <a:pt x="183199" y="447797"/>
                      </a:cubicBezTo>
                      <a:cubicBezTo>
                        <a:pt x="193369" y="445771"/>
                        <a:pt x="199019" y="450837"/>
                        <a:pt x="210320" y="442730"/>
                      </a:cubicBezTo>
                      <a:cubicBezTo>
                        <a:pt x="211452" y="441717"/>
                        <a:pt x="215971" y="432596"/>
                        <a:pt x="215971" y="432596"/>
                      </a:cubicBezTo>
                      <a:cubicBezTo>
                        <a:pt x="222753" y="430570"/>
                        <a:pt x="241964" y="432596"/>
                        <a:pt x="248745" y="432596"/>
                      </a:cubicBezTo>
                      <a:cubicBezTo>
                        <a:pt x="245355" y="430570"/>
                        <a:pt x="241964" y="430570"/>
                        <a:pt x="235184" y="430570"/>
                      </a:cubicBezTo>
                      <a:cubicBezTo>
                        <a:pt x="232923" y="412329"/>
                        <a:pt x="235184" y="404223"/>
                        <a:pt x="248745" y="396116"/>
                      </a:cubicBezTo>
                      <a:cubicBezTo>
                        <a:pt x="252136" y="394089"/>
                        <a:pt x="254395" y="396116"/>
                        <a:pt x="256656" y="394089"/>
                      </a:cubicBezTo>
                      <a:cubicBezTo>
                        <a:pt x="261176" y="388009"/>
                        <a:pt x="257786" y="380916"/>
                        <a:pt x="262307" y="374836"/>
                      </a:cubicBezTo>
                      <a:cubicBezTo>
                        <a:pt x="263437" y="372809"/>
                        <a:pt x="271347" y="368755"/>
                        <a:pt x="273608" y="367742"/>
                      </a:cubicBezTo>
                      <a:cubicBezTo>
                        <a:pt x="275868" y="364702"/>
                        <a:pt x="281518" y="349502"/>
                        <a:pt x="284909" y="348488"/>
                      </a:cubicBezTo>
                      <a:lnTo>
                        <a:pt x="290560" y="348488"/>
                      </a:lnTo>
                      <a:cubicBezTo>
                        <a:pt x="292820" y="340381"/>
                        <a:pt x="283778" y="336328"/>
                        <a:pt x="284909" y="329235"/>
                      </a:cubicBezTo>
                      <a:cubicBezTo>
                        <a:pt x="284909" y="328221"/>
                        <a:pt x="292820" y="325181"/>
                        <a:pt x="292820" y="324168"/>
                      </a:cubicBezTo>
                      <a:cubicBezTo>
                        <a:pt x="297340" y="317074"/>
                        <a:pt x="292820" y="312007"/>
                        <a:pt x="292820" y="304914"/>
                      </a:cubicBezTo>
                      <a:cubicBezTo>
                        <a:pt x="290560" y="305927"/>
                        <a:pt x="283778" y="309981"/>
                        <a:pt x="281518" y="309981"/>
                      </a:cubicBezTo>
                      <a:cubicBezTo>
                        <a:pt x="286039" y="312007"/>
                        <a:pt x="275868" y="312007"/>
                        <a:pt x="275868" y="312007"/>
                      </a:cubicBezTo>
                      <a:cubicBezTo>
                        <a:pt x="274738" y="308967"/>
                        <a:pt x="275868" y="305927"/>
                        <a:pt x="273608" y="304914"/>
                      </a:cubicBezTo>
                      <a:cubicBezTo>
                        <a:pt x="271347" y="303901"/>
                        <a:pt x="262307" y="305927"/>
                        <a:pt x="265696" y="306941"/>
                      </a:cubicBezTo>
                      <a:cubicBezTo>
                        <a:pt x="260046" y="306941"/>
                        <a:pt x="264567" y="307954"/>
                        <a:pt x="263437" y="312007"/>
                      </a:cubicBezTo>
                      <a:cubicBezTo>
                        <a:pt x="261176" y="312007"/>
                        <a:pt x="255525" y="310994"/>
                        <a:pt x="252136" y="312007"/>
                      </a:cubicBezTo>
                      <a:cubicBezTo>
                        <a:pt x="251006" y="309981"/>
                        <a:pt x="252136" y="300860"/>
                        <a:pt x="249874" y="297820"/>
                      </a:cubicBezTo>
                      <a:lnTo>
                        <a:pt x="247615" y="297820"/>
                      </a:lnTo>
                      <a:cubicBezTo>
                        <a:pt x="243094" y="297820"/>
                        <a:pt x="241964" y="292753"/>
                        <a:pt x="239705" y="290727"/>
                      </a:cubicBezTo>
                      <a:cubicBezTo>
                        <a:pt x="236314" y="294780"/>
                        <a:pt x="237443" y="285660"/>
                        <a:pt x="237443" y="285660"/>
                      </a:cubicBezTo>
                      <a:cubicBezTo>
                        <a:pt x="243094" y="282620"/>
                        <a:pt x="243094" y="283634"/>
                        <a:pt x="245355" y="278567"/>
                      </a:cubicBezTo>
                      <a:cubicBezTo>
                        <a:pt x="240834" y="277553"/>
                        <a:pt x="234054" y="275526"/>
                        <a:pt x="230663" y="277553"/>
                      </a:cubicBezTo>
                      <a:close/>
                      <a:moveTo>
                        <a:pt x="342545" y="97176"/>
                      </a:moveTo>
                      <a:cubicBezTo>
                        <a:pt x="343675" y="98189"/>
                        <a:pt x="344805" y="104269"/>
                        <a:pt x="344805" y="104269"/>
                      </a:cubicBezTo>
                      <a:cubicBezTo>
                        <a:pt x="348196" y="105282"/>
                        <a:pt x="353846" y="101229"/>
                        <a:pt x="342545" y="97176"/>
                      </a:cubicBezTo>
                      <a:close/>
                      <a:moveTo>
                        <a:pt x="236314" y="12053"/>
                      </a:moveTo>
                      <a:cubicBezTo>
                        <a:pt x="237443" y="16107"/>
                        <a:pt x="232923" y="14080"/>
                        <a:pt x="234054" y="19147"/>
                      </a:cubicBezTo>
                      <a:cubicBezTo>
                        <a:pt x="235184" y="26241"/>
                        <a:pt x="252136" y="34347"/>
                        <a:pt x="255525" y="41441"/>
                      </a:cubicBezTo>
                      <a:cubicBezTo>
                        <a:pt x="261176" y="50561"/>
                        <a:pt x="261176" y="59681"/>
                        <a:pt x="266826" y="67788"/>
                      </a:cubicBezTo>
                      <a:cubicBezTo>
                        <a:pt x="271347" y="74882"/>
                        <a:pt x="280389" y="81975"/>
                        <a:pt x="286039" y="90082"/>
                      </a:cubicBezTo>
                      <a:cubicBezTo>
                        <a:pt x="288299" y="93122"/>
                        <a:pt x="286039" y="95149"/>
                        <a:pt x="288299" y="97176"/>
                      </a:cubicBezTo>
                      <a:cubicBezTo>
                        <a:pt x="292820" y="99202"/>
                        <a:pt x="295079" y="97176"/>
                        <a:pt x="299600" y="99202"/>
                      </a:cubicBezTo>
                      <a:cubicBezTo>
                        <a:pt x="298470" y="103255"/>
                        <a:pt x="300730" y="106296"/>
                        <a:pt x="301861" y="111363"/>
                      </a:cubicBezTo>
                      <a:cubicBezTo>
                        <a:pt x="291690" y="115416"/>
                        <a:pt x="298470" y="122510"/>
                        <a:pt x="299600" y="130616"/>
                      </a:cubicBezTo>
                      <a:cubicBezTo>
                        <a:pt x="304121" y="131630"/>
                        <a:pt x="308642" y="130616"/>
                        <a:pt x="313162" y="132643"/>
                      </a:cubicBezTo>
                      <a:cubicBezTo>
                        <a:pt x="312031" y="135683"/>
                        <a:pt x="309771" y="135683"/>
                        <a:pt x="307512" y="137710"/>
                      </a:cubicBezTo>
                      <a:cubicBezTo>
                        <a:pt x="309771" y="154937"/>
                        <a:pt x="316552" y="169124"/>
                        <a:pt x="309771" y="186351"/>
                      </a:cubicBezTo>
                      <a:cubicBezTo>
                        <a:pt x="308642" y="188378"/>
                        <a:pt x="302991" y="191418"/>
                        <a:pt x="301861" y="193444"/>
                      </a:cubicBezTo>
                      <a:cubicBezTo>
                        <a:pt x="298470" y="199524"/>
                        <a:pt x="298470" y="206618"/>
                        <a:pt x="296211" y="212699"/>
                      </a:cubicBezTo>
                      <a:cubicBezTo>
                        <a:pt x="290560" y="213712"/>
                        <a:pt x="280389" y="216752"/>
                        <a:pt x="274738" y="217765"/>
                      </a:cubicBezTo>
                      <a:cubicBezTo>
                        <a:pt x="273608" y="222832"/>
                        <a:pt x="276998" y="220805"/>
                        <a:pt x="272477" y="222832"/>
                      </a:cubicBezTo>
                      <a:cubicBezTo>
                        <a:pt x="272477" y="223845"/>
                        <a:pt x="273608" y="228912"/>
                        <a:pt x="272477" y="229925"/>
                      </a:cubicBezTo>
                      <a:cubicBezTo>
                        <a:pt x="292820" y="241072"/>
                        <a:pt x="331244" y="253233"/>
                        <a:pt x="324463" y="288700"/>
                      </a:cubicBezTo>
                      <a:cubicBezTo>
                        <a:pt x="323332" y="294780"/>
                        <a:pt x="313162" y="301874"/>
                        <a:pt x="310901" y="305927"/>
                      </a:cubicBezTo>
                      <a:cubicBezTo>
                        <a:pt x="309771" y="308967"/>
                        <a:pt x="312031" y="310994"/>
                        <a:pt x="310901" y="313020"/>
                      </a:cubicBezTo>
                      <a:cubicBezTo>
                        <a:pt x="313162" y="314034"/>
                        <a:pt x="330114" y="317074"/>
                        <a:pt x="332374" y="318087"/>
                      </a:cubicBezTo>
                      <a:cubicBezTo>
                        <a:pt x="335765" y="319101"/>
                        <a:pt x="338024" y="326194"/>
                        <a:pt x="340284" y="328221"/>
                      </a:cubicBezTo>
                      <a:cubicBezTo>
                        <a:pt x="354976" y="319101"/>
                        <a:pt x="353846" y="323154"/>
                        <a:pt x="361757" y="305927"/>
                      </a:cubicBezTo>
                      <a:cubicBezTo>
                        <a:pt x="362886" y="304914"/>
                        <a:pt x="369668" y="297820"/>
                        <a:pt x="369668" y="295793"/>
                      </a:cubicBezTo>
                      <a:cubicBezTo>
                        <a:pt x="370798" y="291740"/>
                        <a:pt x="367407" y="286673"/>
                        <a:pt x="369668" y="283634"/>
                      </a:cubicBezTo>
                      <a:cubicBezTo>
                        <a:pt x="373058" y="277553"/>
                        <a:pt x="387750" y="277553"/>
                        <a:pt x="391139" y="271473"/>
                      </a:cubicBezTo>
                      <a:cubicBezTo>
                        <a:pt x="393401" y="266406"/>
                        <a:pt x="388880" y="259313"/>
                        <a:pt x="391139" y="254246"/>
                      </a:cubicBezTo>
                      <a:cubicBezTo>
                        <a:pt x="392271" y="252219"/>
                        <a:pt x="397921" y="249179"/>
                        <a:pt x="399051" y="247152"/>
                      </a:cubicBezTo>
                      <a:cubicBezTo>
                        <a:pt x="396790" y="243099"/>
                        <a:pt x="393401" y="242085"/>
                        <a:pt x="391139" y="237019"/>
                      </a:cubicBezTo>
                      <a:cubicBezTo>
                        <a:pt x="410352" y="224858"/>
                        <a:pt x="408091" y="220805"/>
                        <a:pt x="429564" y="229925"/>
                      </a:cubicBezTo>
                      <a:cubicBezTo>
                        <a:pt x="428434" y="224858"/>
                        <a:pt x="422783" y="218778"/>
                        <a:pt x="423913" y="212699"/>
                      </a:cubicBezTo>
                      <a:cubicBezTo>
                        <a:pt x="423913" y="211685"/>
                        <a:pt x="431825" y="208645"/>
                        <a:pt x="431825" y="207632"/>
                      </a:cubicBezTo>
                      <a:cubicBezTo>
                        <a:pt x="438605" y="197498"/>
                        <a:pt x="443126" y="184324"/>
                        <a:pt x="447645" y="173177"/>
                      </a:cubicBezTo>
                      <a:cubicBezTo>
                        <a:pt x="429564" y="151897"/>
                        <a:pt x="426174" y="165071"/>
                        <a:pt x="404702" y="173177"/>
                      </a:cubicBezTo>
                      <a:lnTo>
                        <a:pt x="399051" y="178244"/>
                      </a:lnTo>
                      <a:cubicBezTo>
                        <a:pt x="399051" y="178244"/>
                        <a:pt x="370798" y="169124"/>
                        <a:pt x="369668" y="168111"/>
                      </a:cubicBezTo>
                      <a:cubicBezTo>
                        <a:pt x="359497" y="163044"/>
                        <a:pt x="361757" y="155950"/>
                        <a:pt x="358367" y="143790"/>
                      </a:cubicBezTo>
                      <a:cubicBezTo>
                        <a:pt x="356106" y="143790"/>
                        <a:pt x="357236" y="128589"/>
                        <a:pt x="356106" y="124536"/>
                      </a:cubicBezTo>
                      <a:cubicBezTo>
                        <a:pt x="354976" y="123523"/>
                        <a:pt x="347066" y="126563"/>
                        <a:pt x="344805" y="126563"/>
                      </a:cubicBezTo>
                      <a:cubicBezTo>
                        <a:pt x="344805" y="122510"/>
                        <a:pt x="347066" y="110349"/>
                        <a:pt x="344805" y="109336"/>
                      </a:cubicBezTo>
                      <a:lnTo>
                        <a:pt x="339154" y="109336"/>
                      </a:lnTo>
                      <a:cubicBezTo>
                        <a:pt x="336895" y="121496"/>
                        <a:pt x="335765" y="129603"/>
                        <a:pt x="333504" y="138723"/>
                      </a:cubicBezTo>
                      <a:cubicBezTo>
                        <a:pt x="333504" y="138723"/>
                        <a:pt x="327853" y="132643"/>
                        <a:pt x="331244" y="131630"/>
                      </a:cubicBezTo>
                      <a:cubicBezTo>
                        <a:pt x="327853" y="129603"/>
                        <a:pt x="321073" y="127576"/>
                        <a:pt x="317682" y="126563"/>
                      </a:cubicBezTo>
                      <a:cubicBezTo>
                        <a:pt x="316552" y="114403"/>
                        <a:pt x="319943" y="104269"/>
                        <a:pt x="317682" y="97176"/>
                      </a:cubicBezTo>
                      <a:cubicBezTo>
                        <a:pt x="316552" y="92109"/>
                        <a:pt x="307512" y="86029"/>
                        <a:pt x="306380" y="79948"/>
                      </a:cubicBezTo>
                      <a:cubicBezTo>
                        <a:pt x="306380" y="77922"/>
                        <a:pt x="312031" y="73869"/>
                        <a:pt x="312031" y="72855"/>
                      </a:cubicBezTo>
                      <a:cubicBezTo>
                        <a:pt x="313162" y="66775"/>
                        <a:pt x="309771" y="62721"/>
                        <a:pt x="309771" y="55628"/>
                      </a:cubicBezTo>
                      <a:cubicBezTo>
                        <a:pt x="302991" y="54614"/>
                        <a:pt x="301861" y="56641"/>
                        <a:pt x="296211" y="57654"/>
                      </a:cubicBezTo>
                      <a:cubicBezTo>
                        <a:pt x="295079" y="54614"/>
                        <a:pt x="297340" y="50561"/>
                        <a:pt x="296211" y="47521"/>
                      </a:cubicBezTo>
                      <a:cubicBezTo>
                        <a:pt x="296211" y="47521"/>
                        <a:pt x="286039" y="35361"/>
                        <a:pt x="284909" y="35361"/>
                      </a:cubicBezTo>
                      <a:cubicBezTo>
                        <a:pt x="283778" y="34347"/>
                        <a:pt x="275868" y="35361"/>
                        <a:pt x="273608" y="35361"/>
                      </a:cubicBezTo>
                      <a:cubicBezTo>
                        <a:pt x="275868" y="35361"/>
                        <a:pt x="271347" y="28267"/>
                        <a:pt x="271347" y="28267"/>
                      </a:cubicBezTo>
                      <a:cubicBezTo>
                        <a:pt x="255525" y="33334"/>
                        <a:pt x="271347" y="44481"/>
                        <a:pt x="255525" y="26241"/>
                      </a:cubicBezTo>
                      <a:cubicBezTo>
                        <a:pt x="254395" y="24214"/>
                        <a:pt x="245355" y="18134"/>
                        <a:pt x="244224" y="16107"/>
                      </a:cubicBezTo>
                      <a:cubicBezTo>
                        <a:pt x="243094" y="12053"/>
                        <a:pt x="248745" y="15094"/>
                        <a:pt x="246485" y="9013"/>
                      </a:cubicBezTo>
                      <a:cubicBezTo>
                        <a:pt x="245355" y="12053"/>
                        <a:pt x="238573" y="13067"/>
                        <a:pt x="236314" y="1205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4" name="Freeform: Shape 323">
                  <a:extLst>
                    <a:ext uri="{FF2B5EF4-FFF2-40B4-BE49-F238E27FC236}">
                      <a16:creationId xmlns:a16="http://schemas.microsoft.com/office/drawing/2014/main" id="{4DE93DD3-601F-4B43-B669-8DC5EBDF09A3}"/>
                    </a:ext>
                  </a:extLst>
                </p:cNvPr>
                <p:cNvSpPr/>
                <p:nvPr/>
              </p:nvSpPr>
              <p:spPr>
                <a:xfrm>
                  <a:off x="6005176" y="2013470"/>
                  <a:ext cx="169518" cy="131736"/>
                </a:xfrm>
                <a:custGeom>
                  <a:avLst/>
                  <a:gdLst>
                    <a:gd name="connsiteX0" fmla="*/ 166008 w 169517"/>
                    <a:gd name="connsiteY0" fmla="*/ 42010 h 131736"/>
                    <a:gd name="connsiteX1" fmla="*/ 154707 w 169517"/>
                    <a:gd name="connsiteY1" fmla="*/ 35930 h 131736"/>
                    <a:gd name="connsiteX2" fmla="*/ 154707 w 169517"/>
                    <a:gd name="connsiteY2" fmla="*/ 25796 h 131736"/>
                    <a:gd name="connsiteX3" fmla="*/ 134365 w 169517"/>
                    <a:gd name="connsiteY3" fmla="*/ 24783 h 131736"/>
                    <a:gd name="connsiteX4" fmla="*/ 125324 w 169517"/>
                    <a:gd name="connsiteY4" fmla="*/ 25796 h 131736"/>
                    <a:gd name="connsiteX5" fmla="*/ 119674 w 169517"/>
                    <a:gd name="connsiteY5" fmla="*/ 20729 h 131736"/>
                    <a:gd name="connsiteX6" fmla="*/ 106112 w 169517"/>
                    <a:gd name="connsiteY6" fmla="*/ 22756 h 131736"/>
                    <a:gd name="connsiteX7" fmla="*/ 98201 w 169517"/>
                    <a:gd name="connsiteY7" fmla="*/ 24783 h 131736"/>
                    <a:gd name="connsiteX8" fmla="*/ 90290 w 169517"/>
                    <a:gd name="connsiteY8" fmla="*/ 36943 h 131736"/>
                    <a:gd name="connsiteX9" fmla="*/ 68818 w 169517"/>
                    <a:gd name="connsiteY9" fmla="*/ 42010 h 131736"/>
                    <a:gd name="connsiteX10" fmla="*/ 52996 w 169517"/>
                    <a:gd name="connsiteY10" fmla="*/ 73424 h 131736"/>
                    <a:gd name="connsiteX11" fmla="*/ 58647 w 169517"/>
                    <a:gd name="connsiteY11" fmla="*/ 83557 h 131736"/>
                    <a:gd name="connsiteX12" fmla="*/ 47346 w 169517"/>
                    <a:gd name="connsiteY12" fmla="*/ 90651 h 131736"/>
                    <a:gd name="connsiteX13" fmla="*/ 49606 w 169517"/>
                    <a:gd name="connsiteY13" fmla="*/ 102811 h 131736"/>
                    <a:gd name="connsiteX14" fmla="*/ 43956 w 169517"/>
                    <a:gd name="connsiteY14" fmla="*/ 107878 h 131736"/>
                    <a:gd name="connsiteX15" fmla="*/ 24743 w 169517"/>
                    <a:gd name="connsiteY15" fmla="*/ 107878 h 131736"/>
                    <a:gd name="connsiteX16" fmla="*/ 11182 w 169517"/>
                    <a:gd name="connsiteY16" fmla="*/ 102811 h 131736"/>
                    <a:gd name="connsiteX17" fmla="*/ 10052 w 169517"/>
                    <a:gd name="connsiteY17" fmla="*/ 103825 h 131736"/>
                    <a:gd name="connsiteX18" fmla="*/ 38305 w 169517"/>
                    <a:gd name="connsiteY18" fmla="*/ 125105 h 131736"/>
                    <a:gd name="connsiteX19" fmla="*/ 60907 w 169517"/>
                    <a:gd name="connsiteY19" fmla="*/ 119025 h 131736"/>
                    <a:gd name="connsiteX20" fmla="*/ 76729 w 169517"/>
                    <a:gd name="connsiteY20" fmla="*/ 123078 h 131736"/>
                    <a:gd name="connsiteX21" fmla="*/ 91421 w 169517"/>
                    <a:gd name="connsiteY21" fmla="*/ 131185 h 131736"/>
                    <a:gd name="connsiteX22" fmla="*/ 103852 w 169517"/>
                    <a:gd name="connsiteY22" fmla="*/ 100784 h 131736"/>
                    <a:gd name="connsiteX23" fmla="*/ 123064 w 169517"/>
                    <a:gd name="connsiteY23" fmla="*/ 91664 h 131736"/>
                    <a:gd name="connsiteX24" fmla="*/ 141146 w 169517"/>
                    <a:gd name="connsiteY24" fmla="*/ 85584 h 131736"/>
                    <a:gd name="connsiteX25" fmla="*/ 154707 w 169517"/>
                    <a:gd name="connsiteY25" fmla="*/ 75451 h 131736"/>
                    <a:gd name="connsiteX26" fmla="*/ 156968 w 169517"/>
                    <a:gd name="connsiteY26" fmla="*/ 65317 h 131736"/>
                    <a:gd name="connsiteX27" fmla="*/ 166008 w 169517"/>
                    <a:gd name="connsiteY27" fmla="*/ 42010 h 131736"/>
                    <a:gd name="connsiteX28" fmla="*/ 19093 w 169517"/>
                    <a:gd name="connsiteY28" fmla="*/ 94704 h 131736"/>
                    <a:gd name="connsiteX29" fmla="*/ 24743 w 169517"/>
                    <a:gd name="connsiteY29" fmla="*/ 104838 h 131736"/>
                    <a:gd name="connsiteX30" fmla="*/ 38305 w 169517"/>
                    <a:gd name="connsiteY30" fmla="*/ 104838 h 131736"/>
                    <a:gd name="connsiteX31" fmla="*/ 36045 w 169517"/>
                    <a:gd name="connsiteY31" fmla="*/ 97744 h 131736"/>
                    <a:gd name="connsiteX32" fmla="*/ 19093 w 169517"/>
                    <a:gd name="connsiteY32" fmla="*/ 94704 h 131736"/>
                    <a:gd name="connsiteX33" fmla="*/ 108373 w 169517"/>
                    <a:gd name="connsiteY33" fmla="*/ 9582 h 131736"/>
                    <a:gd name="connsiteX34" fmla="*/ 106112 w 169517"/>
                    <a:gd name="connsiteY34" fmla="*/ 16676 h 131736"/>
                    <a:gd name="connsiteX35" fmla="*/ 108373 w 169517"/>
                    <a:gd name="connsiteY35" fmla="*/ 9582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9517" h="131736">
                      <a:moveTo>
                        <a:pt x="166008" y="42010"/>
                      </a:moveTo>
                      <a:cubicBezTo>
                        <a:pt x="163748" y="39983"/>
                        <a:pt x="155837" y="37956"/>
                        <a:pt x="154707" y="35930"/>
                      </a:cubicBezTo>
                      <a:cubicBezTo>
                        <a:pt x="153577" y="34916"/>
                        <a:pt x="155837" y="26810"/>
                        <a:pt x="154707" y="25796"/>
                      </a:cubicBezTo>
                      <a:cubicBezTo>
                        <a:pt x="147927" y="21743"/>
                        <a:pt x="141146" y="23769"/>
                        <a:pt x="134365" y="24783"/>
                      </a:cubicBezTo>
                      <a:cubicBezTo>
                        <a:pt x="130975" y="25796"/>
                        <a:pt x="128715" y="25796"/>
                        <a:pt x="125324" y="25796"/>
                      </a:cubicBezTo>
                      <a:lnTo>
                        <a:pt x="119674" y="20729"/>
                      </a:lnTo>
                      <a:cubicBezTo>
                        <a:pt x="115153" y="19716"/>
                        <a:pt x="104982" y="22756"/>
                        <a:pt x="106112" y="22756"/>
                      </a:cubicBezTo>
                      <a:cubicBezTo>
                        <a:pt x="104982" y="23769"/>
                        <a:pt x="99331" y="23769"/>
                        <a:pt x="98201" y="24783"/>
                      </a:cubicBezTo>
                      <a:cubicBezTo>
                        <a:pt x="94811" y="27823"/>
                        <a:pt x="93680" y="34916"/>
                        <a:pt x="90290" y="36943"/>
                      </a:cubicBezTo>
                      <a:cubicBezTo>
                        <a:pt x="84640" y="39983"/>
                        <a:pt x="74469" y="37956"/>
                        <a:pt x="68818" y="42010"/>
                      </a:cubicBezTo>
                      <a:cubicBezTo>
                        <a:pt x="62037" y="47077"/>
                        <a:pt x="62037" y="66330"/>
                        <a:pt x="52996" y="73424"/>
                      </a:cubicBezTo>
                      <a:cubicBezTo>
                        <a:pt x="48476" y="76464"/>
                        <a:pt x="58647" y="80517"/>
                        <a:pt x="58647" y="83557"/>
                      </a:cubicBezTo>
                      <a:cubicBezTo>
                        <a:pt x="57517" y="85584"/>
                        <a:pt x="48476" y="88624"/>
                        <a:pt x="47346" y="90651"/>
                      </a:cubicBezTo>
                      <a:cubicBezTo>
                        <a:pt x="46216" y="93691"/>
                        <a:pt x="48476" y="98758"/>
                        <a:pt x="49606" y="102811"/>
                      </a:cubicBezTo>
                      <a:cubicBezTo>
                        <a:pt x="47346" y="103825"/>
                        <a:pt x="45085" y="103825"/>
                        <a:pt x="43956" y="107878"/>
                      </a:cubicBezTo>
                      <a:cubicBezTo>
                        <a:pt x="40565" y="107878"/>
                        <a:pt x="29264" y="107878"/>
                        <a:pt x="24743" y="107878"/>
                      </a:cubicBezTo>
                      <a:cubicBezTo>
                        <a:pt x="22483" y="107878"/>
                        <a:pt x="20223" y="101798"/>
                        <a:pt x="11182" y="102811"/>
                      </a:cubicBezTo>
                      <a:lnTo>
                        <a:pt x="10052" y="103825"/>
                      </a:lnTo>
                      <a:cubicBezTo>
                        <a:pt x="10052" y="103825"/>
                        <a:pt x="19093" y="123078"/>
                        <a:pt x="38305" y="125105"/>
                      </a:cubicBezTo>
                      <a:cubicBezTo>
                        <a:pt x="49606" y="127132"/>
                        <a:pt x="52996" y="119025"/>
                        <a:pt x="60907" y="119025"/>
                      </a:cubicBezTo>
                      <a:cubicBezTo>
                        <a:pt x="68818" y="119025"/>
                        <a:pt x="76729" y="114972"/>
                        <a:pt x="76729" y="123078"/>
                      </a:cubicBezTo>
                      <a:cubicBezTo>
                        <a:pt x="76729" y="131185"/>
                        <a:pt x="91421" y="131185"/>
                        <a:pt x="91421" y="131185"/>
                      </a:cubicBezTo>
                      <a:cubicBezTo>
                        <a:pt x="91421" y="131185"/>
                        <a:pt x="99331" y="108891"/>
                        <a:pt x="103852" y="100784"/>
                      </a:cubicBezTo>
                      <a:cubicBezTo>
                        <a:pt x="108373" y="92678"/>
                        <a:pt x="106112" y="84571"/>
                        <a:pt x="123064" y="91664"/>
                      </a:cubicBezTo>
                      <a:cubicBezTo>
                        <a:pt x="140016" y="98758"/>
                        <a:pt x="141146" y="85584"/>
                        <a:pt x="141146" y="85584"/>
                      </a:cubicBezTo>
                      <a:cubicBezTo>
                        <a:pt x="141146" y="85584"/>
                        <a:pt x="161488" y="80517"/>
                        <a:pt x="154707" y="75451"/>
                      </a:cubicBezTo>
                      <a:cubicBezTo>
                        <a:pt x="146796" y="71397"/>
                        <a:pt x="147927" y="63290"/>
                        <a:pt x="156968" y="65317"/>
                      </a:cubicBezTo>
                      <a:cubicBezTo>
                        <a:pt x="162618" y="68357"/>
                        <a:pt x="166008" y="42010"/>
                        <a:pt x="166008" y="42010"/>
                      </a:cubicBezTo>
                      <a:close/>
                      <a:moveTo>
                        <a:pt x="19093" y="94704"/>
                      </a:moveTo>
                      <a:cubicBezTo>
                        <a:pt x="19093" y="94704"/>
                        <a:pt x="23614" y="103825"/>
                        <a:pt x="24743" y="104838"/>
                      </a:cubicBezTo>
                      <a:cubicBezTo>
                        <a:pt x="29264" y="103825"/>
                        <a:pt x="33784" y="104838"/>
                        <a:pt x="38305" y="104838"/>
                      </a:cubicBezTo>
                      <a:cubicBezTo>
                        <a:pt x="37174" y="103825"/>
                        <a:pt x="37174" y="98758"/>
                        <a:pt x="36045" y="97744"/>
                      </a:cubicBezTo>
                      <a:cubicBezTo>
                        <a:pt x="29264" y="93691"/>
                        <a:pt x="24743" y="96731"/>
                        <a:pt x="19093" y="94704"/>
                      </a:cubicBezTo>
                      <a:close/>
                      <a:moveTo>
                        <a:pt x="108373" y="9582"/>
                      </a:moveTo>
                      <a:cubicBezTo>
                        <a:pt x="104982" y="10596"/>
                        <a:pt x="90290" y="20729"/>
                        <a:pt x="106112" y="16676"/>
                      </a:cubicBezTo>
                      <a:cubicBezTo>
                        <a:pt x="108373" y="16676"/>
                        <a:pt x="120804" y="6542"/>
                        <a:pt x="108373" y="958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6" name="Freeform: Shape 325">
                  <a:extLst>
                    <a:ext uri="{FF2B5EF4-FFF2-40B4-BE49-F238E27FC236}">
                      <a16:creationId xmlns:a16="http://schemas.microsoft.com/office/drawing/2014/main" id="{AD64C83F-94E3-4BA7-830F-9F417117CFD0}"/>
                    </a:ext>
                  </a:extLst>
                </p:cNvPr>
                <p:cNvSpPr/>
                <p:nvPr/>
              </p:nvSpPr>
              <p:spPr>
                <a:xfrm>
                  <a:off x="8706162" y="3070970"/>
                  <a:ext cx="305132" cy="172271"/>
                </a:xfrm>
                <a:custGeom>
                  <a:avLst/>
                  <a:gdLst>
                    <a:gd name="connsiteX0" fmla="*/ 297102 w 305132"/>
                    <a:gd name="connsiteY0" fmla="*/ 108322 h 172270"/>
                    <a:gd name="connsiteX1" fmla="*/ 268849 w 305132"/>
                    <a:gd name="connsiteY1" fmla="*/ 103255 h 172270"/>
                    <a:gd name="connsiteX2" fmla="*/ 239466 w 305132"/>
                    <a:gd name="connsiteY2" fmla="*/ 101229 h 172270"/>
                    <a:gd name="connsiteX3" fmla="*/ 222514 w 305132"/>
                    <a:gd name="connsiteY3" fmla="*/ 91095 h 172270"/>
                    <a:gd name="connsiteX4" fmla="*/ 205563 w 305132"/>
                    <a:gd name="connsiteY4" fmla="*/ 90082 h 172270"/>
                    <a:gd name="connsiteX5" fmla="*/ 196522 w 305132"/>
                    <a:gd name="connsiteY5" fmla="*/ 78935 h 172270"/>
                    <a:gd name="connsiteX6" fmla="*/ 181830 w 305132"/>
                    <a:gd name="connsiteY6" fmla="*/ 64748 h 172270"/>
                    <a:gd name="connsiteX7" fmla="*/ 163748 w 305132"/>
                    <a:gd name="connsiteY7" fmla="*/ 55628 h 172270"/>
                    <a:gd name="connsiteX8" fmla="*/ 162618 w 305132"/>
                    <a:gd name="connsiteY8" fmla="*/ 41441 h 172270"/>
                    <a:gd name="connsiteX9" fmla="*/ 151317 w 305132"/>
                    <a:gd name="connsiteY9" fmla="*/ 33334 h 172270"/>
                    <a:gd name="connsiteX10" fmla="*/ 130975 w 305132"/>
                    <a:gd name="connsiteY10" fmla="*/ 36374 h 172270"/>
                    <a:gd name="connsiteX11" fmla="*/ 115153 w 305132"/>
                    <a:gd name="connsiteY11" fmla="*/ 36374 h 172270"/>
                    <a:gd name="connsiteX12" fmla="*/ 99331 w 305132"/>
                    <a:gd name="connsiteY12" fmla="*/ 13067 h 172270"/>
                    <a:gd name="connsiteX13" fmla="*/ 86900 w 305132"/>
                    <a:gd name="connsiteY13" fmla="*/ 11040 h 172270"/>
                    <a:gd name="connsiteX14" fmla="*/ 67688 w 305132"/>
                    <a:gd name="connsiteY14" fmla="*/ 10027 h 172270"/>
                    <a:gd name="connsiteX15" fmla="*/ 54126 w 305132"/>
                    <a:gd name="connsiteY15" fmla="*/ 9013 h 172270"/>
                    <a:gd name="connsiteX16" fmla="*/ 43956 w 305132"/>
                    <a:gd name="connsiteY16" fmla="*/ 11040 h 172270"/>
                    <a:gd name="connsiteX17" fmla="*/ 23614 w 305132"/>
                    <a:gd name="connsiteY17" fmla="*/ 23200 h 172270"/>
                    <a:gd name="connsiteX18" fmla="*/ 10052 w 305132"/>
                    <a:gd name="connsiteY18" fmla="*/ 45494 h 172270"/>
                    <a:gd name="connsiteX19" fmla="*/ 14572 w 305132"/>
                    <a:gd name="connsiteY19" fmla="*/ 62721 h 172270"/>
                    <a:gd name="connsiteX20" fmla="*/ 34915 w 305132"/>
                    <a:gd name="connsiteY20" fmla="*/ 69815 h 172270"/>
                    <a:gd name="connsiteX21" fmla="*/ 39435 w 305132"/>
                    <a:gd name="connsiteY21" fmla="*/ 81975 h 172270"/>
                    <a:gd name="connsiteX22" fmla="*/ 58647 w 305132"/>
                    <a:gd name="connsiteY22" fmla="*/ 90082 h 172270"/>
                    <a:gd name="connsiteX23" fmla="*/ 77859 w 305132"/>
                    <a:gd name="connsiteY23" fmla="*/ 97175 h 172270"/>
                    <a:gd name="connsiteX24" fmla="*/ 101591 w 305132"/>
                    <a:gd name="connsiteY24" fmla="*/ 107309 h 172270"/>
                    <a:gd name="connsiteX25" fmla="*/ 121933 w 305132"/>
                    <a:gd name="connsiteY25" fmla="*/ 108322 h 172270"/>
                    <a:gd name="connsiteX26" fmla="*/ 137755 w 305132"/>
                    <a:gd name="connsiteY26" fmla="*/ 118456 h 172270"/>
                    <a:gd name="connsiteX27" fmla="*/ 149057 w 305132"/>
                    <a:gd name="connsiteY27" fmla="*/ 129603 h 172270"/>
                    <a:gd name="connsiteX28" fmla="*/ 164879 w 305132"/>
                    <a:gd name="connsiteY28" fmla="*/ 130616 h 172270"/>
                    <a:gd name="connsiteX29" fmla="*/ 179570 w 305132"/>
                    <a:gd name="connsiteY29" fmla="*/ 145817 h 172270"/>
                    <a:gd name="connsiteX30" fmla="*/ 207823 w 305132"/>
                    <a:gd name="connsiteY30" fmla="*/ 144803 h 172270"/>
                    <a:gd name="connsiteX31" fmla="*/ 238336 w 305132"/>
                    <a:gd name="connsiteY31" fmla="*/ 158990 h 172270"/>
                    <a:gd name="connsiteX32" fmla="*/ 257548 w 305132"/>
                    <a:gd name="connsiteY32" fmla="*/ 160004 h 172270"/>
                    <a:gd name="connsiteX33" fmla="*/ 274500 w 305132"/>
                    <a:gd name="connsiteY33" fmla="*/ 164057 h 172270"/>
                    <a:gd name="connsiteX34" fmla="*/ 290322 w 305132"/>
                    <a:gd name="connsiteY34" fmla="*/ 162030 h 172270"/>
                    <a:gd name="connsiteX35" fmla="*/ 298233 w 305132"/>
                    <a:gd name="connsiteY35" fmla="*/ 153923 h 172270"/>
                    <a:gd name="connsiteX36" fmla="*/ 298233 w 305132"/>
                    <a:gd name="connsiteY36" fmla="*/ 144803 h 172270"/>
                    <a:gd name="connsiteX37" fmla="*/ 289192 w 305132"/>
                    <a:gd name="connsiteY37" fmla="*/ 134670 h 172270"/>
                    <a:gd name="connsiteX38" fmla="*/ 295972 w 305132"/>
                    <a:gd name="connsiteY38" fmla="*/ 125549 h 172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5132" h="172270">
                      <a:moveTo>
                        <a:pt x="297102" y="108322"/>
                      </a:moveTo>
                      <a:lnTo>
                        <a:pt x="268849" y="103255"/>
                      </a:lnTo>
                      <a:lnTo>
                        <a:pt x="239466" y="101229"/>
                      </a:lnTo>
                      <a:lnTo>
                        <a:pt x="222514" y="91095"/>
                      </a:lnTo>
                      <a:lnTo>
                        <a:pt x="205563" y="90082"/>
                      </a:lnTo>
                      <a:lnTo>
                        <a:pt x="196522" y="78935"/>
                      </a:lnTo>
                      <a:lnTo>
                        <a:pt x="181830" y="64748"/>
                      </a:lnTo>
                      <a:lnTo>
                        <a:pt x="163748" y="55628"/>
                      </a:lnTo>
                      <a:lnTo>
                        <a:pt x="162618" y="41441"/>
                      </a:lnTo>
                      <a:lnTo>
                        <a:pt x="151317" y="33334"/>
                      </a:lnTo>
                      <a:lnTo>
                        <a:pt x="130975" y="36374"/>
                      </a:lnTo>
                      <a:lnTo>
                        <a:pt x="115153" y="36374"/>
                      </a:lnTo>
                      <a:lnTo>
                        <a:pt x="99331" y="13067"/>
                      </a:lnTo>
                      <a:lnTo>
                        <a:pt x="86900" y="11040"/>
                      </a:lnTo>
                      <a:lnTo>
                        <a:pt x="67688" y="10027"/>
                      </a:lnTo>
                      <a:lnTo>
                        <a:pt x="54126" y="9013"/>
                      </a:lnTo>
                      <a:lnTo>
                        <a:pt x="43956" y="11040"/>
                      </a:lnTo>
                      <a:lnTo>
                        <a:pt x="23614" y="23200"/>
                      </a:lnTo>
                      <a:lnTo>
                        <a:pt x="10052" y="45494"/>
                      </a:lnTo>
                      <a:lnTo>
                        <a:pt x="14572" y="62721"/>
                      </a:lnTo>
                      <a:lnTo>
                        <a:pt x="34915" y="69815"/>
                      </a:lnTo>
                      <a:lnTo>
                        <a:pt x="39435" y="81975"/>
                      </a:lnTo>
                      <a:lnTo>
                        <a:pt x="58647" y="90082"/>
                      </a:lnTo>
                      <a:lnTo>
                        <a:pt x="77859" y="97175"/>
                      </a:lnTo>
                      <a:lnTo>
                        <a:pt x="101591" y="107309"/>
                      </a:lnTo>
                      <a:lnTo>
                        <a:pt x="121933" y="108322"/>
                      </a:lnTo>
                      <a:lnTo>
                        <a:pt x="137755" y="118456"/>
                      </a:lnTo>
                      <a:lnTo>
                        <a:pt x="149057" y="129603"/>
                      </a:lnTo>
                      <a:lnTo>
                        <a:pt x="164879" y="130616"/>
                      </a:lnTo>
                      <a:lnTo>
                        <a:pt x="179570" y="145817"/>
                      </a:lnTo>
                      <a:lnTo>
                        <a:pt x="207823" y="144803"/>
                      </a:lnTo>
                      <a:lnTo>
                        <a:pt x="238336" y="158990"/>
                      </a:lnTo>
                      <a:lnTo>
                        <a:pt x="257548" y="160004"/>
                      </a:lnTo>
                      <a:lnTo>
                        <a:pt x="274500" y="164057"/>
                      </a:lnTo>
                      <a:lnTo>
                        <a:pt x="290322" y="162030"/>
                      </a:lnTo>
                      <a:lnTo>
                        <a:pt x="298233" y="153923"/>
                      </a:lnTo>
                      <a:lnTo>
                        <a:pt x="298233" y="144803"/>
                      </a:lnTo>
                      <a:lnTo>
                        <a:pt x="289192" y="134670"/>
                      </a:lnTo>
                      <a:lnTo>
                        <a:pt x="295972" y="125549"/>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7" name="Freeform: Shape 326">
                  <a:extLst>
                    <a:ext uri="{FF2B5EF4-FFF2-40B4-BE49-F238E27FC236}">
                      <a16:creationId xmlns:a16="http://schemas.microsoft.com/office/drawing/2014/main" id="{AC126047-18BD-4D49-A4EB-5D7944F7DBDA}"/>
                    </a:ext>
                  </a:extLst>
                </p:cNvPr>
                <p:cNvSpPr/>
                <p:nvPr/>
              </p:nvSpPr>
              <p:spPr>
                <a:xfrm>
                  <a:off x="6298601" y="4931493"/>
                  <a:ext cx="485951" cy="496545"/>
                </a:xfrm>
                <a:custGeom>
                  <a:avLst/>
                  <a:gdLst>
                    <a:gd name="connsiteX0" fmla="*/ 13848 w 485951"/>
                    <a:gd name="connsiteY0" fmla="*/ 19147 h 496544"/>
                    <a:gd name="connsiteX1" fmla="*/ 16109 w 485951"/>
                    <a:gd name="connsiteY1" fmla="*/ 29281 h 496544"/>
                    <a:gd name="connsiteX2" fmla="*/ 10458 w 485951"/>
                    <a:gd name="connsiteY2" fmla="*/ 55628 h 496544"/>
                    <a:gd name="connsiteX3" fmla="*/ 12719 w 485951"/>
                    <a:gd name="connsiteY3" fmla="*/ 65761 h 496544"/>
                    <a:gd name="connsiteX4" fmla="*/ 26279 w 485951"/>
                    <a:gd name="connsiteY4" fmla="*/ 70828 h 496544"/>
                    <a:gd name="connsiteX5" fmla="*/ 42101 w 485951"/>
                    <a:gd name="connsiteY5" fmla="*/ 95149 h 496544"/>
                    <a:gd name="connsiteX6" fmla="*/ 53403 w 485951"/>
                    <a:gd name="connsiteY6" fmla="*/ 100216 h 496544"/>
                    <a:gd name="connsiteX7" fmla="*/ 51142 w 485951"/>
                    <a:gd name="connsiteY7" fmla="*/ 119470 h 496544"/>
                    <a:gd name="connsiteX8" fmla="*/ 59053 w 485951"/>
                    <a:gd name="connsiteY8" fmla="*/ 136696 h 496544"/>
                    <a:gd name="connsiteX9" fmla="*/ 59053 w 485951"/>
                    <a:gd name="connsiteY9" fmla="*/ 150883 h 496544"/>
                    <a:gd name="connsiteX10" fmla="*/ 72615 w 485951"/>
                    <a:gd name="connsiteY10" fmla="*/ 173177 h 496544"/>
                    <a:gd name="connsiteX11" fmla="*/ 83916 w 485951"/>
                    <a:gd name="connsiteY11" fmla="*/ 175204 h 496544"/>
                    <a:gd name="connsiteX12" fmla="*/ 86176 w 485951"/>
                    <a:gd name="connsiteY12" fmla="*/ 204591 h 496544"/>
                    <a:gd name="connsiteX13" fmla="*/ 91827 w 485951"/>
                    <a:gd name="connsiteY13" fmla="*/ 204591 h 496544"/>
                    <a:gd name="connsiteX14" fmla="*/ 94087 w 485951"/>
                    <a:gd name="connsiteY14" fmla="*/ 214725 h 496544"/>
                    <a:gd name="connsiteX15" fmla="*/ 105388 w 485951"/>
                    <a:gd name="connsiteY15" fmla="*/ 221818 h 496544"/>
                    <a:gd name="connsiteX16" fmla="*/ 105388 w 485951"/>
                    <a:gd name="connsiteY16" fmla="*/ 228912 h 496544"/>
                    <a:gd name="connsiteX17" fmla="*/ 107648 w 485951"/>
                    <a:gd name="connsiteY17" fmla="*/ 228912 h 496544"/>
                    <a:gd name="connsiteX18" fmla="*/ 109909 w 485951"/>
                    <a:gd name="connsiteY18" fmla="*/ 236006 h 496544"/>
                    <a:gd name="connsiteX19" fmla="*/ 101998 w 485951"/>
                    <a:gd name="connsiteY19" fmla="*/ 243099 h 496544"/>
                    <a:gd name="connsiteX20" fmla="*/ 107648 w 485951"/>
                    <a:gd name="connsiteY20" fmla="*/ 250193 h 496544"/>
                    <a:gd name="connsiteX21" fmla="*/ 105388 w 485951"/>
                    <a:gd name="connsiteY21" fmla="*/ 267419 h 496544"/>
                    <a:gd name="connsiteX22" fmla="*/ 111038 w 485951"/>
                    <a:gd name="connsiteY22" fmla="*/ 274513 h 496544"/>
                    <a:gd name="connsiteX23" fmla="*/ 105388 w 485951"/>
                    <a:gd name="connsiteY23" fmla="*/ 274513 h 496544"/>
                    <a:gd name="connsiteX24" fmla="*/ 111038 w 485951"/>
                    <a:gd name="connsiteY24" fmla="*/ 296807 h 496544"/>
                    <a:gd name="connsiteX25" fmla="*/ 108779 w 485951"/>
                    <a:gd name="connsiteY25" fmla="*/ 308967 h 496544"/>
                    <a:gd name="connsiteX26" fmla="*/ 122340 w 485951"/>
                    <a:gd name="connsiteY26" fmla="*/ 333288 h 496544"/>
                    <a:gd name="connsiteX27" fmla="*/ 122340 w 485951"/>
                    <a:gd name="connsiteY27" fmla="*/ 359635 h 496544"/>
                    <a:gd name="connsiteX28" fmla="*/ 116689 w 485951"/>
                    <a:gd name="connsiteY28" fmla="*/ 361662 h 496544"/>
                    <a:gd name="connsiteX29" fmla="*/ 124600 w 485951"/>
                    <a:gd name="connsiteY29" fmla="*/ 375849 h 496544"/>
                    <a:gd name="connsiteX30" fmla="*/ 124600 w 485951"/>
                    <a:gd name="connsiteY30" fmla="*/ 407263 h 496544"/>
                    <a:gd name="connsiteX31" fmla="*/ 130251 w 485951"/>
                    <a:gd name="connsiteY31" fmla="*/ 409289 h 496544"/>
                    <a:gd name="connsiteX32" fmla="*/ 132511 w 485951"/>
                    <a:gd name="connsiteY32" fmla="*/ 431583 h 496544"/>
                    <a:gd name="connsiteX33" fmla="*/ 153984 w 485951"/>
                    <a:gd name="connsiteY33" fmla="*/ 462997 h 496544"/>
                    <a:gd name="connsiteX34" fmla="*/ 167544 w 485951"/>
                    <a:gd name="connsiteY34" fmla="*/ 462997 h 496544"/>
                    <a:gd name="connsiteX35" fmla="*/ 169805 w 485951"/>
                    <a:gd name="connsiteY35" fmla="*/ 477184 h 496544"/>
                    <a:gd name="connsiteX36" fmla="*/ 174326 w 485951"/>
                    <a:gd name="connsiteY36" fmla="*/ 482251 h 496544"/>
                    <a:gd name="connsiteX37" fmla="*/ 191277 w 485951"/>
                    <a:gd name="connsiteY37" fmla="*/ 472118 h 496544"/>
                    <a:gd name="connsiteX38" fmla="*/ 205969 w 485951"/>
                    <a:gd name="connsiteY38" fmla="*/ 467051 h 496544"/>
                    <a:gd name="connsiteX39" fmla="*/ 208229 w 485951"/>
                    <a:gd name="connsiteY39" fmla="*/ 481238 h 496544"/>
                    <a:gd name="connsiteX40" fmla="*/ 226311 w 485951"/>
                    <a:gd name="connsiteY40" fmla="*/ 489345 h 496544"/>
                    <a:gd name="connsiteX41" fmla="*/ 246653 w 485951"/>
                    <a:gd name="connsiteY41" fmla="*/ 489345 h 496544"/>
                    <a:gd name="connsiteX42" fmla="*/ 262475 w 485951"/>
                    <a:gd name="connsiteY42" fmla="*/ 476171 h 496544"/>
                    <a:gd name="connsiteX43" fmla="*/ 283947 w 485951"/>
                    <a:gd name="connsiteY43" fmla="*/ 470091 h 496544"/>
                    <a:gd name="connsiteX44" fmla="*/ 286207 w 485951"/>
                    <a:gd name="connsiteY44" fmla="*/ 347475 h 496544"/>
                    <a:gd name="connsiteX45" fmla="*/ 288467 w 485951"/>
                    <a:gd name="connsiteY45" fmla="*/ 204591 h 496544"/>
                    <a:gd name="connsiteX46" fmla="*/ 326892 w 485951"/>
                    <a:gd name="connsiteY46" fmla="*/ 204591 h 496544"/>
                    <a:gd name="connsiteX47" fmla="*/ 328022 w 485951"/>
                    <a:gd name="connsiteY47" fmla="*/ 71842 h 496544"/>
                    <a:gd name="connsiteX48" fmla="*/ 355145 w 485951"/>
                    <a:gd name="connsiteY48" fmla="*/ 71842 h 496544"/>
                    <a:gd name="connsiteX49" fmla="*/ 434253 w 485951"/>
                    <a:gd name="connsiteY49" fmla="*/ 65761 h 496544"/>
                    <a:gd name="connsiteX50" fmla="*/ 446684 w 485951"/>
                    <a:gd name="connsiteY50" fmla="*/ 60695 h 496544"/>
                    <a:gd name="connsiteX51" fmla="*/ 467026 w 485951"/>
                    <a:gd name="connsiteY51" fmla="*/ 57655 h 496544"/>
                    <a:gd name="connsiteX52" fmla="*/ 482848 w 485951"/>
                    <a:gd name="connsiteY52" fmla="*/ 48535 h 496544"/>
                    <a:gd name="connsiteX53" fmla="*/ 472677 w 485951"/>
                    <a:gd name="connsiteY53" fmla="*/ 40428 h 496544"/>
                    <a:gd name="connsiteX54" fmla="*/ 457985 w 485951"/>
                    <a:gd name="connsiteY54" fmla="*/ 36374 h 496544"/>
                    <a:gd name="connsiteX55" fmla="*/ 411651 w 485951"/>
                    <a:gd name="connsiteY55" fmla="*/ 41441 h 496544"/>
                    <a:gd name="connsiteX56" fmla="*/ 334803 w 485951"/>
                    <a:gd name="connsiteY56" fmla="*/ 53601 h 496544"/>
                    <a:gd name="connsiteX57" fmla="*/ 307679 w 485951"/>
                    <a:gd name="connsiteY57" fmla="*/ 47521 h 496544"/>
                    <a:gd name="connsiteX58" fmla="*/ 292988 w 485951"/>
                    <a:gd name="connsiteY58" fmla="*/ 47521 h 496544"/>
                    <a:gd name="connsiteX59" fmla="*/ 265865 w 485951"/>
                    <a:gd name="connsiteY59" fmla="*/ 41441 h 496544"/>
                    <a:gd name="connsiteX60" fmla="*/ 248913 w 485951"/>
                    <a:gd name="connsiteY60" fmla="*/ 35361 h 496544"/>
                    <a:gd name="connsiteX61" fmla="*/ 234222 w 485951"/>
                    <a:gd name="connsiteY61" fmla="*/ 22187 h 496544"/>
                    <a:gd name="connsiteX62" fmla="*/ 77135 w 485951"/>
                    <a:gd name="connsiteY62" fmla="*/ 18134 h 496544"/>
                    <a:gd name="connsiteX63" fmla="*/ 57923 w 485951"/>
                    <a:gd name="connsiteY63" fmla="*/ 9013 h 496544"/>
                    <a:gd name="connsiteX64" fmla="*/ 37581 w 485951"/>
                    <a:gd name="connsiteY64" fmla="*/ 19147 h 496544"/>
                    <a:gd name="connsiteX65" fmla="*/ 13848 w 485951"/>
                    <a:gd name="connsiteY65" fmla="*/ 19147 h 496544"/>
                    <a:gd name="connsiteX66" fmla="*/ 111038 w 485951"/>
                    <a:gd name="connsiteY66" fmla="*/ 121496 h 496544"/>
                    <a:gd name="connsiteX67" fmla="*/ 108779 w 485951"/>
                    <a:gd name="connsiteY67" fmla="*/ 128590 h 496544"/>
                    <a:gd name="connsiteX68" fmla="*/ 111038 w 485951"/>
                    <a:gd name="connsiteY68" fmla="*/ 121496 h 4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85951" h="496544">
                      <a:moveTo>
                        <a:pt x="13848" y="19147"/>
                      </a:moveTo>
                      <a:cubicBezTo>
                        <a:pt x="14978" y="23201"/>
                        <a:pt x="16109" y="27254"/>
                        <a:pt x="16109" y="29281"/>
                      </a:cubicBezTo>
                      <a:cubicBezTo>
                        <a:pt x="16109" y="33334"/>
                        <a:pt x="8198" y="43468"/>
                        <a:pt x="10458" y="55628"/>
                      </a:cubicBezTo>
                      <a:lnTo>
                        <a:pt x="12719" y="65761"/>
                      </a:lnTo>
                      <a:cubicBezTo>
                        <a:pt x="13848" y="67788"/>
                        <a:pt x="24020" y="68802"/>
                        <a:pt x="26279" y="70828"/>
                      </a:cubicBezTo>
                      <a:cubicBezTo>
                        <a:pt x="31930" y="74882"/>
                        <a:pt x="36451" y="90082"/>
                        <a:pt x="42101" y="95149"/>
                      </a:cubicBezTo>
                      <a:cubicBezTo>
                        <a:pt x="44362" y="97176"/>
                        <a:pt x="52273" y="98189"/>
                        <a:pt x="53403" y="100216"/>
                      </a:cubicBezTo>
                      <a:cubicBezTo>
                        <a:pt x="55663" y="106296"/>
                        <a:pt x="50012" y="118456"/>
                        <a:pt x="51142" y="119470"/>
                      </a:cubicBezTo>
                      <a:cubicBezTo>
                        <a:pt x="51142" y="124536"/>
                        <a:pt x="57923" y="132643"/>
                        <a:pt x="59053" y="136696"/>
                      </a:cubicBezTo>
                      <a:cubicBezTo>
                        <a:pt x="60183" y="141763"/>
                        <a:pt x="56793" y="146830"/>
                        <a:pt x="59053" y="150883"/>
                      </a:cubicBezTo>
                      <a:lnTo>
                        <a:pt x="72615" y="173177"/>
                      </a:lnTo>
                      <a:cubicBezTo>
                        <a:pt x="74875" y="174191"/>
                        <a:pt x="82785" y="174191"/>
                        <a:pt x="83916" y="175204"/>
                      </a:cubicBezTo>
                      <a:cubicBezTo>
                        <a:pt x="91827" y="185338"/>
                        <a:pt x="83916" y="195471"/>
                        <a:pt x="86176" y="204591"/>
                      </a:cubicBezTo>
                      <a:lnTo>
                        <a:pt x="91827" y="204591"/>
                      </a:lnTo>
                      <a:cubicBezTo>
                        <a:pt x="92957" y="205605"/>
                        <a:pt x="94087" y="212698"/>
                        <a:pt x="94087" y="214725"/>
                      </a:cubicBezTo>
                      <a:cubicBezTo>
                        <a:pt x="96347" y="216752"/>
                        <a:pt x="104258" y="219792"/>
                        <a:pt x="105388" y="221818"/>
                      </a:cubicBezTo>
                      <a:cubicBezTo>
                        <a:pt x="105388" y="222832"/>
                        <a:pt x="104258" y="228912"/>
                        <a:pt x="105388" y="228912"/>
                      </a:cubicBezTo>
                      <a:lnTo>
                        <a:pt x="107648" y="228912"/>
                      </a:lnTo>
                      <a:cubicBezTo>
                        <a:pt x="108779" y="232965"/>
                        <a:pt x="105388" y="234992"/>
                        <a:pt x="109909" y="236006"/>
                      </a:cubicBezTo>
                      <a:cubicBezTo>
                        <a:pt x="109909" y="236006"/>
                        <a:pt x="103128" y="242085"/>
                        <a:pt x="101998" y="243099"/>
                      </a:cubicBezTo>
                      <a:cubicBezTo>
                        <a:pt x="103128" y="243099"/>
                        <a:pt x="107648" y="250193"/>
                        <a:pt x="107648" y="250193"/>
                      </a:cubicBezTo>
                      <a:cubicBezTo>
                        <a:pt x="107648" y="250193"/>
                        <a:pt x="103128" y="261340"/>
                        <a:pt x="105388" y="267419"/>
                      </a:cubicBezTo>
                      <a:cubicBezTo>
                        <a:pt x="105388" y="268433"/>
                        <a:pt x="109909" y="271473"/>
                        <a:pt x="111038" y="274513"/>
                      </a:cubicBezTo>
                      <a:lnTo>
                        <a:pt x="105388" y="274513"/>
                      </a:lnTo>
                      <a:cubicBezTo>
                        <a:pt x="106518" y="277553"/>
                        <a:pt x="111038" y="296807"/>
                        <a:pt x="111038" y="296807"/>
                      </a:cubicBezTo>
                      <a:cubicBezTo>
                        <a:pt x="107648" y="297820"/>
                        <a:pt x="106518" y="303900"/>
                        <a:pt x="108779" y="308967"/>
                      </a:cubicBezTo>
                      <a:cubicBezTo>
                        <a:pt x="111038" y="316061"/>
                        <a:pt x="121210" y="324167"/>
                        <a:pt x="122340" y="333288"/>
                      </a:cubicBezTo>
                      <a:cubicBezTo>
                        <a:pt x="123470" y="339368"/>
                        <a:pt x="120080" y="349501"/>
                        <a:pt x="122340" y="359635"/>
                      </a:cubicBezTo>
                      <a:cubicBezTo>
                        <a:pt x="122340" y="359635"/>
                        <a:pt x="116689" y="361662"/>
                        <a:pt x="116689" y="361662"/>
                      </a:cubicBezTo>
                      <a:cubicBezTo>
                        <a:pt x="116689" y="367742"/>
                        <a:pt x="122340" y="371795"/>
                        <a:pt x="124600" y="375849"/>
                      </a:cubicBezTo>
                      <a:cubicBezTo>
                        <a:pt x="120080" y="379902"/>
                        <a:pt x="121210" y="397129"/>
                        <a:pt x="124600" y="407263"/>
                      </a:cubicBezTo>
                      <a:cubicBezTo>
                        <a:pt x="124600" y="408276"/>
                        <a:pt x="130251" y="409289"/>
                        <a:pt x="130251" y="409289"/>
                      </a:cubicBezTo>
                      <a:cubicBezTo>
                        <a:pt x="133641" y="416383"/>
                        <a:pt x="130251" y="422463"/>
                        <a:pt x="132511" y="431583"/>
                      </a:cubicBezTo>
                      <a:cubicBezTo>
                        <a:pt x="134771" y="438677"/>
                        <a:pt x="147202" y="460971"/>
                        <a:pt x="153984" y="462997"/>
                      </a:cubicBezTo>
                      <a:cubicBezTo>
                        <a:pt x="156243" y="464011"/>
                        <a:pt x="165285" y="460971"/>
                        <a:pt x="167544" y="462997"/>
                      </a:cubicBezTo>
                      <a:cubicBezTo>
                        <a:pt x="170935" y="466037"/>
                        <a:pt x="168675" y="472118"/>
                        <a:pt x="169805" y="477184"/>
                      </a:cubicBezTo>
                      <a:cubicBezTo>
                        <a:pt x="170935" y="480224"/>
                        <a:pt x="172065" y="479211"/>
                        <a:pt x="174326" y="482251"/>
                      </a:cubicBezTo>
                      <a:cubicBezTo>
                        <a:pt x="174326" y="482251"/>
                        <a:pt x="189017" y="477184"/>
                        <a:pt x="191277" y="472118"/>
                      </a:cubicBezTo>
                      <a:cubicBezTo>
                        <a:pt x="193538" y="467051"/>
                        <a:pt x="196928" y="467051"/>
                        <a:pt x="205969" y="467051"/>
                      </a:cubicBezTo>
                      <a:cubicBezTo>
                        <a:pt x="215010" y="467051"/>
                        <a:pt x="203708" y="474144"/>
                        <a:pt x="208229" y="481238"/>
                      </a:cubicBezTo>
                      <a:cubicBezTo>
                        <a:pt x="212749" y="488331"/>
                        <a:pt x="213880" y="489345"/>
                        <a:pt x="226311" y="489345"/>
                      </a:cubicBezTo>
                      <a:cubicBezTo>
                        <a:pt x="238742" y="489345"/>
                        <a:pt x="238742" y="494412"/>
                        <a:pt x="246653" y="489345"/>
                      </a:cubicBezTo>
                      <a:cubicBezTo>
                        <a:pt x="254564" y="484278"/>
                        <a:pt x="257954" y="484278"/>
                        <a:pt x="262475" y="476171"/>
                      </a:cubicBezTo>
                      <a:cubicBezTo>
                        <a:pt x="266995" y="468064"/>
                        <a:pt x="283947" y="470091"/>
                        <a:pt x="283947" y="470091"/>
                      </a:cubicBezTo>
                      <a:lnTo>
                        <a:pt x="286207" y="347475"/>
                      </a:lnTo>
                      <a:lnTo>
                        <a:pt x="288467" y="204591"/>
                      </a:lnTo>
                      <a:lnTo>
                        <a:pt x="326892" y="204591"/>
                      </a:lnTo>
                      <a:lnTo>
                        <a:pt x="328022" y="71842"/>
                      </a:lnTo>
                      <a:lnTo>
                        <a:pt x="355145" y="71842"/>
                      </a:lnTo>
                      <a:lnTo>
                        <a:pt x="434253" y="65761"/>
                      </a:lnTo>
                      <a:cubicBezTo>
                        <a:pt x="434253" y="65761"/>
                        <a:pt x="445554" y="70828"/>
                        <a:pt x="446684" y="60695"/>
                      </a:cubicBezTo>
                      <a:cubicBezTo>
                        <a:pt x="447815" y="50561"/>
                        <a:pt x="464766" y="69815"/>
                        <a:pt x="467026" y="57655"/>
                      </a:cubicBezTo>
                      <a:cubicBezTo>
                        <a:pt x="469286" y="45494"/>
                        <a:pt x="482848" y="48535"/>
                        <a:pt x="482848" y="48535"/>
                      </a:cubicBezTo>
                      <a:cubicBezTo>
                        <a:pt x="482848" y="48535"/>
                        <a:pt x="477197" y="47521"/>
                        <a:pt x="472677" y="40428"/>
                      </a:cubicBezTo>
                      <a:cubicBezTo>
                        <a:pt x="468157" y="33334"/>
                        <a:pt x="457985" y="36374"/>
                        <a:pt x="457985" y="36374"/>
                      </a:cubicBezTo>
                      <a:lnTo>
                        <a:pt x="411651" y="41441"/>
                      </a:lnTo>
                      <a:lnTo>
                        <a:pt x="334803" y="53601"/>
                      </a:lnTo>
                      <a:cubicBezTo>
                        <a:pt x="334803" y="53601"/>
                        <a:pt x="316720" y="44481"/>
                        <a:pt x="307679" y="47521"/>
                      </a:cubicBezTo>
                      <a:cubicBezTo>
                        <a:pt x="298639" y="50561"/>
                        <a:pt x="304289" y="42454"/>
                        <a:pt x="292988" y="47521"/>
                      </a:cubicBezTo>
                      <a:cubicBezTo>
                        <a:pt x="281687" y="52588"/>
                        <a:pt x="278297" y="37388"/>
                        <a:pt x="265865" y="41441"/>
                      </a:cubicBezTo>
                      <a:cubicBezTo>
                        <a:pt x="253434" y="45494"/>
                        <a:pt x="256824" y="35361"/>
                        <a:pt x="248913" y="35361"/>
                      </a:cubicBezTo>
                      <a:cubicBezTo>
                        <a:pt x="241002" y="35361"/>
                        <a:pt x="234222" y="22187"/>
                        <a:pt x="234222" y="22187"/>
                      </a:cubicBezTo>
                      <a:lnTo>
                        <a:pt x="77135" y="18134"/>
                      </a:lnTo>
                      <a:cubicBezTo>
                        <a:pt x="77135" y="18134"/>
                        <a:pt x="65834" y="9013"/>
                        <a:pt x="57923" y="9013"/>
                      </a:cubicBezTo>
                      <a:cubicBezTo>
                        <a:pt x="50012" y="9013"/>
                        <a:pt x="50012" y="23201"/>
                        <a:pt x="37581" y="19147"/>
                      </a:cubicBezTo>
                      <a:cubicBezTo>
                        <a:pt x="26279" y="16107"/>
                        <a:pt x="13848" y="19147"/>
                        <a:pt x="13848" y="19147"/>
                      </a:cubicBezTo>
                      <a:close/>
                      <a:moveTo>
                        <a:pt x="111038" y="121496"/>
                      </a:moveTo>
                      <a:cubicBezTo>
                        <a:pt x="118949" y="123523"/>
                        <a:pt x="111038" y="127576"/>
                        <a:pt x="108779" y="128590"/>
                      </a:cubicBezTo>
                      <a:cubicBezTo>
                        <a:pt x="112169" y="127576"/>
                        <a:pt x="106518" y="120483"/>
                        <a:pt x="111038" y="121496"/>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8" name="Freeform: Shape 327">
                  <a:extLst>
                    <a:ext uri="{FF2B5EF4-FFF2-40B4-BE49-F238E27FC236}">
                      <a16:creationId xmlns:a16="http://schemas.microsoft.com/office/drawing/2014/main" id="{5115E7B6-30E7-4EA0-AF1C-65058942C122}"/>
                    </a:ext>
                  </a:extLst>
                </p:cNvPr>
                <p:cNvSpPr/>
                <p:nvPr/>
              </p:nvSpPr>
              <p:spPr>
                <a:xfrm>
                  <a:off x="7539878" y="2620026"/>
                  <a:ext cx="45205" cy="40534"/>
                </a:xfrm>
                <a:custGeom>
                  <a:avLst/>
                  <a:gdLst>
                    <a:gd name="connsiteX0" fmla="*/ 32654 w 45204"/>
                    <a:gd name="connsiteY0" fmla="*/ 41441 h 40534"/>
                    <a:gd name="connsiteX1" fmla="*/ 10052 w 45204"/>
                    <a:gd name="connsiteY1" fmla="*/ 12054 h 40534"/>
                    <a:gd name="connsiteX2" fmla="*/ 23614 w 45204"/>
                    <a:gd name="connsiteY2" fmla="*/ 9013 h 40534"/>
                    <a:gd name="connsiteX3" fmla="*/ 29264 w 45204"/>
                    <a:gd name="connsiteY3" fmla="*/ 17120 h 40534"/>
                    <a:gd name="connsiteX4" fmla="*/ 24743 w 45204"/>
                    <a:gd name="connsiteY4" fmla="*/ 17120 h 40534"/>
                    <a:gd name="connsiteX5" fmla="*/ 27004 w 45204"/>
                    <a:gd name="connsiteY5" fmla="*/ 26240 h 40534"/>
                    <a:gd name="connsiteX6" fmla="*/ 39435 w 45204"/>
                    <a:gd name="connsiteY6" fmla="*/ 34347 h 40534"/>
                    <a:gd name="connsiteX7" fmla="*/ 32654 w 45204"/>
                    <a:gd name="connsiteY7" fmla="*/ 41441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04" h="40534">
                      <a:moveTo>
                        <a:pt x="32654" y="41441"/>
                      </a:moveTo>
                      <a:cubicBezTo>
                        <a:pt x="25874" y="33334"/>
                        <a:pt x="11182" y="22187"/>
                        <a:pt x="10052" y="12054"/>
                      </a:cubicBezTo>
                      <a:lnTo>
                        <a:pt x="23614" y="9013"/>
                      </a:lnTo>
                      <a:lnTo>
                        <a:pt x="29264" y="17120"/>
                      </a:lnTo>
                      <a:lnTo>
                        <a:pt x="24743" y="17120"/>
                      </a:lnTo>
                      <a:lnTo>
                        <a:pt x="27004" y="26240"/>
                      </a:lnTo>
                      <a:cubicBezTo>
                        <a:pt x="36045" y="27254"/>
                        <a:pt x="39435" y="29281"/>
                        <a:pt x="39435" y="34347"/>
                      </a:cubicBezTo>
                      <a:cubicBezTo>
                        <a:pt x="40565" y="38401"/>
                        <a:pt x="36045" y="41441"/>
                        <a:pt x="32654" y="4144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9" name="Freeform: Shape 328">
                  <a:extLst>
                    <a:ext uri="{FF2B5EF4-FFF2-40B4-BE49-F238E27FC236}">
                      <a16:creationId xmlns:a16="http://schemas.microsoft.com/office/drawing/2014/main" id="{7969AF7B-4B98-42CE-AE4D-74A305D397F2}"/>
                    </a:ext>
                  </a:extLst>
                </p:cNvPr>
                <p:cNvSpPr/>
                <p:nvPr/>
              </p:nvSpPr>
              <p:spPr>
                <a:xfrm>
                  <a:off x="6946565" y="4695381"/>
                  <a:ext cx="384241" cy="638415"/>
                </a:xfrm>
                <a:custGeom>
                  <a:avLst/>
                  <a:gdLst>
                    <a:gd name="connsiteX0" fmla="*/ 173919 w 384240"/>
                    <a:gd name="connsiteY0" fmla="*/ 113389 h 638414"/>
                    <a:gd name="connsiteX1" fmla="*/ 179570 w 384240"/>
                    <a:gd name="connsiteY1" fmla="*/ 117443 h 638414"/>
                    <a:gd name="connsiteX2" fmla="*/ 190871 w 384240"/>
                    <a:gd name="connsiteY2" fmla="*/ 140750 h 638414"/>
                    <a:gd name="connsiteX3" fmla="*/ 203302 w 384240"/>
                    <a:gd name="connsiteY3" fmla="*/ 154937 h 638414"/>
                    <a:gd name="connsiteX4" fmla="*/ 203302 w 384240"/>
                    <a:gd name="connsiteY4" fmla="*/ 180271 h 638414"/>
                    <a:gd name="connsiteX5" fmla="*/ 204433 w 384240"/>
                    <a:gd name="connsiteY5" fmla="*/ 198511 h 638414"/>
                    <a:gd name="connsiteX6" fmla="*/ 182960 w 384240"/>
                    <a:gd name="connsiteY6" fmla="*/ 206618 h 638414"/>
                    <a:gd name="connsiteX7" fmla="*/ 186350 w 384240"/>
                    <a:gd name="connsiteY7" fmla="*/ 236005 h 638414"/>
                    <a:gd name="connsiteX8" fmla="*/ 176180 w 384240"/>
                    <a:gd name="connsiteY8" fmla="*/ 252219 h 638414"/>
                    <a:gd name="connsiteX9" fmla="*/ 170529 w 384240"/>
                    <a:gd name="connsiteY9" fmla="*/ 238032 h 638414"/>
                    <a:gd name="connsiteX10" fmla="*/ 159228 w 384240"/>
                    <a:gd name="connsiteY10" fmla="*/ 232965 h 638414"/>
                    <a:gd name="connsiteX11" fmla="*/ 137755 w 384240"/>
                    <a:gd name="connsiteY11" fmla="*/ 214725 h 638414"/>
                    <a:gd name="connsiteX12" fmla="*/ 138886 w 384240"/>
                    <a:gd name="connsiteY12" fmla="*/ 198511 h 638414"/>
                    <a:gd name="connsiteX13" fmla="*/ 142276 w 384240"/>
                    <a:gd name="connsiteY13" fmla="*/ 174190 h 638414"/>
                    <a:gd name="connsiteX14" fmla="*/ 136626 w 384240"/>
                    <a:gd name="connsiteY14" fmla="*/ 160004 h 638414"/>
                    <a:gd name="connsiteX15" fmla="*/ 112893 w 384240"/>
                    <a:gd name="connsiteY15" fmla="*/ 168111 h 638414"/>
                    <a:gd name="connsiteX16" fmla="*/ 107242 w 384240"/>
                    <a:gd name="connsiteY16" fmla="*/ 154937 h 638414"/>
                    <a:gd name="connsiteX17" fmla="*/ 91421 w 384240"/>
                    <a:gd name="connsiteY17" fmla="*/ 143790 h 638414"/>
                    <a:gd name="connsiteX18" fmla="*/ 10052 w 384240"/>
                    <a:gd name="connsiteY18" fmla="*/ 167097 h 638414"/>
                    <a:gd name="connsiteX19" fmla="*/ 20223 w 384240"/>
                    <a:gd name="connsiteY19" fmla="*/ 185337 h 638414"/>
                    <a:gd name="connsiteX20" fmla="*/ 21353 w 384240"/>
                    <a:gd name="connsiteY20" fmla="*/ 186351 h 638414"/>
                    <a:gd name="connsiteX21" fmla="*/ 16832 w 384240"/>
                    <a:gd name="connsiteY21" fmla="*/ 209658 h 638414"/>
                    <a:gd name="connsiteX22" fmla="*/ 33784 w 384240"/>
                    <a:gd name="connsiteY22" fmla="*/ 211685 h 638414"/>
                    <a:gd name="connsiteX23" fmla="*/ 51867 w 384240"/>
                    <a:gd name="connsiteY23" fmla="*/ 219792 h 638414"/>
                    <a:gd name="connsiteX24" fmla="*/ 73338 w 384240"/>
                    <a:gd name="connsiteY24" fmla="*/ 230939 h 638414"/>
                    <a:gd name="connsiteX25" fmla="*/ 94811 w 384240"/>
                    <a:gd name="connsiteY25" fmla="*/ 241072 h 638414"/>
                    <a:gd name="connsiteX26" fmla="*/ 99332 w 384240"/>
                    <a:gd name="connsiteY26" fmla="*/ 257286 h 638414"/>
                    <a:gd name="connsiteX27" fmla="*/ 92551 w 384240"/>
                    <a:gd name="connsiteY27" fmla="*/ 272486 h 638414"/>
                    <a:gd name="connsiteX28" fmla="*/ 93681 w 384240"/>
                    <a:gd name="connsiteY28" fmla="*/ 297820 h 638414"/>
                    <a:gd name="connsiteX29" fmla="*/ 106112 w 384240"/>
                    <a:gd name="connsiteY29" fmla="*/ 314034 h 638414"/>
                    <a:gd name="connsiteX30" fmla="*/ 97071 w 384240"/>
                    <a:gd name="connsiteY30" fmla="*/ 326194 h 638414"/>
                    <a:gd name="connsiteX31" fmla="*/ 90290 w 384240"/>
                    <a:gd name="connsiteY31" fmla="*/ 341394 h 638414"/>
                    <a:gd name="connsiteX32" fmla="*/ 95941 w 384240"/>
                    <a:gd name="connsiteY32" fmla="*/ 354568 h 638414"/>
                    <a:gd name="connsiteX33" fmla="*/ 91421 w 384240"/>
                    <a:gd name="connsiteY33" fmla="*/ 374835 h 638414"/>
                    <a:gd name="connsiteX34" fmla="*/ 94811 w 384240"/>
                    <a:gd name="connsiteY34" fmla="*/ 399156 h 638414"/>
                    <a:gd name="connsiteX35" fmla="*/ 90290 w 384240"/>
                    <a:gd name="connsiteY35" fmla="*/ 411316 h 638414"/>
                    <a:gd name="connsiteX36" fmla="*/ 100462 w 384240"/>
                    <a:gd name="connsiteY36" fmla="*/ 417396 h 638414"/>
                    <a:gd name="connsiteX37" fmla="*/ 82380 w 384240"/>
                    <a:gd name="connsiteY37" fmla="*/ 440703 h 638414"/>
                    <a:gd name="connsiteX38" fmla="*/ 56387 w 384240"/>
                    <a:gd name="connsiteY38" fmla="*/ 470091 h 638414"/>
                    <a:gd name="connsiteX39" fmla="*/ 55257 w 384240"/>
                    <a:gd name="connsiteY39" fmla="*/ 503531 h 638414"/>
                    <a:gd name="connsiteX40" fmla="*/ 56387 w 384240"/>
                    <a:gd name="connsiteY40" fmla="*/ 538999 h 638414"/>
                    <a:gd name="connsiteX41" fmla="*/ 55257 w 384240"/>
                    <a:gd name="connsiteY41" fmla="*/ 570413 h 638414"/>
                    <a:gd name="connsiteX42" fmla="*/ 54127 w 384240"/>
                    <a:gd name="connsiteY42" fmla="*/ 589667 h 638414"/>
                    <a:gd name="connsiteX43" fmla="*/ 59778 w 384240"/>
                    <a:gd name="connsiteY43" fmla="*/ 600814 h 638414"/>
                    <a:gd name="connsiteX44" fmla="*/ 75599 w 384240"/>
                    <a:gd name="connsiteY44" fmla="*/ 616014 h 638414"/>
                    <a:gd name="connsiteX45" fmla="*/ 71079 w 384240"/>
                    <a:gd name="connsiteY45" fmla="*/ 637295 h 638414"/>
                    <a:gd name="connsiteX46" fmla="*/ 94811 w 384240"/>
                    <a:gd name="connsiteY46" fmla="*/ 638308 h 638414"/>
                    <a:gd name="connsiteX47" fmla="*/ 98201 w 384240"/>
                    <a:gd name="connsiteY47" fmla="*/ 624121 h 638414"/>
                    <a:gd name="connsiteX48" fmla="*/ 84640 w 384240"/>
                    <a:gd name="connsiteY48" fmla="*/ 617028 h 638414"/>
                    <a:gd name="connsiteX49" fmla="*/ 84640 w 384240"/>
                    <a:gd name="connsiteY49" fmla="*/ 609934 h 638414"/>
                    <a:gd name="connsiteX50" fmla="*/ 187481 w 384240"/>
                    <a:gd name="connsiteY50" fmla="*/ 556226 h 638414"/>
                    <a:gd name="connsiteX51" fmla="*/ 193132 w 384240"/>
                    <a:gd name="connsiteY51" fmla="*/ 551159 h 638414"/>
                    <a:gd name="connsiteX52" fmla="*/ 187481 w 384240"/>
                    <a:gd name="connsiteY52" fmla="*/ 533932 h 638414"/>
                    <a:gd name="connsiteX53" fmla="*/ 187481 w 384240"/>
                    <a:gd name="connsiteY53" fmla="*/ 473131 h 638414"/>
                    <a:gd name="connsiteX54" fmla="*/ 173919 w 384240"/>
                    <a:gd name="connsiteY54" fmla="*/ 443743 h 638414"/>
                    <a:gd name="connsiteX55" fmla="*/ 173919 w 384240"/>
                    <a:gd name="connsiteY55" fmla="*/ 409289 h 638414"/>
                    <a:gd name="connsiteX56" fmla="*/ 162618 w 384240"/>
                    <a:gd name="connsiteY56" fmla="*/ 404223 h 638414"/>
                    <a:gd name="connsiteX57" fmla="*/ 160358 w 384240"/>
                    <a:gd name="connsiteY57" fmla="*/ 362675 h 638414"/>
                    <a:gd name="connsiteX58" fmla="*/ 179570 w 384240"/>
                    <a:gd name="connsiteY58" fmla="*/ 355582 h 638414"/>
                    <a:gd name="connsiteX59" fmla="*/ 190871 w 384240"/>
                    <a:gd name="connsiteY59" fmla="*/ 336328 h 638414"/>
                    <a:gd name="connsiteX60" fmla="*/ 204433 w 384240"/>
                    <a:gd name="connsiteY60" fmla="*/ 331261 h 638414"/>
                    <a:gd name="connsiteX61" fmla="*/ 212344 w 384240"/>
                    <a:gd name="connsiteY61" fmla="*/ 296807 h 638414"/>
                    <a:gd name="connsiteX62" fmla="*/ 241727 w 384240"/>
                    <a:gd name="connsiteY62" fmla="*/ 296807 h 638414"/>
                    <a:gd name="connsiteX63" fmla="*/ 243987 w 384240"/>
                    <a:gd name="connsiteY63" fmla="*/ 291740 h 638414"/>
                    <a:gd name="connsiteX64" fmla="*/ 259808 w 384240"/>
                    <a:gd name="connsiteY64" fmla="*/ 291740 h 638414"/>
                    <a:gd name="connsiteX65" fmla="*/ 259808 w 384240"/>
                    <a:gd name="connsiteY65" fmla="*/ 286673 h 638414"/>
                    <a:gd name="connsiteX66" fmla="*/ 275630 w 384240"/>
                    <a:gd name="connsiteY66" fmla="*/ 281606 h 638414"/>
                    <a:gd name="connsiteX67" fmla="*/ 283541 w 384240"/>
                    <a:gd name="connsiteY67" fmla="*/ 271473 h 638414"/>
                    <a:gd name="connsiteX68" fmla="*/ 316314 w 384240"/>
                    <a:gd name="connsiteY68" fmla="*/ 264379 h 638414"/>
                    <a:gd name="connsiteX69" fmla="*/ 332136 w 384240"/>
                    <a:gd name="connsiteY69" fmla="*/ 245125 h 638414"/>
                    <a:gd name="connsiteX70" fmla="*/ 347958 w 384240"/>
                    <a:gd name="connsiteY70" fmla="*/ 238032 h 638414"/>
                    <a:gd name="connsiteX71" fmla="*/ 350218 w 384240"/>
                    <a:gd name="connsiteY71" fmla="*/ 223845 h 638414"/>
                    <a:gd name="connsiteX72" fmla="*/ 363779 w 384240"/>
                    <a:gd name="connsiteY72" fmla="*/ 216752 h 638414"/>
                    <a:gd name="connsiteX73" fmla="*/ 366040 w 384240"/>
                    <a:gd name="connsiteY73" fmla="*/ 194458 h 638414"/>
                    <a:gd name="connsiteX74" fmla="*/ 377341 w 384240"/>
                    <a:gd name="connsiteY74" fmla="*/ 189391 h 638414"/>
                    <a:gd name="connsiteX75" fmla="*/ 377341 w 384240"/>
                    <a:gd name="connsiteY75" fmla="*/ 182298 h 638414"/>
                    <a:gd name="connsiteX76" fmla="*/ 371690 w 384240"/>
                    <a:gd name="connsiteY76" fmla="*/ 182298 h 638414"/>
                    <a:gd name="connsiteX77" fmla="*/ 366040 w 384240"/>
                    <a:gd name="connsiteY77" fmla="*/ 165070 h 638414"/>
                    <a:gd name="connsiteX78" fmla="*/ 377341 w 384240"/>
                    <a:gd name="connsiteY78" fmla="*/ 118456 h 638414"/>
                    <a:gd name="connsiteX79" fmla="*/ 379601 w 384240"/>
                    <a:gd name="connsiteY79" fmla="*/ 116429 h 638414"/>
                    <a:gd name="connsiteX80" fmla="*/ 373951 w 384240"/>
                    <a:gd name="connsiteY80" fmla="*/ 87042 h 638414"/>
                    <a:gd name="connsiteX81" fmla="*/ 362649 w 384240"/>
                    <a:gd name="connsiteY81" fmla="*/ 24214 h 638414"/>
                    <a:gd name="connsiteX82" fmla="*/ 367170 w 384240"/>
                    <a:gd name="connsiteY82" fmla="*/ 9013 h 638414"/>
                    <a:gd name="connsiteX83" fmla="*/ 333266 w 384240"/>
                    <a:gd name="connsiteY83" fmla="*/ 25227 h 638414"/>
                    <a:gd name="connsiteX84" fmla="*/ 306143 w 384240"/>
                    <a:gd name="connsiteY84" fmla="*/ 31307 h 638414"/>
                    <a:gd name="connsiteX85" fmla="*/ 288061 w 384240"/>
                    <a:gd name="connsiteY85" fmla="*/ 41441 h 638414"/>
                    <a:gd name="connsiteX86" fmla="*/ 275630 w 384240"/>
                    <a:gd name="connsiteY86" fmla="*/ 41441 h 638414"/>
                    <a:gd name="connsiteX87" fmla="*/ 259808 w 384240"/>
                    <a:gd name="connsiteY87" fmla="*/ 49548 h 638414"/>
                    <a:gd name="connsiteX88" fmla="*/ 233816 w 384240"/>
                    <a:gd name="connsiteY88" fmla="*/ 54614 h 638414"/>
                    <a:gd name="connsiteX89" fmla="*/ 207823 w 384240"/>
                    <a:gd name="connsiteY89" fmla="*/ 59681 h 638414"/>
                    <a:gd name="connsiteX90" fmla="*/ 190871 w 384240"/>
                    <a:gd name="connsiteY90" fmla="*/ 45494 h 638414"/>
                    <a:gd name="connsiteX91" fmla="*/ 176180 w 384240"/>
                    <a:gd name="connsiteY91" fmla="*/ 49548 h 638414"/>
                    <a:gd name="connsiteX92" fmla="*/ 159228 w 384240"/>
                    <a:gd name="connsiteY92" fmla="*/ 52588 h 638414"/>
                    <a:gd name="connsiteX93" fmla="*/ 155838 w 384240"/>
                    <a:gd name="connsiteY93" fmla="*/ 72855 h 638414"/>
                    <a:gd name="connsiteX94" fmla="*/ 163748 w 384240"/>
                    <a:gd name="connsiteY94" fmla="*/ 79948 h 638414"/>
                    <a:gd name="connsiteX95" fmla="*/ 161488 w 384240"/>
                    <a:gd name="connsiteY95" fmla="*/ 99202 h 638414"/>
                    <a:gd name="connsiteX96" fmla="*/ 173919 w 384240"/>
                    <a:gd name="connsiteY96" fmla="*/ 113389 h 63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84240" h="638414">
                      <a:moveTo>
                        <a:pt x="173919" y="113389"/>
                      </a:moveTo>
                      <a:cubicBezTo>
                        <a:pt x="176180" y="114402"/>
                        <a:pt x="177310" y="115416"/>
                        <a:pt x="179570" y="117443"/>
                      </a:cubicBezTo>
                      <a:cubicBezTo>
                        <a:pt x="186350" y="123523"/>
                        <a:pt x="188611" y="130616"/>
                        <a:pt x="190871" y="140750"/>
                      </a:cubicBezTo>
                      <a:cubicBezTo>
                        <a:pt x="193132" y="150883"/>
                        <a:pt x="196522" y="151897"/>
                        <a:pt x="203302" y="154937"/>
                      </a:cubicBezTo>
                      <a:cubicBezTo>
                        <a:pt x="210083" y="157977"/>
                        <a:pt x="207823" y="168111"/>
                        <a:pt x="203302" y="180271"/>
                      </a:cubicBezTo>
                      <a:cubicBezTo>
                        <a:pt x="198782" y="192431"/>
                        <a:pt x="206693" y="186351"/>
                        <a:pt x="204433" y="198511"/>
                      </a:cubicBezTo>
                      <a:cubicBezTo>
                        <a:pt x="202172" y="210671"/>
                        <a:pt x="189741" y="208645"/>
                        <a:pt x="182960" y="206618"/>
                      </a:cubicBezTo>
                      <a:cubicBezTo>
                        <a:pt x="176180" y="204591"/>
                        <a:pt x="179570" y="230939"/>
                        <a:pt x="186350" y="236005"/>
                      </a:cubicBezTo>
                      <a:cubicBezTo>
                        <a:pt x="193132" y="241072"/>
                        <a:pt x="182960" y="251206"/>
                        <a:pt x="176180" y="252219"/>
                      </a:cubicBezTo>
                      <a:cubicBezTo>
                        <a:pt x="169399" y="253232"/>
                        <a:pt x="170529" y="238032"/>
                        <a:pt x="170529" y="238032"/>
                      </a:cubicBezTo>
                      <a:cubicBezTo>
                        <a:pt x="170529" y="238032"/>
                        <a:pt x="167139" y="238032"/>
                        <a:pt x="159228" y="232965"/>
                      </a:cubicBezTo>
                      <a:cubicBezTo>
                        <a:pt x="150187" y="227899"/>
                        <a:pt x="143406" y="219792"/>
                        <a:pt x="137755" y="214725"/>
                      </a:cubicBezTo>
                      <a:cubicBezTo>
                        <a:pt x="132105" y="209658"/>
                        <a:pt x="134365" y="204591"/>
                        <a:pt x="138886" y="198511"/>
                      </a:cubicBezTo>
                      <a:cubicBezTo>
                        <a:pt x="143406" y="192431"/>
                        <a:pt x="142276" y="182298"/>
                        <a:pt x="142276" y="174190"/>
                      </a:cubicBezTo>
                      <a:cubicBezTo>
                        <a:pt x="142276" y="166084"/>
                        <a:pt x="136626" y="160004"/>
                        <a:pt x="136626" y="160004"/>
                      </a:cubicBezTo>
                      <a:cubicBezTo>
                        <a:pt x="136626" y="160004"/>
                        <a:pt x="119674" y="165070"/>
                        <a:pt x="112893" y="168111"/>
                      </a:cubicBezTo>
                      <a:cubicBezTo>
                        <a:pt x="106112" y="171151"/>
                        <a:pt x="109502" y="163044"/>
                        <a:pt x="107242" y="154937"/>
                      </a:cubicBezTo>
                      <a:cubicBezTo>
                        <a:pt x="104982" y="146830"/>
                        <a:pt x="91421" y="143790"/>
                        <a:pt x="91421" y="143790"/>
                      </a:cubicBezTo>
                      <a:lnTo>
                        <a:pt x="10052" y="167097"/>
                      </a:lnTo>
                      <a:cubicBezTo>
                        <a:pt x="10052" y="167097"/>
                        <a:pt x="24743" y="178244"/>
                        <a:pt x="20223" y="185337"/>
                      </a:cubicBezTo>
                      <a:lnTo>
                        <a:pt x="21353" y="186351"/>
                      </a:lnTo>
                      <a:lnTo>
                        <a:pt x="16832" y="209658"/>
                      </a:lnTo>
                      <a:cubicBezTo>
                        <a:pt x="16832" y="209658"/>
                        <a:pt x="28134" y="209658"/>
                        <a:pt x="33784" y="211685"/>
                      </a:cubicBezTo>
                      <a:cubicBezTo>
                        <a:pt x="39435" y="213712"/>
                        <a:pt x="46216" y="215738"/>
                        <a:pt x="51867" y="219792"/>
                      </a:cubicBezTo>
                      <a:cubicBezTo>
                        <a:pt x="57517" y="223845"/>
                        <a:pt x="64298" y="228912"/>
                        <a:pt x="73338" y="230939"/>
                      </a:cubicBezTo>
                      <a:cubicBezTo>
                        <a:pt x="82380" y="232965"/>
                        <a:pt x="89160" y="236005"/>
                        <a:pt x="94811" y="241072"/>
                      </a:cubicBezTo>
                      <a:cubicBezTo>
                        <a:pt x="100462" y="246139"/>
                        <a:pt x="99332" y="257286"/>
                        <a:pt x="99332" y="257286"/>
                      </a:cubicBezTo>
                      <a:cubicBezTo>
                        <a:pt x="99332" y="257286"/>
                        <a:pt x="90290" y="263366"/>
                        <a:pt x="92551" y="272486"/>
                      </a:cubicBezTo>
                      <a:cubicBezTo>
                        <a:pt x="94811" y="281606"/>
                        <a:pt x="89160" y="290727"/>
                        <a:pt x="93681" y="297820"/>
                      </a:cubicBezTo>
                      <a:cubicBezTo>
                        <a:pt x="98201" y="304914"/>
                        <a:pt x="106112" y="314034"/>
                        <a:pt x="106112" y="314034"/>
                      </a:cubicBezTo>
                      <a:cubicBezTo>
                        <a:pt x="106112" y="314034"/>
                        <a:pt x="101591" y="321127"/>
                        <a:pt x="97071" y="326194"/>
                      </a:cubicBezTo>
                      <a:cubicBezTo>
                        <a:pt x="92551" y="331261"/>
                        <a:pt x="84640" y="334301"/>
                        <a:pt x="90290" y="341394"/>
                      </a:cubicBezTo>
                      <a:cubicBezTo>
                        <a:pt x="95941" y="348488"/>
                        <a:pt x="100462" y="349501"/>
                        <a:pt x="95941" y="354568"/>
                      </a:cubicBezTo>
                      <a:cubicBezTo>
                        <a:pt x="86900" y="364702"/>
                        <a:pt x="95941" y="363688"/>
                        <a:pt x="91421" y="374835"/>
                      </a:cubicBezTo>
                      <a:cubicBezTo>
                        <a:pt x="86900" y="385982"/>
                        <a:pt x="97071" y="392062"/>
                        <a:pt x="94811" y="399156"/>
                      </a:cubicBezTo>
                      <a:cubicBezTo>
                        <a:pt x="90290" y="417396"/>
                        <a:pt x="88031" y="404223"/>
                        <a:pt x="90290" y="411316"/>
                      </a:cubicBezTo>
                      <a:cubicBezTo>
                        <a:pt x="92551" y="418410"/>
                        <a:pt x="106112" y="410303"/>
                        <a:pt x="100462" y="417396"/>
                      </a:cubicBezTo>
                      <a:cubicBezTo>
                        <a:pt x="94811" y="424490"/>
                        <a:pt x="82380" y="440703"/>
                        <a:pt x="82380" y="440703"/>
                      </a:cubicBezTo>
                      <a:lnTo>
                        <a:pt x="56387" y="470091"/>
                      </a:lnTo>
                      <a:cubicBezTo>
                        <a:pt x="56387" y="470091"/>
                        <a:pt x="60907" y="494411"/>
                        <a:pt x="55257" y="503531"/>
                      </a:cubicBezTo>
                      <a:cubicBezTo>
                        <a:pt x="49606" y="512652"/>
                        <a:pt x="51867" y="524812"/>
                        <a:pt x="56387" y="538999"/>
                      </a:cubicBezTo>
                      <a:cubicBezTo>
                        <a:pt x="60907" y="553186"/>
                        <a:pt x="57517" y="563320"/>
                        <a:pt x="55257" y="570413"/>
                      </a:cubicBezTo>
                      <a:cubicBezTo>
                        <a:pt x="52996" y="577507"/>
                        <a:pt x="48476" y="583587"/>
                        <a:pt x="54127" y="589667"/>
                      </a:cubicBezTo>
                      <a:cubicBezTo>
                        <a:pt x="59778" y="595747"/>
                        <a:pt x="59778" y="600814"/>
                        <a:pt x="59778" y="600814"/>
                      </a:cubicBezTo>
                      <a:cubicBezTo>
                        <a:pt x="59778" y="600814"/>
                        <a:pt x="75599" y="608921"/>
                        <a:pt x="75599" y="616014"/>
                      </a:cubicBezTo>
                      <a:cubicBezTo>
                        <a:pt x="75599" y="623108"/>
                        <a:pt x="71079" y="637295"/>
                        <a:pt x="71079" y="637295"/>
                      </a:cubicBezTo>
                      <a:lnTo>
                        <a:pt x="94811" y="638308"/>
                      </a:lnTo>
                      <a:cubicBezTo>
                        <a:pt x="95941" y="633241"/>
                        <a:pt x="97071" y="628175"/>
                        <a:pt x="98201" y="624121"/>
                      </a:cubicBezTo>
                      <a:cubicBezTo>
                        <a:pt x="94811" y="621081"/>
                        <a:pt x="86900" y="621081"/>
                        <a:pt x="84640" y="617028"/>
                      </a:cubicBezTo>
                      <a:cubicBezTo>
                        <a:pt x="83510" y="613988"/>
                        <a:pt x="85770" y="611961"/>
                        <a:pt x="84640" y="609934"/>
                      </a:cubicBezTo>
                      <a:cubicBezTo>
                        <a:pt x="109502" y="582573"/>
                        <a:pt x="164879" y="583587"/>
                        <a:pt x="187481" y="556226"/>
                      </a:cubicBezTo>
                      <a:cubicBezTo>
                        <a:pt x="187481" y="556226"/>
                        <a:pt x="193132" y="551159"/>
                        <a:pt x="193132" y="551159"/>
                      </a:cubicBezTo>
                      <a:cubicBezTo>
                        <a:pt x="195392" y="542039"/>
                        <a:pt x="188611" y="538999"/>
                        <a:pt x="187481" y="533932"/>
                      </a:cubicBezTo>
                      <a:cubicBezTo>
                        <a:pt x="185221" y="519745"/>
                        <a:pt x="190871" y="489345"/>
                        <a:pt x="187481" y="473131"/>
                      </a:cubicBezTo>
                      <a:cubicBezTo>
                        <a:pt x="186350" y="467051"/>
                        <a:pt x="175049" y="449824"/>
                        <a:pt x="173919" y="443743"/>
                      </a:cubicBezTo>
                      <a:cubicBezTo>
                        <a:pt x="171659" y="432596"/>
                        <a:pt x="176180" y="414356"/>
                        <a:pt x="173919" y="409289"/>
                      </a:cubicBezTo>
                      <a:cubicBezTo>
                        <a:pt x="172789" y="407263"/>
                        <a:pt x="164879" y="406249"/>
                        <a:pt x="162618" y="404223"/>
                      </a:cubicBezTo>
                      <a:cubicBezTo>
                        <a:pt x="159228" y="399156"/>
                        <a:pt x="156968" y="368755"/>
                        <a:pt x="160358" y="362675"/>
                      </a:cubicBezTo>
                      <a:cubicBezTo>
                        <a:pt x="161488" y="361661"/>
                        <a:pt x="177310" y="356595"/>
                        <a:pt x="179570" y="355582"/>
                      </a:cubicBezTo>
                      <a:cubicBezTo>
                        <a:pt x="186350" y="350515"/>
                        <a:pt x="185221" y="341394"/>
                        <a:pt x="190871" y="336328"/>
                      </a:cubicBezTo>
                      <a:cubicBezTo>
                        <a:pt x="194261" y="333288"/>
                        <a:pt x="199912" y="334301"/>
                        <a:pt x="204433" y="331261"/>
                      </a:cubicBezTo>
                      <a:cubicBezTo>
                        <a:pt x="214603" y="324167"/>
                        <a:pt x="212344" y="304914"/>
                        <a:pt x="212344" y="296807"/>
                      </a:cubicBezTo>
                      <a:cubicBezTo>
                        <a:pt x="225905" y="295793"/>
                        <a:pt x="234946" y="296807"/>
                        <a:pt x="241727" y="296807"/>
                      </a:cubicBezTo>
                      <a:cubicBezTo>
                        <a:pt x="241727" y="295793"/>
                        <a:pt x="243987" y="291740"/>
                        <a:pt x="243987" y="291740"/>
                      </a:cubicBezTo>
                      <a:cubicBezTo>
                        <a:pt x="248507" y="290727"/>
                        <a:pt x="255288" y="293767"/>
                        <a:pt x="259808" y="291740"/>
                      </a:cubicBezTo>
                      <a:lnTo>
                        <a:pt x="259808" y="286673"/>
                      </a:lnTo>
                      <a:cubicBezTo>
                        <a:pt x="265459" y="284647"/>
                        <a:pt x="271109" y="284647"/>
                        <a:pt x="275630" y="281606"/>
                      </a:cubicBezTo>
                      <a:cubicBezTo>
                        <a:pt x="277890" y="280593"/>
                        <a:pt x="281281" y="272486"/>
                        <a:pt x="283541" y="271473"/>
                      </a:cubicBezTo>
                      <a:cubicBezTo>
                        <a:pt x="293712" y="266406"/>
                        <a:pt x="306143" y="269446"/>
                        <a:pt x="316314" y="264379"/>
                      </a:cubicBezTo>
                      <a:cubicBezTo>
                        <a:pt x="324225" y="260326"/>
                        <a:pt x="326485" y="249179"/>
                        <a:pt x="332136" y="245125"/>
                      </a:cubicBezTo>
                      <a:cubicBezTo>
                        <a:pt x="337787" y="241072"/>
                        <a:pt x="345698" y="243099"/>
                        <a:pt x="347958" y="238032"/>
                      </a:cubicBezTo>
                      <a:cubicBezTo>
                        <a:pt x="351348" y="231952"/>
                        <a:pt x="346828" y="227899"/>
                        <a:pt x="350218" y="223845"/>
                      </a:cubicBezTo>
                      <a:cubicBezTo>
                        <a:pt x="352478" y="220805"/>
                        <a:pt x="361519" y="219792"/>
                        <a:pt x="363779" y="216752"/>
                      </a:cubicBezTo>
                      <a:cubicBezTo>
                        <a:pt x="370560" y="207631"/>
                        <a:pt x="362649" y="204591"/>
                        <a:pt x="366040" y="194458"/>
                      </a:cubicBezTo>
                      <a:cubicBezTo>
                        <a:pt x="367170" y="192431"/>
                        <a:pt x="375080" y="191418"/>
                        <a:pt x="377341" y="189391"/>
                      </a:cubicBezTo>
                      <a:cubicBezTo>
                        <a:pt x="375080" y="187364"/>
                        <a:pt x="378471" y="184324"/>
                        <a:pt x="377341" y="182298"/>
                      </a:cubicBezTo>
                      <a:lnTo>
                        <a:pt x="371690" y="182298"/>
                      </a:lnTo>
                      <a:cubicBezTo>
                        <a:pt x="371690" y="182298"/>
                        <a:pt x="362649" y="165070"/>
                        <a:pt x="366040" y="165070"/>
                      </a:cubicBezTo>
                      <a:cubicBezTo>
                        <a:pt x="371690" y="166084"/>
                        <a:pt x="371690" y="122510"/>
                        <a:pt x="377341" y="118456"/>
                      </a:cubicBezTo>
                      <a:cubicBezTo>
                        <a:pt x="377341" y="118456"/>
                        <a:pt x="386382" y="117443"/>
                        <a:pt x="379601" y="116429"/>
                      </a:cubicBezTo>
                      <a:cubicBezTo>
                        <a:pt x="370560" y="115416"/>
                        <a:pt x="373951" y="87042"/>
                        <a:pt x="373951" y="87042"/>
                      </a:cubicBezTo>
                      <a:cubicBezTo>
                        <a:pt x="370560" y="68801"/>
                        <a:pt x="372820" y="31307"/>
                        <a:pt x="362649" y="24214"/>
                      </a:cubicBezTo>
                      <a:cubicBezTo>
                        <a:pt x="361519" y="23200"/>
                        <a:pt x="364910" y="16107"/>
                        <a:pt x="367170" y="9013"/>
                      </a:cubicBezTo>
                      <a:cubicBezTo>
                        <a:pt x="367170" y="9013"/>
                        <a:pt x="341177" y="20160"/>
                        <a:pt x="333266" y="25227"/>
                      </a:cubicBezTo>
                      <a:cubicBezTo>
                        <a:pt x="325356" y="30294"/>
                        <a:pt x="316314" y="30294"/>
                        <a:pt x="306143" y="31307"/>
                      </a:cubicBezTo>
                      <a:cubicBezTo>
                        <a:pt x="295972" y="32321"/>
                        <a:pt x="295972" y="40428"/>
                        <a:pt x="288061" y="41441"/>
                      </a:cubicBezTo>
                      <a:cubicBezTo>
                        <a:pt x="279020" y="42454"/>
                        <a:pt x="282411" y="45494"/>
                        <a:pt x="275630" y="41441"/>
                      </a:cubicBezTo>
                      <a:cubicBezTo>
                        <a:pt x="268850" y="37387"/>
                        <a:pt x="266589" y="46508"/>
                        <a:pt x="259808" y="49548"/>
                      </a:cubicBezTo>
                      <a:cubicBezTo>
                        <a:pt x="250767" y="52588"/>
                        <a:pt x="242856" y="54614"/>
                        <a:pt x="233816" y="54614"/>
                      </a:cubicBezTo>
                      <a:cubicBezTo>
                        <a:pt x="224775" y="54614"/>
                        <a:pt x="219124" y="57654"/>
                        <a:pt x="207823" y="59681"/>
                      </a:cubicBezTo>
                      <a:cubicBezTo>
                        <a:pt x="196522" y="61708"/>
                        <a:pt x="198782" y="48534"/>
                        <a:pt x="190871" y="45494"/>
                      </a:cubicBezTo>
                      <a:cubicBezTo>
                        <a:pt x="182960" y="42454"/>
                        <a:pt x="186350" y="44481"/>
                        <a:pt x="176180" y="49548"/>
                      </a:cubicBezTo>
                      <a:cubicBezTo>
                        <a:pt x="170529" y="52588"/>
                        <a:pt x="164879" y="52588"/>
                        <a:pt x="159228" y="52588"/>
                      </a:cubicBezTo>
                      <a:cubicBezTo>
                        <a:pt x="158097" y="58668"/>
                        <a:pt x="154707" y="64748"/>
                        <a:pt x="155838" y="72855"/>
                      </a:cubicBezTo>
                      <a:cubicBezTo>
                        <a:pt x="155838" y="72855"/>
                        <a:pt x="163748" y="78935"/>
                        <a:pt x="163748" y="79948"/>
                      </a:cubicBezTo>
                      <a:cubicBezTo>
                        <a:pt x="166008" y="88055"/>
                        <a:pt x="160358" y="94135"/>
                        <a:pt x="161488" y="99202"/>
                      </a:cubicBezTo>
                      <a:cubicBezTo>
                        <a:pt x="170529" y="99202"/>
                        <a:pt x="171659" y="107309"/>
                        <a:pt x="173919" y="11338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0" name="Freeform: Shape 329">
                  <a:extLst>
                    <a:ext uri="{FF2B5EF4-FFF2-40B4-BE49-F238E27FC236}">
                      <a16:creationId xmlns:a16="http://schemas.microsoft.com/office/drawing/2014/main" id="{1646F4ED-722C-4109-B137-947C9777EE28}"/>
                    </a:ext>
                  </a:extLst>
                </p:cNvPr>
                <p:cNvSpPr/>
                <p:nvPr/>
              </p:nvSpPr>
              <p:spPr>
                <a:xfrm>
                  <a:off x="5450287" y="2814590"/>
                  <a:ext cx="406843" cy="364808"/>
                </a:xfrm>
                <a:custGeom>
                  <a:avLst/>
                  <a:gdLst>
                    <a:gd name="connsiteX0" fmla="*/ 366040 w 406843"/>
                    <a:gd name="connsiteY0" fmla="*/ 37388 h 364808"/>
                    <a:gd name="connsiteX1" fmla="*/ 364910 w 406843"/>
                    <a:gd name="connsiteY1" fmla="*/ 37388 h 364808"/>
                    <a:gd name="connsiteX2" fmla="*/ 351348 w 406843"/>
                    <a:gd name="connsiteY2" fmla="*/ 32321 h 364808"/>
                    <a:gd name="connsiteX3" fmla="*/ 351348 w 406843"/>
                    <a:gd name="connsiteY3" fmla="*/ 25227 h 364808"/>
                    <a:gd name="connsiteX4" fmla="*/ 345698 w 406843"/>
                    <a:gd name="connsiteY4" fmla="*/ 25227 h 364808"/>
                    <a:gd name="connsiteX5" fmla="*/ 334396 w 406843"/>
                    <a:gd name="connsiteY5" fmla="*/ 35361 h 364808"/>
                    <a:gd name="connsiteX6" fmla="*/ 301623 w 406843"/>
                    <a:gd name="connsiteY6" fmla="*/ 33334 h 364808"/>
                    <a:gd name="connsiteX7" fmla="*/ 280151 w 406843"/>
                    <a:gd name="connsiteY7" fmla="*/ 38401 h 364808"/>
                    <a:gd name="connsiteX8" fmla="*/ 258678 w 406843"/>
                    <a:gd name="connsiteY8" fmla="*/ 9013 h 364808"/>
                    <a:gd name="connsiteX9" fmla="*/ 247377 w 406843"/>
                    <a:gd name="connsiteY9" fmla="*/ 9013 h 364808"/>
                    <a:gd name="connsiteX10" fmla="*/ 233816 w 406843"/>
                    <a:gd name="connsiteY10" fmla="*/ 21174 h 364808"/>
                    <a:gd name="connsiteX11" fmla="*/ 228166 w 406843"/>
                    <a:gd name="connsiteY11" fmla="*/ 40428 h 364808"/>
                    <a:gd name="connsiteX12" fmla="*/ 222515 w 406843"/>
                    <a:gd name="connsiteY12" fmla="*/ 42454 h 364808"/>
                    <a:gd name="connsiteX13" fmla="*/ 222515 w 406843"/>
                    <a:gd name="connsiteY13" fmla="*/ 59681 h 364808"/>
                    <a:gd name="connsiteX14" fmla="*/ 206693 w 406843"/>
                    <a:gd name="connsiteY14" fmla="*/ 78935 h 364808"/>
                    <a:gd name="connsiteX15" fmla="*/ 204433 w 406843"/>
                    <a:gd name="connsiteY15" fmla="*/ 91095 h 364808"/>
                    <a:gd name="connsiteX16" fmla="*/ 161488 w 406843"/>
                    <a:gd name="connsiteY16" fmla="*/ 117443 h 364808"/>
                    <a:gd name="connsiteX17" fmla="*/ 147927 w 406843"/>
                    <a:gd name="connsiteY17" fmla="*/ 117443 h 364808"/>
                    <a:gd name="connsiteX18" fmla="*/ 112893 w 406843"/>
                    <a:gd name="connsiteY18" fmla="*/ 148857 h 364808"/>
                    <a:gd name="connsiteX19" fmla="*/ 112893 w 406843"/>
                    <a:gd name="connsiteY19" fmla="*/ 168111 h 364808"/>
                    <a:gd name="connsiteX20" fmla="*/ 99332 w 406843"/>
                    <a:gd name="connsiteY20" fmla="*/ 182298 h 364808"/>
                    <a:gd name="connsiteX21" fmla="*/ 97071 w 406843"/>
                    <a:gd name="connsiteY21" fmla="*/ 279580 h 364808"/>
                    <a:gd name="connsiteX22" fmla="*/ 91421 w 406843"/>
                    <a:gd name="connsiteY22" fmla="*/ 281606 h 364808"/>
                    <a:gd name="connsiteX23" fmla="*/ 64298 w 406843"/>
                    <a:gd name="connsiteY23" fmla="*/ 320114 h 364808"/>
                    <a:gd name="connsiteX24" fmla="*/ 52997 w 406843"/>
                    <a:gd name="connsiteY24" fmla="*/ 322141 h 364808"/>
                    <a:gd name="connsiteX25" fmla="*/ 31525 w 406843"/>
                    <a:gd name="connsiteY25" fmla="*/ 344435 h 364808"/>
                    <a:gd name="connsiteX26" fmla="*/ 20223 w 406843"/>
                    <a:gd name="connsiteY26" fmla="*/ 346461 h 364808"/>
                    <a:gd name="connsiteX27" fmla="*/ 10052 w 406843"/>
                    <a:gd name="connsiteY27" fmla="*/ 358622 h 364808"/>
                    <a:gd name="connsiteX28" fmla="*/ 161488 w 406843"/>
                    <a:gd name="connsiteY28" fmla="*/ 355582 h 364808"/>
                    <a:gd name="connsiteX29" fmla="*/ 161488 w 406843"/>
                    <a:gd name="connsiteY29" fmla="*/ 321128 h 364808"/>
                    <a:gd name="connsiteX30" fmla="*/ 170529 w 406843"/>
                    <a:gd name="connsiteY30" fmla="*/ 310994 h 364808"/>
                    <a:gd name="connsiteX31" fmla="*/ 187481 w 406843"/>
                    <a:gd name="connsiteY31" fmla="*/ 292753 h 364808"/>
                    <a:gd name="connsiteX32" fmla="*/ 215734 w 406843"/>
                    <a:gd name="connsiteY32" fmla="*/ 281606 h 364808"/>
                    <a:gd name="connsiteX33" fmla="*/ 253028 w 406843"/>
                    <a:gd name="connsiteY33" fmla="*/ 267419 h 364808"/>
                    <a:gd name="connsiteX34" fmla="*/ 274500 w 406843"/>
                    <a:gd name="connsiteY34" fmla="*/ 259313 h 364808"/>
                    <a:gd name="connsiteX35" fmla="*/ 298233 w 406843"/>
                    <a:gd name="connsiteY35" fmla="*/ 246139 h 364808"/>
                    <a:gd name="connsiteX36" fmla="*/ 326485 w 406843"/>
                    <a:gd name="connsiteY36" fmla="*/ 210671 h 364808"/>
                    <a:gd name="connsiteX37" fmla="*/ 347958 w 406843"/>
                    <a:gd name="connsiteY37" fmla="*/ 201551 h 364808"/>
                    <a:gd name="connsiteX38" fmla="*/ 354738 w 406843"/>
                    <a:gd name="connsiteY38" fmla="*/ 182298 h 364808"/>
                    <a:gd name="connsiteX39" fmla="*/ 372821 w 406843"/>
                    <a:gd name="connsiteY39" fmla="*/ 163044 h 364808"/>
                    <a:gd name="connsiteX40" fmla="*/ 399943 w 406843"/>
                    <a:gd name="connsiteY40" fmla="*/ 143790 h 364808"/>
                    <a:gd name="connsiteX41" fmla="*/ 390902 w 406843"/>
                    <a:gd name="connsiteY41" fmla="*/ 123523 h 364808"/>
                    <a:gd name="connsiteX42" fmla="*/ 385252 w 406843"/>
                    <a:gd name="connsiteY42" fmla="*/ 102242 h 364808"/>
                    <a:gd name="connsiteX43" fmla="*/ 373951 w 406843"/>
                    <a:gd name="connsiteY43" fmla="*/ 82989 h 364808"/>
                    <a:gd name="connsiteX44" fmla="*/ 379601 w 406843"/>
                    <a:gd name="connsiteY44" fmla="*/ 56641 h 364808"/>
                    <a:gd name="connsiteX45" fmla="*/ 366040 w 406843"/>
                    <a:gd name="connsiteY45" fmla="*/ 37388 h 36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06843" h="364808">
                      <a:moveTo>
                        <a:pt x="366040" y="37388"/>
                      </a:moveTo>
                      <a:lnTo>
                        <a:pt x="364910" y="37388"/>
                      </a:lnTo>
                      <a:cubicBezTo>
                        <a:pt x="359259" y="35361"/>
                        <a:pt x="355869" y="34347"/>
                        <a:pt x="351348" y="32321"/>
                      </a:cubicBezTo>
                      <a:cubicBezTo>
                        <a:pt x="351348" y="31307"/>
                        <a:pt x="351348" y="25227"/>
                        <a:pt x="351348" y="25227"/>
                      </a:cubicBezTo>
                      <a:lnTo>
                        <a:pt x="345698" y="25227"/>
                      </a:lnTo>
                      <a:cubicBezTo>
                        <a:pt x="342307" y="27254"/>
                        <a:pt x="340047" y="34347"/>
                        <a:pt x="334396" y="35361"/>
                      </a:cubicBezTo>
                      <a:cubicBezTo>
                        <a:pt x="321965" y="37388"/>
                        <a:pt x="315184" y="31307"/>
                        <a:pt x="301623" y="33334"/>
                      </a:cubicBezTo>
                      <a:cubicBezTo>
                        <a:pt x="297103" y="33334"/>
                        <a:pt x="290322" y="40428"/>
                        <a:pt x="280151" y="38401"/>
                      </a:cubicBezTo>
                      <a:cubicBezTo>
                        <a:pt x="267720" y="35361"/>
                        <a:pt x="263199" y="19147"/>
                        <a:pt x="258678" y="9013"/>
                      </a:cubicBezTo>
                      <a:cubicBezTo>
                        <a:pt x="256419" y="9013"/>
                        <a:pt x="249637" y="10027"/>
                        <a:pt x="247377" y="9013"/>
                      </a:cubicBezTo>
                      <a:cubicBezTo>
                        <a:pt x="243987" y="11040"/>
                        <a:pt x="236076" y="18134"/>
                        <a:pt x="233816" y="21174"/>
                      </a:cubicBezTo>
                      <a:cubicBezTo>
                        <a:pt x="229295" y="28267"/>
                        <a:pt x="232686" y="34347"/>
                        <a:pt x="228166" y="40428"/>
                      </a:cubicBezTo>
                      <a:lnTo>
                        <a:pt x="222515" y="42454"/>
                      </a:lnTo>
                      <a:cubicBezTo>
                        <a:pt x="220255" y="47521"/>
                        <a:pt x="224775" y="53601"/>
                        <a:pt x="222515" y="59681"/>
                      </a:cubicBezTo>
                      <a:cubicBezTo>
                        <a:pt x="220255" y="66775"/>
                        <a:pt x="208953" y="73868"/>
                        <a:pt x="206693" y="78935"/>
                      </a:cubicBezTo>
                      <a:cubicBezTo>
                        <a:pt x="204433" y="82989"/>
                        <a:pt x="206693" y="88055"/>
                        <a:pt x="204433" y="91095"/>
                      </a:cubicBezTo>
                      <a:cubicBezTo>
                        <a:pt x="201042" y="96162"/>
                        <a:pt x="168269" y="116429"/>
                        <a:pt x="161488" y="117443"/>
                      </a:cubicBezTo>
                      <a:cubicBezTo>
                        <a:pt x="156968" y="118456"/>
                        <a:pt x="152447" y="115416"/>
                        <a:pt x="147927" y="117443"/>
                      </a:cubicBezTo>
                      <a:cubicBezTo>
                        <a:pt x="142276" y="119469"/>
                        <a:pt x="114023" y="144803"/>
                        <a:pt x="112893" y="148857"/>
                      </a:cubicBezTo>
                      <a:cubicBezTo>
                        <a:pt x="110633" y="154937"/>
                        <a:pt x="115154" y="162030"/>
                        <a:pt x="112893" y="168111"/>
                      </a:cubicBezTo>
                      <a:cubicBezTo>
                        <a:pt x="110633" y="174191"/>
                        <a:pt x="100462" y="178244"/>
                        <a:pt x="99332" y="182298"/>
                      </a:cubicBezTo>
                      <a:cubicBezTo>
                        <a:pt x="85770" y="217765"/>
                        <a:pt x="117413" y="244112"/>
                        <a:pt x="97071" y="279580"/>
                      </a:cubicBezTo>
                      <a:cubicBezTo>
                        <a:pt x="95942" y="280593"/>
                        <a:pt x="92551" y="280593"/>
                        <a:pt x="91421" y="281606"/>
                      </a:cubicBezTo>
                      <a:cubicBezTo>
                        <a:pt x="82380" y="288700"/>
                        <a:pt x="74469" y="312007"/>
                        <a:pt x="64298" y="320114"/>
                      </a:cubicBezTo>
                      <a:cubicBezTo>
                        <a:pt x="62038" y="322141"/>
                        <a:pt x="56387" y="321128"/>
                        <a:pt x="52997" y="322141"/>
                      </a:cubicBezTo>
                      <a:cubicBezTo>
                        <a:pt x="45086" y="326194"/>
                        <a:pt x="39436" y="339368"/>
                        <a:pt x="31525" y="344435"/>
                      </a:cubicBezTo>
                      <a:cubicBezTo>
                        <a:pt x="28134" y="346461"/>
                        <a:pt x="23614" y="344435"/>
                        <a:pt x="20223" y="346461"/>
                      </a:cubicBezTo>
                      <a:cubicBezTo>
                        <a:pt x="19094" y="347475"/>
                        <a:pt x="14573" y="353555"/>
                        <a:pt x="10052" y="358622"/>
                      </a:cubicBezTo>
                      <a:lnTo>
                        <a:pt x="161488" y="355582"/>
                      </a:lnTo>
                      <a:lnTo>
                        <a:pt x="161488" y="321128"/>
                      </a:lnTo>
                      <a:cubicBezTo>
                        <a:pt x="161488" y="321128"/>
                        <a:pt x="162618" y="316061"/>
                        <a:pt x="170529" y="310994"/>
                      </a:cubicBezTo>
                      <a:cubicBezTo>
                        <a:pt x="177310" y="305927"/>
                        <a:pt x="180700" y="297820"/>
                        <a:pt x="187481" y="292753"/>
                      </a:cubicBezTo>
                      <a:cubicBezTo>
                        <a:pt x="194262" y="287687"/>
                        <a:pt x="203303" y="283633"/>
                        <a:pt x="215734" y="281606"/>
                      </a:cubicBezTo>
                      <a:cubicBezTo>
                        <a:pt x="228166" y="278566"/>
                        <a:pt x="242857" y="278566"/>
                        <a:pt x="253028" y="267419"/>
                      </a:cubicBezTo>
                      <a:cubicBezTo>
                        <a:pt x="263199" y="256272"/>
                        <a:pt x="263199" y="262353"/>
                        <a:pt x="274500" y="259313"/>
                      </a:cubicBezTo>
                      <a:cubicBezTo>
                        <a:pt x="285801" y="256272"/>
                        <a:pt x="285801" y="254246"/>
                        <a:pt x="298233" y="246139"/>
                      </a:cubicBezTo>
                      <a:cubicBezTo>
                        <a:pt x="310664" y="238032"/>
                        <a:pt x="326485" y="210671"/>
                        <a:pt x="326485" y="210671"/>
                      </a:cubicBezTo>
                      <a:cubicBezTo>
                        <a:pt x="326485" y="210671"/>
                        <a:pt x="336657" y="210671"/>
                        <a:pt x="347958" y="201551"/>
                      </a:cubicBezTo>
                      <a:cubicBezTo>
                        <a:pt x="359259" y="192431"/>
                        <a:pt x="354738" y="193444"/>
                        <a:pt x="354738" y="182298"/>
                      </a:cubicBezTo>
                      <a:cubicBezTo>
                        <a:pt x="354738" y="171151"/>
                        <a:pt x="371690" y="173177"/>
                        <a:pt x="372821" y="163044"/>
                      </a:cubicBezTo>
                      <a:cubicBezTo>
                        <a:pt x="373951" y="152910"/>
                        <a:pt x="394293" y="149870"/>
                        <a:pt x="399943" y="143790"/>
                      </a:cubicBezTo>
                      <a:cubicBezTo>
                        <a:pt x="405594" y="137710"/>
                        <a:pt x="398813" y="132643"/>
                        <a:pt x="390902" y="123523"/>
                      </a:cubicBezTo>
                      <a:cubicBezTo>
                        <a:pt x="384122" y="114402"/>
                        <a:pt x="385252" y="112376"/>
                        <a:pt x="385252" y="102242"/>
                      </a:cubicBezTo>
                      <a:cubicBezTo>
                        <a:pt x="385252" y="92109"/>
                        <a:pt x="373951" y="94135"/>
                        <a:pt x="373951" y="82989"/>
                      </a:cubicBezTo>
                      <a:cubicBezTo>
                        <a:pt x="373951" y="71842"/>
                        <a:pt x="378471" y="64748"/>
                        <a:pt x="379601" y="56641"/>
                      </a:cubicBezTo>
                      <a:cubicBezTo>
                        <a:pt x="380732" y="48534"/>
                        <a:pt x="366040" y="37388"/>
                        <a:pt x="366040" y="3738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1" name="Freeform: Shape 330">
                  <a:extLst>
                    <a:ext uri="{FF2B5EF4-FFF2-40B4-BE49-F238E27FC236}">
                      <a16:creationId xmlns:a16="http://schemas.microsoft.com/office/drawing/2014/main" id="{2168A1F8-67D4-4116-9CF9-AE3AF4136C66}"/>
                    </a:ext>
                  </a:extLst>
                </p:cNvPr>
                <p:cNvSpPr/>
                <p:nvPr/>
              </p:nvSpPr>
              <p:spPr>
                <a:xfrm>
                  <a:off x="8997732" y="2080920"/>
                  <a:ext cx="1130120" cy="506678"/>
                </a:xfrm>
                <a:custGeom>
                  <a:avLst/>
                  <a:gdLst>
                    <a:gd name="connsiteX0" fmla="*/ 12312 w 1130119"/>
                    <a:gd name="connsiteY0" fmla="*/ 146830 h 506678"/>
                    <a:gd name="connsiteX1" fmla="*/ 30394 w 1130119"/>
                    <a:gd name="connsiteY1" fmla="*/ 141763 h 506678"/>
                    <a:gd name="connsiteX2" fmla="*/ 42826 w 1130119"/>
                    <a:gd name="connsiteY2" fmla="*/ 135683 h 506678"/>
                    <a:gd name="connsiteX3" fmla="*/ 51867 w 1130119"/>
                    <a:gd name="connsiteY3" fmla="*/ 125549 h 506678"/>
                    <a:gd name="connsiteX4" fmla="*/ 51867 w 1130119"/>
                    <a:gd name="connsiteY4" fmla="*/ 116429 h 506678"/>
                    <a:gd name="connsiteX5" fmla="*/ 58647 w 1130119"/>
                    <a:gd name="connsiteY5" fmla="*/ 106296 h 506678"/>
                    <a:gd name="connsiteX6" fmla="*/ 74469 w 1130119"/>
                    <a:gd name="connsiteY6" fmla="*/ 97175 h 506678"/>
                    <a:gd name="connsiteX7" fmla="*/ 91421 w 1130119"/>
                    <a:gd name="connsiteY7" fmla="*/ 91095 h 506678"/>
                    <a:gd name="connsiteX8" fmla="*/ 115153 w 1130119"/>
                    <a:gd name="connsiteY8" fmla="*/ 81975 h 506678"/>
                    <a:gd name="connsiteX9" fmla="*/ 126454 w 1130119"/>
                    <a:gd name="connsiteY9" fmla="*/ 73868 h 506678"/>
                    <a:gd name="connsiteX10" fmla="*/ 149057 w 1130119"/>
                    <a:gd name="connsiteY10" fmla="*/ 70828 h 506678"/>
                    <a:gd name="connsiteX11" fmla="*/ 170529 w 1130119"/>
                    <a:gd name="connsiteY11" fmla="*/ 74882 h 506678"/>
                    <a:gd name="connsiteX12" fmla="*/ 179570 w 1130119"/>
                    <a:gd name="connsiteY12" fmla="*/ 85015 h 506678"/>
                    <a:gd name="connsiteX13" fmla="*/ 197652 w 1130119"/>
                    <a:gd name="connsiteY13" fmla="*/ 76908 h 506678"/>
                    <a:gd name="connsiteX14" fmla="*/ 224775 w 1130119"/>
                    <a:gd name="connsiteY14" fmla="*/ 88055 h 506678"/>
                    <a:gd name="connsiteX15" fmla="*/ 245117 w 1130119"/>
                    <a:gd name="connsiteY15" fmla="*/ 98189 h 506678"/>
                    <a:gd name="connsiteX16" fmla="*/ 267719 w 1130119"/>
                    <a:gd name="connsiteY16" fmla="*/ 102242 h 506678"/>
                    <a:gd name="connsiteX17" fmla="*/ 291452 w 1130119"/>
                    <a:gd name="connsiteY17" fmla="*/ 103256 h 506678"/>
                    <a:gd name="connsiteX18" fmla="*/ 324225 w 1130119"/>
                    <a:gd name="connsiteY18" fmla="*/ 99202 h 506678"/>
                    <a:gd name="connsiteX19" fmla="*/ 353609 w 1130119"/>
                    <a:gd name="connsiteY19" fmla="*/ 102242 h 506678"/>
                    <a:gd name="connsiteX20" fmla="*/ 360389 w 1130119"/>
                    <a:gd name="connsiteY20" fmla="*/ 92109 h 506678"/>
                    <a:gd name="connsiteX21" fmla="*/ 355868 w 1130119"/>
                    <a:gd name="connsiteY21" fmla="*/ 71842 h 506678"/>
                    <a:gd name="connsiteX22" fmla="*/ 347958 w 1130119"/>
                    <a:gd name="connsiteY22" fmla="*/ 57655 h 506678"/>
                    <a:gd name="connsiteX23" fmla="*/ 331006 w 1130119"/>
                    <a:gd name="connsiteY23" fmla="*/ 48534 h 506678"/>
                    <a:gd name="connsiteX24" fmla="*/ 336657 w 1130119"/>
                    <a:gd name="connsiteY24" fmla="*/ 33334 h 506678"/>
                    <a:gd name="connsiteX25" fmla="*/ 345698 w 1130119"/>
                    <a:gd name="connsiteY25" fmla="*/ 22187 h 506678"/>
                    <a:gd name="connsiteX26" fmla="*/ 352478 w 1130119"/>
                    <a:gd name="connsiteY26" fmla="*/ 9013 h 506678"/>
                    <a:gd name="connsiteX27" fmla="*/ 379601 w 1130119"/>
                    <a:gd name="connsiteY27" fmla="*/ 13067 h 506678"/>
                    <a:gd name="connsiteX28" fmla="*/ 394293 w 1130119"/>
                    <a:gd name="connsiteY28" fmla="*/ 16107 h 506678"/>
                    <a:gd name="connsiteX29" fmla="*/ 420285 w 1130119"/>
                    <a:gd name="connsiteY29" fmla="*/ 16107 h 506678"/>
                    <a:gd name="connsiteX30" fmla="*/ 432717 w 1130119"/>
                    <a:gd name="connsiteY30" fmla="*/ 26240 h 506678"/>
                    <a:gd name="connsiteX31" fmla="*/ 456449 w 1130119"/>
                    <a:gd name="connsiteY31" fmla="*/ 29281 h 506678"/>
                    <a:gd name="connsiteX32" fmla="*/ 490353 w 1130119"/>
                    <a:gd name="connsiteY32" fmla="*/ 53601 h 506678"/>
                    <a:gd name="connsiteX33" fmla="*/ 510695 w 1130119"/>
                    <a:gd name="connsiteY33" fmla="*/ 69815 h 506678"/>
                    <a:gd name="connsiteX34" fmla="*/ 521996 w 1130119"/>
                    <a:gd name="connsiteY34" fmla="*/ 90082 h 506678"/>
                    <a:gd name="connsiteX35" fmla="*/ 533297 w 1130119"/>
                    <a:gd name="connsiteY35" fmla="*/ 98189 h 506678"/>
                    <a:gd name="connsiteX36" fmla="*/ 559290 w 1130119"/>
                    <a:gd name="connsiteY36" fmla="*/ 113389 h 506678"/>
                    <a:gd name="connsiteX37" fmla="*/ 576242 w 1130119"/>
                    <a:gd name="connsiteY37" fmla="*/ 110349 h 506678"/>
                    <a:gd name="connsiteX38" fmla="*/ 590934 w 1130119"/>
                    <a:gd name="connsiteY38" fmla="*/ 110349 h 506678"/>
                    <a:gd name="connsiteX39" fmla="*/ 609015 w 1130119"/>
                    <a:gd name="connsiteY39" fmla="*/ 105282 h 506678"/>
                    <a:gd name="connsiteX40" fmla="*/ 623707 w 1130119"/>
                    <a:gd name="connsiteY40" fmla="*/ 95149 h 506678"/>
                    <a:gd name="connsiteX41" fmla="*/ 645179 w 1130119"/>
                    <a:gd name="connsiteY41" fmla="*/ 101229 h 506678"/>
                    <a:gd name="connsiteX42" fmla="*/ 677952 w 1130119"/>
                    <a:gd name="connsiteY42" fmla="*/ 110349 h 506678"/>
                    <a:gd name="connsiteX43" fmla="*/ 693774 w 1130119"/>
                    <a:gd name="connsiteY43" fmla="*/ 113389 h 506678"/>
                    <a:gd name="connsiteX44" fmla="*/ 692645 w 1130119"/>
                    <a:gd name="connsiteY44" fmla="*/ 124536 h 506678"/>
                    <a:gd name="connsiteX45" fmla="*/ 707336 w 1130119"/>
                    <a:gd name="connsiteY45" fmla="*/ 134670 h 506678"/>
                    <a:gd name="connsiteX46" fmla="*/ 724288 w 1130119"/>
                    <a:gd name="connsiteY46" fmla="*/ 134670 h 506678"/>
                    <a:gd name="connsiteX47" fmla="*/ 741240 w 1130119"/>
                    <a:gd name="connsiteY47" fmla="*/ 144803 h 506678"/>
                    <a:gd name="connsiteX48" fmla="*/ 757061 w 1130119"/>
                    <a:gd name="connsiteY48" fmla="*/ 144803 h 506678"/>
                    <a:gd name="connsiteX49" fmla="*/ 774013 w 1130119"/>
                    <a:gd name="connsiteY49" fmla="*/ 139736 h 506678"/>
                    <a:gd name="connsiteX50" fmla="*/ 790964 w 1130119"/>
                    <a:gd name="connsiteY50" fmla="*/ 143790 h 506678"/>
                    <a:gd name="connsiteX51" fmla="*/ 813567 w 1130119"/>
                    <a:gd name="connsiteY51" fmla="*/ 149870 h 506678"/>
                    <a:gd name="connsiteX52" fmla="*/ 841820 w 1130119"/>
                    <a:gd name="connsiteY52" fmla="*/ 143790 h 506678"/>
                    <a:gd name="connsiteX53" fmla="*/ 854251 w 1130119"/>
                    <a:gd name="connsiteY53" fmla="*/ 133656 h 506678"/>
                    <a:gd name="connsiteX54" fmla="*/ 888155 w 1130119"/>
                    <a:gd name="connsiteY54" fmla="*/ 129603 h 506678"/>
                    <a:gd name="connsiteX55" fmla="*/ 920928 w 1130119"/>
                    <a:gd name="connsiteY55" fmla="*/ 110349 h 506678"/>
                    <a:gd name="connsiteX56" fmla="*/ 929970 w 1130119"/>
                    <a:gd name="connsiteY56" fmla="*/ 105282 h 506678"/>
                    <a:gd name="connsiteX57" fmla="*/ 955962 w 1130119"/>
                    <a:gd name="connsiteY57" fmla="*/ 121496 h 506678"/>
                    <a:gd name="connsiteX58" fmla="*/ 974044 w 1130119"/>
                    <a:gd name="connsiteY58" fmla="*/ 118456 h 506678"/>
                    <a:gd name="connsiteX59" fmla="*/ 1000037 w 1130119"/>
                    <a:gd name="connsiteY59" fmla="*/ 124536 h 506678"/>
                    <a:gd name="connsiteX60" fmla="*/ 984215 w 1130119"/>
                    <a:gd name="connsiteY60" fmla="*/ 161017 h 506678"/>
                    <a:gd name="connsiteX61" fmla="*/ 989866 w 1130119"/>
                    <a:gd name="connsiteY61" fmla="*/ 175204 h 506678"/>
                    <a:gd name="connsiteX62" fmla="*/ 979694 w 1130119"/>
                    <a:gd name="connsiteY62" fmla="*/ 200538 h 506678"/>
                    <a:gd name="connsiteX63" fmla="*/ 976304 w 1130119"/>
                    <a:gd name="connsiteY63" fmla="*/ 215738 h 506678"/>
                    <a:gd name="connsiteX64" fmla="*/ 1004557 w 1130119"/>
                    <a:gd name="connsiteY64" fmla="*/ 224858 h 506678"/>
                    <a:gd name="connsiteX65" fmla="*/ 1028289 w 1130119"/>
                    <a:gd name="connsiteY65" fmla="*/ 220805 h 506678"/>
                    <a:gd name="connsiteX66" fmla="*/ 1048632 w 1130119"/>
                    <a:gd name="connsiteY66" fmla="*/ 204591 h 506678"/>
                    <a:gd name="connsiteX67" fmla="*/ 1059933 w 1130119"/>
                    <a:gd name="connsiteY67" fmla="*/ 205605 h 506678"/>
                    <a:gd name="connsiteX68" fmla="*/ 1068974 w 1130119"/>
                    <a:gd name="connsiteY68" fmla="*/ 215738 h 506678"/>
                    <a:gd name="connsiteX69" fmla="*/ 1084796 w 1130119"/>
                    <a:gd name="connsiteY69" fmla="*/ 229925 h 506678"/>
                    <a:gd name="connsiteX70" fmla="*/ 1110789 w 1130119"/>
                    <a:gd name="connsiteY70" fmla="*/ 237019 h 506678"/>
                    <a:gd name="connsiteX71" fmla="*/ 1124350 w 1130119"/>
                    <a:gd name="connsiteY71" fmla="*/ 250192 h 506678"/>
                    <a:gd name="connsiteX72" fmla="*/ 1118699 w 1130119"/>
                    <a:gd name="connsiteY72" fmla="*/ 264379 h 506678"/>
                    <a:gd name="connsiteX73" fmla="*/ 1087056 w 1130119"/>
                    <a:gd name="connsiteY73" fmla="*/ 267419 h 506678"/>
                    <a:gd name="connsiteX74" fmla="*/ 1063324 w 1130119"/>
                    <a:gd name="connsiteY74" fmla="*/ 284646 h 506678"/>
                    <a:gd name="connsiteX75" fmla="*/ 1040721 w 1130119"/>
                    <a:gd name="connsiteY75" fmla="*/ 280593 h 506678"/>
                    <a:gd name="connsiteX76" fmla="*/ 1013598 w 1130119"/>
                    <a:gd name="connsiteY76" fmla="*/ 296807 h 506678"/>
                    <a:gd name="connsiteX77" fmla="*/ 1002297 w 1130119"/>
                    <a:gd name="connsiteY77" fmla="*/ 288700 h 506678"/>
                    <a:gd name="connsiteX78" fmla="*/ 990996 w 1130119"/>
                    <a:gd name="connsiteY78" fmla="*/ 291740 h 506678"/>
                    <a:gd name="connsiteX79" fmla="*/ 984215 w 1130119"/>
                    <a:gd name="connsiteY79" fmla="*/ 306940 h 506678"/>
                    <a:gd name="connsiteX80" fmla="*/ 972914 w 1130119"/>
                    <a:gd name="connsiteY80" fmla="*/ 317074 h 506678"/>
                    <a:gd name="connsiteX81" fmla="*/ 926579 w 1130119"/>
                    <a:gd name="connsiteY81" fmla="*/ 328221 h 506678"/>
                    <a:gd name="connsiteX82" fmla="*/ 919798 w 1130119"/>
                    <a:gd name="connsiteY82" fmla="*/ 349501 h 506678"/>
                    <a:gd name="connsiteX83" fmla="*/ 891545 w 1130119"/>
                    <a:gd name="connsiteY83" fmla="*/ 363688 h 506678"/>
                    <a:gd name="connsiteX84" fmla="*/ 870073 w 1130119"/>
                    <a:gd name="connsiteY84" fmla="*/ 357608 h 506678"/>
                    <a:gd name="connsiteX85" fmla="*/ 853121 w 1130119"/>
                    <a:gd name="connsiteY85" fmla="*/ 339368 h 506678"/>
                    <a:gd name="connsiteX86" fmla="*/ 836169 w 1130119"/>
                    <a:gd name="connsiteY86" fmla="*/ 338354 h 506678"/>
                    <a:gd name="connsiteX87" fmla="*/ 822608 w 1130119"/>
                    <a:gd name="connsiteY87" fmla="*/ 346461 h 506678"/>
                    <a:gd name="connsiteX88" fmla="*/ 813567 w 1130119"/>
                    <a:gd name="connsiteY88" fmla="*/ 364702 h 506678"/>
                    <a:gd name="connsiteX89" fmla="*/ 812437 w 1130119"/>
                    <a:gd name="connsiteY89" fmla="*/ 380915 h 506678"/>
                    <a:gd name="connsiteX90" fmla="*/ 816958 w 1130119"/>
                    <a:gd name="connsiteY90" fmla="*/ 401182 h 506678"/>
                    <a:gd name="connsiteX91" fmla="*/ 823738 w 1130119"/>
                    <a:gd name="connsiteY91" fmla="*/ 416383 h 506678"/>
                    <a:gd name="connsiteX92" fmla="*/ 812437 w 1130119"/>
                    <a:gd name="connsiteY92" fmla="*/ 432597 h 506678"/>
                    <a:gd name="connsiteX93" fmla="*/ 796615 w 1130119"/>
                    <a:gd name="connsiteY93" fmla="*/ 440703 h 506678"/>
                    <a:gd name="connsiteX94" fmla="*/ 767232 w 1130119"/>
                    <a:gd name="connsiteY94" fmla="*/ 446784 h 506678"/>
                    <a:gd name="connsiteX95" fmla="*/ 733329 w 1130119"/>
                    <a:gd name="connsiteY95" fmla="*/ 455904 h 506678"/>
                    <a:gd name="connsiteX96" fmla="*/ 693774 w 1130119"/>
                    <a:gd name="connsiteY96" fmla="*/ 454890 h 506678"/>
                    <a:gd name="connsiteX97" fmla="*/ 673432 w 1130119"/>
                    <a:gd name="connsiteY97" fmla="*/ 459957 h 506678"/>
                    <a:gd name="connsiteX98" fmla="*/ 661001 w 1130119"/>
                    <a:gd name="connsiteY98" fmla="*/ 462997 h 506678"/>
                    <a:gd name="connsiteX99" fmla="*/ 642919 w 1130119"/>
                    <a:gd name="connsiteY99" fmla="*/ 481238 h 506678"/>
                    <a:gd name="connsiteX100" fmla="*/ 619187 w 1130119"/>
                    <a:gd name="connsiteY100" fmla="*/ 489345 h 506678"/>
                    <a:gd name="connsiteX101" fmla="*/ 593193 w 1130119"/>
                    <a:gd name="connsiteY101" fmla="*/ 489345 h 506678"/>
                    <a:gd name="connsiteX102" fmla="*/ 569461 w 1130119"/>
                    <a:gd name="connsiteY102" fmla="*/ 498465 h 506678"/>
                    <a:gd name="connsiteX103" fmla="*/ 534428 w 1130119"/>
                    <a:gd name="connsiteY103" fmla="*/ 498465 h 506678"/>
                    <a:gd name="connsiteX104" fmla="*/ 516345 w 1130119"/>
                    <a:gd name="connsiteY104" fmla="*/ 485291 h 506678"/>
                    <a:gd name="connsiteX105" fmla="*/ 498264 w 1130119"/>
                    <a:gd name="connsiteY105" fmla="*/ 469077 h 506678"/>
                    <a:gd name="connsiteX106" fmla="*/ 489223 w 1130119"/>
                    <a:gd name="connsiteY106" fmla="*/ 465024 h 506678"/>
                    <a:gd name="connsiteX107" fmla="*/ 433847 w 1130119"/>
                    <a:gd name="connsiteY107" fmla="*/ 461984 h 506678"/>
                    <a:gd name="connsiteX108" fmla="*/ 404464 w 1130119"/>
                    <a:gd name="connsiteY108" fmla="*/ 458944 h 506678"/>
                    <a:gd name="connsiteX109" fmla="*/ 375080 w 1130119"/>
                    <a:gd name="connsiteY109" fmla="*/ 454890 h 506678"/>
                    <a:gd name="connsiteX110" fmla="*/ 347958 w 1130119"/>
                    <a:gd name="connsiteY110" fmla="*/ 458944 h 506678"/>
                    <a:gd name="connsiteX111" fmla="*/ 326485 w 1130119"/>
                    <a:gd name="connsiteY111" fmla="*/ 454890 h 506678"/>
                    <a:gd name="connsiteX112" fmla="*/ 306143 w 1130119"/>
                    <a:gd name="connsiteY112" fmla="*/ 444757 h 506678"/>
                    <a:gd name="connsiteX113" fmla="*/ 289192 w 1130119"/>
                    <a:gd name="connsiteY113" fmla="*/ 426516 h 506678"/>
                    <a:gd name="connsiteX114" fmla="*/ 267719 w 1130119"/>
                    <a:gd name="connsiteY114" fmla="*/ 413343 h 506678"/>
                    <a:gd name="connsiteX115" fmla="*/ 255288 w 1130119"/>
                    <a:gd name="connsiteY115" fmla="*/ 403209 h 506678"/>
                    <a:gd name="connsiteX116" fmla="*/ 248507 w 1130119"/>
                    <a:gd name="connsiteY116" fmla="*/ 384969 h 506678"/>
                    <a:gd name="connsiteX117" fmla="*/ 232686 w 1130119"/>
                    <a:gd name="connsiteY117" fmla="*/ 370782 h 506678"/>
                    <a:gd name="connsiteX118" fmla="*/ 212344 w 1130119"/>
                    <a:gd name="connsiteY118" fmla="*/ 364702 h 506678"/>
                    <a:gd name="connsiteX119" fmla="*/ 201042 w 1130119"/>
                    <a:gd name="connsiteY119" fmla="*/ 356595 h 506678"/>
                    <a:gd name="connsiteX120" fmla="*/ 182960 w 1130119"/>
                    <a:gd name="connsiteY120" fmla="*/ 345448 h 506678"/>
                    <a:gd name="connsiteX121" fmla="*/ 159228 w 1130119"/>
                    <a:gd name="connsiteY121" fmla="*/ 344435 h 506678"/>
                    <a:gd name="connsiteX122" fmla="*/ 138886 w 1130119"/>
                    <a:gd name="connsiteY122" fmla="*/ 338354 h 506678"/>
                    <a:gd name="connsiteX123" fmla="*/ 134365 w 1130119"/>
                    <a:gd name="connsiteY123" fmla="*/ 324167 h 506678"/>
                    <a:gd name="connsiteX124" fmla="*/ 138886 w 1130119"/>
                    <a:gd name="connsiteY124" fmla="*/ 304914 h 506678"/>
                    <a:gd name="connsiteX125" fmla="*/ 144537 w 1130119"/>
                    <a:gd name="connsiteY125" fmla="*/ 290727 h 506678"/>
                    <a:gd name="connsiteX126" fmla="*/ 132105 w 1130119"/>
                    <a:gd name="connsiteY126" fmla="*/ 272486 h 506678"/>
                    <a:gd name="connsiteX127" fmla="*/ 114023 w 1130119"/>
                    <a:gd name="connsiteY127" fmla="*/ 264379 h 506678"/>
                    <a:gd name="connsiteX128" fmla="*/ 112893 w 1130119"/>
                    <a:gd name="connsiteY128" fmla="*/ 253232 h 506678"/>
                    <a:gd name="connsiteX129" fmla="*/ 91421 w 1130119"/>
                    <a:gd name="connsiteY129" fmla="*/ 231952 h 506678"/>
                    <a:gd name="connsiteX130" fmla="*/ 69948 w 1130119"/>
                    <a:gd name="connsiteY130" fmla="*/ 220805 h 506678"/>
                    <a:gd name="connsiteX131" fmla="*/ 48476 w 1130119"/>
                    <a:gd name="connsiteY131" fmla="*/ 224858 h 506678"/>
                    <a:gd name="connsiteX132" fmla="*/ 30394 w 1130119"/>
                    <a:gd name="connsiteY132" fmla="*/ 220805 h 506678"/>
                    <a:gd name="connsiteX133" fmla="*/ 17963 w 1130119"/>
                    <a:gd name="connsiteY133" fmla="*/ 210671 h 506678"/>
                    <a:gd name="connsiteX134" fmla="*/ 16832 w 1130119"/>
                    <a:gd name="connsiteY134" fmla="*/ 199525 h 506678"/>
                    <a:gd name="connsiteX135" fmla="*/ 10052 w 1130119"/>
                    <a:gd name="connsiteY135" fmla="*/ 174191 h 506678"/>
                    <a:gd name="connsiteX136" fmla="*/ 12312 w 1130119"/>
                    <a:gd name="connsiteY136" fmla="*/ 146830 h 506678"/>
                    <a:gd name="connsiteX137" fmla="*/ 169399 w 1130119"/>
                    <a:gd name="connsiteY137" fmla="*/ 82989 h 506678"/>
                    <a:gd name="connsiteX138" fmla="*/ 177310 w 1130119"/>
                    <a:gd name="connsiteY138" fmla="*/ 88055 h 506678"/>
                    <a:gd name="connsiteX139" fmla="*/ 175049 w 1130119"/>
                    <a:gd name="connsiteY139" fmla="*/ 98189 h 506678"/>
                    <a:gd name="connsiteX140" fmla="*/ 163748 w 1130119"/>
                    <a:gd name="connsiteY140" fmla="*/ 100216 h 506678"/>
                    <a:gd name="connsiteX141" fmla="*/ 158097 w 1130119"/>
                    <a:gd name="connsiteY141" fmla="*/ 90082 h 506678"/>
                    <a:gd name="connsiteX142" fmla="*/ 169399 w 1130119"/>
                    <a:gd name="connsiteY142" fmla="*/ 82989 h 506678"/>
                    <a:gd name="connsiteX143" fmla="*/ 438368 w 1130119"/>
                    <a:gd name="connsiteY143" fmla="*/ 51574 h 506678"/>
                    <a:gd name="connsiteX144" fmla="*/ 444018 w 1130119"/>
                    <a:gd name="connsiteY144" fmla="*/ 56641 h 506678"/>
                    <a:gd name="connsiteX145" fmla="*/ 432717 w 1130119"/>
                    <a:gd name="connsiteY145" fmla="*/ 61708 h 506678"/>
                    <a:gd name="connsiteX146" fmla="*/ 438368 w 1130119"/>
                    <a:gd name="connsiteY146" fmla="*/ 51574 h 50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130119" h="506678">
                      <a:moveTo>
                        <a:pt x="12312" y="146830"/>
                      </a:moveTo>
                      <a:lnTo>
                        <a:pt x="30394" y="141763"/>
                      </a:lnTo>
                      <a:lnTo>
                        <a:pt x="42826" y="135683"/>
                      </a:lnTo>
                      <a:lnTo>
                        <a:pt x="51867" y="125549"/>
                      </a:lnTo>
                      <a:lnTo>
                        <a:pt x="51867" y="116429"/>
                      </a:lnTo>
                      <a:lnTo>
                        <a:pt x="58647" y="106296"/>
                      </a:lnTo>
                      <a:lnTo>
                        <a:pt x="74469" y="97175"/>
                      </a:lnTo>
                      <a:lnTo>
                        <a:pt x="91421" y="91095"/>
                      </a:lnTo>
                      <a:lnTo>
                        <a:pt x="115153" y="81975"/>
                      </a:lnTo>
                      <a:lnTo>
                        <a:pt x="126454" y="73868"/>
                      </a:lnTo>
                      <a:lnTo>
                        <a:pt x="149057" y="70828"/>
                      </a:lnTo>
                      <a:lnTo>
                        <a:pt x="170529" y="74882"/>
                      </a:lnTo>
                      <a:lnTo>
                        <a:pt x="179570" y="85015"/>
                      </a:lnTo>
                      <a:lnTo>
                        <a:pt x="197652" y="76908"/>
                      </a:lnTo>
                      <a:lnTo>
                        <a:pt x="224775" y="88055"/>
                      </a:lnTo>
                      <a:lnTo>
                        <a:pt x="245117" y="98189"/>
                      </a:lnTo>
                      <a:lnTo>
                        <a:pt x="267719" y="102242"/>
                      </a:lnTo>
                      <a:lnTo>
                        <a:pt x="291452" y="103256"/>
                      </a:lnTo>
                      <a:lnTo>
                        <a:pt x="324225" y="99202"/>
                      </a:lnTo>
                      <a:lnTo>
                        <a:pt x="353609" y="102242"/>
                      </a:lnTo>
                      <a:lnTo>
                        <a:pt x="360389" y="92109"/>
                      </a:lnTo>
                      <a:lnTo>
                        <a:pt x="355868" y="71842"/>
                      </a:lnTo>
                      <a:lnTo>
                        <a:pt x="347958" y="57655"/>
                      </a:lnTo>
                      <a:lnTo>
                        <a:pt x="331006" y="48534"/>
                      </a:lnTo>
                      <a:lnTo>
                        <a:pt x="336657" y="33334"/>
                      </a:lnTo>
                      <a:lnTo>
                        <a:pt x="345698" y="22187"/>
                      </a:lnTo>
                      <a:lnTo>
                        <a:pt x="352478" y="9013"/>
                      </a:lnTo>
                      <a:lnTo>
                        <a:pt x="379601" y="13067"/>
                      </a:lnTo>
                      <a:lnTo>
                        <a:pt x="394293" y="16107"/>
                      </a:lnTo>
                      <a:lnTo>
                        <a:pt x="420285" y="16107"/>
                      </a:lnTo>
                      <a:lnTo>
                        <a:pt x="432717" y="26240"/>
                      </a:lnTo>
                      <a:lnTo>
                        <a:pt x="456449" y="29281"/>
                      </a:lnTo>
                      <a:lnTo>
                        <a:pt x="490353" y="53601"/>
                      </a:lnTo>
                      <a:lnTo>
                        <a:pt x="510695" y="69815"/>
                      </a:lnTo>
                      <a:lnTo>
                        <a:pt x="521996" y="90082"/>
                      </a:lnTo>
                      <a:lnTo>
                        <a:pt x="533297" y="98189"/>
                      </a:lnTo>
                      <a:lnTo>
                        <a:pt x="559290" y="113389"/>
                      </a:lnTo>
                      <a:lnTo>
                        <a:pt x="576242" y="110349"/>
                      </a:lnTo>
                      <a:lnTo>
                        <a:pt x="590934" y="110349"/>
                      </a:lnTo>
                      <a:lnTo>
                        <a:pt x="609015" y="105282"/>
                      </a:lnTo>
                      <a:lnTo>
                        <a:pt x="623707" y="95149"/>
                      </a:lnTo>
                      <a:lnTo>
                        <a:pt x="645179" y="101229"/>
                      </a:lnTo>
                      <a:lnTo>
                        <a:pt x="677952" y="110349"/>
                      </a:lnTo>
                      <a:lnTo>
                        <a:pt x="693774" y="113389"/>
                      </a:lnTo>
                      <a:lnTo>
                        <a:pt x="692645" y="124536"/>
                      </a:lnTo>
                      <a:lnTo>
                        <a:pt x="707336" y="134670"/>
                      </a:lnTo>
                      <a:lnTo>
                        <a:pt x="724288" y="134670"/>
                      </a:lnTo>
                      <a:lnTo>
                        <a:pt x="741240" y="144803"/>
                      </a:lnTo>
                      <a:lnTo>
                        <a:pt x="757061" y="144803"/>
                      </a:lnTo>
                      <a:lnTo>
                        <a:pt x="774013" y="139736"/>
                      </a:lnTo>
                      <a:lnTo>
                        <a:pt x="790964" y="143790"/>
                      </a:lnTo>
                      <a:lnTo>
                        <a:pt x="813567" y="149870"/>
                      </a:lnTo>
                      <a:lnTo>
                        <a:pt x="841820" y="143790"/>
                      </a:lnTo>
                      <a:lnTo>
                        <a:pt x="854251" y="133656"/>
                      </a:lnTo>
                      <a:lnTo>
                        <a:pt x="888155" y="129603"/>
                      </a:lnTo>
                      <a:lnTo>
                        <a:pt x="920928" y="110349"/>
                      </a:lnTo>
                      <a:lnTo>
                        <a:pt x="929970" y="105282"/>
                      </a:lnTo>
                      <a:lnTo>
                        <a:pt x="955962" y="121496"/>
                      </a:lnTo>
                      <a:lnTo>
                        <a:pt x="974044" y="118456"/>
                      </a:lnTo>
                      <a:lnTo>
                        <a:pt x="1000037" y="124536"/>
                      </a:lnTo>
                      <a:lnTo>
                        <a:pt x="984215" y="161017"/>
                      </a:lnTo>
                      <a:cubicBezTo>
                        <a:pt x="984215" y="161017"/>
                        <a:pt x="985345" y="170137"/>
                        <a:pt x="989866" y="175204"/>
                      </a:cubicBezTo>
                      <a:cubicBezTo>
                        <a:pt x="990996" y="186351"/>
                        <a:pt x="979694" y="200538"/>
                        <a:pt x="979694" y="200538"/>
                      </a:cubicBezTo>
                      <a:lnTo>
                        <a:pt x="976304" y="215738"/>
                      </a:lnTo>
                      <a:lnTo>
                        <a:pt x="1004557" y="224858"/>
                      </a:lnTo>
                      <a:lnTo>
                        <a:pt x="1028289" y="220805"/>
                      </a:lnTo>
                      <a:lnTo>
                        <a:pt x="1048632" y="204591"/>
                      </a:lnTo>
                      <a:lnTo>
                        <a:pt x="1059933" y="205605"/>
                      </a:lnTo>
                      <a:lnTo>
                        <a:pt x="1068974" y="215738"/>
                      </a:lnTo>
                      <a:lnTo>
                        <a:pt x="1084796" y="229925"/>
                      </a:lnTo>
                      <a:lnTo>
                        <a:pt x="1110789" y="237019"/>
                      </a:lnTo>
                      <a:lnTo>
                        <a:pt x="1124350" y="250192"/>
                      </a:lnTo>
                      <a:lnTo>
                        <a:pt x="1118699" y="264379"/>
                      </a:lnTo>
                      <a:cubicBezTo>
                        <a:pt x="1118699" y="264379"/>
                        <a:pt x="1097227" y="260326"/>
                        <a:pt x="1087056" y="267419"/>
                      </a:cubicBezTo>
                      <a:cubicBezTo>
                        <a:pt x="1075755" y="267419"/>
                        <a:pt x="1063324" y="284646"/>
                        <a:pt x="1063324" y="284646"/>
                      </a:cubicBezTo>
                      <a:lnTo>
                        <a:pt x="1040721" y="280593"/>
                      </a:lnTo>
                      <a:lnTo>
                        <a:pt x="1013598" y="296807"/>
                      </a:lnTo>
                      <a:lnTo>
                        <a:pt x="1002297" y="288700"/>
                      </a:lnTo>
                      <a:lnTo>
                        <a:pt x="990996" y="291740"/>
                      </a:lnTo>
                      <a:lnTo>
                        <a:pt x="984215" y="306940"/>
                      </a:lnTo>
                      <a:lnTo>
                        <a:pt x="972914" y="317074"/>
                      </a:lnTo>
                      <a:lnTo>
                        <a:pt x="926579" y="328221"/>
                      </a:lnTo>
                      <a:lnTo>
                        <a:pt x="919798" y="349501"/>
                      </a:lnTo>
                      <a:lnTo>
                        <a:pt x="891545" y="363688"/>
                      </a:lnTo>
                      <a:lnTo>
                        <a:pt x="870073" y="357608"/>
                      </a:lnTo>
                      <a:lnTo>
                        <a:pt x="853121" y="339368"/>
                      </a:lnTo>
                      <a:lnTo>
                        <a:pt x="836169" y="338354"/>
                      </a:lnTo>
                      <a:lnTo>
                        <a:pt x="822608" y="346461"/>
                      </a:lnTo>
                      <a:lnTo>
                        <a:pt x="813567" y="364702"/>
                      </a:lnTo>
                      <a:lnTo>
                        <a:pt x="812437" y="380915"/>
                      </a:lnTo>
                      <a:lnTo>
                        <a:pt x="816958" y="401182"/>
                      </a:lnTo>
                      <a:lnTo>
                        <a:pt x="823738" y="416383"/>
                      </a:lnTo>
                      <a:lnTo>
                        <a:pt x="812437" y="432597"/>
                      </a:lnTo>
                      <a:lnTo>
                        <a:pt x="796615" y="440703"/>
                      </a:lnTo>
                      <a:lnTo>
                        <a:pt x="767232" y="446784"/>
                      </a:lnTo>
                      <a:lnTo>
                        <a:pt x="733329" y="455904"/>
                      </a:lnTo>
                      <a:lnTo>
                        <a:pt x="693774" y="454890"/>
                      </a:lnTo>
                      <a:lnTo>
                        <a:pt x="673432" y="459957"/>
                      </a:lnTo>
                      <a:lnTo>
                        <a:pt x="661001" y="462997"/>
                      </a:lnTo>
                      <a:lnTo>
                        <a:pt x="642919" y="481238"/>
                      </a:lnTo>
                      <a:lnTo>
                        <a:pt x="619187" y="489345"/>
                      </a:lnTo>
                      <a:lnTo>
                        <a:pt x="593193" y="489345"/>
                      </a:lnTo>
                      <a:lnTo>
                        <a:pt x="569461" y="498465"/>
                      </a:lnTo>
                      <a:lnTo>
                        <a:pt x="534428" y="498465"/>
                      </a:lnTo>
                      <a:lnTo>
                        <a:pt x="516345" y="485291"/>
                      </a:lnTo>
                      <a:lnTo>
                        <a:pt x="498264" y="469077"/>
                      </a:lnTo>
                      <a:lnTo>
                        <a:pt x="489223" y="465024"/>
                      </a:lnTo>
                      <a:lnTo>
                        <a:pt x="433847" y="461984"/>
                      </a:lnTo>
                      <a:lnTo>
                        <a:pt x="404464" y="458944"/>
                      </a:lnTo>
                      <a:lnTo>
                        <a:pt x="375080" y="454890"/>
                      </a:lnTo>
                      <a:lnTo>
                        <a:pt x="347958" y="458944"/>
                      </a:lnTo>
                      <a:lnTo>
                        <a:pt x="326485" y="454890"/>
                      </a:lnTo>
                      <a:lnTo>
                        <a:pt x="306143" y="444757"/>
                      </a:lnTo>
                      <a:lnTo>
                        <a:pt x="289192" y="426516"/>
                      </a:lnTo>
                      <a:lnTo>
                        <a:pt x="267719" y="413343"/>
                      </a:lnTo>
                      <a:lnTo>
                        <a:pt x="255288" y="403209"/>
                      </a:lnTo>
                      <a:lnTo>
                        <a:pt x="248507" y="384969"/>
                      </a:lnTo>
                      <a:lnTo>
                        <a:pt x="232686" y="370782"/>
                      </a:lnTo>
                      <a:lnTo>
                        <a:pt x="212344" y="364702"/>
                      </a:lnTo>
                      <a:lnTo>
                        <a:pt x="201042" y="356595"/>
                      </a:lnTo>
                      <a:lnTo>
                        <a:pt x="182960" y="345448"/>
                      </a:lnTo>
                      <a:lnTo>
                        <a:pt x="159228" y="344435"/>
                      </a:lnTo>
                      <a:lnTo>
                        <a:pt x="138886" y="338354"/>
                      </a:lnTo>
                      <a:lnTo>
                        <a:pt x="134365" y="324167"/>
                      </a:lnTo>
                      <a:lnTo>
                        <a:pt x="138886" y="304914"/>
                      </a:lnTo>
                      <a:lnTo>
                        <a:pt x="144537" y="290727"/>
                      </a:lnTo>
                      <a:lnTo>
                        <a:pt x="132105" y="272486"/>
                      </a:lnTo>
                      <a:lnTo>
                        <a:pt x="114023" y="264379"/>
                      </a:lnTo>
                      <a:lnTo>
                        <a:pt x="112893" y="253232"/>
                      </a:lnTo>
                      <a:lnTo>
                        <a:pt x="91421" y="231952"/>
                      </a:lnTo>
                      <a:lnTo>
                        <a:pt x="69948" y="220805"/>
                      </a:lnTo>
                      <a:lnTo>
                        <a:pt x="48476" y="224858"/>
                      </a:lnTo>
                      <a:lnTo>
                        <a:pt x="30394" y="220805"/>
                      </a:lnTo>
                      <a:lnTo>
                        <a:pt x="17963" y="210671"/>
                      </a:lnTo>
                      <a:lnTo>
                        <a:pt x="16832" y="199525"/>
                      </a:lnTo>
                      <a:lnTo>
                        <a:pt x="10052" y="174191"/>
                      </a:lnTo>
                      <a:lnTo>
                        <a:pt x="12312" y="146830"/>
                      </a:lnTo>
                      <a:close/>
                      <a:moveTo>
                        <a:pt x="169399" y="82989"/>
                      </a:moveTo>
                      <a:cubicBezTo>
                        <a:pt x="169399" y="84002"/>
                        <a:pt x="176180" y="87042"/>
                        <a:pt x="177310" y="88055"/>
                      </a:cubicBezTo>
                      <a:cubicBezTo>
                        <a:pt x="175049" y="89069"/>
                        <a:pt x="175049" y="95149"/>
                        <a:pt x="175049" y="98189"/>
                      </a:cubicBezTo>
                      <a:cubicBezTo>
                        <a:pt x="170529" y="97175"/>
                        <a:pt x="168269" y="99202"/>
                        <a:pt x="163748" y="100216"/>
                      </a:cubicBezTo>
                      <a:cubicBezTo>
                        <a:pt x="163748" y="100216"/>
                        <a:pt x="159228" y="92109"/>
                        <a:pt x="158097" y="90082"/>
                      </a:cubicBezTo>
                      <a:cubicBezTo>
                        <a:pt x="161488" y="88055"/>
                        <a:pt x="167139" y="86029"/>
                        <a:pt x="169399" y="82989"/>
                      </a:cubicBezTo>
                      <a:close/>
                      <a:moveTo>
                        <a:pt x="438368" y="51574"/>
                      </a:moveTo>
                      <a:lnTo>
                        <a:pt x="444018" y="56641"/>
                      </a:lnTo>
                      <a:cubicBezTo>
                        <a:pt x="448538" y="69815"/>
                        <a:pt x="431586" y="90082"/>
                        <a:pt x="432717" y="61708"/>
                      </a:cubicBezTo>
                      <a:lnTo>
                        <a:pt x="438368" y="5157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3" name="Freeform: Shape 332">
                  <a:extLst>
                    <a:ext uri="{FF2B5EF4-FFF2-40B4-BE49-F238E27FC236}">
                      <a16:creationId xmlns:a16="http://schemas.microsoft.com/office/drawing/2014/main" id="{310257F2-CC27-475D-9300-BB977482AFB0}"/>
                    </a:ext>
                  </a:extLst>
                </p:cNvPr>
                <p:cNvSpPr/>
                <p:nvPr/>
              </p:nvSpPr>
              <p:spPr>
                <a:xfrm>
                  <a:off x="6124968" y="2470049"/>
                  <a:ext cx="33904" cy="20267"/>
                </a:xfrm>
                <a:custGeom>
                  <a:avLst/>
                  <a:gdLst>
                    <a:gd name="connsiteX0" fmla="*/ 17963 w 33903"/>
                    <a:gd name="connsiteY0" fmla="*/ 20160 h 20267"/>
                    <a:gd name="connsiteX1" fmla="*/ 10052 w 33903"/>
                    <a:gd name="connsiteY1" fmla="*/ 14080 h 20267"/>
                    <a:gd name="connsiteX2" fmla="*/ 19093 w 33903"/>
                    <a:gd name="connsiteY2" fmla="*/ 9013 h 20267"/>
                    <a:gd name="connsiteX3" fmla="*/ 25874 w 33903"/>
                    <a:gd name="connsiteY3" fmla="*/ 16107 h 20267"/>
                    <a:gd name="connsiteX4" fmla="*/ 17963 w 33903"/>
                    <a:gd name="connsiteY4" fmla="*/ 20160 h 20267"/>
                    <a:gd name="connsiteX5" fmla="*/ 17963 w 33903"/>
                    <a:gd name="connsiteY5" fmla="*/ 20160 h 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3" h="20267">
                      <a:moveTo>
                        <a:pt x="17963" y="20160"/>
                      </a:moveTo>
                      <a:lnTo>
                        <a:pt x="10052" y="14080"/>
                      </a:lnTo>
                      <a:lnTo>
                        <a:pt x="19093" y="9013"/>
                      </a:lnTo>
                      <a:lnTo>
                        <a:pt x="25874" y="16107"/>
                      </a:lnTo>
                      <a:cubicBezTo>
                        <a:pt x="20223" y="18134"/>
                        <a:pt x="20223" y="18134"/>
                        <a:pt x="17963" y="20160"/>
                      </a:cubicBezTo>
                      <a:lnTo>
                        <a:pt x="17963" y="2016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4" name="Freeform: Shape 333">
                  <a:extLst>
                    <a:ext uri="{FF2B5EF4-FFF2-40B4-BE49-F238E27FC236}">
                      <a16:creationId xmlns:a16="http://schemas.microsoft.com/office/drawing/2014/main" id="{615ED0CF-43DB-423E-943D-D2DC233677B2}"/>
                    </a:ext>
                  </a:extLst>
                </p:cNvPr>
                <p:cNvSpPr/>
                <p:nvPr/>
              </p:nvSpPr>
              <p:spPr>
                <a:xfrm>
                  <a:off x="6831293" y="2240046"/>
                  <a:ext cx="146916" cy="162137"/>
                </a:xfrm>
                <a:custGeom>
                  <a:avLst/>
                  <a:gdLst>
                    <a:gd name="connsiteX0" fmla="*/ 76729 w 146915"/>
                    <a:gd name="connsiteY0" fmla="*/ 163015 h 162137"/>
                    <a:gd name="connsiteX1" fmla="*/ 88031 w 146915"/>
                    <a:gd name="connsiteY1" fmla="*/ 141734 h 162137"/>
                    <a:gd name="connsiteX2" fmla="*/ 104982 w 146915"/>
                    <a:gd name="connsiteY2" fmla="*/ 122481 h 162137"/>
                    <a:gd name="connsiteX3" fmla="*/ 120804 w 146915"/>
                    <a:gd name="connsiteY3" fmla="*/ 126534 h 162137"/>
                    <a:gd name="connsiteX4" fmla="*/ 144537 w 146915"/>
                    <a:gd name="connsiteY4" fmla="*/ 134641 h 162137"/>
                    <a:gd name="connsiteX5" fmla="*/ 123064 w 146915"/>
                    <a:gd name="connsiteY5" fmla="*/ 109307 h 162137"/>
                    <a:gd name="connsiteX6" fmla="*/ 110633 w 146915"/>
                    <a:gd name="connsiteY6" fmla="*/ 89040 h 162137"/>
                    <a:gd name="connsiteX7" fmla="*/ 106112 w 146915"/>
                    <a:gd name="connsiteY7" fmla="*/ 71813 h 162137"/>
                    <a:gd name="connsiteX8" fmla="*/ 98201 w 146915"/>
                    <a:gd name="connsiteY8" fmla="*/ 53572 h 162137"/>
                    <a:gd name="connsiteX9" fmla="*/ 85770 w 146915"/>
                    <a:gd name="connsiteY9" fmla="*/ 33305 h 162137"/>
                    <a:gd name="connsiteX10" fmla="*/ 69948 w 146915"/>
                    <a:gd name="connsiteY10" fmla="*/ 21145 h 162137"/>
                    <a:gd name="connsiteX11" fmla="*/ 52996 w 146915"/>
                    <a:gd name="connsiteY11" fmla="*/ 12025 h 162137"/>
                    <a:gd name="connsiteX12" fmla="*/ 31525 w 146915"/>
                    <a:gd name="connsiteY12" fmla="*/ 11011 h 162137"/>
                    <a:gd name="connsiteX13" fmla="*/ 10052 w 146915"/>
                    <a:gd name="connsiteY13" fmla="*/ 22158 h 162137"/>
                    <a:gd name="connsiteX14" fmla="*/ 36045 w 146915"/>
                    <a:gd name="connsiteY14" fmla="*/ 45466 h 162137"/>
                    <a:gd name="connsiteX15" fmla="*/ 49606 w 146915"/>
                    <a:gd name="connsiteY15" fmla="*/ 66746 h 162137"/>
                    <a:gd name="connsiteX16" fmla="*/ 64298 w 146915"/>
                    <a:gd name="connsiteY16" fmla="*/ 90053 h 162137"/>
                    <a:gd name="connsiteX17" fmla="*/ 65428 w 146915"/>
                    <a:gd name="connsiteY17" fmla="*/ 109307 h 162137"/>
                    <a:gd name="connsiteX18" fmla="*/ 65428 w 146915"/>
                    <a:gd name="connsiteY18" fmla="*/ 123494 h 162137"/>
                    <a:gd name="connsiteX19" fmla="*/ 65428 w 146915"/>
                    <a:gd name="connsiteY19" fmla="*/ 142748 h 162137"/>
                    <a:gd name="connsiteX20" fmla="*/ 68818 w 146915"/>
                    <a:gd name="connsiteY20" fmla="*/ 158962 h 162137"/>
                    <a:gd name="connsiteX21" fmla="*/ 76729 w 146915"/>
                    <a:gd name="connsiteY21" fmla="*/ 163015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915" h="162137">
                      <a:moveTo>
                        <a:pt x="76729" y="163015"/>
                      </a:moveTo>
                      <a:cubicBezTo>
                        <a:pt x="76729" y="163015"/>
                        <a:pt x="89160" y="146801"/>
                        <a:pt x="88031" y="141734"/>
                      </a:cubicBezTo>
                      <a:cubicBezTo>
                        <a:pt x="88031" y="136668"/>
                        <a:pt x="106112" y="130587"/>
                        <a:pt x="104982" y="122481"/>
                      </a:cubicBezTo>
                      <a:cubicBezTo>
                        <a:pt x="103852" y="114374"/>
                        <a:pt x="114023" y="126534"/>
                        <a:pt x="120804" y="126534"/>
                      </a:cubicBezTo>
                      <a:cubicBezTo>
                        <a:pt x="127585" y="126534"/>
                        <a:pt x="144537" y="134641"/>
                        <a:pt x="144537" y="134641"/>
                      </a:cubicBezTo>
                      <a:lnTo>
                        <a:pt x="123064" y="109307"/>
                      </a:lnTo>
                      <a:cubicBezTo>
                        <a:pt x="123064" y="109307"/>
                        <a:pt x="108373" y="101200"/>
                        <a:pt x="110633" y="89040"/>
                      </a:cubicBezTo>
                      <a:cubicBezTo>
                        <a:pt x="111763" y="80933"/>
                        <a:pt x="110633" y="78906"/>
                        <a:pt x="106112" y="71813"/>
                      </a:cubicBezTo>
                      <a:cubicBezTo>
                        <a:pt x="101592" y="64719"/>
                        <a:pt x="95942" y="64719"/>
                        <a:pt x="98201" y="53572"/>
                      </a:cubicBezTo>
                      <a:cubicBezTo>
                        <a:pt x="99332" y="44452"/>
                        <a:pt x="92551" y="37359"/>
                        <a:pt x="85770" y="33305"/>
                      </a:cubicBezTo>
                      <a:cubicBezTo>
                        <a:pt x="78990" y="28239"/>
                        <a:pt x="76729" y="25198"/>
                        <a:pt x="69948" y="21145"/>
                      </a:cubicBezTo>
                      <a:cubicBezTo>
                        <a:pt x="63168" y="18105"/>
                        <a:pt x="60907" y="14051"/>
                        <a:pt x="52996" y="12025"/>
                      </a:cubicBezTo>
                      <a:cubicBezTo>
                        <a:pt x="45086" y="9998"/>
                        <a:pt x="34915" y="6958"/>
                        <a:pt x="31525" y="11011"/>
                      </a:cubicBezTo>
                      <a:cubicBezTo>
                        <a:pt x="27004" y="15065"/>
                        <a:pt x="11183" y="12025"/>
                        <a:pt x="10052" y="22158"/>
                      </a:cubicBezTo>
                      <a:cubicBezTo>
                        <a:pt x="10052" y="22158"/>
                        <a:pt x="29264" y="32292"/>
                        <a:pt x="36045" y="45466"/>
                      </a:cubicBezTo>
                      <a:cubicBezTo>
                        <a:pt x="39436" y="59653"/>
                        <a:pt x="38305" y="55599"/>
                        <a:pt x="49606" y="66746"/>
                      </a:cubicBezTo>
                      <a:cubicBezTo>
                        <a:pt x="60907" y="77893"/>
                        <a:pt x="60907" y="81946"/>
                        <a:pt x="64298" y="90053"/>
                      </a:cubicBezTo>
                      <a:cubicBezTo>
                        <a:pt x="67689" y="98160"/>
                        <a:pt x="58647" y="103227"/>
                        <a:pt x="65428" y="109307"/>
                      </a:cubicBezTo>
                      <a:cubicBezTo>
                        <a:pt x="72209" y="115387"/>
                        <a:pt x="62038" y="115387"/>
                        <a:pt x="65428" y="123494"/>
                      </a:cubicBezTo>
                      <a:cubicBezTo>
                        <a:pt x="68818" y="131601"/>
                        <a:pt x="59778" y="141734"/>
                        <a:pt x="65428" y="142748"/>
                      </a:cubicBezTo>
                      <a:cubicBezTo>
                        <a:pt x="71079" y="143761"/>
                        <a:pt x="59778" y="153895"/>
                        <a:pt x="68818" y="158962"/>
                      </a:cubicBezTo>
                      <a:cubicBezTo>
                        <a:pt x="72209" y="160988"/>
                        <a:pt x="74469" y="162002"/>
                        <a:pt x="76729" y="16301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5" name="Freeform: Shape 334">
                  <a:extLst>
                    <a:ext uri="{FF2B5EF4-FFF2-40B4-BE49-F238E27FC236}">
                      <a16:creationId xmlns:a16="http://schemas.microsoft.com/office/drawing/2014/main" id="{2376FC0C-3B7E-46F9-8FAC-A7264D74F101}"/>
                    </a:ext>
                  </a:extLst>
                </p:cNvPr>
                <p:cNvSpPr/>
                <p:nvPr/>
              </p:nvSpPr>
              <p:spPr>
                <a:xfrm>
                  <a:off x="1759316" y="2938220"/>
                  <a:ext cx="1073614" cy="739750"/>
                </a:xfrm>
                <a:custGeom>
                  <a:avLst/>
                  <a:gdLst>
                    <a:gd name="connsiteX0" fmla="*/ 10052 w 1073613"/>
                    <a:gd name="connsiteY0" fmla="*/ 18134 h 739750"/>
                    <a:gd name="connsiteX1" fmla="*/ 14572 w 1073613"/>
                    <a:gd name="connsiteY1" fmla="*/ 35361 h 739750"/>
                    <a:gd name="connsiteX2" fmla="*/ 25874 w 1073613"/>
                    <a:gd name="connsiteY2" fmla="*/ 42454 h 739750"/>
                    <a:gd name="connsiteX3" fmla="*/ 25874 w 1073613"/>
                    <a:gd name="connsiteY3" fmla="*/ 52588 h 739750"/>
                    <a:gd name="connsiteX4" fmla="*/ 39435 w 1073613"/>
                    <a:gd name="connsiteY4" fmla="*/ 64748 h 739750"/>
                    <a:gd name="connsiteX5" fmla="*/ 45086 w 1073613"/>
                    <a:gd name="connsiteY5" fmla="*/ 94135 h 739750"/>
                    <a:gd name="connsiteX6" fmla="*/ 52997 w 1073613"/>
                    <a:gd name="connsiteY6" fmla="*/ 96162 h 739750"/>
                    <a:gd name="connsiteX7" fmla="*/ 55257 w 1073613"/>
                    <a:gd name="connsiteY7" fmla="*/ 106296 h 739750"/>
                    <a:gd name="connsiteX8" fmla="*/ 66558 w 1073613"/>
                    <a:gd name="connsiteY8" fmla="*/ 111363 h 739750"/>
                    <a:gd name="connsiteX9" fmla="*/ 68818 w 1073613"/>
                    <a:gd name="connsiteY9" fmla="*/ 118456 h 739750"/>
                    <a:gd name="connsiteX10" fmla="*/ 82380 w 1073613"/>
                    <a:gd name="connsiteY10" fmla="*/ 118456 h 739750"/>
                    <a:gd name="connsiteX11" fmla="*/ 88030 w 1073613"/>
                    <a:gd name="connsiteY11" fmla="*/ 128589 h 739750"/>
                    <a:gd name="connsiteX12" fmla="*/ 99331 w 1073613"/>
                    <a:gd name="connsiteY12" fmla="*/ 133656 h 739750"/>
                    <a:gd name="connsiteX13" fmla="*/ 104982 w 1073613"/>
                    <a:gd name="connsiteY13" fmla="*/ 163043 h 739750"/>
                    <a:gd name="connsiteX14" fmla="*/ 112893 w 1073613"/>
                    <a:gd name="connsiteY14" fmla="*/ 173177 h 739750"/>
                    <a:gd name="connsiteX15" fmla="*/ 107242 w 1073613"/>
                    <a:gd name="connsiteY15" fmla="*/ 209658 h 739750"/>
                    <a:gd name="connsiteX16" fmla="*/ 80119 w 1073613"/>
                    <a:gd name="connsiteY16" fmla="*/ 209658 h 739750"/>
                    <a:gd name="connsiteX17" fmla="*/ 80119 w 1073613"/>
                    <a:gd name="connsiteY17" fmla="*/ 214725 h 739750"/>
                    <a:gd name="connsiteX18" fmla="*/ 101592 w 1073613"/>
                    <a:gd name="connsiteY18" fmla="*/ 226885 h 739750"/>
                    <a:gd name="connsiteX19" fmla="*/ 112893 w 1073613"/>
                    <a:gd name="connsiteY19" fmla="*/ 241072 h 739750"/>
                    <a:gd name="connsiteX20" fmla="*/ 120804 w 1073613"/>
                    <a:gd name="connsiteY20" fmla="*/ 241072 h 739750"/>
                    <a:gd name="connsiteX21" fmla="*/ 123064 w 1073613"/>
                    <a:gd name="connsiteY21" fmla="*/ 251206 h 739750"/>
                    <a:gd name="connsiteX22" fmla="*/ 136625 w 1073613"/>
                    <a:gd name="connsiteY22" fmla="*/ 251206 h 739750"/>
                    <a:gd name="connsiteX23" fmla="*/ 177310 w 1073613"/>
                    <a:gd name="connsiteY23" fmla="*/ 282620 h 739750"/>
                    <a:gd name="connsiteX24" fmla="*/ 175050 w 1073613"/>
                    <a:gd name="connsiteY24" fmla="*/ 292753 h 739750"/>
                    <a:gd name="connsiteX25" fmla="*/ 182960 w 1073613"/>
                    <a:gd name="connsiteY25" fmla="*/ 306940 h 739750"/>
                    <a:gd name="connsiteX26" fmla="*/ 182960 w 1073613"/>
                    <a:gd name="connsiteY26" fmla="*/ 336328 h 739750"/>
                    <a:gd name="connsiteX27" fmla="*/ 198782 w 1073613"/>
                    <a:gd name="connsiteY27" fmla="*/ 343421 h 739750"/>
                    <a:gd name="connsiteX28" fmla="*/ 201042 w 1073613"/>
                    <a:gd name="connsiteY28" fmla="*/ 353555 h 739750"/>
                    <a:gd name="connsiteX29" fmla="*/ 214604 w 1073613"/>
                    <a:gd name="connsiteY29" fmla="*/ 360648 h 739750"/>
                    <a:gd name="connsiteX30" fmla="*/ 247377 w 1073613"/>
                    <a:gd name="connsiteY30" fmla="*/ 399156 h 739750"/>
                    <a:gd name="connsiteX31" fmla="*/ 247377 w 1073613"/>
                    <a:gd name="connsiteY31" fmla="*/ 411316 h 739750"/>
                    <a:gd name="connsiteX32" fmla="*/ 258678 w 1073613"/>
                    <a:gd name="connsiteY32" fmla="*/ 413343 h 739750"/>
                    <a:gd name="connsiteX33" fmla="*/ 258678 w 1073613"/>
                    <a:gd name="connsiteY33" fmla="*/ 406249 h 739750"/>
                    <a:gd name="connsiteX34" fmla="*/ 260939 w 1073613"/>
                    <a:gd name="connsiteY34" fmla="*/ 406249 h 739750"/>
                    <a:gd name="connsiteX35" fmla="*/ 268849 w 1073613"/>
                    <a:gd name="connsiteY35" fmla="*/ 399156 h 739750"/>
                    <a:gd name="connsiteX36" fmla="*/ 266589 w 1073613"/>
                    <a:gd name="connsiteY36" fmla="*/ 384969 h 739750"/>
                    <a:gd name="connsiteX37" fmla="*/ 247377 w 1073613"/>
                    <a:gd name="connsiteY37" fmla="*/ 372808 h 739750"/>
                    <a:gd name="connsiteX38" fmla="*/ 247377 w 1073613"/>
                    <a:gd name="connsiteY38" fmla="*/ 362675 h 739750"/>
                    <a:gd name="connsiteX39" fmla="*/ 241727 w 1073613"/>
                    <a:gd name="connsiteY39" fmla="*/ 357608 h 739750"/>
                    <a:gd name="connsiteX40" fmla="*/ 230425 w 1073613"/>
                    <a:gd name="connsiteY40" fmla="*/ 357608 h 739750"/>
                    <a:gd name="connsiteX41" fmla="*/ 224775 w 1073613"/>
                    <a:gd name="connsiteY41" fmla="*/ 350514 h 739750"/>
                    <a:gd name="connsiteX42" fmla="*/ 230425 w 1073613"/>
                    <a:gd name="connsiteY42" fmla="*/ 336328 h 739750"/>
                    <a:gd name="connsiteX43" fmla="*/ 219124 w 1073613"/>
                    <a:gd name="connsiteY43" fmla="*/ 329234 h 739750"/>
                    <a:gd name="connsiteX44" fmla="*/ 221384 w 1073613"/>
                    <a:gd name="connsiteY44" fmla="*/ 312007 h 739750"/>
                    <a:gd name="connsiteX45" fmla="*/ 205563 w 1073613"/>
                    <a:gd name="connsiteY45" fmla="*/ 292753 h 739750"/>
                    <a:gd name="connsiteX46" fmla="*/ 205563 w 1073613"/>
                    <a:gd name="connsiteY46" fmla="*/ 280593 h 739750"/>
                    <a:gd name="connsiteX47" fmla="*/ 178440 w 1073613"/>
                    <a:gd name="connsiteY47" fmla="*/ 246139 h 739750"/>
                    <a:gd name="connsiteX48" fmla="*/ 180700 w 1073613"/>
                    <a:gd name="connsiteY48" fmla="*/ 228912 h 739750"/>
                    <a:gd name="connsiteX49" fmla="*/ 169399 w 1073613"/>
                    <a:gd name="connsiteY49" fmla="*/ 223845 h 739750"/>
                    <a:gd name="connsiteX50" fmla="*/ 169399 w 1073613"/>
                    <a:gd name="connsiteY50" fmla="*/ 213711 h 739750"/>
                    <a:gd name="connsiteX51" fmla="*/ 155837 w 1073613"/>
                    <a:gd name="connsiteY51" fmla="*/ 203578 h 739750"/>
                    <a:gd name="connsiteX52" fmla="*/ 153577 w 1073613"/>
                    <a:gd name="connsiteY52" fmla="*/ 177231 h 739750"/>
                    <a:gd name="connsiteX53" fmla="*/ 145666 w 1073613"/>
                    <a:gd name="connsiteY53" fmla="*/ 175204 h 739750"/>
                    <a:gd name="connsiteX54" fmla="*/ 145666 w 1073613"/>
                    <a:gd name="connsiteY54" fmla="*/ 168110 h 739750"/>
                    <a:gd name="connsiteX55" fmla="*/ 143406 w 1073613"/>
                    <a:gd name="connsiteY55" fmla="*/ 168110 h 739750"/>
                    <a:gd name="connsiteX56" fmla="*/ 143406 w 1073613"/>
                    <a:gd name="connsiteY56" fmla="*/ 166084 h 739750"/>
                    <a:gd name="connsiteX57" fmla="*/ 132105 w 1073613"/>
                    <a:gd name="connsiteY57" fmla="*/ 164057 h 739750"/>
                    <a:gd name="connsiteX58" fmla="*/ 134365 w 1073613"/>
                    <a:gd name="connsiteY58" fmla="*/ 151897 h 739750"/>
                    <a:gd name="connsiteX59" fmla="*/ 134365 w 1073613"/>
                    <a:gd name="connsiteY59" fmla="*/ 144803 h 739750"/>
                    <a:gd name="connsiteX60" fmla="*/ 123064 w 1073613"/>
                    <a:gd name="connsiteY60" fmla="*/ 127576 h 739750"/>
                    <a:gd name="connsiteX61" fmla="*/ 109503 w 1073613"/>
                    <a:gd name="connsiteY61" fmla="*/ 125549 h 739750"/>
                    <a:gd name="connsiteX62" fmla="*/ 109503 w 1073613"/>
                    <a:gd name="connsiteY62" fmla="*/ 118456 h 739750"/>
                    <a:gd name="connsiteX63" fmla="*/ 98201 w 1073613"/>
                    <a:gd name="connsiteY63" fmla="*/ 106296 h 739750"/>
                    <a:gd name="connsiteX64" fmla="*/ 90291 w 1073613"/>
                    <a:gd name="connsiteY64" fmla="*/ 81975 h 739750"/>
                    <a:gd name="connsiteX65" fmla="*/ 76729 w 1073613"/>
                    <a:gd name="connsiteY65" fmla="*/ 69815 h 739750"/>
                    <a:gd name="connsiteX66" fmla="*/ 82380 w 1073613"/>
                    <a:gd name="connsiteY66" fmla="*/ 47521 h 739750"/>
                    <a:gd name="connsiteX67" fmla="*/ 80119 w 1073613"/>
                    <a:gd name="connsiteY67" fmla="*/ 45494 h 739750"/>
                    <a:gd name="connsiteX68" fmla="*/ 95941 w 1073613"/>
                    <a:gd name="connsiteY68" fmla="*/ 45494 h 739750"/>
                    <a:gd name="connsiteX69" fmla="*/ 101592 w 1073613"/>
                    <a:gd name="connsiteY69" fmla="*/ 52588 h 739750"/>
                    <a:gd name="connsiteX70" fmla="*/ 115153 w 1073613"/>
                    <a:gd name="connsiteY70" fmla="*/ 57654 h 739750"/>
                    <a:gd name="connsiteX71" fmla="*/ 117413 w 1073613"/>
                    <a:gd name="connsiteY71" fmla="*/ 50561 h 739750"/>
                    <a:gd name="connsiteX72" fmla="*/ 133235 w 1073613"/>
                    <a:gd name="connsiteY72" fmla="*/ 48534 h 739750"/>
                    <a:gd name="connsiteX73" fmla="*/ 146797 w 1073613"/>
                    <a:gd name="connsiteY73" fmla="*/ 67788 h 739750"/>
                    <a:gd name="connsiteX74" fmla="*/ 154707 w 1073613"/>
                    <a:gd name="connsiteY74" fmla="*/ 106296 h 739750"/>
                    <a:gd name="connsiteX75" fmla="*/ 160358 w 1073613"/>
                    <a:gd name="connsiteY75" fmla="*/ 106296 h 739750"/>
                    <a:gd name="connsiteX76" fmla="*/ 168269 w 1073613"/>
                    <a:gd name="connsiteY76" fmla="*/ 132643 h 739750"/>
                    <a:gd name="connsiteX77" fmla="*/ 187481 w 1073613"/>
                    <a:gd name="connsiteY77" fmla="*/ 156964 h 739750"/>
                    <a:gd name="connsiteX78" fmla="*/ 195392 w 1073613"/>
                    <a:gd name="connsiteY78" fmla="*/ 156964 h 739750"/>
                    <a:gd name="connsiteX79" fmla="*/ 195392 w 1073613"/>
                    <a:gd name="connsiteY79" fmla="*/ 171151 h 739750"/>
                    <a:gd name="connsiteX80" fmla="*/ 195392 w 1073613"/>
                    <a:gd name="connsiteY80" fmla="*/ 176217 h 739750"/>
                    <a:gd name="connsiteX81" fmla="*/ 214604 w 1073613"/>
                    <a:gd name="connsiteY81" fmla="*/ 181284 h 739750"/>
                    <a:gd name="connsiteX82" fmla="*/ 228165 w 1073613"/>
                    <a:gd name="connsiteY82" fmla="*/ 207631 h 739750"/>
                    <a:gd name="connsiteX83" fmla="*/ 241727 w 1073613"/>
                    <a:gd name="connsiteY83" fmla="*/ 207631 h 739750"/>
                    <a:gd name="connsiteX84" fmla="*/ 241727 w 1073613"/>
                    <a:gd name="connsiteY84" fmla="*/ 226885 h 739750"/>
                    <a:gd name="connsiteX85" fmla="*/ 260939 w 1073613"/>
                    <a:gd name="connsiteY85" fmla="*/ 237019 h 739750"/>
                    <a:gd name="connsiteX86" fmla="*/ 263199 w 1073613"/>
                    <a:gd name="connsiteY86" fmla="*/ 251206 h 739750"/>
                    <a:gd name="connsiteX87" fmla="*/ 279021 w 1073613"/>
                    <a:gd name="connsiteY87" fmla="*/ 251206 h 739750"/>
                    <a:gd name="connsiteX88" fmla="*/ 284671 w 1073613"/>
                    <a:gd name="connsiteY88" fmla="*/ 261339 h 739750"/>
                    <a:gd name="connsiteX89" fmla="*/ 290322 w 1073613"/>
                    <a:gd name="connsiteY89" fmla="*/ 261339 h 739750"/>
                    <a:gd name="connsiteX90" fmla="*/ 288061 w 1073613"/>
                    <a:gd name="connsiteY90" fmla="*/ 271473 h 739750"/>
                    <a:gd name="connsiteX91" fmla="*/ 276760 w 1073613"/>
                    <a:gd name="connsiteY91" fmla="*/ 276540 h 739750"/>
                    <a:gd name="connsiteX92" fmla="*/ 276760 w 1073613"/>
                    <a:gd name="connsiteY92" fmla="*/ 290727 h 739750"/>
                    <a:gd name="connsiteX93" fmla="*/ 290322 w 1073613"/>
                    <a:gd name="connsiteY93" fmla="*/ 292753 h 739750"/>
                    <a:gd name="connsiteX94" fmla="*/ 292582 w 1073613"/>
                    <a:gd name="connsiteY94" fmla="*/ 302887 h 739750"/>
                    <a:gd name="connsiteX95" fmla="*/ 308404 w 1073613"/>
                    <a:gd name="connsiteY95" fmla="*/ 309980 h 739750"/>
                    <a:gd name="connsiteX96" fmla="*/ 329876 w 1073613"/>
                    <a:gd name="connsiteY96" fmla="*/ 334301 h 739750"/>
                    <a:gd name="connsiteX97" fmla="*/ 332136 w 1073613"/>
                    <a:gd name="connsiteY97" fmla="*/ 346461 h 739750"/>
                    <a:gd name="connsiteX98" fmla="*/ 345697 w 1073613"/>
                    <a:gd name="connsiteY98" fmla="*/ 353555 h 739750"/>
                    <a:gd name="connsiteX99" fmla="*/ 356999 w 1073613"/>
                    <a:gd name="connsiteY99" fmla="*/ 363688 h 739750"/>
                    <a:gd name="connsiteX100" fmla="*/ 356999 w 1073613"/>
                    <a:gd name="connsiteY100" fmla="*/ 373822 h 739750"/>
                    <a:gd name="connsiteX101" fmla="*/ 372820 w 1073613"/>
                    <a:gd name="connsiteY101" fmla="*/ 385982 h 739750"/>
                    <a:gd name="connsiteX102" fmla="*/ 372820 w 1073613"/>
                    <a:gd name="connsiteY102" fmla="*/ 393076 h 739750"/>
                    <a:gd name="connsiteX103" fmla="*/ 380731 w 1073613"/>
                    <a:gd name="connsiteY103" fmla="*/ 398142 h 739750"/>
                    <a:gd name="connsiteX104" fmla="*/ 386382 w 1073613"/>
                    <a:gd name="connsiteY104" fmla="*/ 415370 h 739750"/>
                    <a:gd name="connsiteX105" fmla="*/ 407854 w 1073613"/>
                    <a:gd name="connsiteY105" fmla="*/ 446783 h 739750"/>
                    <a:gd name="connsiteX106" fmla="*/ 413505 w 1073613"/>
                    <a:gd name="connsiteY106" fmla="*/ 448810 h 739750"/>
                    <a:gd name="connsiteX107" fmla="*/ 413505 w 1073613"/>
                    <a:gd name="connsiteY107" fmla="*/ 466037 h 739750"/>
                    <a:gd name="connsiteX108" fmla="*/ 421415 w 1073613"/>
                    <a:gd name="connsiteY108" fmla="*/ 490358 h 739750"/>
                    <a:gd name="connsiteX109" fmla="*/ 410114 w 1073613"/>
                    <a:gd name="connsiteY109" fmla="*/ 504545 h 739750"/>
                    <a:gd name="connsiteX110" fmla="*/ 415765 w 1073613"/>
                    <a:gd name="connsiteY110" fmla="*/ 516705 h 739750"/>
                    <a:gd name="connsiteX111" fmla="*/ 407854 w 1073613"/>
                    <a:gd name="connsiteY111" fmla="*/ 530892 h 739750"/>
                    <a:gd name="connsiteX112" fmla="*/ 415765 w 1073613"/>
                    <a:gd name="connsiteY112" fmla="*/ 545079 h 739750"/>
                    <a:gd name="connsiteX113" fmla="*/ 421415 w 1073613"/>
                    <a:gd name="connsiteY113" fmla="*/ 545079 h 739750"/>
                    <a:gd name="connsiteX114" fmla="*/ 423676 w 1073613"/>
                    <a:gd name="connsiteY114" fmla="*/ 557240 h 739750"/>
                    <a:gd name="connsiteX115" fmla="*/ 445148 w 1073613"/>
                    <a:gd name="connsiteY115" fmla="*/ 574466 h 739750"/>
                    <a:gd name="connsiteX116" fmla="*/ 458710 w 1073613"/>
                    <a:gd name="connsiteY116" fmla="*/ 576493 h 739750"/>
                    <a:gd name="connsiteX117" fmla="*/ 460970 w 1073613"/>
                    <a:gd name="connsiteY117" fmla="*/ 586627 h 739750"/>
                    <a:gd name="connsiteX118" fmla="*/ 480182 w 1073613"/>
                    <a:gd name="connsiteY118" fmla="*/ 596760 h 739750"/>
                    <a:gd name="connsiteX119" fmla="*/ 491483 w 1073613"/>
                    <a:gd name="connsiteY119" fmla="*/ 610947 h 739750"/>
                    <a:gd name="connsiteX120" fmla="*/ 499394 w 1073613"/>
                    <a:gd name="connsiteY120" fmla="*/ 623108 h 739750"/>
                    <a:gd name="connsiteX121" fmla="*/ 537818 w 1073613"/>
                    <a:gd name="connsiteY121" fmla="*/ 628175 h 739750"/>
                    <a:gd name="connsiteX122" fmla="*/ 551379 w 1073613"/>
                    <a:gd name="connsiteY122" fmla="*/ 642361 h 739750"/>
                    <a:gd name="connsiteX123" fmla="*/ 586413 w 1073613"/>
                    <a:gd name="connsiteY123" fmla="*/ 656548 h 739750"/>
                    <a:gd name="connsiteX124" fmla="*/ 592064 w 1073613"/>
                    <a:gd name="connsiteY124" fmla="*/ 663642 h 739750"/>
                    <a:gd name="connsiteX125" fmla="*/ 630488 w 1073613"/>
                    <a:gd name="connsiteY125" fmla="*/ 670735 h 739750"/>
                    <a:gd name="connsiteX126" fmla="*/ 636138 w 1073613"/>
                    <a:gd name="connsiteY126" fmla="*/ 675802 h 739750"/>
                    <a:gd name="connsiteX127" fmla="*/ 649700 w 1073613"/>
                    <a:gd name="connsiteY127" fmla="*/ 673776 h 739750"/>
                    <a:gd name="connsiteX128" fmla="*/ 651960 w 1073613"/>
                    <a:gd name="connsiteY128" fmla="*/ 680869 h 739750"/>
                    <a:gd name="connsiteX129" fmla="*/ 663261 w 1073613"/>
                    <a:gd name="connsiteY129" fmla="*/ 680869 h 739750"/>
                    <a:gd name="connsiteX130" fmla="*/ 674562 w 1073613"/>
                    <a:gd name="connsiteY130" fmla="*/ 691002 h 739750"/>
                    <a:gd name="connsiteX131" fmla="*/ 674562 w 1073613"/>
                    <a:gd name="connsiteY131" fmla="*/ 696069 h 739750"/>
                    <a:gd name="connsiteX132" fmla="*/ 685863 w 1073613"/>
                    <a:gd name="connsiteY132" fmla="*/ 694043 h 739750"/>
                    <a:gd name="connsiteX133" fmla="*/ 697165 w 1073613"/>
                    <a:gd name="connsiteY133" fmla="*/ 699109 h 739750"/>
                    <a:gd name="connsiteX134" fmla="*/ 718637 w 1073613"/>
                    <a:gd name="connsiteY134" fmla="*/ 697083 h 739750"/>
                    <a:gd name="connsiteX135" fmla="*/ 720897 w 1073613"/>
                    <a:gd name="connsiteY135" fmla="*/ 704176 h 739750"/>
                    <a:gd name="connsiteX136" fmla="*/ 732198 w 1073613"/>
                    <a:gd name="connsiteY136" fmla="*/ 706203 h 739750"/>
                    <a:gd name="connsiteX137" fmla="*/ 757061 w 1073613"/>
                    <a:gd name="connsiteY137" fmla="*/ 696069 h 739750"/>
                    <a:gd name="connsiteX138" fmla="*/ 784184 w 1073613"/>
                    <a:gd name="connsiteY138" fmla="*/ 696069 h 739750"/>
                    <a:gd name="connsiteX139" fmla="*/ 795485 w 1073613"/>
                    <a:gd name="connsiteY139" fmla="*/ 688976 h 739750"/>
                    <a:gd name="connsiteX140" fmla="*/ 803396 w 1073613"/>
                    <a:gd name="connsiteY140" fmla="*/ 694043 h 739750"/>
                    <a:gd name="connsiteX141" fmla="*/ 832779 w 1073613"/>
                    <a:gd name="connsiteY141" fmla="*/ 696069 h 739750"/>
                    <a:gd name="connsiteX142" fmla="*/ 844080 w 1073613"/>
                    <a:gd name="connsiteY142" fmla="*/ 708230 h 739750"/>
                    <a:gd name="connsiteX143" fmla="*/ 855381 w 1073613"/>
                    <a:gd name="connsiteY143" fmla="*/ 708230 h 739750"/>
                    <a:gd name="connsiteX144" fmla="*/ 873463 w 1073613"/>
                    <a:gd name="connsiteY144" fmla="*/ 731537 h 739750"/>
                    <a:gd name="connsiteX145" fmla="*/ 874594 w 1073613"/>
                    <a:gd name="connsiteY145" fmla="*/ 733564 h 739750"/>
                    <a:gd name="connsiteX146" fmla="*/ 876854 w 1073613"/>
                    <a:gd name="connsiteY146" fmla="*/ 715323 h 739750"/>
                    <a:gd name="connsiteX147" fmla="*/ 898326 w 1073613"/>
                    <a:gd name="connsiteY147" fmla="*/ 684922 h 739750"/>
                    <a:gd name="connsiteX148" fmla="*/ 941270 w 1073613"/>
                    <a:gd name="connsiteY148" fmla="*/ 685936 h 739750"/>
                    <a:gd name="connsiteX149" fmla="*/ 932230 w 1073613"/>
                    <a:gd name="connsiteY149" fmla="*/ 666682 h 739750"/>
                    <a:gd name="connsiteX150" fmla="*/ 914148 w 1073613"/>
                    <a:gd name="connsiteY150" fmla="*/ 646415 h 739750"/>
                    <a:gd name="connsiteX151" fmla="*/ 913018 w 1073613"/>
                    <a:gd name="connsiteY151" fmla="*/ 635268 h 739750"/>
                    <a:gd name="connsiteX152" fmla="*/ 925449 w 1073613"/>
                    <a:gd name="connsiteY152" fmla="*/ 635268 h 739750"/>
                    <a:gd name="connsiteX153" fmla="*/ 929969 w 1073613"/>
                    <a:gd name="connsiteY153" fmla="*/ 619054 h 739750"/>
                    <a:gd name="connsiteX154" fmla="*/ 990996 w 1073613"/>
                    <a:gd name="connsiteY154" fmla="*/ 619054 h 739750"/>
                    <a:gd name="connsiteX155" fmla="*/ 1003427 w 1073613"/>
                    <a:gd name="connsiteY155" fmla="*/ 610947 h 739750"/>
                    <a:gd name="connsiteX156" fmla="*/ 1019249 w 1073613"/>
                    <a:gd name="connsiteY156" fmla="*/ 606894 h 739750"/>
                    <a:gd name="connsiteX157" fmla="*/ 1031680 w 1073613"/>
                    <a:gd name="connsiteY157" fmla="*/ 590680 h 739750"/>
                    <a:gd name="connsiteX158" fmla="*/ 1029420 w 1073613"/>
                    <a:gd name="connsiteY158" fmla="*/ 604867 h 739750"/>
                    <a:gd name="connsiteX159" fmla="*/ 1045242 w 1073613"/>
                    <a:gd name="connsiteY159" fmla="*/ 611961 h 739750"/>
                    <a:gd name="connsiteX160" fmla="*/ 1053152 w 1073613"/>
                    <a:gd name="connsiteY160" fmla="*/ 551159 h 739750"/>
                    <a:gd name="connsiteX161" fmla="*/ 1058803 w 1073613"/>
                    <a:gd name="connsiteY161" fmla="*/ 551159 h 739750"/>
                    <a:gd name="connsiteX162" fmla="*/ 1053152 w 1073613"/>
                    <a:gd name="connsiteY162" fmla="*/ 533932 h 739750"/>
                    <a:gd name="connsiteX163" fmla="*/ 1064453 w 1073613"/>
                    <a:gd name="connsiteY163" fmla="*/ 471104 h 739750"/>
                    <a:gd name="connsiteX164" fmla="*/ 1056543 w 1073613"/>
                    <a:gd name="connsiteY164" fmla="*/ 471104 h 739750"/>
                    <a:gd name="connsiteX165" fmla="*/ 1050892 w 1073613"/>
                    <a:gd name="connsiteY165" fmla="*/ 466037 h 739750"/>
                    <a:gd name="connsiteX166" fmla="*/ 1018119 w 1073613"/>
                    <a:gd name="connsiteY166" fmla="*/ 471104 h 739750"/>
                    <a:gd name="connsiteX167" fmla="*/ 1010208 w 1073613"/>
                    <a:gd name="connsiteY167" fmla="*/ 481238 h 739750"/>
                    <a:gd name="connsiteX168" fmla="*/ 994386 w 1073613"/>
                    <a:gd name="connsiteY168" fmla="*/ 483264 h 739750"/>
                    <a:gd name="connsiteX169" fmla="*/ 986475 w 1073613"/>
                    <a:gd name="connsiteY169" fmla="*/ 490358 h 739750"/>
                    <a:gd name="connsiteX170" fmla="*/ 961613 w 1073613"/>
                    <a:gd name="connsiteY170" fmla="*/ 500491 h 739750"/>
                    <a:gd name="connsiteX171" fmla="*/ 950312 w 1073613"/>
                    <a:gd name="connsiteY171" fmla="*/ 544066 h 739750"/>
                    <a:gd name="connsiteX172" fmla="*/ 939010 w 1073613"/>
                    <a:gd name="connsiteY172" fmla="*/ 554199 h 739750"/>
                    <a:gd name="connsiteX173" fmla="*/ 939010 w 1073613"/>
                    <a:gd name="connsiteY173" fmla="*/ 573453 h 739750"/>
                    <a:gd name="connsiteX174" fmla="*/ 936750 w 1073613"/>
                    <a:gd name="connsiteY174" fmla="*/ 573453 h 739750"/>
                    <a:gd name="connsiteX175" fmla="*/ 915278 w 1073613"/>
                    <a:gd name="connsiteY175" fmla="*/ 597774 h 739750"/>
                    <a:gd name="connsiteX176" fmla="*/ 901716 w 1073613"/>
                    <a:gd name="connsiteY176" fmla="*/ 599800 h 739750"/>
                    <a:gd name="connsiteX177" fmla="*/ 896066 w 1073613"/>
                    <a:gd name="connsiteY177" fmla="*/ 589667 h 739750"/>
                    <a:gd name="connsiteX178" fmla="*/ 861032 w 1073613"/>
                    <a:gd name="connsiteY178" fmla="*/ 601827 h 739750"/>
                    <a:gd name="connsiteX179" fmla="*/ 858772 w 1073613"/>
                    <a:gd name="connsiteY179" fmla="*/ 608920 h 739750"/>
                    <a:gd name="connsiteX180" fmla="*/ 837300 w 1073613"/>
                    <a:gd name="connsiteY180" fmla="*/ 608920 h 739750"/>
                    <a:gd name="connsiteX181" fmla="*/ 837300 w 1073613"/>
                    <a:gd name="connsiteY181" fmla="*/ 613987 h 739750"/>
                    <a:gd name="connsiteX182" fmla="*/ 804526 w 1073613"/>
                    <a:gd name="connsiteY182" fmla="*/ 613987 h 739750"/>
                    <a:gd name="connsiteX183" fmla="*/ 758191 w 1073613"/>
                    <a:gd name="connsiteY183" fmla="*/ 591694 h 739750"/>
                    <a:gd name="connsiteX184" fmla="*/ 758191 w 1073613"/>
                    <a:gd name="connsiteY184" fmla="*/ 581560 h 739750"/>
                    <a:gd name="connsiteX185" fmla="*/ 742369 w 1073613"/>
                    <a:gd name="connsiteY185" fmla="*/ 557240 h 739750"/>
                    <a:gd name="connsiteX186" fmla="*/ 742369 w 1073613"/>
                    <a:gd name="connsiteY186" fmla="*/ 545079 h 739750"/>
                    <a:gd name="connsiteX187" fmla="*/ 734459 w 1073613"/>
                    <a:gd name="connsiteY187" fmla="*/ 545079 h 739750"/>
                    <a:gd name="connsiteX188" fmla="*/ 723158 w 1073613"/>
                    <a:gd name="connsiteY188" fmla="*/ 527852 h 739750"/>
                    <a:gd name="connsiteX189" fmla="*/ 711856 w 1073613"/>
                    <a:gd name="connsiteY189" fmla="*/ 522785 h 739750"/>
                    <a:gd name="connsiteX190" fmla="*/ 706206 w 1073613"/>
                    <a:gd name="connsiteY190" fmla="*/ 500491 h 739750"/>
                    <a:gd name="connsiteX191" fmla="*/ 694905 w 1073613"/>
                    <a:gd name="connsiteY191" fmla="*/ 490358 h 739750"/>
                    <a:gd name="connsiteX192" fmla="*/ 692644 w 1073613"/>
                    <a:gd name="connsiteY192" fmla="*/ 478198 h 739750"/>
                    <a:gd name="connsiteX193" fmla="*/ 684734 w 1073613"/>
                    <a:gd name="connsiteY193" fmla="*/ 483264 h 739750"/>
                    <a:gd name="connsiteX194" fmla="*/ 686994 w 1073613"/>
                    <a:gd name="connsiteY194" fmla="*/ 444757 h 739750"/>
                    <a:gd name="connsiteX195" fmla="*/ 694905 w 1073613"/>
                    <a:gd name="connsiteY195" fmla="*/ 422463 h 739750"/>
                    <a:gd name="connsiteX196" fmla="*/ 689254 w 1073613"/>
                    <a:gd name="connsiteY196" fmla="*/ 412329 h 739750"/>
                    <a:gd name="connsiteX197" fmla="*/ 689254 w 1073613"/>
                    <a:gd name="connsiteY197" fmla="*/ 395102 h 739750"/>
                    <a:gd name="connsiteX198" fmla="*/ 688124 w 1073613"/>
                    <a:gd name="connsiteY198" fmla="*/ 398142 h 739750"/>
                    <a:gd name="connsiteX199" fmla="*/ 690384 w 1073613"/>
                    <a:gd name="connsiteY199" fmla="*/ 371795 h 739750"/>
                    <a:gd name="connsiteX200" fmla="*/ 684734 w 1073613"/>
                    <a:gd name="connsiteY200" fmla="*/ 359635 h 739750"/>
                    <a:gd name="connsiteX201" fmla="*/ 684734 w 1073613"/>
                    <a:gd name="connsiteY201" fmla="*/ 340381 h 739750"/>
                    <a:gd name="connsiteX202" fmla="*/ 696035 w 1073613"/>
                    <a:gd name="connsiteY202" fmla="*/ 330247 h 739750"/>
                    <a:gd name="connsiteX203" fmla="*/ 696035 w 1073613"/>
                    <a:gd name="connsiteY203" fmla="*/ 323154 h 739750"/>
                    <a:gd name="connsiteX204" fmla="*/ 707336 w 1073613"/>
                    <a:gd name="connsiteY204" fmla="*/ 323154 h 739750"/>
                    <a:gd name="connsiteX205" fmla="*/ 715247 w 1073613"/>
                    <a:gd name="connsiteY205" fmla="*/ 308967 h 739750"/>
                    <a:gd name="connsiteX206" fmla="*/ 711856 w 1073613"/>
                    <a:gd name="connsiteY206" fmla="*/ 300860 h 739750"/>
                    <a:gd name="connsiteX207" fmla="*/ 696035 w 1073613"/>
                    <a:gd name="connsiteY207" fmla="*/ 300860 h 739750"/>
                    <a:gd name="connsiteX208" fmla="*/ 686994 w 1073613"/>
                    <a:gd name="connsiteY208" fmla="*/ 291740 h 739750"/>
                    <a:gd name="connsiteX209" fmla="*/ 670042 w 1073613"/>
                    <a:gd name="connsiteY209" fmla="*/ 290727 h 739750"/>
                    <a:gd name="connsiteX210" fmla="*/ 657610 w 1073613"/>
                    <a:gd name="connsiteY210" fmla="*/ 285660 h 739750"/>
                    <a:gd name="connsiteX211" fmla="*/ 646309 w 1073613"/>
                    <a:gd name="connsiteY211" fmla="*/ 279580 h 739750"/>
                    <a:gd name="connsiteX212" fmla="*/ 641789 w 1073613"/>
                    <a:gd name="connsiteY212" fmla="*/ 266406 h 739750"/>
                    <a:gd name="connsiteX213" fmla="*/ 636138 w 1073613"/>
                    <a:gd name="connsiteY213" fmla="*/ 243099 h 739750"/>
                    <a:gd name="connsiteX214" fmla="*/ 629357 w 1073613"/>
                    <a:gd name="connsiteY214" fmla="*/ 232965 h 739750"/>
                    <a:gd name="connsiteX215" fmla="*/ 618056 w 1073613"/>
                    <a:gd name="connsiteY215" fmla="*/ 223845 h 739750"/>
                    <a:gd name="connsiteX216" fmla="*/ 612406 w 1073613"/>
                    <a:gd name="connsiteY216" fmla="*/ 210671 h 739750"/>
                    <a:gd name="connsiteX217" fmla="*/ 602235 w 1073613"/>
                    <a:gd name="connsiteY217" fmla="*/ 194458 h 739750"/>
                    <a:gd name="connsiteX218" fmla="*/ 595454 w 1073613"/>
                    <a:gd name="connsiteY218" fmla="*/ 180271 h 739750"/>
                    <a:gd name="connsiteX219" fmla="*/ 589803 w 1073613"/>
                    <a:gd name="connsiteY219" fmla="*/ 174190 h 739750"/>
                    <a:gd name="connsiteX220" fmla="*/ 586413 w 1073613"/>
                    <a:gd name="connsiteY220" fmla="*/ 161017 h 739750"/>
                    <a:gd name="connsiteX221" fmla="*/ 576242 w 1073613"/>
                    <a:gd name="connsiteY221" fmla="*/ 149870 h 739750"/>
                    <a:gd name="connsiteX222" fmla="*/ 566071 w 1073613"/>
                    <a:gd name="connsiteY222" fmla="*/ 143790 h 739750"/>
                    <a:gd name="connsiteX223" fmla="*/ 554770 w 1073613"/>
                    <a:gd name="connsiteY223" fmla="*/ 136696 h 739750"/>
                    <a:gd name="connsiteX224" fmla="*/ 541208 w 1073613"/>
                    <a:gd name="connsiteY224" fmla="*/ 135683 h 739750"/>
                    <a:gd name="connsiteX225" fmla="*/ 527647 w 1073613"/>
                    <a:gd name="connsiteY225" fmla="*/ 141763 h 739750"/>
                    <a:gd name="connsiteX226" fmla="*/ 517476 w 1073613"/>
                    <a:gd name="connsiteY226" fmla="*/ 155950 h 739750"/>
                    <a:gd name="connsiteX227" fmla="*/ 506174 w 1073613"/>
                    <a:gd name="connsiteY227" fmla="*/ 163043 h 739750"/>
                    <a:gd name="connsiteX228" fmla="*/ 494873 w 1073613"/>
                    <a:gd name="connsiteY228" fmla="*/ 163043 h 739750"/>
                    <a:gd name="connsiteX229" fmla="*/ 482442 w 1073613"/>
                    <a:gd name="connsiteY229" fmla="*/ 163043 h 739750"/>
                    <a:gd name="connsiteX230" fmla="*/ 472271 w 1073613"/>
                    <a:gd name="connsiteY230" fmla="*/ 156964 h 739750"/>
                    <a:gd name="connsiteX231" fmla="*/ 462100 w 1073613"/>
                    <a:gd name="connsiteY231" fmla="*/ 143790 h 739750"/>
                    <a:gd name="connsiteX232" fmla="*/ 455319 w 1073613"/>
                    <a:gd name="connsiteY232" fmla="*/ 130616 h 739750"/>
                    <a:gd name="connsiteX233" fmla="*/ 450799 w 1073613"/>
                    <a:gd name="connsiteY233" fmla="*/ 120483 h 739750"/>
                    <a:gd name="connsiteX234" fmla="*/ 444018 w 1073613"/>
                    <a:gd name="connsiteY234" fmla="*/ 106296 h 739750"/>
                    <a:gd name="connsiteX235" fmla="*/ 431586 w 1073613"/>
                    <a:gd name="connsiteY235" fmla="*/ 93122 h 739750"/>
                    <a:gd name="connsiteX236" fmla="*/ 420285 w 1073613"/>
                    <a:gd name="connsiteY236" fmla="*/ 85015 h 739750"/>
                    <a:gd name="connsiteX237" fmla="*/ 415765 w 1073613"/>
                    <a:gd name="connsiteY237" fmla="*/ 75895 h 739750"/>
                    <a:gd name="connsiteX238" fmla="*/ 403333 w 1073613"/>
                    <a:gd name="connsiteY238" fmla="*/ 66775 h 739750"/>
                    <a:gd name="connsiteX239" fmla="*/ 388642 w 1073613"/>
                    <a:gd name="connsiteY239" fmla="*/ 50561 h 739750"/>
                    <a:gd name="connsiteX240" fmla="*/ 316314 w 1073613"/>
                    <a:gd name="connsiteY240" fmla="*/ 49548 h 739750"/>
                    <a:gd name="connsiteX241" fmla="*/ 315184 w 1073613"/>
                    <a:gd name="connsiteY241" fmla="*/ 69815 h 739750"/>
                    <a:gd name="connsiteX242" fmla="*/ 201042 w 1073613"/>
                    <a:gd name="connsiteY242" fmla="*/ 64748 h 739750"/>
                    <a:gd name="connsiteX243" fmla="*/ 107242 w 1073613"/>
                    <a:gd name="connsiteY243" fmla="*/ 20160 h 739750"/>
                    <a:gd name="connsiteX244" fmla="*/ 107242 w 1073613"/>
                    <a:gd name="connsiteY244" fmla="*/ 9013 h 739750"/>
                    <a:gd name="connsiteX245" fmla="*/ 10052 w 1073613"/>
                    <a:gd name="connsiteY245" fmla="*/ 18134 h 7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073613" h="739750">
                      <a:moveTo>
                        <a:pt x="10052" y="18134"/>
                      </a:moveTo>
                      <a:cubicBezTo>
                        <a:pt x="10052" y="23200"/>
                        <a:pt x="10052" y="28267"/>
                        <a:pt x="14572" y="35361"/>
                      </a:cubicBezTo>
                      <a:cubicBezTo>
                        <a:pt x="16833" y="38401"/>
                        <a:pt x="23613" y="39414"/>
                        <a:pt x="25874" y="42454"/>
                      </a:cubicBezTo>
                      <a:cubicBezTo>
                        <a:pt x="27004" y="44481"/>
                        <a:pt x="24744" y="49548"/>
                        <a:pt x="25874" y="52588"/>
                      </a:cubicBezTo>
                      <a:cubicBezTo>
                        <a:pt x="27004" y="56641"/>
                        <a:pt x="37175" y="59681"/>
                        <a:pt x="39435" y="64748"/>
                      </a:cubicBezTo>
                      <a:cubicBezTo>
                        <a:pt x="41695" y="71841"/>
                        <a:pt x="36045" y="81975"/>
                        <a:pt x="45086" y="94135"/>
                      </a:cubicBezTo>
                      <a:cubicBezTo>
                        <a:pt x="45086" y="95149"/>
                        <a:pt x="51866" y="96162"/>
                        <a:pt x="52997" y="96162"/>
                      </a:cubicBezTo>
                      <a:cubicBezTo>
                        <a:pt x="55257" y="98189"/>
                        <a:pt x="52997" y="103255"/>
                        <a:pt x="55257" y="106296"/>
                      </a:cubicBezTo>
                      <a:cubicBezTo>
                        <a:pt x="56387" y="108322"/>
                        <a:pt x="64298" y="109336"/>
                        <a:pt x="66558" y="111363"/>
                      </a:cubicBezTo>
                      <a:cubicBezTo>
                        <a:pt x="68818" y="113389"/>
                        <a:pt x="66558" y="117442"/>
                        <a:pt x="68818" y="118456"/>
                      </a:cubicBezTo>
                      <a:cubicBezTo>
                        <a:pt x="72209" y="120483"/>
                        <a:pt x="77859" y="117442"/>
                        <a:pt x="82380" y="118456"/>
                      </a:cubicBezTo>
                      <a:cubicBezTo>
                        <a:pt x="84640" y="119469"/>
                        <a:pt x="85770" y="126563"/>
                        <a:pt x="88030" y="128589"/>
                      </a:cubicBezTo>
                      <a:cubicBezTo>
                        <a:pt x="91421" y="131630"/>
                        <a:pt x="95941" y="130616"/>
                        <a:pt x="99331" y="133656"/>
                      </a:cubicBezTo>
                      <a:cubicBezTo>
                        <a:pt x="109503" y="145817"/>
                        <a:pt x="101592" y="149870"/>
                        <a:pt x="104982" y="163043"/>
                      </a:cubicBezTo>
                      <a:cubicBezTo>
                        <a:pt x="104982" y="164057"/>
                        <a:pt x="112893" y="171151"/>
                        <a:pt x="112893" y="173177"/>
                      </a:cubicBezTo>
                      <a:cubicBezTo>
                        <a:pt x="115153" y="186351"/>
                        <a:pt x="110633" y="198511"/>
                        <a:pt x="107242" y="209658"/>
                      </a:cubicBezTo>
                      <a:cubicBezTo>
                        <a:pt x="100462" y="209658"/>
                        <a:pt x="92551" y="208645"/>
                        <a:pt x="80119" y="209658"/>
                      </a:cubicBezTo>
                      <a:lnTo>
                        <a:pt x="80119" y="214725"/>
                      </a:lnTo>
                      <a:cubicBezTo>
                        <a:pt x="86900" y="217765"/>
                        <a:pt x="95941" y="221818"/>
                        <a:pt x="101592" y="226885"/>
                      </a:cubicBezTo>
                      <a:cubicBezTo>
                        <a:pt x="104982" y="229925"/>
                        <a:pt x="107242" y="240059"/>
                        <a:pt x="112893" y="241072"/>
                      </a:cubicBezTo>
                      <a:cubicBezTo>
                        <a:pt x="115153" y="242085"/>
                        <a:pt x="119674" y="240059"/>
                        <a:pt x="120804" y="241072"/>
                      </a:cubicBezTo>
                      <a:cubicBezTo>
                        <a:pt x="123064" y="243099"/>
                        <a:pt x="119674" y="249179"/>
                        <a:pt x="123064" y="251206"/>
                      </a:cubicBezTo>
                      <a:cubicBezTo>
                        <a:pt x="126454" y="253232"/>
                        <a:pt x="132105" y="250192"/>
                        <a:pt x="136625" y="251206"/>
                      </a:cubicBezTo>
                      <a:cubicBezTo>
                        <a:pt x="141146" y="252219"/>
                        <a:pt x="175050" y="278566"/>
                        <a:pt x="177310" y="282620"/>
                      </a:cubicBezTo>
                      <a:cubicBezTo>
                        <a:pt x="179570" y="287687"/>
                        <a:pt x="173919" y="286673"/>
                        <a:pt x="175050" y="292753"/>
                      </a:cubicBezTo>
                      <a:cubicBezTo>
                        <a:pt x="175050" y="293767"/>
                        <a:pt x="182960" y="304913"/>
                        <a:pt x="182960" y="306940"/>
                      </a:cubicBezTo>
                      <a:cubicBezTo>
                        <a:pt x="184090" y="316060"/>
                        <a:pt x="179570" y="327207"/>
                        <a:pt x="182960" y="336328"/>
                      </a:cubicBezTo>
                      <a:cubicBezTo>
                        <a:pt x="185221" y="341394"/>
                        <a:pt x="194262" y="340381"/>
                        <a:pt x="198782" y="343421"/>
                      </a:cubicBezTo>
                      <a:cubicBezTo>
                        <a:pt x="201042" y="345448"/>
                        <a:pt x="199912" y="350514"/>
                        <a:pt x="201042" y="353555"/>
                      </a:cubicBezTo>
                      <a:cubicBezTo>
                        <a:pt x="203303" y="356595"/>
                        <a:pt x="211213" y="357608"/>
                        <a:pt x="214604" y="360648"/>
                      </a:cubicBezTo>
                      <a:cubicBezTo>
                        <a:pt x="219124" y="365715"/>
                        <a:pt x="246247" y="395102"/>
                        <a:pt x="247377" y="399156"/>
                      </a:cubicBezTo>
                      <a:cubicBezTo>
                        <a:pt x="248507" y="403209"/>
                        <a:pt x="246247" y="407263"/>
                        <a:pt x="247377" y="411316"/>
                      </a:cubicBezTo>
                      <a:lnTo>
                        <a:pt x="258678" y="413343"/>
                      </a:lnTo>
                      <a:cubicBezTo>
                        <a:pt x="260939" y="411316"/>
                        <a:pt x="257548" y="408276"/>
                        <a:pt x="258678" y="406249"/>
                      </a:cubicBezTo>
                      <a:cubicBezTo>
                        <a:pt x="259808" y="406249"/>
                        <a:pt x="260939" y="406249"/>
                        <a:pt x="260939" y="406249"/>
                      </a:cubicBezTo>
                      <a:cubicBezTo>
                        <a:pt x="265459" y="406249"/>
                        <a:pt x="266589" y="401182"/>
                        <a:pt x="268849" y="399156"/>
                      </a:cubicBezTo>
                      <a:cubicBezTo>
                        <a:pt x="266589" y="394089"/>
                        <a:pt x="269980" y="390036"/>
                        <a:pt x="266589" y="384969"/>
                      </a:cubicBezTo>
                      <a:cubicBezTo>
                        <a:pt x="265459" y="383955"/>
                        <a:pt x="249637" y="374835"/>
                        <a:pt x="247377" y="372808"/>
                      </a:cubicBezTo>
                      <a:cubicBezTo>
                        <a:pt x="246247" y="370782"/>
                        <a:pt x="247377" y="364702"/>
                        <a:pt x="247377" y="362675"/>
                      </a:cubicBezTo>
                      <a:cubicBezTo>
                        <a:pt x="245117" y="361661"/>
                        <a:pt x="242857" y="357608"/>
                        <a:pt x="241727" y="357608"/>
                      </a:cubicBezTo>
                      <a:cubicBezTo>
                        <a:pt x="238336" y="356595"/>
                        <a:pt x="233816" y="358622"/>
                        <a:pt x="230425" y="357608"/>
                      </a:cubicBezTo>
                      <a:cubicBezTo>
                        <a:pt x="227035" y="356595"/>
                        <a:pt x="228165" y="351528"/>
                        <a:pt x="224775" y="350514"/>
                      </a:cubicBezTo>
                      <a:cubicBezTo>
                        <a:pt x="225905" y="345448"/>
                        <a:pt x="232686" y="343421"/>
                        <a:pt x="230425" y="336328"/>
                      </a:cubicBezTo>
                      <a:cubicBezTo>
                        <a:pt x="229295" y="334301"/>
                        <a:pt x="220254" y="331261"/>
                        <a:pt x="219124" y="329234"/>
                      </a:cubicBezTo>
                      <a:cubicBezTo>
                        <a:pt x="216864" y="321127"/>
                        <a:pt x="223645" y="320114"/>
                        <a:pt x="221384" y="312007"/>
                      </a:cubicBezTo>
                      <a:cubicBezTo>
                        <a:pt x="221384" y="309980"/>
                        <a:pt x="205563" y="294780"/>
                        <a:pt x="205563" y="292753"/>
                      </a:cubicBezTo>
                      <a:cubicBezTo>
                        <a:pt x="204433" y="288700"/>
                        <a:pt x="206693" y="284646"/>
                        <a:pt x="205563" y="280593"/>
                      </a:cubicBezTo>
                      <a:cubicBezTo>
                        <a:pt x="202172" y="267419"/>
                        <a:pt x="190871" y="253232"/>
                        <a:pt x="178440" y="246139"/>
                      </a:cubicBezTo>
                      <a:cubicBezTo>
                        <a:pt x="179570" y="240059"/>
                        <a:pt x="182960" y="233978"/>
                        <a:pt x="180700" y="228912"/>
                      </a:cubicBezTo>
                      <a:cubicBezTo>
                        <a:pt x="179570" y="226885"/>
                        <a:pt x="170529" y="225872"/>
                        <a:pt x="169399" y="223845"/>
                      </a:cubicBezTo>
                      <a:cubicBezTo>
                        <a:pt x="168269" y="221818"/>
                        <a:pt x="170529" y="216752"/>
                        <a:pt x="169399" y="213711"/>
                      </a:cubicBezTo>
                      <a:cubicBezTo>
                        <a:pt x="168269" y="210671"/>
                        <a:pt x="158098" y="208645"/>
                        <a:pt x="155837" y="203578"/>
                      </a:cubicBezTo>
                      <a:cubicBezTo>
                        <a:pt x="152447" y="195471"/>
                        <a:pt x="156968" y="186351"/>
                        <a:pt x="153577" y="177231"/>
                      </a:cubicBezTo>
                      <a:lnTo>
                        <a:pt x="145666" y="175204"/>
                      </a:lnTo>
                      <a:cubicBezTo>
                        <a:pt x="145666" y="175204"/>
                        <a:pt x="145666" y="168110"/>
                        <a:pt x="145666" y="168110"/>
                      </a:cubicBezTo>
                      <a:cubicBezTo>
                        <a:pt x="144536" y="168110"/>
                        <a:pt x="143406" y="168110"/>
                        <a:pt x="143406" y="168110"/>
                      </a:cubicBezTo>
                      <a:cubicBezTo>
                        <a:pt x="143406" y="167097"/>
                        <a:pt x="143406" y="166084"/>
                        <a:pt x="143406" y="166084"/>
                      </a:cubicBezTo>
                      <a:cubicBezTo>
                        <a:pt x="140016" y="164057"/>
                        <a:pt x="134365" y="167097"/>
                        <a:pt x="132105" y="164057"/>
                      </a:cubicBezTo>
                      <a:cubicBezTo>
                        <a:pt x="130975" y="162030"/>
                        <a:pt x="130975" y="148857"/>
                        <a:pt x="134365" y="151897"/>
                      </a:cubicBezTo>
                      <a:lnTo>
                        <a:pt x="134365" y="144803"/>
                      </a:lnTo>
                      <a:lnTo>
                        <a:pt x="123064" y="127576"/>
                      </a:lnTo>
                      <a:cubicBezTo>
                        <a:pt x="119674" y="124536"/>
                        <a:pt x="112893" y="127576"/>
                        <a:pt x="109503" y="125549"/>
                      </a:cubicBezTo>
                      <a:cubicBezTo>
                        <a:pt x="108372" y="124536"/>
                        <a:pt x="110633" y="119469"/>
                        <a:pt x="109503" y="118456"/>
                      </a:cubicBezTo>
                      <a:cubicBezTo>
                        <a:pt x="108372" y="115416"/>
                        <a:pt x="100462" y="110349"/>
                        <a:pt x="98201" y="106296"/>
                      </a:cubicBezTo>
                      <a:cubicBezTo>
                        <a:pt x="93681" y="96162"/>
                        <a:pt x="95941" y="91095"/>
                        <a:pt x="90291" y="81975"/>
                      </a:cubicBezTo>
                      <a:cubicBezTo>
                        <a:pt x="88030" y="78935"/>
                        <a:pt x="77859" y="72855"/>
                        <a:pt x="76729" y="69815"/>
                      </a:cubicBezTo>
                      <a:cubicBezTo>
                        <a:pt x="74469" y="59681"/>
                        <a:pt x="80119" y="54614"/>
                        <a:pt x="82380" y="47521"/>
                      </a:cubicBezTo>
                      <a:cubicBezTo>
                        <a:pt x="80119" y="46507"/>
                        <a:pt x="78989" y="49548"/>
                        <a:pt x="80119" y="45494"/>
                      </a:cubicBezTo>
                      <a:cubicBezTo>
                        <a:pt x="85770" y="46507"/>
                        <a:pt x="91421" y="44481"/>
                        <a:pt x="95941" y="45494"/>
                      </a:cubicBezTo>
                      <a:cubicBezTo>
                        <a:pt x="97071" y="45494"/>
                        <a:pt x="99331" y="51574"/>
                        <a:pt x="101592" y="52588"/>
                      </a:cubicBezTo>
                      <a:cubicBezTo>
                        <a:pt x="106112" y="55628"/>
                        <a:pt x="110633" y="54614"/>
                        <a:pt x="115153" y="57654"/>
                      </a:cubicBezTo>
                      <a:cubicBezTo>
                        <a:pt x="116283" y="57654"/>
                        <a:pt x="116283" y="50561"/>
                        <a:pt x="117413" y="50561"/>
                      </a:cubicBezTo>
                      <a:cubicBezTo>
                        <a:pt x="121934" y="47521"/>
                        <a:pt x="127584" y="50561"/>
                        <a:pt x="133235" y="48534"/>
                      </a:cubicBezTo>
                      <a:cubicBezTo>
                        <a:pt x="141146" y="65761"/>
                        <a:pt x="129845" y="55628"/>
                        <a:pt x="146797" y="67788"/>
                      </a:cubicBezTo>
                      <a:cubicBezTo>
                        <a:pt x="143406" y="87042"/>
                        <a:pt x="147927" y="92109"/>
                        <a:pt x="154707" y="106296"/>
                      </a:cubicBezTo>
                      <a:lnTo>
                        <a:pt x="160358" y="106296"/>
                      </a:lnTo>
                      <a:cubicBezTo>
                        <a:pt x="166009" y="116429"/>
                        <a:pt x="162618" y="124536"/>
                        <a:pt x="168269" y="132643"/>
                      </a:cubicBezTo>
                      <a:cubicBezTo>
                        <a:pt x="172789" y="140750"/>
                        <a:pt x="181830" y="147843"/>
                        <a:pt x="187481" y="156964"/>
                      </a:cubicBezTo>
                      <a:cubicBezTo>
                        <a:pt x="187481" y="156964"/>
                        <a:pt x="195392" y="156964"/>
                        <a:pt x="195392" y="156964"/>
                      </a:cubicBezTo>
                      <a:cubicBezTo>
                        <a:pt x="197652" y="161017"/>
                        <a:pt x="194262" y="168110"/>
                        <a:pt x="195392" y="171151"/>
                      </a:cubicBezTo>
                      <a:lnTo>
                        <a:pt x="195392" y="176217"/>
                      </a:lnTo>
                      <a:cubicBezTo>
                        <a:pt x="198782" y="177231"/>
                        <a:pt x="211213" y="178244"/>
                        <a:pt x="214604" y="181284"/>
                      </a:cubicBezTo>
                      <a:cubicBezTo>
                        <a:pt x="217994" y="183311"/>
                        <a:pt x="219124" y="204591"/>
                        <a:pt x="228165" y="207631"/>
                      </a:cubicBezTo>
                      <a:cubicBezTo>
                        <a:pt x="231556" y="208645"/>
                        <a:pt x="239466" y="205605"/>
                        <a:pt x="241727" y="207631"/>
                      </a:cubicBezTo>
                      <a:cubicBezTo>
                        <a:pt x="248507" y="212698"/>
                        <a:pt x="239466" y="222832"/>
                        <a:pt x="241727" y="226885"/>
                      </a:cubicBezTo>
                      <a:cubicBezTo>
                        <a:pt x="243987" y="232965"/>
                        <a:pt x="257548" y="231952"/>
                        <a:pt x="260939" y="237019"/>
                      </a:cubicBezTo>
                      <a:cubicBezTo>
                        <a:pt x="262069" y="239045"/>
                        <a:pt x="262069" y="250192"/>
                        <a:pt x="263199" y="251206"/>
                      </a:cubicBezTo>
                      <a:cubicBezTo>
                        <a:pt x="266589" y="253232"/>
                        <a:pt x="275630" y="250192"/>
                        <a:pt x="279021" y="251206"/>
                      </a:cubicBezTo>
                      <a:cubicBezTo>
                        <a:pt x="282411" y="252219"/>
                        <a:pt x="282411" y="258299"/>
                        <a:pt x="284671" y="261339"/>
                      </a:cubicBezTo>
                      <a:lnTo>
                        <a:pt x="290322" y="261339"/>
                      </a:lnTo>
                      <a:cubicBezTo>
                        <a:pt x="286931" y="265393"/>
                        <a:pt x="290322" y="267419"/>
                        <a:pt x="288061" y="271473"/>
                      </a:cubicBezTo>
                      <a:cubicBezTo>
                        <a:pt x="286931" y="273500"/>
                        <a:pt x="277890" y="274513"/>
                        <a:pt x="276760" y="276540"/>
                      </a:cubicBezTo>
                      <a:cubicBezTo>
                        <a:pt x="274500" y="280593"/>
                        <a:pt x="277890" y="286673"/>
                        <a:pt x="276760" y="290727"/>
                      </a:cubicBezTo>
                      <a:cubicBezTo>
                        <a:pt x="280151" y="291740"/>
                        <a:pt x="285801" y="290727"/>
                        <a:pt x="290322" y="292753"/>
                      </a:cubicBezTo>
                      <a:cubicBezTo>
                        <a:pt x="292582" y="293767"/>
                        <a:pt x="291452" y="299847"/>
                        <a:pt x="292582" y="302887"/>
                      </a:cubicBezTo>
                      <a:cubicBezTo>
                        <a:pt x="295972" y="305927"/>
                        <a:pt x="305013" y="306940"/>
                        <a:pt x="308404" y="309980"/>
                      </a:cubicBezTo>
                      <a:cubicBezTo>
                        <a:pt x="309534" y="309980"/>
                        <a:pt x="329876" y="333288"/>
                        <a:pt x="329876" y="334301"/>
                      </a:cubicBezTo>
                      <a:cubicBezTo>
                        <a:pt x="332136" y="338354"/>
                        <a:pt x="329876" y="342408"/>
                        <a:pt x="332136" y="346461"/>
                      </a:cubicBezTo>
                      <a:cubicBezTo>
                        <a:pt x="335526" y="350514"/>
                        <a:pt x="341177" y="350514"/>
                        <a:pt x="345697" y="353555"/>
                      </a:cubicBezTo>
                      <a:cubicBezTo>
                        <a:pt x="346828" y="354568"/>
                        <a:pt x="355869" y="362675"/>
                        <a:pt x="356999" y="363688"/>
                      </a:cubicBezTo>
                      <a:cubicBezTo>
                        <a:pt x="358129" y="365715"/>
                        <a:pt x="355869" y="370782"/>
                        <a:pt x="356999" y="373822"/>
                      </a:cubicBezTo>
                      <a:cubicBezTo>
                        <a:pt x="359259" y="376862"/>
                        <a:pt x="369430" y="380915"/>
                        <a:pt x="372820" y="385982"/>
                      </a:cubicBezTo>
                      <a:cubicBezTo>
                        <a:pt x="373950" y="388009"/>
                        <a:pt x="371690" y="391049"/>
                        <a:pt x="372820" y="393076"/>
                      </a:cubicBezTo>
                      <a:cubicBezTo>
                        <a:pt x="373950" y="395102"/>
                        <a:pt x="379601" y="396116"/>
                        <a:pt x="380731" y="398142"/>
                      </a:cubicBezTo>
                      <a:cubicBezTo>
                        <a:pt x="384122" y="404223"/>
                        <a:pt x="382991" y="409289"/>
                        <a:pt x="386382" y="415370"/>
                      </a:cubicBezTo>
                      <a:cubicBezTo>
                        <a:pt x="394293" y="427530"/>
                        <a:pt x="401073" y="429557"/>
                        <a:pt x="407854" y="446783"/>
                      </a:cubicBezTo>
                      <a:lnTo>
                        <a:pt x="413505" y="448810"/>
                      </a:lnTo>
                      <a:cubicBezTo>
                        <a:pt x="414635" y="453877"/>
                        <a:pt x="411244" y="459957"/>
                        <a:pt x="413505" y="466037"/>
                      </a:cubicBezTo>
                      <a:cubicBezTo>
                        <a:pt x="415765" y="472117"/>
                        <a:pt x="424806" y="473131"/>
                        <a:pt x="421415" y="490358"/>
                      </a:cubicBezTo>
                      <a:cubicBezTo>
                        <a:pt x="420285" y="494411"/>
                        <a:pt x="413505" y="502518"/>
                        <a:pt x="410114" y="504545"/>
                      </a:cubicBezTo>
                      <a:cubicBezTo>
                        <a:pt x="404464" y="509612"/>
                        <a:pt x="416895" y="511638"/>
                        <a:pt x="415765" y="516705"/>
                      </a:cubicBezTo>
                      <a:cubicBezTo>
                        <a:pt x="414635" y="520759"/>
                        <a:pt x="406724" y="520759"/>
                        <a:pt x="407854" y="530892"/>
                      </a:cubicBezTo>
                      <a:cubicBezTo>
                        <a:pt x="407854" y="531906"/>
                        <a:pt x="414635" y="543052"/>
                        <a:pt x="415765" y="545079"/>
                      </a:cubicBezTo>
                      <a:lnTo>
                        <a:pt x="421415" y="545079"/>
                      </a:lnTo>
                      <a:cubicBezTo>
                        <a:pt x="423676" y="549133"/>
                        <a:pt x="421415" y="552173"/>
                        <a:pt x="423676" y="557240"/>
                      </a:cubicBezTo>
                      <a:cubicBezTo>
                        <a:pt x="425936" y="561293"/>
                        <a:pt x="440628" y="572440"/>
                        <a:pt x="445148" y="574466"/>
                      </a:cubicBezTo>
                      <a:cubicBezTo>
                        <a:pt x="448538" y="576493"/>
                        <a:pt x="455319" y="574466"/>
                        <a:pt x="458710" y="576493"/>
                      </a:cubicBezTo>
                      <a:cubicBezTo>
                        <a:pt x="462100" y="578520"/>
                        <a:pt x="459839" y="582573"/>
                        <a:pt x="460970" y="586627"/>
                      </a:cubicBezTo>
                      <a:cubicBezTo>
                        <a:pt x="464360" y="591694"/>
                        <a:pt x="475661" y="592707"/>
                        <a:pt x="480182" y="596760"/>
                      </a:cubicBezTo>
                      <a:cubicBezTo>
                        <a:pt x="483572" y="599800"/>
                        <a:pt x="488092" y="607907"/>
                        <a:pt x="491483" y="610947"/>
                      </a:cubicBezTo>
                      <a:cubicBezTo>
                        <a:pt x="492613" y="611961"/>
                        <a:pt x="499394" y="623108"/>
                        <a:pt x="499394" y="623108"/>
                      </a:cubicBezTo>
                      <a:cubicBezTo>
                        <a:pt x="512955" y="629188"/>
                        <a:pt x="525387" y="622094"/>
                        <a:pt x="537818" y="628175"/>
                      </a:cubicBezTo>
                      <a:cubicBezTo>
                        <a:pt x="543469" y="630201"/>
                        <a:pt x="546859" y="639321"/>
                        <a:pt x="551379" y="642361"/>
                      </a:cubicBezTo>
                      <a:cubicBezTo>
                        <a:pt x="561550" y="649455"/>
                        <a:pt x="576242" y="650468"/>
                        <a:pt x="586413" y="656548"/>
                      </a:cubicBezTo>
                      <a:cubicBezTo>
                        <a:pt x="588673" y="657562"/>
                        <a:pt x="589803" y="662629"/>
                        <a:pt x="592064" y="663642"/>
                      </a:cubicBezTo>
                      <a:cubicBezTo>
                        <a:pt x="604495" y="668709"/>
                        <a:pt x="614666" y="667695"/>
                        <a:pt x="630488" y="670735"/>
                      </a:cubicBezTo>
                      <a:lnTo>
                        <a:pt x="636138" y="675802"/>
                      </a:lnTo>
                      <a:cubicBezTo>
                        <a:pt x="644049" y="676816"/>
                        <a:pt x="644049" y="671749"/>
                        <a:pt x="649700" y="673776"/>
                      </a:cubicBezTo>
                      <a:cubicBezTo>
                        <a:pt x="651960" y="673776"/>
                        <a:pt x="650830" y="680869"/>
                        <a:pt x="651960" y="680869"/>
                      </a:cubicBezTo>
                      <a:cubicBezTo>
                        <a:pt x="654220" y="681882"/>
                        <a:pt x="659871" y="679855"/>
                        <a:pt x="663261" y="680869"/>
                      </a:cubicBezTo>
                      <a:cubicBezTo>
                        <a:pt x="665521" y="681882"/>
                        <a:pt x="670042" y="688976"/>
                        <a:pt x="674562" y="691002"/>
                      </a:cubicBezTo>
                      <a:lnTo>
                        <a:pt x="674562" y="696069"/>
                      </a:lnTo>
                      <a:cubicBezTo>
                        <a:pt x="679083" y="698096"/>
                        <a:pt x="684734" y="694043"/>
                        <a:pt x="685863" y="694043"/>
                      </a:cubicBezTo>
                      <a:cubicBezTo>
                        <a:pt x="694905" y="693029"/>
                        <a:pt x="693774" y="698096"/>
                        <a:pt x="697165" y="699109"/>
                      </a:cubicBezTo>
                      <a:cubicBezTo>
                        <a:pt x="706206" y="701136"/>
                        <a:pt x="712987" y="696069"/>
                        <a:pt x="718637" y="697083"/>
                      </a:cubicBezTo>
                      <a:cubicBezTo>
                        <a:pt x="720897" y="697083"/>
                        <a:pt x="719767" y="702149"/>
                        <a:pt x="720897" y="704176"/>
                      </a:cubicBezTo>
                      <a:cubicBezTo>
                        <a:pt x="725418" y="704176"/>
                        <a:pt x="731068" y="706203"/>
                        <a:pt x="732198" y="706203"/>
                      </a:cubicBezTo>
                      <a:cubicBezTo>
                        <a:pt x="745760" y="709243"/>
                        <a:pt x="749150" y="698096"/>
                        <a:pt x="757061" y="696069"/>
                      </a:cubicBezTo>
                      <a:cubicBezTo>
                        <a:pt x="764972" y="694043"/>
                        <a:pt x="776273" y="697083"/>
                        <a:pt x="784184" y="696069"/>
                      </a:cubicBezTo>
                      <a:cubicBezTo>
                        <a:pt x="786444" y="696069"/>
                        <a:pt x="794355" y="688976"/>
                        <a:pt x="795485" y="688976"/>
                      </a:cubicBezTo>
                      <a:cubicBezTo>
                        <a:pt x="802266" y="687963"/>
                        <a:pt x="801136" y="693029"/>
                        <a:pt x="803396" y="694043"/>
                      </a:cubicBezTo>
                      <a:cubicBezTo>
                        <a:pt x="814697" y="697083"/>
                        <a:pt x="824868" y="693029"/>
                        <a:pt x="832779" y="696069"/>
                      </a:cubicBezTo>
                      <a:cubicBezTo>
                        <a:pt x="836170" y="698096"/>
                        <a:pt x="839560" y="706203"/>
                        <a:pt x="844080" y="708230"/>
                      </a:cubicBezTo>
                      <a:cubicBezTo>
                        <a:pt x="846341" y="709243"/>
                        <a:pt x="851991" y="707216"/>
                        <a:pt x="855381" y="708230"/>
                      </a:cubicBezTo>
                      <a:cubicBezTo>
                        <a:pt x="864423" y="711270"/>
                        <a:pt x="868943" y="722417"/>
                        <a:pt x="873463" y="731537"/>
                      </a:cubicBezTo>
                      <a:lnTo>
                        <a:pt x="874594" y="733564"/>
                      </a:lnTo>
                      <a:cubicBezTo>
                        <a:pt x="874594" y="733564"/>
                        <a:pt x="882504" y="720390"/>
                        <a:pt x="876854" y="715323"/>
                      </a:cubicBezTo>
                      <a:cubicBezTo>
                        <a:pt x="871203" y="710256"/>
                        <a:pt x="898326" y="684922"/>
                        <a:pt x="898326" y="684922"/>
                      </a:cubicBezTo>
                      <a:lnTo>
                        <a:pt x="941270" y="685936"/>
                      </a:lnTo>
                      <a:cubicBezTo>
                        <a:pt x="941270" y="685936"/>
                        <a:pt x="941270" y="671749"/>
                        <a:pt x="932230" y="666682"/>
                      </a:cubicBezTo>
                      <a:cubicBezTo>
                        <a:pt x="923189" y="661615"/>
                        <a:pt x="914148" y="646415"/>
                        <a:pt x="914148" y="646415"/>
                      </a:cubicBezTo>
                      <a:lnTo>
                        <a:pt x="913018" y="635268"/>
                      </a:lnTo>
                      <a:lnTo>
                        <a:pt x="925449" y="635268"/>
                      </a:lnTo>
                      <a:lnTo>
                        <a:pt x="929969" y="619054"/>
                      </a:lnTo>
                      <a:lnTo>
                        <a:pt x="990996" y="619054"/>
                      </a:lnTo>
                      <a:lnTo>
                        <a:pt x="1003427" y="610947"/>
                      </a:lnTo>
                      <a:cubicBezTo>
                        <a:pt x="1003427" y="610947"/>
                        <a:pt x="1010208" y="601827"/>
                        <a:pt x="1019249" y="606894"/>
                      </a:cubicBezTo>
                      <a:cubicBezTo>
                        <a:pt x="1022639" y="601827"/>
                        <a:pt x="1028290" y="596760"/>
                        <a:pt x="1031680" y="590680"/>
                      </a:cubicBezTo>
                      <a:cubicBezTo>
                        <a:pt x="1030550" y="595747"/>
                        <a:pt x="1032810" y="603854"/>
                        <a:pt x="1029420" y="604867"/>
                      </a:cubicBezTo>
                      <a:cubicBezTo>
                        <a:pt x="1036200" y="607907"/>
                        <a:pt x="1039591" y="608920"/>
                        <a:pt x="1045242" y="611961"/>
                      </a:cubicBezTo>
                      <a:cubicBezTo>
                        <a:pt x="1042981" y="589667"/>
                        <a:pt x="1049762" y="574466"/>
                        <a:pt x="1053152" y="551159"/>
                      </a:cubicBezTo>
                      <a:lnTo>
                        <a:pt x="1058803" y="551159"/>
                      </a:lnTo>
                      <a:cubicBezTo>
                        <a:pt x="1058803" y="547106"/>
                        <a:pt x="1052022" y="543052"/>
                        <a:pt x="1053152" y="533932"/>
                      </a:cubicBezTo>
                      <a:cubicBezTo>
                        <a:pt x="1054282" y="519745"/>
                        <a:pt x="1084796" y="483264"/>
                        <a:pt x="1064453" y="471104"/>
                      </a:cubicBezTo>
                      <a:cubicBezTo>
                        <a:pt x="1062193" y="470091"/>
                        <a:pt x="1057673" y="471104"/>
                        <a:pt x="1056543" y="471104"/>
                      </a:cubicBezTo>
                      <a:lnTo>
                        <a:pt x="1050892" y="466037"/>
                      </a:lnTo>
                      <a:cubicBezTo>
                        <a:pt x="1042981" y="464011"/>
                        <a:pt x="1023769" y="468064"/>
                        <a:pt x="1018119" y="471104"/>
                      </a:cubicBezTo>
                      <a:cubicBezTo>
                        <a:pt x="1014728" y="473131"/>
                        <a:pt x="1013598" y="479211"/>
                        <a:pt x="1010208" y="481238"/>
                      </a:cubicBezTo>
                      <a:cubicBezTo>
                        <a:pt x="1004557" y="484278"/>
                        <a:pt x="1000037" y="481238"/>
                        <a:pt x="994386" y="483264"/>
                      </a:cubicBezTo>
                      <a:cubicBezTo>
                        <a:pt x="992126" y="484278"/>
                        <a:pt x="988736" y="489345"/>
                        <a:pt x="986475" y="490358"/>
                      </a:cubicBezTo>
                      <a:cubicBezTo>
                        <a:pt x="970654" y="495425"/>
                        <a:pt x="968393" y="487318"/>
                        <a:pt x="961613" y="500491"/>
                      </a:cubicBezTo>
                      <a:cubicBezTo>
                        <a:pt x="954832" y="512652"/>
                        <a:pt x="957092" y="530892"/>
                        <a:pt x="950312" y="544066"/>
                      </a:cubicBezTo>
                      <a:cubicBezTo>
                        <a:pt x="949181" y="546093"/>
                        <a:pt x="940140" y="550146"/>
                        <a:pt x="939010" y="554199"/>
                      </a:cubicBezTo>
                      <a:cubicBezTo>
                        <a:pt x="936750" y="560279"/>
                        <a:pt x="941270" y="568386"/>
                        <a:pt x="939010" y="573453"/>
                      </a:cubicBezTo>
                      <a:cubicBezTo>
                        <a:pt x="937880" y="573453"/>
                        <a:pt x="936750" y="573453"/>
                        <a:pt x="936750" y="573453"/>
                      </a:cubicBezTo>
                      <a:cubicBezTo>
                        <a:pt x="925449" y="578520"/>
                        <a:pt x="920928" y="588653"/>
                        <a:pt x="915278" y="597774"/>
                      </a:cubicBezTo>
                      <a:cubicBezTo>
                        <a:pt x="909627" y="596760"/>
                        <a:pt x="903977" y="600814"/>
                        <a:pt x="901716" y="599800"/>
                      </a:cubicBezTo>
                      <a:cubicBezTo>
                        <a:pt x="901716" y="599800"/>
                        <a:pt x="896066" y="590680"/>
                        <a:pt x="896066" y="589667"/>
                      </a:cubicBezTo>
                      <a:cubicBezTo>
                        <a:pt x="877984" y="592707"/>
                        <a:pt x="873463" y="592707"/>
                        <a:pt x="861032" y="601827"/>
                      </a:cubicBezTo>
                      <a:cubicBezTo>
                        <a:pt x="861032" y="601827"/>
                        <a:pt x="858772" y="608920"/>
                        <a:pt x="858772" y="608920"/>
                      </a:cubicBezTo>
                      <a:cubicBezTo>
                        <a:pt x="853121" y="608920"/>
                        <a:pt x="846341" y="607907"/>
                        <a:pt x="837300" y="608920"/>
                      </a:cubicBezTo>
                      <a:lnTo>
                        <a:pt x="837300" y="613987"/>
                      </a:lnTo>
                      <a:cubicBezTo>
                        <a:pt x="828259" y="616014"/>
                        <a:pt x="818088" y="611961"/>
                        <a:pt x="804526" y="613987"/>
                      </a:cubicBezTo>
                      <a:cubicBezTo>
                        <a:pt x="793225" y="591694"/>
                        <a:pt x="788704" y="589667"/>
                        <a:pt x="758191" y="591694"/>
                      </a:cubicBezTo>
                      <a:cubicBezTo>
                        <a:pt x="757061" y="588653"/>
                        <a:pt x="759321" y="584600"/>
                        <a:pt x="758191" y="581560"/>
                      </a:cubicBezTo>
                      <a:cubicBezTo>
                        <a:pt x="755931" y="573453"/>
                        <a:pt x="743500" y="565346"/>
                        <a:pt x="742369" y="557240"/>
                      </a:cubicBezTo>
                      <a:cubicBezTo>
                        <a:pt x="741240" y="554199"/>
                        <a:pt x="744630" y="548119"/>
                        <a:pt x="742369" y="545079"/>
                      </a:cubicBezTo>
                      <a:cubicBezTo>
                        <a:pt x="741240" y="544066"/>
                        <a:pt x="735589" y="545079"/>
                        <a:pt x="734459" y="545079"/>
                      </a:cubicBezTo>
                      <a:cubicBezTo>
                        <a:pt x="729938" y="543052"/>
                        <a:pt x="726548" y="531906"/>
                        <a:pt x="723158" y="527852"/>
                      </a:cubicBezTo>
                      <a:cubicBezTo>
                        <a:pt x="720897" y="525825"/>
                        <a:pt x="714116" y="524812"/>
                        <a:pt x="711856" y="522785"/>
                      </a:cubicBezTo>
                      <a:cubicBezTo>
                        <a:pt x="705076" y="513665"/>
                        <a:pt x="708466" y="505558"/>
                        <a:pt x="706206" y="500491"/>
                      </a:cubicBezTo>
                      <a:cubicBezTo>
                        <a:pt x="705076" y="497451"/>
                        <a:pt x="697165" y="493398"/>
                        <a:pt x="694905" y="490358"/>
                      </a:cubicBezTo>
                      <a:cubicBezTo>
                        <a:pt x="692644" y="486305"/>
                        <a:pt x="692644" y="480224"/>
                        <a:pt x="692644" y="478198"/>
                      </a:cubicBezTo>
                      <a:cubicBezTo>
                        <a:pt x="691514" y="479211"/>
                        <a:pt x="686994" y="483264"/>
                        <a:pt x="684734" y="483264"/>
                      </a:cubicBezTo>
                      <a:cubicBezTo>
                        <a:pt x="690384" y="466037"/>
                        <a:pt x="683603" y="462997"/>
                        <a:pt x="686994" y="444757"/>
                      </a:cubicBezTo>
                      <a:cubicBezTo>
                        <a:pt x="688124" y="439690"/>
                        <a:pt x="696035" y="431583"/>
                        <a:pt x="694905" y="422463"/>
                      </a:cubicBezTo>
                      <a:lnTo>
                        <a:pt x="689254" y="412329"/>
                      </a:lnTo>
                      <a:cubicBezTo>
                        <a:pt x="688124" y="407263"/>
                        <a:pt x="691514" y="400169"/>
                        <a:pt x="689254" y="395102"/>
                      </a:cubicBezTo>
                      <a:lnTo>
                        <a:pt x="688124" y="398142"/>
                      </a:lnTo>
                      <a:cubicBezTo>
                        <a:pt x="686994" y="386995"/>
                        <a:pt x="692644" y="382942"/>
                        <a:pt x="690384" y="371795"/>
                      </a:cubicBezTo>
                      <a:lnTo>
                        <a:pt x="684734" y="359635"/>
                      </a:lnTo>
                      <a:cubicBezTo>
                        <a:pt x="684734" y="355581"/>
                        <a:pt x="690384" y="343421"/>
                        <a:pt x="684734" y="340381"/>
                      </a:cubicBezTo>
                      <a:cubicBezTo>
                        <a:pt x="686994" y="337341"/>
                        <a:pt x="694905" y="334301"/>
                        <a:pt x="696035" y="330247"/>
                      </a:cubicBezTo>
                      <a:cubicBezTo>
                        <a:pt x="696035" y="328221"/>
                        <a:pt x="694905" y="325181"/>
                        <a:pt x="696035" y="323154"/>
                      </a:cubicBezTo>
                      <a:cubicBezTo>
                        <a:pt x="697165" y="323154"/>
                        <a:pt x="706206" y="324167"/>
                        <a:pt x="707336" y="323154"/>
                      </a:cubicBezTo>
                      <a:cubicBezTo>
                        <a:pt x="711856" y="319101"/>
                        <a:pt x="710726" y="312007"/>
                        <a:pt x="715247" y="308967"/>
                      </a:cubicBezTo>
                      <a:cubicBezTo>
                        <a:pt x="719767" y="305927"/>
                        <a:pt x="715247" y="302887"/>
                        <a:pt x="711856" y="300860"/>
                      </a:cubicBezTo>
                      <a:lnTo>
                        <a:pt x="696035" y="300860"/>
                      </a:lnTo>
                      <a:lnTo>
                        <a:pt x="686994" y="291740"/>
                      </a:lnTo>
                      <a:lnTo>
                        <a:pt x="670042" y="290727"/>
                      </a:lnTo>
                      <a:lnTo>
                        <a:pt x="657610" y="285660"/>
                      </a:lnTo>
                      <a:lnTo>
                        <a:pt x="646309" y="279580"/>
                      </a:lnTo>
                      <a:lnTo>
                        <a:pt x="641789" y="266406"/>
                      </a:lnTo>
                      <a:lnTo>
                        <a:pt x="636138" y="243099"/>
                      </a:lnTo>
                      <a:lnTo>
                        <a:pt x="629357" y="232965"/>
                      </a:lnTo>
                      <a:lnTo>
                        <a:pt x="618056" y="223845"/>
                      </a:lnTo>
                      <a:lnTo>
                        <a:pt x="612406" y="210671"/>
                      </a:lnTo>
                      <a:lnTo>
                        <a:pt x="602235" y="194458"/>
                      </a:lnTo>
                      <a:lnTo>
                        <a:pt x="595454" y="180271"/>
                      </a:lnTo>
                      <a:lnTo>
                        <a:pt x="589803" y="174190"/>
                      </a:lnTo>
                      <a:lnTo>
                        <a:pt x="586413" y="161017"/>
                      </a:lnTo>
                      <a:lnTo>
                        <a:pt x="576242" y="149870"/>
                      </a:lnTo>
                      <a:lnTo>
                        <a:pt x="566071" y="143790"/>
                      </a:lnTo>
                      <a:lnTo>
                        <a:pt x="554770" y="136696"/>
                      </a:lnTo>
                      <a:lnTo>
                        <a:pt x="541208" y="135683"/>
                      </a:lnTo>
                      <a:lnTo>
                        <a:pt x="527647" y="141763"/>
                      </a:lnTo>
                      <a:lnTo>
                        <a:pt x="517476" y="155950"/>
                      </a:lnTo>
                      <a:lnTo>
                        <a:pt x="506174" y="163043"/>
                      </a:lnTo>
                      <a:lnTo>
                        <a:pt x="494873" y="163043"/>
                      </a:lnTo>
                      <a:lnTo>
                        <a:pt x="482442" y="163043"/>
                      </a:lnTo>
                      <a:lnTo>
                        <a:pt x="472271" y="156964"/>
                      </a:lnTo>
                      <a:lnTo>
                        <a:pt x="462100" y="143790"/>
                      </a:lnTo>
                      <a:lnTo>
                        <a:pt x="455319" y="130616"/>
                      </a:lnTo>
                      <a:lnTo>
                        <a:pt x="450799" y="120483"/>
                      </a:lnTo>
                      <a:lnTo>
                        <a:pt x="444018" y="106296"/>
                      </a:lnTo>
                      <a:lnTo>
                        <a:pt x="431586" y="93122"/>
                      </a:lnTo>
                      <a:lnTo>
                        <a:pt x="420285" y="85015"/>
                      </a:lnTo>
                      <a:lnTo>
                        <a:pt x="415765" y="75895"/>
                      </a:lnTo>
                      <a:lnTo>
                        <a:pt x="403333" y="66775"/>
                      </a:lnTo>
                      <a:lnTo>
                        <a:pt x="388642" y="50561"/>
                      </a:lnTo>
                      <a:lnTo>
                        <a:pt x="316314" y="49548"/>
                      </a:lnTo>
                      <a:lnTo>
                        <a:pt x="315184" y="69815"/>
                      </a:lnTo>
                      <a:lnTo>
                        <a:pt x="201042" y="64748"/>
                      </a:lnTo>
                      <a:lnTo>
                        <a:pt x="107242" y="20160"/>
                      </a:lnTo>
                      <a:lnTo>
                        <a:pt x="107242" y="9013"/>
                      </a:lnTo>
                      <a:lnTo>
                        <a:pt x="10052" y="1813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6" name="Freeform: Shape 335">
                  <a:extLst>
                    <a:ext uri="{FF2B5EF4-FFF2-40B4-BE49-F238E27FC236}">
                      <a16:creationId xmlns:a16="http://schemas.microsoft.com/office/drawing/2014/main" id="{C76A23D8-C2FE-4F9F-B61A-FAB496733051}"/>
                    </a:ext>
                  </a:extLst>
                </p:cNvPr>
                <p:cNvSpPr/>
                <p:nvPr/>
              </p:nvSpPr>
              <p:spPr>
                <a:xfrm>
                  <a:off x="7890215" y="5059176"/>
                  <a:ext cx="33904" cy="40534"/>
                </a:xfrm>
                <a:custGeom>
                  <a:avLst/>
                  <a:gdLst>
                    <a:gd name="connsiteX0" fmla="*/ 23614 w 33903"/>
                    <a:gd name="connsiteY0" fmla="*/ 9013 h 40534"/>
                    <a:gd name="connsiteX1" fmla="*/ 17963 w 33903"/>
                    <a:gd name="connsiteY1" fmla="*/ 19147 h 40534"/>
                    <a:gd name="connsiteX2" fmla="*/ 10052 w 33903"/>
                    <a:gd name="connsiteY2" fmla="*/ 19147 h 40534"/>
                    <a:gd name="connsiteX3" fmla="*/ 10052 w 33903"/>
                    <a:gd name="connsiteY3" fmla="*/ 36374 h 40534"/>
                    <a:gd name="connsiteX4" fmla="*/ 31525 w 33903"/>
                    <a:gd name="connsiteY4" fmla="*/ 19147 h 40534"/>
                    <a:gd name="connsiteX5" fmla="*/ 29264 w 33903"/>
                    <a:gd name="connsiteY5" fmla="*/ 9013 h 40534"/>
                    <a:gd name="connsiteX6" fmla="*/ 23614 w 33903"/>
                    <a:gd name="connsiteY6" fmla="*/ 9013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03" h="40534">
                      <a:moveTo>
                        <a:pt x="23614" y="9013"/>
                      </a:moveTo>
                      <a:cubicBezTo>
                        <a:pt x="20223" y="11040"/>
                        <a:pt x="21353" y="16107"/>
                        <a:pt x="17963" y="19147"/>
                      </a:cubicBezTo>
                      <a:cubicBezTo>
                        <a:pt x="16832" y="19147"/>
                        <a:pt x="10052" y="19147"/>
                        <a:pt x="10052" y="19147"/>
                      </a:cubicBezTo>
                      <a:cubicBezTo>
                        <a:pt x="11182" y="24214"/>
                        <a:pt x="10052" y="30294"/>
                        <a:pt x="10052" y="36374"/>
                      </a:cubicBezTo>
                      <a:cubicBezTo>
                        <a:pt x="24743" y="36374"/>
                        <a:pt x="34915" y="40428"/>
                        <a:pt x="31525" y="19147"/>
                      </a:cubicBezTo>
                      <a:cubicBezTo>
                        <a:pt x="31525" y="19147"/>
                        <a:pt x="29264" y="12054"/>
                        <a:pt x="29264" y="9013"/>
                      </a:cubicBezTo>
                      <a:lnTo>
                        <a:pt x="23614"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7" name="Freeform: Shape 336">
                  <a:extLst>
                    <a:ext uri="{FF2B5EF4-FFF2-40B4-BE49-F238E27FC236}">
                      <a16:creationId xmlns:a16="http://schemas.microsoft.com/office/drawing/2014/main" id="{7648B7AA-470F-4A3B-B06C-050A908575D0}"/>
                    </a:ext>
                  </a:extLst>
                </p:cNvPr>
                <p:cNvSpPr/>
                <p:nvPr/>
              </p:nvSpPr>
              <p:spPr>
                <a:xfrm>
                  <a:off x="5288680" y="3188519"/>
                  <a:ext cx="452048" cy="496545"/>
                </a:xfrm>
                <a:custGeom>
                  <a:avLst/>
                  <a:gdLst>
                    <a:gd name="connsiteX0" fmla="*/ 25874 w 452047"/>
                    <a:gd name="connsiteY0" fmla="*/ 430570 h 496544"/>
                    <a:gd name="connsiteX1" fmla="*/ 37175 w 452047"/>
                    <a:gd name="connsiteY1" fmla="*/ 425503 h 496544"/>
                    <a:gd name="connsiteX2" fmla="*/ 52996 w 452047"/>
                    <a:gd name="connsiteY2" fmla="*/ 416383 h 496544"/>
                    <a:gd name="connsiteX3" fmla="*/ 71079 w 452047"/>
                    <a:gd name="connsiteY3" fmla="*/ 416383 h 496544"/>
                    <a:gd name="connsiteX4" fmla="*/ 94811 w 452047"/>
                    <a:gd name="connsiteY4" fmla="*/ 415370 h 496544"/>
                    <a:gd name="connsiteX5" fmla="*/ 116284 w 452047"/>
                    <a:gd name="connsiteY5" fmla="*/ 425503 h 496544"/>
                    <a:gd name="connsiteX6" fmla="*/ 126454 w 452047"/>
                    <a:gd name="connsiteY6" fmla="*/ 443744 h 496544"/>
                    <a:gd name="connsiteX7" fmla="*/ 144537 w 452047"/>
                    <a:gd name="connsiteY7" fmla="*/ 452864 h 496544"/>
                    <a:gd name="connsiteX8" fmla="*/ 150187 w 452047"/>
                    <a:gd name="connsiteY8" fmla="*/ 473131 h 496544"/>
                    <a:gd name="connsiteX9" fmla="*/ 170529 w 452047"/>
                    <a:gd name="connsiteY9" fmla="*/ 481238 h 496544"/>
                    <a:gd name="connsiteX10" fmla="*/ 179570 w 452047"/>
                    <a:gd name="connsiteY10" fmla="*/ 492385 h 496544"/>
                    <a:gd name="connsiteX11" fmla="*/ 194261 w 452047"/>
                    <a:gd name="connsiteY11" fmla="*/ 489345 h 496544"/>
                    <a:gd name="connsiteX12" fmla="*/ 198782 w 452047"/>
                    <a:gd name="connsiteY12" fmla="*/ 468064 h 496544"/>
                    <a:gd name="connsiteX13" fmla="*/ 204433 w 452047"/>
                    <a:gd name="connsiteY13" fmla="*/ 454890 h 496544"/>
                    <a:gd name="connsiteX14" fmla="*/ 230425 w 452047"/>
                    <a:gd name="connsiteY14" fmla="*/ 459957 h 496544"/>
                    <a:gd name="connsiteX15" fmla="*/ 248508 w 452047"/>
                    <a:gd name="connsiteY15" fmla="*/ 459957 h 496544"/>
                    <a:gd name="connsiteX16" fmla="*/ 259809 w 452047"/>
                    <a:gd name="connsiteY16" fmla="*/ 453877 h 496544"/>
                    <a:gd name="connsiteX17" fmla="*/ 263199 w 452047"/>
                    <a:gd name="connsiteY17" fmla="*/ 438677 h 496544"/>
                    <a:gd name="connsiteX18" fmla="*/ 275630 w 452047"/>
                    <a:gd name="connsiteY18" fmla="*/ 446784 h 496544"/>
                    <a:gd name="connsiteX19" fmla="*/ 405594 w 452047"/>
                    <a:gd name="connsiteY19" fmla="*/ 445770 h 496544"/>
                    <a:gd name="connsiteX20" fmla="*/ 414635 w 452047"/>
                    <a:gd name="connsiteY20" fmla="*/ 426517 h 496544"/>
                    <a:gd name="connsiteX21" fmla="*/ 403333 w 452047"/>
                    <a:gd name="connsiteY21" fmla="*/ 415370 h 496544"/>
                    <a:gd name="connsiteX22" fmla="*/ 380731 w 452047"/>
                    <a:gd name="connsiteY22" fmla="*/ 93122 h 496544"/>
                    <a:gd name="connsiteX23" fmla="*/ 445148 w 452047"/>
                    <a:gd name="connsiteY23" fmla="*/ 90082 h 496544"/>
                    <a:gd name="connsiteX24" fmla="*/ 326485 w 452047"/>
                    <a:gd name="connsiteY24" fmla="*/ 9013 h 496544"/>
                    <a:gd name="connsiteX25" fmla="*/ 327616 w 452047"/>
                    <a:gd name="connsiteY25" fmla="*/ 67788 h 496544"/>
                    <a:gd name="connsiteX26" fmla="*/ 194261 w 452047"/>
                    <a:gd name="connsiteY26" fmla="*/ 70828 h 496544"/>
                    <a:gd name="connsiteX27" fmla="*/ 192002 w 452047"/>
                    <a:gd name="connsiteY27" fmla="*/ 155950 h 496544"/>
                    <a:gd name="connsiteX28" fmla="*/ 149057 w 452047"/>
                    <a:gd name="connsiteY28" fmla="*/ 179258 h 496544"/>
                    <a:gd name="connsiteX29" fmla="*/ 152447 w 452047"/>
                    <a:gd name="connsiteY29" fmla="*/ 241072 h 496544"/>
                    <a:gd name="connsiteX30" fmla="*/ 19093 w 452047"/>
                    <a:gd name="connsiteY30" fmla="*/ 245126 h 496544"/>
                    <a:gd name="connsiteX31" fmla="*/ 10052 w 452047"/>
                    <a:gd name="connsiteY31" fmla="*/ 252219 h 496544"/>
                    <a:gd name="connsiteX32" fmla="*/ 19093 w 452047"/>
                    <a:gd name="connsiteY32" fmla="*/ 266406 h 496544"/>
                    <a:gd name="connsiteX33" fmla="*/ 30394 w 452047"/>
                    <a:gd name="connsiteY33" fmla="*/ 285660 h 496544"/>
                    <a:gd name="connsiteX34" fmla="*/ 24743 w 452047"/>
                    <a:gd name="connsiteY34" fmla="*/ 295794 h 496544"/>
                    <a:gd name="connsiteX35" fmla="*/ 30394 w 452047"/>
                    <a:gd name="connsiteY35" fmla="*/ 313020 h 496544"/>
                    <a:gd name="connsiteX36" fmla="*/ 28134 w 452047"/>
                    <a:gd name="connsiteY36" fmla="*/ 313020 h 496544"/>
                    <a:gd name="connsiteX37" fmla="*/ 25874 w 452047"/>
                    <a:gd name="connsiteY37" fmla="*/ 332275 h 496544"/>
                    <a:gd name="connsiteX38" fmla="*/ 37175 w 452047"/>
                    <a:gd name="connsiteY38" fmla="*/ 349501 h 496544"/>
                    <a:gd name="connsiteX39" fmla="*/ 34915 w 452047"/>
                    <a:gd name="connsiteY39" fmla="*/ 375849 h 496544"/>
                    <a:gd name="connsiteX40" fmla="*/ 40565 w 452047"/>
                    <a:gd name="connsiteY40" fmla="*/ 377876 h 496544"/>
                    <a:gd name="connsiteX41" fmla="*/ 40565 w 452047"/>
                    <a:gd name="connsiteY41" fmla="*/ 382942 h 496544"/>
                    <a:gd name="connsiteX42" fmla="*/ 34915 w 452047"/>
                    <a:gd name="connsiteY42" fmla="*/ 393076 h 496544"/>
                    <a:gd name="connsiteX43" fmla="*/ 37175 w 452047"/>
                    <a:gd name="connsiteY43" fmla="*/ 415370 h 496544"/>
                    <a:gd name="connsiteX44" fmla="*/ 25874 w 452047"/>
                    <a:gd name="connsiteY44" fmla="*/ 430570 h 4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52047" h="496544">
                      <a:moveTo>
                        <a:pt x="25874" y="430570"/>
                      </a:moveTo>
                      <a:lnTo>
                        <a:pt x="37175" y="425503"/>
                      </a:lnTo>
                      <a:cubicBezTo>
                        <a:pt x="37175" y="425503"/>
                        <a:pt x="49606" y="424490"/>
                        <a:pt x="52996" y="416383"/>
                      </a:cubicBezTo>
                      <a:cubicBezTo>
                        <a:pt x="56387" y="408276"/>
                        <a:pt x="59778" y="415370"/>
                        <a:pt x="71079" y="416383"/>
                      </a:cubicBezTo>
                      <a:cubicBezTo>
                        <a:pt x="82380" y="417396"/>
                        <a:pt x="81249" y="416383"/>
                        <a:pt x="94811" y="415370"/>
                      </a:cubicBezTo>
                      <a:cubicBezTo>
                        <a:pt x="109502" y="414356"/>
                        <a:pt x="109502" y="421450"/>
                        <a:pt x="116284" y="425503"/>
                      </a:cubicBezTo>
                      <a:cubicBezTo>
                        <a:pt x="123064" y="429557"/>
                        <a:pt x="126454" y="433610"/>
                        <a:pt x="126454" y="443744"/>
                      </a:cubicBezTo>
                      <a:cubicBezTo>
                        <a:pt x="126454" y="453877"/>
                        <a:pt x="137755" y="449824"/>
                        <a:pt x="144537" y="452864"/>
                      </a:cubicBezTo>
                      <a:cubicBezTo>
                        <a:pt x="151317" y="455904"/>
                        <a:pt x="147927" y="462997"/>
                        <a:pt x="150187" y="473131"/>
                      </a:cubicBezTo>
                      <a:cubicBezTo>
                        <a:pt x="152447" y="483265"/>
                        <a:pt x="168269" y="476171"/>
                        <a:pt x="170529" y="481238"/>
                      </a:cubicBezTo>
                      <a:cubicBezTo>
                        <a:pt x="172789" y="486305"/>
                        <a:pt x="179570" y="492385"/>
                        <a:pt x="179570" y="492385"/>
                      </a:cubicBezTo>
                      <a:cubicBezTo>
                        <a:pt x="179570" y="492385"/>
                        <a:pt x="186351" y="495425"/>
                        <a:pt x="194261" y="489345"/>
                      </a:cubicBezTo>
                      <a:cubicBezTo>
                        <a:pt x="201042" y="484278"/>
                        <a:pt x="194261" y="478198"/>
                        <a:pt x="198782" y="468064"/>
                      </a:cubicBezTo>
                      <a:cubicBezTo>
                        <a:pt x="203303" y="457931"/>
                        <a:pt x="198782" y="454890"/>
                        <a:pt x="204433" y="454890"/>
                      </a:cubicBezTo>
                      <a:cubicBezTo>
                        <a:pt x="210083" y="454890"/>
                        <a:pt x="216864" y="455904"/>
                        <a:pt x="230425" y="459957"/>
                      </a:cubicBezTo>
                      <a:cubicBezTo>
                        <a:pt x="242857" y="464011"/>
                        <a:pt x="248508" y="459957"/>
                        <a:pt x="248508" y="459957"/>
                      </a:cubicBezTo>
                      <a:cubicBezTo>
                        <a:pt x="248508" y="459957"/>
                        <a:pt x="265459" y="460971"/>
                        <a:pt x="259809" y="453877"/>
                      </a:cubicBezTo>
                      <a:cubicBezTo>
                        <a:pt x="254158" y="445770"/>
                        <a:pt x="255288" y="439690"/>
                        <a:pt x="263199" y="438677"/>
                      </a:cubicBezTo>
                      <a:cubicBezTo>
                        <a:pt x="269980" y="437664"/>
                        <a:pt x="275630" y="446784"/>
                        <a:pt x="275630" y="446784"/>
                      </a:cubicBezTo>
                      <a:lnTo>
                        <a:pt x="405594" y="445770"/>
                      </a:lnTo>
                      <a:cubicBezTo>
                        <a:pt x="405594" y="445770"/>
                        <a:pt x="408984" y="440703"/>
                        <a:pt x="414635" y="426517"/>
                      </a:cubicBezTo>
                      <a:cubicBezTo>
                        <a:pt x="420285" y="412330"/>
                        <a:pt x="403333" y="415370"/>
                        <a:pt x="403333" y="415370"/>
                      </a:cubicBezTo>
                      <a:lnTo>
                        <a:pt x="380731" y="93122"/>
                      </a:lnTo>
                      <a:lnTo>
                        <a:pt x="445148" y="90082"/>
                      </a:lnTo>
                      <a:lnTo>
                        <a:pt x="326485" y="9013"/>
                      </a:lnTo>
                      <a:lnTo>
                        <a:pt x="327616" y="67788"/>
                      </a:lnTo>
                      <a:lnTo>
                        <a:pt x="194261" y="70828"/>
                      </a:lnTo>
                      <a:lnTo>
                        <a:pt x="192002" y="155950"/>
                      </a:lnTo>
                      <a:cubicBezTo>
                        <a:pt x="192002" y="155950"/>
                        <a:pt x="149057" y="151897"/>
                        <a:pt x="149057" y="179258"/>
                      </a:cubicBezTo>
                      <a:cubicBezTo>
                        <a:pt x="149057" y="200538"/>
                        <a:pt x="152447" y="241072"/>
                        <a:pt x="152447" y="241072"/>
                      </a:cubicBezTo>
                      <a:lnTo>
                        <a:pt x="19093" y="245126"/>
                      </a:lnTo>
                      <a:cubicBezTo>
                        <a:pt x="19093" y="245126"/>
                        <a:pt x="20223" y="238032"/>
                        <a:pt x="10052" y="252219"/>
                      </a:cubicBezTo>
                      <a:cubicBezTo>
                        <a:pt x="12312" y="257286"/>
                        <a:pt x="15703" y="262353"/>
                        <a:pt x="19093" y="266406"/>
                      </a:cubicBezTo>
                      <a:cubicBezTo>
                        <a:pt x="22484" y="271473"/>
                        <a:pt x="31525" y="276540"/>
                        <a:pt x="30394" y="285660"/>
                      </a:cubicBezTo>
                      <a:cubicBezTo>
                        <a:pt x="30394" y="287687"/>
                        <a:pt x="24743" y="288700"/>
                        <a:pt x="24743" y="295794"/>
                      </a:cubicBezTo>
                      <a:cubicBezTo>
                        <a:pt x="24743" y="298834"/>
                        <a:pt x="30394" y="303900"/>
                        <a:pt x="30394" y="313020"/>
                      </a:cubicBezTo>
                      <a:cubicBezTo>
                        <a:pt x="29264" y="313020"/>
                        <a:pt x="28134" y="313020"/>
                        <a:pt x="28134" y="313020"/>
                      </a:cubicBezTo>
                      <a:cubicBezTo>
                        <a:pt x="28134" y="317074"/>
                        <a:pt x="23614" y="324167"/>
                        <a:pt x="25874" y="332275"/>
                      </a:cubicBezTo>
                      <a:cubicBezTo>
                        <a:pt x="27004" y="336328"/>
                        <a:pt x="36045" y="344435"/>
                        <a:pt x="37175" y="349501"/>
                      </a:cubicBezTo>
                      <a:cubicBezTo>
                        <a:pt x="38305" y="359635"/>
                        <a:pt x="36045" y="366729"/>
                        <a:pt x="34915" y="375849"/>
                      </a:cubicBezTo>
                      <a:cubicBezTo>
                        <a:pt x="36045" y="375849"/>
                        <a:pt x="40565" y="377876"/>
                        <a:pt x="40565" y="377876"/>
                      </a:cubicBezTo>
                      <a:lnTo>
                        <a:pt x="40565" y="382942"/>
                      </a:lnTo>
                      <a:cubicBezTo>
                        <a:pt x="36045" y="385982"/>
                        <a:pt x="34915" y="384969"/>
                        <a:pt x="34915" y="393076"/>
                      </a:cubicBezTo>
                      <a:cubicBezTo>
                        <a:pt x="34915" y="396116"/>
                        <a:pt x="38305" y="407263"/>
                        <a:pt x="37175" y="415370"/>
                      </a:cubicBezTo>
                      <a:cubicBezTo>
                        <a:pt x="31525" y="418410"/>
                        <a:pt x="29264" y="423477"/>
                        <a:pt x="25874" y="43057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8" name="Freeform: Shape 337">
                  <a:extLst>
                    <a:ext uri="{FF2B5EF4-FFF2-40B4-BE49-F238E27FC236}">
                      <a16:creationId xmlns:a16="http://schemas.microsoft.com/office/drawing/2014/main" id="{2C19D855-AF24-4A26-A5F7-EC2BF0A97BED}"/>
                    </a:ext>
                  </a:extLst>
                </p:cNvPr>
                <p:cNvSpPr/>
                <p:nvPr/>
              </p:nvSpPr>
              <p:spPr>
                <a:xfrm>
                  <a:off x="5454715" y="3268574"/>
                  <a:ext cx="598963" cy="638415"/>
                </a:xfrm>
                <a:custGeom>
                  <a:avLst/>
                  <a:gdLst>
                    <a:gd name="connsiteX0" fmla="*/ 241819 w 598963"/>
                    <a:gd name="connsiteY0" fmla="*/ 580547 h 638414"/>
                    <a:gd name="connsiteX1" fmla="*/ 246339 w 598963"/>
                    <a:gd name="connsiteY1" fmla="*/ 552172 h 638414"/>
                    <a:gd name="connsiteX2" fmla="*/ 250860 w 598963"/>
                    <a:gd name="connsiteY2" fmla="*/ 535959 h 638414"/>
                    <a:gd name="connsiteX3" fmla="*/ 251990 w 598963"/>
                    <a:gd name="connsiteY3" fmla="*/ 521772 h 638414"/>
                    <a:gd name="connsiteX4" fmla="*/ 264421 w 598963"/>
                    <a:gd name="connsiteY4" fmla="*/ 507585 h 638414"/>
                    <a:gd name="connsiteX5" fmla="*/ 274592 w 598963"/>
                    <a:gd name="connsiteY5" fmla="*/ 510625 h 638414"/>
                    <a:gd name="connsiteX6" fmla="*/ 281373 w 598963"/>
                    <a:gd name="connsiteY6" fmla="*/ 485291 h 638414"/>
                    <a:gd name="connsiteX7" fmla="*/ 296064 w 598963"/>
                    <a:gd name="connsiteY7" fmla="*/ 467051 h 638414"/>
                    <a:gd name="connsiteX8" fmla="*/ 323187 w 598963"/>
                    <a:gd name="connsiteY8" fmla="*/ 458944 h 638414"/>
                    <a:gd name="connsiteX9" fmla="*/ 339009 w 598963"/>
                    <a:gd name="connsiteY9" fmla="*/ 443743 h 638414"/>
                    <a:gd name="connsiteX10" fmla="*/ 350310 w 598963"/>
                    <a:gd name="connsiteY10" fmla="*/ 424490 h 638414"/>
                    <a:gd name="connsiteX11" fmla="*/ 368392 w 598963"/>
                    <a:gd name="connsiteY11" fmla="*/ 413343 h 638414"/>
                    <a:gd name="connsiteX12" fmla="*/ 383084 w 598963"/>
                    <a:gd name="connsiteY12" fmla="*/ 392062 h 638414"/>
                    <a:gd name="connsiteX13" fmla="*/ 401165 w 598963"/>
                    <a:gd name="connsiteY13" fmla="*/ 381929 h 638414"/>
                    <a:gd name="connsiteX14" fmla="*/ 413597 w 598963"/>
                    <a:gd name="connsiteY14" fmla="*/ 375848 h 638414"/>
                    <a:gd name="connsiteX15" fmla="*/ 428288 w 598963"/>
                    <a:gd name="connsiteY15" fmla="*/ 376862 h 638414"/>
                    <a:gd name="connsiteX16" fmla="*/ 437329 w 598963"/>
                    <a:gd name="connsiteY16" fmla="*/ 390035 h 638414"/>
                    <a:gd name="connsiteX17" fmla="*/ 444110 w 598963"/>
                    <a:gd name="connsiteY17" fmla="*/ 391049 h 638414"/>
                    <a:gd name="connsiteX18" fmla="*/ 448630 w 598963"/>
                    <a:gd name="connsiteY18" fmla="*/ 384969 h 638414"/>
                    <a:gd name="connsiteX19" fmla="*/ 471233 w 598963"/>
                    <a:gd name="connsiteY19" fmla="*/ 380915 h 638414"/>
                    <a:gd name="connsiteX20" fmla="*/ 508527 w 598963"/>
                    <a:gd name="connsiteY20" fmla="*/ 374835 h 638414"/>
                    <a:gd name="connsiteX21" fmla="*/ 553731 w 598963"/>
                    <a:gd name="connsiteY21" fmla="*/ 359635 h 638414"/>
                    <a:gd name="connsiteX22" fmla="*/ 575204 w 598963"/>
                    <a:gd name="connsiteY22" fmla="*/ 359635 h 638414"/>
                    <a:gd name="connsiteX23" fmla="*/ 579725 w 598963"/>
                    <a:gd name="connsiteY23" fmla="*/ 350514 h 638414"/>
                    <a:gd name="connsiteX24" fmla="*/ 580855 w 598963"/>
                    <a:gd name="connsiteY24" fmla="*/ 334301 h 638414"/>
                    <a:gd name="connsiteX25" fmla="*/ 592156 w 598963"/>
                    <a:gd name="connsiteY25" fmla="*/ 328221 h 638414"/>
                    <a:gd name="connsiteX26" fmla="*/ 587635 w 598963"/>
                    <a:gd name="connsiteY26" fmla="*/ 236005 h 638414"/>
                    <a:gd name="connsiteX27" fmla="*/ 551472 w 598963"/>
                    <a:gd name="connsiteY27" fmla="*/ 243099 h 638414"/>
                    <a:gd name="connsiteX28" fmla="*/ 551472 w 598963"/>
                    <a:gd name="connsiteY28" fmla="*/ 224858 h 638414"/>
                    <a:gd name="connsiteX29" fmla="*/ 550341 w 598963"/>
                    <a:gd name="connsiteY29" fmla="*/ 206618 h 638414"/>
                    <a:gd name="connsiteX30" fmla="*/ 539040 w 598963"/>
                    <a:gd name="connsiteY30" fmla="*/ 188377 h 638414"/>
                    <a:gd name="connsiteX31" fmla="*/ 511918 w 598963"/>
                    <a:gd name="connsiteY31" fmla="*/ 177230 h 638414"/>
                    <a:gd name="connsiteX32" fmla="*/ 501746 w 598963"/>
                    <a:gd name="connsiteY32" fmla="*/ 161017 h 638414"/>
                    <a:gd name="connsiteX33" fmla="*/ 279113 w 598963"/>
                    <a:gd name="connsiteY33" fmla="*/ 9013 h 638414"/>
                    <a:gd name="connsiteX34" fmla="*/ 214696 w 598963"/>
                    <a:gd name="connsiteY34" fmla="*/ 12053 h 638414"/>
                    <a:gd name="connsiteX35" fmla="*/ 237298 w 598963"/>
                    <a:gd name="connsiteY35" fmla="*/ 334301 h 638414"/>
                    <a:gd name="connsiteX36" fmla="*/ 248599 w 598963"/>
                    <a:gd name="connsiteY36" fmla="*/ 345448 h 638414"/>
                    <a:gd name="connsiteX37" fmla="*/ 239558 w 598963"/>
                    <a:gd name="connsiteY37" fmla="*/ 364701 h 638414"/>
                    <a:gd name="connsiteX38" fmla="*/ 109595 w 598963"/>
                    <a:gd name="connsiteY38" fmla="*/ 365715 h 638414"/>
                    <a:gd name="connsiteX39" fmla="*/ 97164 w 598963"/>
                    <a:gd name="connsiteY39" fmla="*/ 357608 h 638414"/>
                    <a:gd name="connsiteX40" fmla="*/ 93773 w 598963"/>
                    <a:gd name="connsiteY40" fmla="*/ 372808 h 638414"/>
                    <a:gd name="connsiteX41" fmla="*/ 82472 w 598963"/>
                    <a:gd name="connsiteY41" fmla="*/ 378889 h 638414"/>
                    <a:gd name="connsiteX42" fmla="*/ 64390 w 598963"/>
                    <a:gd name="connsiteY42" fmla="*/ 378889 h 638414"/>
                    <a:gd name="connsiteX43" fmla="*/ 38397 w 598963"/>
                    <a:gd name="connsiteY43" fmla="*/ 373822 h 638414"/>
                    <a:gd name="connsiteX44" fmla="*/ 32747 w 598963"/>
                    <a:gd name="connsiteY44" fmla="*/ 386995 h 638414"/>
                    <a:gd name="connsiteX45" fmla="*/ 28226 w 598963"/>
                    <a:gd name="connsiteY45" fmla="*/ 408276 h 638414"/>
                    <a:gd name="connsiteX46" fmla="*/ 13534 w 598963"/>
                    <a:gd name="connsiteY46" fmla="*/ 411316 h 638414"/>
                    <a:gd name="connsiteX47" fmla="*/ 14665 w 598963"/>
                    <a:gd name="connsiteY47" fmla="*/ 430570 h 638414"/>
                    <a:gd name="connsiteX48" fmla="*/ 10144 w 598963"/>
                    <a:gd name="connsiteY48" fmla="*/ 458944 h 638414"/>
                    <a:gd name="connsiteX49" fmla="*/ 14665 w 598963"/>
                    <a:gd name="connsiteY49" fmla="*/ 472117 h 638414"/>
                    <a:gd name="connsiteX50" fmla="*/ 27096 w 598963"/>
                    <a:gd name="connsiteY50" fmla="*/ 485291 h 638414"/>
                    <a:gd name="connsiteX51" fmla="*/ 30486 w 598963"/>
                    <a:gd name="connsiteY51" fmla="*/ 508598 h 638414"/>
                    <a:gd name="connsiteX52" fmla="*/ 31617 w 598963"/>
                    <a:gd name="connsiteY52" fmla="*/ 522785 h 638414"/>
                    <a:gd name="connsiteX53" fmla="*/ 40658 w 598963"/>
                    <a:gd name="connsiteY53" fmla="*/ 522785 h 638414"/>
                    <a:gd name="connsiteX54" fmla="*/ 53089 w 598963"/>
                    <a:gd name="connsiteY54" fmla="*/ 517718 h 638414"/>
                    <a:gd name="connsiteX55" fmla="*/ 67780 w 598963"/>
                    <a:gd name="connsiteY55" fmla="*/ 525825 h 638414"/>
                    <a:gd name="connsiteX56" fmla="*/ 77951 w 598963"/>
                    <a:gd name="connsiteY56" fmla="*/ 514678 h 638414"/>
                    <a:gd name="connsiteX57" fmla="*/ 96033 w 598963"/>
                    <a:gd name="connsiteY57" fmla="*/ 519745 h 638414"/>
                    <a:gd name="connsiteX58" fmla="*/ 110725 w 598963"/>
                    <a:gd name="connsiteY58" fmla="*/ 522785 h 638414"/>
                    <a:gd name="connsiteX59" fmla="*/ 116376 w 598963"/>
                    <a:gd name="connsiteY59" fmla="*/ 541026 h 638414"/>
                    <a:gd name="connsiteX60" fmla="*/ 110725 w 598963"/>
                    <a:gd name="connsiteY60" fmla="*/ 561293 h 638414"/>
                    <a:gd name="connsiteX61" fmla="*/ 120896 w 598963"/>
                    <a:gd name="connsiteY61" fmla="*/ 577506 h 638414"/>
                    <a:gd name="connsiteX62" fmla="*/ 135587 w 598963"/>
                    <a:gd name="connsiteY62" fmla="*/ 580547 h 638414"/>
                    <a:gd name="connsiteX63" fmla="*/ 108465 w 598963"/>
                    <a:gd name="connsiteY63" fmla="*/ 594734 h 638414"/>
                    <a:gd name="connsiteX64" fmla="*/ 117506 w 598963"/>
                    <a:gd name="connsiteY64" fmla="*/ 600814 h 638414"/>
                    <a:gd name="connsiteX65" fmla="*/ 129937 w 598963"/>
                    <a:gd name="connsiteY65" fmla="*/ 600814 h 638414"/>
                    <a:gd name="connsiteX66" fmla="*/ 148019 w 598963"/>
                    <a:gd name="connsiteY66" fmla="*/ 608920 h 638414"/>
                    <a:gd name="connsiteX67" fmla="*/ 163840 w 598963"/>
                    <a:gd name="connsiteY67" fmla="*/ 627161 h 638414"/>
                    <a:gd name="connsiteX68" fmla="*/ 175141 w 598963"/>
                    <a:gd name="connsiteY68" fmla="*/ 632228 h 638414"/>
                    <a:gd name="connsiteX69" fmla="*/ 189833 w 598963"/>
                    <a:gd name="connsiteY69" fmla="*/ 619054 h 638414"/>
                    <a:gd name="connsiteX70" fmla="*/ 200004 w 598963"/>
                    <a:gd name="connsiteY70" fmla="*/ 624121 h 638414"/>
                    <a:gd name="connsiteX71" fmla="*/ 205655 w 598963"/>
                    <a:gd name="connsiteY71" fmla="*/ 604867 h 638414"/>
                    <a:gd name="connsiteX72" fmla="*/ 214696 w 598963"/>
                    <a:gd name="connsiteY72" fmla="*/ 599800 h 638414"/>
                    <a:gd name="connsiteX73" fmla="*/ 230518 w 598963"/>
                    <a:gd name="connsiteY73" fmla="*/ 609934 h 638414"/>
                    <a:gd name="connsiteX74" fmla="*/ 239558 w 598963"/>
                    <a:gd name="connsiteY74" fmla="*/ 595747 h 638414"/>
                    <a:gd name="connsiteX75" fmla="*/ 241819 w 598963"/>
                    <a:gd name="connsiteY75" fmla="*/ 580547 h 63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98963" h="638414">
                      <a:moveTo>
                        <a:pt x="241819" y="580547"/>
                      </a:moveTo>
                      <a:cubicBezTo>
                        <a:pt x="241819" y="580547"/>
                        <a:pt x="236168" y="556226"/>
                        <a:pt x="246339" y="552172"/>
                      </a:cubicBezTo>
                      <a:cubicBezTo>
                        <a:pt x="256510" y="548119"/>
                        <a:pt x="253120" y="541026"/>
                        <a:pt x="250860" y="535959"/>
                      </a:cubicBezTo>
                      <a:cubicBezTo>
                        <a:pt x="248599" y="530892"/>
                        <a:pt x="251990" y="521772"/>
                        <a:pt x="251990" y="521772"/>
                      </a:cubicBezTo>
                      <a:cubicBezTo>
                        <a:pt x="251990" y="521772"/>
                        <a:pt x="257641" y="510625"/>
                        <a:pt x="264421" y="507585"/>
                      </a:cubicBezTo>
                      <a:cubicBezTo>
                        <a:pt x="271202" y="504545"/>
                        <a:pt x="274592" y="510625"/>
                        <a:pt x="274592" y="510625"/>
                      </a:cubicBezTo>
                      <a:cubicBezTo>
                        <a:pt x="274592" y="510625"/>
                        <a:pt x="277983" y="492384"/>
                        <a:pt x="281373" y="485291"/>
                      </a:cubicBezTo>
                      <a:cubicBezTo>
                        <a:pt x="285894" y="477184"/>
                        <a:pt x="287024" y="471104"/>
                        <a:pt x="296064" y="467051"/>
                      </a:cubicBezTo>
                      <a:cubicBezTo>
                        <a:pt x="305105" y="462997"/>
                        <a:pt x="317537" y="457930"/>
                        <a:pt x="323187" y="458944"/>
                      </a:cubicBezTo>
                      <a:cubicBezTo>
                        <a:pt x="328838" y="459957"/>
                        <a:pt x="339009" y="449824"/>
                        <a:pt x="339009" y="443743"/>
                      </a:cubicBezTo>
                      <a:cubicBezTo>
                        <a:pt x="339009" y="437663"/>
                        <a:pt x="340139" y="432596"/>
                        <a:pt x="350310" y="424490"/>
                      </a:cubicBezTo>
                      <a:cubicBezTo>
                        <a:pt x="360481" y="416383"/>
                        <a:pt x="368392" y="419423"/>
                        <a:pt x="368392" y="413343"/>
                      </a:cubicBezTo>
                      <a:cubicBezTo>
                        <a:pt x="368392" y="407263"/>
                        <a:pt x="371782" y="392062"/>
                        <a:pt x="383084" y="392062"/>
                      </a:cubicBezTo>
                      <a:cubicBezTo>
                        <a:pt x="394385" y="392062"/>
                        <a:pt x="401165" y="389022"/>
                        <a:pt x="401165" y="381929"/>
                      </a:cubicBezTo>
                      <a:cubicBezTo>
                        <a:pt x="401165" y="374835"/>
                        <a:pt x="410207" y="368755"/>
                        <a:pt x="413597" y="375848"/>
                      </a:cubicBezTo>
                      <a:cubicBezTo>
                        <a:pt x="416987" y="382942"/>
                        <a:pt x="422638" y="371795"/>
                        <a:pt x="428288" y="376862"/>
                      </a:cubicBezTo>
                      <a:cubicBezTo>
                        <a:pt x="433939" y="381929"/>
                        <a:pt x="437329" y="390035"/>
                        <a:pt x="437329" y="390035"/>
                      </a:cubicBezTo>
                      <a:lnTo>
                        <a:pt x="444110" y="391049"/>
                      </a:lnTo>
                      <a:lnTo>
                        <a:pt x="448630" y="384969"/>
                      </a:lnTo>
                      <a:cubicBezTo>
                        <a:pt x="448630" y="384969"/>
                        <a:pt x="465582" y="385982"/>
                        <a:pt x="471233" y="380915"/>
                      </a:cubicBezTo>
                      <a:cubicBezTo>
                        <a:pt x="476883" y="375848"/>
                        <a:pt x="497225" y="375848"/>
                        <a:pt x="508527" y="374835"/>
                      </a:cubicBezTo>
                      <a:cubicBezTo>
                        <a:pt x="519828" y="373822"/>
                        <a:pt x="553731" y="359635"/>
                        <a:pt x="553731" y="359635"/>
                      </a:cubicBezTo>
                      <a:lnTo>
                        <a:pt x="575204" y="359635"/>
                      </a:lnTo>
                      <a:cubicBezTo>
                        <a:pt x="575204" y="359635"/>
                        <a:pt x="578594" y="358622"/>
                        <a:pt x="579725" y="350514"/>
                      </a:cubicBezTo>
                      <a:cubicBezTo>
                        <a:pt x="580855" y="342408"/>
                        <a:pt x="580855" y="334301"/>
                        <a:pt x="580855" y="334301"/>
                      </a:cubicBezTo>
                      <a:lnTo>
                        <a:pt x="592156" y="328221"/>
                      </a:lnTo>
                      <a:lnTo>
                        <a:pt x="587635" y="236005"/>
                      </a:lnTo>
                      <a:cubicBezTo>
                        <a:pt x="587635" y="236005"/>
                        <a:pt x="549211" y="248165"/>
                        <a:pt x="551472" y="243099"/>
                      </a:cubicBezTo>
                      <a:cubicBezTo>
                        <a:pt x="553731" y="238032"/>
                        <a:pt x="555992" y="233978"/>
                        <a:pt x="551472" y="224858"/>
                      </a:cubicBezTo>
                      <a:cubicBezTo>
                        <a:pt x="546951" y="215738"/>
                        <a:pt x="546951" y="220805"/>
                        <a:pt x="550341" y="206618"/>
                      </a:cubicBezTo>
                      <a:cubicBezTo>
                        <a:pt x="553731" y="192431"/>
                        <a:pt x="545821" y="193444"/>
                        <a:pt x="539040" y="188377"/>
                      </a:cubicBezTo>
                      <a:cubicBezTo>
                        <a:pt x="532260" y="183311"/>
                        <a:pt x="520958" y="183311"/>
                        <a:pt x="511918" y="177230"/>
                      </a:cubicBezTo>
                      <a:cubicBezTo>
                        <a:pt x="502876" y="171151"/>
                        <a:pt x="501746" y="161017"/>
                        <a:pt x="501746" y="161017"/>
                      </a:cubicBezTo>
                      <a:lnTo>
                        <a:pt x="279113" y="9013"/>
                      </a:lnTo>
                      <a:lnTo>
                        <a:pt x="214696" y="12053"/>
                      </a:lnTo>
                      <a:lnTo>
                        <a:pt x="237298" y="334301"/>
                      </a:lnTo>
                      <a:cubicBezTo>
                        <a:pt x="237298" y="334301"/>
                        <a:pt x="254250" y="331261"/>
                        <a:pt x="248599" y="345448"/>
                      </a:cubicBezTo>
                      <a:cubicBezTo>
                        <a:pt x="242949" y="359635"/>
                        <a:pt x="239558" y="364701"/>
                        <a:pt x="239558" y="364701"/>
                      </a:cubicBezTo>
                      <a:lnTo>
                        <a:pt x="109595" y="365715"/>
                      </a:lnTo>
                      <a:cubicBezTo>
                        <a:pt x="109595" y="365715"/>
                        <a:pt x="103944" y="356595"/>
                        <a:pt x="97164" y="357608"/>
                      </a:cubicBezTo>
                      <a:cubicBezTo>
                        <a:pt x="90382" y="358622"/>
                        <a:pt x="88123" y="365715"/>
                        <a:pt x="93773" y="372808"/>
                      </a:cubicBezTo>
                      <a:cubicBezTo>
                        <a:pt x="99424" y="380915"/>
                        <a:pt x="82472" y="378889"/>
                        <a:pt x="82472" y="378889"/>
                      </a:cubicBezTo>
                      <a:cubicBezTo>
                        <a:pt x="82472" y="378889"/>
                        <a:pt x="76822" y="382942"/>
                        <a:pt x="64390" y="378889"/>
                      </a:cubicBezTo>
                      <a:cubicBezTo>
                        <a:pt x="51959" y="374835"/>
                        <a:pt x="44048" y="373822"/>
                        <a:pt x="38397" y="373822"/>
                      </a:cubicBezTo>
                      <a:cubicBezTo>
                        <a:pt x="32747" y="373822"/>
                        <a:pt x="37267" y="376862"/>
                        <a:pt x="32747" y="386995"/>
                      </a:cubicBezTo>
                      <a:cubicBezTo>
                        <a:pt x="28226" y="397129"/>
                        <a:pt x="36137" y="403209"/>
                        <a:pt x="28226" y="408276"/>
                      </a:cubicBezTo>
                      <a:cubicBezTo>
                        <a:pt x="21445" y="413343"/>
                        <a:pt x="13534" y="411316"/>
                        <a:pt x="13534" y="411316"/>
                      </a:cubicBezTo>
                      <a:cubicBezTo>
                        <a:pt x="13534" y="411316"/>
                        <a:pt x="9014" y="429557"/>
                        <a:pt x="14665" y="430570"/>
                      </a:cubicBezTo>
                      <a:cubicBezTo>
                        <a:pt x="20316" y="431583"/>
                        <a:pt x="10144" y="458944"/>
                        <a:pt x="10144" y="458944"/>
                      </a:cubicBezTo>
                      <a:cubicBezTo>
                        <a:pt x="10144" y="458944"/>
                        <a:pt x="9014" y="467051"/>
                        <a:pt x="14665" y="472117"/>
                      </a:cubicBezTo>
                      <a:cubicBezTo>
                        <a:pt x="20316" y="477184"/>
                        <a:pt x="27096" y="480224"/>
                        <a:pt x="27096" y="485291"/>
                      </a:cubicBezTo>
                      <a:cubicBezTo>
                        <a:pt x="27096" y="490358"/>
                        <a:pt x="30486" y="508598"/>
                        <a:pt x="30486" y="508598"/>
                      </a:cubicBezTo>
                      <a:lnTo>
                        <a:pt x="31617" y="522785"/>
                      </a:lnTo>
                      <a:lnTo>
                        <a:pt x="40658" y="522785"/>
                      </a:lnTo>
                      <a:cubicBezTo>
                        <a:pt x="40658" y="522785"/>
                        <a:pt x="45178" y="516705"/>
                        <a:pt x="53089" y="517718"/>
                      </a:cubicBezTo>
                      <a:cubicBezTo>
                        <a:pt x="61000" y="518732"/>
                        <a:pt x="62129" y="526839"/>
                        <a:pt x="67780" y="525825"/>
                      </a:cubicBezTo>
                      <a:cubicBezTo>
                        <a:pt x="73431" y="524812"/>
                        <a:pt x="77951" y="514678"/>
                        <a:pt x="77951" y="514678"/>
                      </a:cubicBezTo>
                      <a:cubicBezTo>
                        <a:pt x="77951" y="514678"/>
                        <a:pt x="83602" y="523799"/>
                        <a:pt x="96033" y="519745"/>
                      </a:cubicBezTo>
                      <a:cubicBezTo>
                        <a:pt x="108465" y="515692"/>
                        <a:pt x="110725" y="522785"/>
                        <a:pt x="110725" y="522785"/>
                      </a:cubicBezTo>
                      <a:cubicBezTo>
                        <a:pt x="110725" y="522785"/>
                        <a:pt x="115245" y="531905"/>
                        <a:pt x="116376" y="541026"/>
                      </a:cubicBezTo>
                      <a:cubicBezTo>
                        <a:pt x="117506" y="550146"/>
                        <a:pt x="105075" y="559266"/>
                        <a:pt x="110725" y="561293"/>
                      </a:cubicBezTo>
                      <a:cubicBezTo>
                        <a:pt x="116376" y="564333"/>
                        <a:pt x="122026" y="572440"/>
                        <a:pt x="120896" y="577506"/>
                      </a:cubicBezTo>
                      <a:cubicBezTo>
                        <a:pt x="119766" y="582573"/>
                        <a:pt x="135587" y="580547"/>
                        <a:pt x="135587" y="580547"/>
                      </a:cubicBezTo>
                      <a:lnTo>
                        <a:pt x="108465" y="594734"/>
                      </a:lnTo>
                      <a:cubicBezTo>
                        <a:pt x="108465" y="594734"/>
                        <a:pt x="109595" y="600814"/>
                        <a:pt x="117506" y="600814"/>
                      </a:cubicBezTo>
                      <a:cubicBezTo>
                        <a:pt x="124286" y="600814"/>
                        <a:pt x="124286" y="592707"/>
                        <a:pt x="129937" y="600814"/>
                      </a:cubicBezTo>
                      <a:cubicBezTo>
                        <a:pt x="135587" y="608920"/>
                        <a:pt x="144629" y="599800"/>
                        <a:pt x="148019" y="608920"/>
                      </a:cubicBezTo>
                      <a:cubicBezTo>
                        <a:pt x="152539" y="618041"/>
                        <a:pt x="157060" y="627161"/>
                        <a:pt x="163840" y="627161"/>
                      </a:cubicBezTo>
                      <a:cubicBezTo>
                        <a:pt x="170621" y="627161"/>
                        <a:pt x="175141" y="632228"/>
                        <a:pt x="175141" y="632228"/>
                      </a:cubicBezTo>
                      <a:cubicBezTo>
                        <a:pt x="175141" y="632228"/>
                        <a:pt x="178532" y="624121"/>
                        <a:pt x="189833" y="619054"/>
                      </a:cubicBezTo>
                      <a:cubicBezTo>
                        <a:pt x="201135" y="613987"/>
                        <a:pt x="200004" y="624121"/>
                        <a:pt x="200004" y="624121"/>
                      </a:cubicBezTo>
                      <a:lnTo>
                        <a:pt x="205655" y="604867"/>
                      </a:lnTo>
                      <a:lnTo>
                        <a:pt x="214696" y="599800"/>
                      </a:lnTo>
                      <a:cubicBezTo>
                        <a:pt x="214696" y="599800"/>
                        <a:pt x="220346" y="612974"/>
                        <a:pt x="230518" y="609934"/>
                      </a:cubicBezTo>
                      <a:cubicBezTo>
                        <a:pt x="240689" y="606894"/>
                        <a:pt x="239558" y="595747"/>
                        <a:pt x="239558" y="595747"/>
                      </a:cubicBezTo>
                      <a:lnTo>
                        <a:pt x="241819" y="58054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0" name="Freeform: Shape 339">
                  <a:extLst>
                    <a:ext uri="{FF2B5EF4-FFF2-40B4-BE49-F238E27FC236}">
                      <a16:creationId xmlns:a16="http://schemas.microsoft.com/office/drawing/2014/main" id="{CD645B20-1329-4966-8A0D-21608B4E2140}"/>
                    </a:ext>
                  </a:extLst>
                </p:cNvPr>
                <p:cNvSpPr/>
                <p:nvPr/>
              </p:nvSpPr>
              <p:spPr>
                <a:xfrm>
                  <a:off x="9417007" y="3992111"/>
                  <a:ext cx="678072" cy="253339"/>
                </a:xfrm>
                <a:custGeom>
                  <a:avLst/>
                  <a:gdLst>
                    <a:gd name="connsiteX0" fmla="*/ 338917 w 678071"/>
                    <a:gd name="connsiteY0" fmla="*/ 206618 h 253339"/>
                    <a:gd name="connsiteX1" fmla="*/ 338917 w 678071"/>
                    <a:gd name="connsiteY1" fmla="*/ 224858 h 253339"/>
                    <a:gd name="connsiteX2" fmla="*/ 344568 w 678071"/>
                    <a:gd name="connsiteY2" fmla="*/ 239045 h 253339"/>
                    <a:gd name="connsiteX3" fmla="*/ 356999 w 678071"/>
                    <a:gd name="connsiteY3" fmla="*/ 245125 h 253339"/>
                    <a:gd name="connsiteX4" fmla="*/ 368300 w 678071"/>
                    <a:gd name="connsiteY4" fmla="*/ 251206 h 253339"/>
                    <a:gd name="connsiteX5" fmla="*/ 384122 w 678071"/>
                    <a:gd name="connsiteY5" fmla="*/ 252219 h 253339"/>
                    <a:gd name="connsiteX6" fmla="*/ 402204 w 678071"/>
                    <a:gd name="connsiteY6" fmla="*/ 249179 h 253339"/>
                    <a:gd name="connsiteX7" fmla="*/ 422546 w 678071"/>
                    <a:gd name="connsiteY7" fmla="*/ 247152 h 253339"/>
                    <a:gd name="connsiteX8" fmla="*/ 429327 w 678071"/>
                    <a:gd name="connsiteY8" fmla="*/ 238032 h 253339"/>
                    <a:gd name="connsiteX9" fmla="*/ 447408 w 678071"/>
                    <a:gd name="connsiteY9" fmla="*/ 234992 h 253339"/>
                    <a:gd name="connsiteX10" fmla="*/ 457580 w 678071"/>
                    <a:gd name="connsiteY10" fmla="*/ 239045 h 253339"/>
                    <a:gd name="connsiteX11" fmla="*/ 479052 w 678071"/>
                    <a:gd name="connsiteY11" fmla="*/ 239045 h 253339"/>
                    <a:gd name="connsiteX12" fmla="*/ 494874 w 678071"/>
                    <a:gd name="connsiteY12" fmla="*/ 230939 h 253339"/>
                    <a:gd name="connsiteX13" fmla="*/ 500524 w 678071"/>
                    <a:gd name="connsiteY13" fmla="*/ 221818 h 253339"/>
                    <a:gd name="connsiteX14" fmla="*/ 506175 w 678071"/>
                    <a:gd name="connsiteY14" fmla="*/ 205605 h 253339"/>
                    <a:gd name="connsiteX15" fmla="*/ 509565 w 678071"/>
                    <a:gd name="connsiteY15" fmla="*/ 194458 h 253339"/>
                    <a:gd name="connsiteX16" fmla="*/ 520866 w 678071"/>
                    <a:gd name="connsiteY16" fmla="*/ 189391 h 253339"/>
                    <a:gd name="connsiteX17" fmla="*/ 526517 w 678071"/>
                    <a:gd name="connsiteY17" fmla="*/ 180271 h 253339"/>
                    <a:gd name="connsiteX18" fmla="*/ 535558 w 678071"/>
                    <a:gd name="connsiteY18" fmla="*/ 171151 h 253339"/>
                    <a:gd name="connsiteX19" fmla="*/ 544599 w 678071"/>
                    <a:gd name="connsiteY19" fmla="*/ 162030 h 253339"/>
                    <a:gd name="connsiteX20" fmla="*/ 549119 w 678071"/>
                    <a:gd name="connsiteY20" fmla="*/ 139736 h 253339"/>
                    <a:gd name="connsiteX21" fmla="*/ 558160 w 678071"/>
                    <a:gd name="connsiteY21" fmla="*/ 127576 h 253339"/>
                    <a:gd name="connsiteX22" fmla="*/ 580762 w 678071"/>
                    <a:gd name="connsiteY22" fmla="*/ 132643 h 253339"/>
                    <a:gd name="connsiteX23" fmla="*/ 603365 w 678071"/>
                    <a:gd name="connsiteY23" fmla="*/ 130616 h 253339"/>
                    <a:gd name="connsiteX24" fmla="*/ 610146 w 678071"/>
                    <a:gd name="connsiteY24" fmla="*/ 119469 h 253339"/>
                    <a:gd name="connsiteX25" fmla="*/ 631618 w 678071"/>
                    <a:gd name="connsiteY25" fmla="*/ 124536 h 253339"/>
                    <a:gd name="connsiteX26" fmla="*/ 633878 w 678071"/>
                    <a:gd name="connsiteY26" fmla="*/ 117442 h 253339"/>
                    <a:gd name="connsiteX27" fmla="*/ 641789 w 678071"/>
                    <a:gd name="connsiteY27" fmla="*/ 115416 h 253339"/>
                    <a:gd name="connsiteX28" fmla="*/ 641789 w 678071"/>
                    <a:gd name="connsiteY28" fmla="*/ 105282 h 253339"/>
                    <a:gd name="connsiteX29" fmla="*/ 633878 w 678071"/>
                    <a:gd name="connsiteY29" fmla="*/ 103255 h 253339"/>
                    <a:gd name="connsiteX30" fmla="*/ 636139 w 678071"/>
                    <a:gd name="connsiteY30" fmla="*/ 93122 h 253339"/>
                    <a:gd name="connsiteX31" fmla="*/ 668912 w 678071"/>
                    <a:gd name="connsiteY31" fmla="*/ 82988 h 253339"/>
                    <a:gd name="connsiteX32" fmla="*/ 668912 w 678071"/>
                    <a:gd name="connsiteY32" fmla="*/ 77922 h 253339"/>
                    <a:gd name="connsiteX33" fmla="*/ 649700 w 678071"/>
                    <a:gd name="connsiteY33" fmla="*/ 58668 h 253339"/>
                    <a:gd name="connsiteX34" fmla="*/ 636139 w 678071"/>
                    <a:gd name="connsiteY34" fmla="*/ 60695 h 253339"/>
                    <a:gd name="connsiteX35" fmla="*/ 636139 w 678071"/>
                    <a:gd name="connsiteY35" fmla="*/ 50561 h 253339"/>
                    <a:gd name="connsiteX36" fmla="*/ 624837 w 678071"/>
                    <a:gd name="connsiteY36" fmla="*/ 48534 h 253339"/>
                    <a:gd name="connsiteX37" fmla="*/ 627098 w 678071"/>
                    <a:gd name="connsiteY37" fmla="*/ 34347 h 253339"/>
                    <a:gd name="connsiteX38" fmla="*/ 619187 w 678071"/>
                    <a:gd name="connsiteY38" fmla="*/ 24214 h 253339"/>
                    <a:gd name="connsiteX39" fmla="*/ 611276 w 678071"/>
                    <a:gd name="connsiteY39" fmla="*/ 24214 h 253339"/>
                    <a:gd name="connsiteX40" fmla="*/ 611276 w 678071"/>
                    <a:gd name="connsiteY40" fmla="*/ 14080 h 253339"/>
                    <a:gd name="connsiteX41" fmla="*/ 605625 w 678071"/>
                    <a:gd name="connsiteY41" fmla="*/ 21174 h 253339"/>
                    <a:gd name="connsiteX42" fmla="*/ 594324 w 678071"/>
                    <a:gd name="connsiteY42" fmla="*/ 21174 h 253339"/>
                    <a:gd name="connsiteX43" fmla="*/ 588673 w 678071"/>
                    <a:gd name="connsiteY43" fmla="*/ 11040 h 253339"/>
                    <a:gd name="connsiteX44" fmla="*/ 586413 w 678071"/>
                    <a:gd name="connsiteY44" fmla="*/ 9013 h 253339"/>
                    <a:gd name="connsiteX45" fmla="*/ 540078 w 678071"/>
                    <a:gd name="connsiteY45" fmla="*/ 67788 h 253339"/>
                    <a:gd name="connsiteX46" fmla="*/ 547989 w 678071"/>
                    <a:gd name="connsiteY46" fmla="*/ 72855 h 253339"/>
                    <a:gd name="connsiteX47" fmla="*/ 547989 w 678071"/>
                    <a:gd name="connsiteY47" fmla="*/ 82988 h 253339"/>
                    <a:gd name="connsiteX48" fmla="*/ 535558 w 678071"/>
                    <a:gd name="connsiteY48" fmla="*/ 98189 h 253339"/>
                    <a:gd name="connsiteX49" fmla="*/ 543469 w 678071"/>
                    <a:gd name="connsiteY49" fmla="*/ 119469 h 253339"/>
                    <a:gd name="connsiteX50" fmla="*/ 536688 w 678071"/>
                    <a:gd name="connsiteY50" fmla="*/ 122509 h 253339"/>
                    <a:gd name="connsiteX51" fmla="*/ 527647 w 678071"/>
                    <a:gd name="connsiteY51" fmla="*/ 117442 h 253339"/>
                    <a:gd name="connsiteX52" fmla="*/ 521997 w 678071"/>
                    <a:gd name="connsiteY52" fmla="*/ 125549 h 253339"/>
                    <a:gd name="connsiteX53" fmla="*/ 518606 w 678071"/>
                    <a:gd name="connsiteY53" fmla="*/ 130616 h 253339"/>
                    <a:gd name="connsiteX54" fmla="*/ 506175 w 678071"/>
                    <a:gd name="connsiteY54" fmla="*/ 131630 h 253339"/>
                    <a:gd name="connsiteX55" fmla="*/ 489223 w 678071"/>
                    <a:gd name="connsiteY55" fmla="*/ 116429 h 253339"/>
                    <a:gd name="connsiteX56" fmla="*/ 489223 w 678071"/>
                    <a:gd name="connsiteY56" fmla="*/ 123523 h 253339"/>
                    <a:gd name="connsiteX57" fmla="*/ 459840 w 678071"/>
                    <a:gd name="connsiteY57" fmla="*/ 167097 h 253339"/>
                    <a:gd name="connsiteX58" fmla="*/ 438368 w 678071"/>
                    <a:gd name="connsiteY58" fmla="*/ 167097 h 253339"/>
                    <a:gd name="connsiteX59" fmla="*/ 395423 w 678071"/>
                    <a:gd name="connsiteY59" fmla="*/ 184324 h 253339"/>
                    <a:gd name="connsiteX60" fmla="*/ 397684 w 678071"/>
                    <a:gd name="connsiteY60" fmla="*/ 198511 h 253339"/>
                    <a:gd name="connsiteX61" fmla="*/ 395423 w 678071"/>
                    <a:gd name="connsiteY61" fmla="*/ 198511 h 253339"/>
                    <a:gd name="connsiteX62" fmla="*/ 393163 w 678071"/>
                    <a:gd name="connsiteY62" fmla="*/ 215738 h 253339"/>
                    <a:gd name="connsiteX63" fmla="*/ 385252 w 678071"/>
                    <a:gd name="connsiteY63" fmla="*/ 215738 h 253339"/>
                    <a:gd name="connsiteX64" fmla="*/ 385252 w 678071"/>
                    <a:gd name="connsiteY64" fmla="*/ 225872 h 253339"/>
                    <a:gd name="connsiteX65" fmla="*/ 366040 w 678071"/>
                    <a:gd name="connsiteY65" fmla="*/ 213711 h 253339"/>
                    <a:gd name="connsiteX66" fmla="*/ 346828 w 678071"/>
                    <a:gd name="connsiteY66" fmla="*/ 215738 h 253339"/>
                    <a:gd name="connsiteX67" fmla="*/ 340047 w 678071"/>
                    <a:gd name="connsiteY67" fmla="*/ 207631 h 253339"/>
                    <a:gd name="connsiteX68" fmla="*/ 338917 w 678071"/>
                    <a:gd name="connsiteY68" fmla="*/ 206618 h 253339"/>
                    <a:gd name="connsiteX69" fmla="*/ 10052 w 678071"/>
                    <a:gd name="connsiteY69" fmla="*/ 56641 h 253339"/>
                    <a:gd name="connsiteX70" fmla="*/ 21353 w 678071"/>
                    <a:gd name="connsiteY70" fmla="*/ 80962 h 253339"/>
                    <a:gd name="connsiteX71" fmla="*/ 19094 w 678071"/>
                    <a:gd name="connsiteY71" fmla="*/ 98189 h 253339"/>
                    <a:gd name="connsiteX72" fmla="*/ 32654 w 678071"/>
                    <a:gd name="connsiteY72" fmla="*/ 132643 h 253339"/>
                    <a:gd name="connsiteX73" fmla="*/ 32654 w 678071"/>
                    <a:gd name="connsiteY73" fmla="*/ 146830 h 253339"/>
                    <a:gd name="connsiteX74" fmla="*/ 48476 w 678071"/>
                    <a:gd name="connsiteY74" fmla="*/ 161017 h 253339"/>
                    <a:gd name="connsiteX75" fmla="*/ 50737 w 678071"/>
                    <a:gd name="connsiteY75" fmla="*/ 185337 h 253339"/>
                    <a:gd name="connsiteX76" fmla="*/ 80120 w 678071"/>
                    <a:gd name="connsiteY76" fmla="*/ 202565 h 253339"/>
                    <a:gd name="connsiteX77" fmla="*/ 85770 w 678071"/>
                    <a:gd name="connsiteY77" fmla="*/ 212698 h 253339"/>
                    <a:gd name="connsiteX78" fmla="*/ 120804 w 678071"/>
                    <a:gd name="connsiteY78" fmla="*/ 231952 h 253339"/>
                    <a:gd name="connsiteX79" fmla="*/ 120804 w 678071"/>
                    <a:gd name="connsiteY79" fmla="*/ 226885 h 253339"/>
                    <a:gd name="connsiteX80" fmla="*/ 128715 w 678071"/>
                    <a:gd name="connsiteY80" fmla="*/ 219792 h 253339"/>
                    <a:gd name="connsiteX81" fmla="*/ 147927 w 678071"/>
                    <a:gd name="connsiteY81" fmla="*/ 219792 h 253339"/>
                    <a:gd name="connsiteX82" fmla="*/ 147927 w 678071"/>
                    <a:gd name="connsiteY82" fmla="*/ 207631 h 253339"/>
                    <a:gd name="connsiteX83" fmla="*/ 134365 w 678071"/>
                    <a:gd name="connsiteY83" fmla="*/ 190404 h 253339"/>
                    <a:gd name="connsiteX84" fmla="*/ 134365 w 678071"/>
                    <a:gd name="connsiteY84" fmla="*/ 180271 h 253339"/>
                    <a:gd name="connsiteX85" fmla="*/ 120804 w 678071"/>
                    <a:gd name="connsiteY85" fmla="*/ 168110 h 253339"/>
                    <a:gd name="connsiteX86" fmla="*/ 123064 w 678071"/>
                    <a:gd name="connsiteY86" fmla="*/ 138723 h 253339"/>
                    <a:gd name="connsiteX87" fmla="*/ 117413 w 678071"/>
                    <a:gd name="connsiteY87" fmla="*/ 92109 h 253339"/>
                    <a:gd name="connsiteX88" fmla="*/ 109503 w 678071"/>
                    <a:gd name="connsiteY88" fmla="*/ 87042 h 253339"/>
                    <a:gd name="connsiteX89" fmla="*/ 93681 w 678071"/>
                    <a:gd name="connsiteY89" fmla="*/ 57654 h 253339"/>
                    <a:gd name="connsiteX90" fmla="*/ 74469 w 678071"/>
                    <a:gd name="connsiteY90" fmla="*/ 45494 h 253339"/>
                    <a:gd name="connsiteX91" fmla="*/ 67689 w 678071"/>
                    <a:gd name="connsiteY91" fmla="*/ 52588 h 253339"/>
                    <a:gd name="connsiteX92" fmla="*/ 66558 w 678071"/>
                    <a:gd name="connsiteY92" fmla="*/ 67788 h 253339"/>
                    <a:gd name="connsiteX93" fmla="*/ 55257 w 678071"/>
                    <a:gd name="connsiteY93" fmla="*/ 66775 h 253339"/>
                    <a:gd name="connsiteX94" fmla="*/ 52997 w 678071"/>
                    <a:gd name="connsiteY94" fmla="*/ 74882 h 253339"/>
                    <a:gd name="connsiteX95" fmla="*/ 42826 w 678071"/>
                    <a:gd name="connsiteY95" fmla="*/ 75895 h 253339"/>
                    <a:gd name="connsiteX96" fmla="*/ 42826 w 678071"/>
                    <a:gd name="connsiteY96" fmla="*/ 59681 h 253339"/>
                    <a:gd name="connsiteX97" fmla="*/ 25874 w 678071"/>
                    <a:gd name="connsiteY97" fmla="*/ 50561 h 253339"/>
                    <a:gd name="connsiteX98" fmla="*/ 10052 w 678071"/>
                    <a:gd name="connsiteY98" fmla="*/ 54614 h 253339"/>
                    <a:gd name="connsiteX99" fmla="*/ 10052 w 678071"/>
                    <a:gd name="connsiteY99" fmla="*/ 56641 h 2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78071" h="253339">
                      <a:moveTo>
                        <a:pt x="338917" y="206618"/>
                      </a:moveTo>
                      <a:lnTo>
                        <a:pt x="338917" y="224858"/>
                      </a:lnTo>
                      <a:lnTo>
                        <a:pt x="344568" y="239045"/>
                      </a:lnTo>
                      <a:lnTo>
                        <a:pt x="356999" y="245125"/>
                      </a:lnTo>
                      <a:lnTo>
                        <a:pt x="368300" y="251206"/>
                      </a:lnTo>
                      <a:lnTo>
                        <a:pt x="384122" y="252219"/>
                      </a:lnTo>
                      <a:lnTo>
                        <a:pt x="402204" y="249179"/>
                      </a:lnTo>
                      <a:lnTo>
                        <a:pt x="422546" y="247152"/>
                      </a:lnTo>
                      <a:lnTo>
                        <a:pt x="429327" y="238032"/>
                      </a:lnTo>
                      <a:lnTo>
                        <a:pt x="447408" y="234992"/>
                      </a:lnTo>
                      <a:lnTo>
                        <a:pt x="457580" y="239045"/>
                      </a:lnTo>
                      <a:lnTo>
                        <a:pt x="479052" y="239045"/>
                      </a:lnTo>
                      <a:lnTo>
                        <a:pt x="494874" y="230939"/>
                      </a:lnTo>
                      <a:lnTo>
                        <a:pt x="500524" y="221818"/>
                      </a:lnTo>
                      <a:lnTo>
                        <a:pt x="506175" y="205605"/>
                      </a:lnTo>
                      <a:lnTo>
                        <a:pt x="509565" y="194458"/>
                      </a:lnTo>
                      <a:lnTo>
                        <a:pt x="520866" y="189391"/>
                      </a:lnTo>
                      <a:lnTo>
                        <a:pt x="526517" y="180271"/>
                      </a:lnTo>
                      <a:lnTo>
                        <a:pt x="535558" y="171151"/>
                      </a:lnTo>
                      <a:lnTo>
                        <a:pt x="544599" y="162030"/>
                      </a:lnTo>
                      <a:lnTo>
                        <a:pt x="549119" y="139736"/>
                      </a:lnTo>
                      <a:lnTo>
                        <a:pt x="558160" y="127576"/>
                      </a:lnTo>
                      <a:lnTo>
                        <a:pt x="580762" y="132643"/>
                      </a:lnTo>
                      <a:lnTo>
                        <a:pt x="603365" y="130616"/>
                      </a:lnTo>
                      <a:cubicBezTo>
                        <a:pt x="606756" y="128589"/>
                        <a:pt x="609015" y="122509"/>
                        <a:pt x="610146" y="119469"/>
                      </a:cubicBezTo>
                      <a:cubicBezTo>
                        <a:pt x="619187" y="122509"/>
                        <a:pt x="622577" y="121496"/>
                        <a:pt x="631618" y="124536"/>
                      </a:cubicBezTo>
                      <a:cubicBezTo>
                        <a:pt x="631618" y="124536"/>
                        <a:pt x="633878" y="117442"/>
                        <a:pt x="633878" y="117442"/>
                      </a:cubicBezTo>
                      <a:cubicBezTo>
                        <a:pt x="636139" y="115416"/>
                        <a:pt x="640659" y="117442"/>
                        <a:pt x="641789" y="115416"/>
                      </a:cubicBezTo>
                      <a:cubicBezTo>
                        <a:pt x="642919" y="112376"/>
                        <a:pt x="640659" y="108322"/>
                        <a:pt x="641789" y="105282"/>
                      </a:cubicBezTo>
                      <a:cubicBezTo>
                        <a:pt x="638399" y="104269"/>
                        <a:pt x="633878" y="105282"/>
                        <a:pt x="633878" y="103255"/>
                      </a:cubicBezTo>
                      <a:cubicBezTo>
                        <a:pt x="631618" y="97175"/>
                        <a:pt x="637268" y="96162"/>
                        <a:pt x="636139" y="93122"/>
                      </a:cubicBezTo>
                      <a:cubicBezTo>
                        <a:pt x="644050" y="92109"/>
                        <a:pt x="664392" y="94135"/>
                        <a:pt x="668912" y="82988"/>
                      </a:cubicBezTo>
                      <a:lnTo>
                        <a:pt x="668912" y="77922"/>
                      </a:lnTo>
                      <a:cubicBezTo>
                        <a:pt x="659871" y="71841"/>
                        <a:pt x="655351" y="67788"/>
                        <a:pt x="649700" y="58668"/>
                      </a:cubicBezTo>
                      <a:cubicBezTo>
                        <a:pt x="645179" y="59681"/>
                        <a:pt x="638399" y="62721"/>
                        <a:pt x="636139" y="60695"/>
                      </a:cubicBezTo>
                      <a:cubicBezTo>
                        <a:pt x="635009" y="59681"/>
                        <a:pt x="637268" y="51574"/>
                        <a:pt x="636139" y="50561"/>
                      </a:cubicBezTo>
                      <a:cubicBezTo>
                        <a:pt x="632748" y="48534"/>
                        <a:pt x="628228" y="50561"/>
                        <a:pt x="624837" y="48534"/>
                      </a:cubicBezTo>
                      <a:cubicBezTo>
                        <a:pt x="622577" y="47521"/>
                        <a:pt x="627098" y="36374"/>
                        <a:pt x="627098" y="34347"/>
                      </a:cubicBezTo>
                      <a:cubicBezTo>
                        <a:pt x="624837" y="32321"/>
                        <a:pt x="620317" y="25227"/>
                        <a:pt x="619187" y="24214"/>
                      </a:cubicBezTo>
                      <a:cubicBezTo>
                        <a:pt x="616926" y="23200"/>
                        <a:pt x="612406" y="25227"/>
                        <a:pt x="611276" y="24214"/>
                      </a:cubicBezTo>
                      <a:cubicBezTo>
                        <a:pt x="610146" y="23200"/>
                        <a:pt x="612406" y="16107"/>
                        <a:pt x="611276" y="14080"/>
                      </a:cubicBezTo>
                      <a:cubicBezTo>
                        <a:pt x="598845" y="19147"/>
                        <a:pt x="611276" y="17120"/>
                        <a:pt x="605625" y="21174"/>
                      </a:cubicBezTo>
                      <a:cubicBezTo>
                        <a:pt x="604495" y="20160"/>
                        <a:pt x="596584" y="21174"/>
                        <a:pt x="594324" y="21174"/>
                      </a:cubicBezTo>
                      <a:cubicBezTo>
                        <a:pt x="590934" y="14080"/>
                        <a:pt x="594324" y="15094"/>
                        <a:pt x="588673" y="11040"/>
                      </a:cubicBezTo>
                      <a:lnTo>
                        <a:pt x="586413" y="9013"/>
                      </a:lnTo>
                      <a:cubicBezTo>
                        <a:pt x="576242" y="37387"/>
                        <a:pt x="562681" y="51574"/>
                        <a:pt x="540078" y="67788"/>
                      </a:cubicBezTo>
                      <a:cubicBezTo>
                        <a:pt x="544599" y="73868"/>
                        <a:pt x="538949" y="69815"/>
                        <a:pt x="547989" y="72855"/>
                      </a:cubicBezTo>
                      <a:cubicBezTo>
                        <a:pt x="547989" y="72855"/>
                        <a:pt x="547989" y="81975"/>
                        <a:pt x="547989" y="82988"/>
                      </a:cubicBezTo>
                      <a:cubicBezTo>
                        <a:pt x="549119" y="80962"/>
                        <a:pt x="545729" y="95149"/>
                        <a:pt x="535558" y="98189"/>
                      </a:cubicBezTo>
                      <a:lnTo>
                        <a:pt x="543469" y="119469"/>
                      </a:lnTo>
                      <a:lnTo>
                        <a:pt x="536688" y="122509"/>
                      </a:lnTo>
                      <a:lnTo>
                        <a:pt x="527647" y="117442"/>
                      </a:lnTo>
                      <a:lnTo>
                        <a:pt x="521997" y="125549"/>
                      </a:lnTo>
                      <a:lnTo>
                        <a:pt x="518606" y="130616"/>
                      </a:lnTo>
                      <a:lnTo>
                        <a:pt x="506175" y="131630"/>
                      </a:lnTo>
                      <a:lnTo>
                        <a:pt x="489223" y="116429"/>
                      </a:lnTo>
                      <a:cubicBezTo>
                        <a:pt x="489223" y="118456"/>
                        <a:pt x="490353" y="121496"/>
                        <a:pt x="489223" y="123523"/>
                      </a:cubicBezTo>
                      <a:lnTo>
                        <a:pt x="459840" y="167097"/>
                      </a:lnTo>
                      <a:cubicBezTo>
                        <a:pt x="454190" y="169124"/>
                        <a:pt x="444018" y="166084"/>
                        <a:pt x="438368" y="167097"/>
                      </a:cubicBezTo>
                      <a:cubicBezTo>
                        <a:pt x="429327" y="168110"/>
                        <a:pt x="397684" y="178244"/>
                        <a:pt x="395423" y="184324"/>
                      </a:cubicBezTo>
                      <a:cubicBezTo>
                        <a:pt x="393163" y="189391"/>
                        <a:pt x="398813" y="196484"/>
                        <a:pt x="397684" y="198511"/>
                      </a:cubicBezTo>
                      <a:lnTo>
                        <a:pt x="395423" y="198511"/>
                      </a:lnTo>
                      <a:cubicBezTo>
                        <a:pt x="394293" y="203578"/>
                        <a:pt x="394293" y="208645"/>
                        <a:pt x="393163" y="215738"/>
                      </a:cubicBezTo>
                      <a:cubicBezTo>
                        <a:pt x="393163" y="215738"/>
                        <a:pt x="385252" y="215738"/>
                        <a:pt x="385252" y="215738"/>
                      </a:cubicBezTo>
                      <a:cubicBezTo>
                        <a:pt x="385252" y="215738"/>
                        <a:pt x="385252" y="225872"/>
                        <a:pt x="385252" y="225872"/>
                      </a:cubicBezTo>
                      <a:cubicBezTo>
                        <a:pt x="367170" y="229925"/>
                        <a:pt x="371690" y="215738"/>
                        <a:pt x="366040" y="213711"/>
                      </a:cubicBezTo>
                      <a:cubicBezTo>
                        <a:pt x="355869" y="209658"/>
                        <a:pt x="355869" y="218778"/>
                        <a:pt x="346828" y="215738"/>
                      </a:cubicBezTo>
                      <a:cubicBezTo>
                        <a:pt x="344568" y="214725"/>
                        <a:pt x="342307" y="210671"/>
                        <a:pt x="340047" y="207631"/>
                      </a:cubicBezTo>
                      <a:lnTo>
                        <a:pt x="338917" y="206618"/>
                      </a:lnTo>
                      <a:close/>
                      <a:moveTo>
                        <a:pt x="10052" y="56641"/>
                      </a:moveTo>
                      <a:cubicBezTo>
                        <a:pt x="11183" y="62721"/>
                        <a:pt x="20223" y="74882"/>
                        <a:pt x="21353" y="80962"/>
                      </a:cubicBezTo>
                      <a:cubicBezTo>
                        <a:pt x="21353" y="84002"/>
                        <a:pt x="16833" y="91095"/>
                        <a:pt x="19094" y="98189"/>
                      </a:cubicBezTo>
                      <a:cubicBezTo>
                        <a:pt x="20223" y="104269"/>
                        <a:pt x="31525" y="123523"/>
                        <a:pt x="32654" y="132643"/>
                      </a:cubicBezTo>
                      <a:cubicBezTo>
                        <a:pt x="33785" y="136696"/>
                        <a:pt x="30395" y="142776"/>
                        <a:pt x="32654" y="146830"/>
                      </a:cubicBezTo>
                      <a:cubicBezTo>
                        <a:pt x="33785" y="149870"/>
                        <a:pt x="46216" y="154937"/>
                        <a:pt x="48476" y="161017"/>
                      </a:cubicBezTo>
                      <a:cubicBezTo>
                        <a:pt x="51867" y="168110"/>
                        <a:pt x="47346" y="177231"/>
                        <a:pt x="50737" y="185337"/>
                      </a:cubicBezTo>
                      <a:cubicBezTo>
                        <a:pt x="54127" y="191418"/>
                        <a:pt x="74469" y="197498"/>
                        <a:pt x="80120" y="202565"/>
                      </a:cubicBezTo>
                      <a:cubicBezTo>
                        <a:pt x="82380" y="204591"/>
                        <a:pt x="82380" y="210671"/>
                        <a:pt x="85770" y="212698"/>
                      </a:cubicBezTo>
                      <a:cubicBezTo>
                        <a:pt x="97071" y="220805"/>
                        <a:pt x="109503" y="223845"/>
                        <a:pt x="120804" y="231952"/>
                      </a:cubicBezTo>
                      <a:lnTo>
                        <a:pt x="120804" y="226885"/>
                      </a:lnTo>
                      <a:cubicBezTo>
                        <a:pt x="124194" y="225872"/>
                        <a:pt x="126455" y="219792"/>
                        <a:pt x="128715" y="219792"/>
                      </a:cubicBezTo>
                      <a:cubicBezTo>
                        <a:pt x="134365" y="217765"/>
                        <a:pt x="141146" y="220805"/>
                        <a:pt x="147927" y="219792"/>
                      </a:cubicBezTo>
                      <a:cubicBezTo>
                        <a:pt x="146797" y="215738"/>
                        <a:pt x="149057" y="211685"/>
                        <a:pt x="147927" y="207631"/>
                      </a:cubicBezTo>
                      <a:cubicBezTo>
                        <a:pt x="146797" y="202565"/>
                        <a:pt x="135496" y="196484"/>
                        <a:pt x="134365" y="190404"/>
                      </a:cubicBezTo>
                      <a:cubicBezTo>
                        <a:pt x="133235" y="187364"/>
                        <a:pt x="135496" y="183311"/>
                        <a:pt x="134365" y="180271"/>
                      </a:cubicBezTo>
                      <a:cubicBezTo>
                        <a:pt x="130975" y="175204"/>
                        <a:pt x="123064" y="175204"/>
                        <a:pt x="120804" y="168110"/>
                      </a:cubicBezTo>
                      <a:cubicBezTo>
                        <a:pt x="118544" y="158990"/>
                        <a:pt x="123064" y="143790"/>
                        <a:pt x="123064" y="138723"/>
                      </a:cubicBezTo>
                      <a:cubicBezTo>
                        <a:pt x="124194" y="119469"/>
                        <a:pt x="125324" y="106296"/>
                        <a:pt x="117413" y="92109"/>
                      </a:cubicBezTo>
                      <a:cubicBezTo>
                        <a:pt x="116284" y="90082"/>
                        <a:pt x="110633" y="89069"/>
                        <a:pt x="109503" y="87042"/>
                      </a:cubicBezTo>
                      <a:cubicBezTo>
                        <a:pt x="101592" y="74882"/>
                        <a:pt x="103852" y="66775"/>
                        <a:pt x="93681" y="57654"/>
                      </a:cubicBezTo>
                      <a:cubicBezTo>
                        <a:pt x="88031" y="53601"/>
                        <a:pt x="78990" y="50561"/>
                        <a:pt x="74469" y="45494"/>
                      </a:cubicBezTo>
                      <a:lnTo>
                        <a:pt x="67689" y="52588"/>
                      </a:lnTo>
                      <a:lnTo>
                        <a:pt x="66558" y="67788"/>
                      </a:lnTo>
                      <a:lnTo>
                        <a:pt x="55257" y="66775"/>
                      </a:lnTo>
                      <a:lnTo>
                        <a:pt x="52997" y="74882"/>
                      </a:lnTo>
                      <a:lnTo>
                        <a:pt x="42826" y="75895"/>
                      </a:lnTo>
                      <a:lnTo>
                        <a:pt x="42826" y="59681"/>
                      </a:lnTo>
                      <a:lnTo>
                        <a:pt x="25874" y="50561"/>
                      </a:lnTo>
                      <a:lnTo>
                        <a:pt x="10052" y="54614"/>
                      </a:lnTo>
                      <a:lnTo>
                        <a:pt x="10052" y="5664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2" name="Freeform: Shape 341">
                  <a:extLst>
                    <a:ext uri="{FF2B5EF4-FFF2-40B4-BE49-F238E27FC236}">
                      <a16:creationId xmlns:a16="http://schemas.microsoft.com/office/drawing/2014/main" id="{507F9A81-DB45-4641-8EB0-725CF07523CB}"/>
                    </a:ext>
                  </a:extLst>
                </p:cNvPr>
                <p:cNvSpPr/>
                <p:nvPr/>
              </p:nvSpPr>
              <p:spPr>
                <a:xfrm>
                  <a:off x="7024446" y="4636606"/>
                  <a:ext cx="135614" cy="314141"/>
                </a:xfrm>
                <a:custGeom>
                  <a:avLst/>
                  <a:gdLst>
                    <a:gd name="connsiteX0" fmla="*/ 71176 w 135614"/>
                    <a:gd name="connsiteY0" fmla="*/ 15093 h 314140"/>
                    <a:gd name="connsiteX1" fmla="*/ 65526 w 135614"/>
                    <a:gd name="connsiteY1" fmla="*/ 15093 h 314140"/>
                    <a:gd name="connsiteX2" fmla="*/ 32753 w 135614"/>
                    <a:gd name="connsiteY2" fmla="*/ 9013 h 314140"/>
                    <a:gd name="connsiteX3" fmla="*/ 42923 w 135614"/>
                    <a:gd name="connsiteY3" fmla="*/ 25227 h 314140"/>
                    <a:gd name="connsiteX4" fmla="*/ 48574 w 135614"/>
                    <a:gd name="connsiteY4" fmla="*/ 49548 h 314140"/>
                    <a:gd name="connsiteX5" fmla="*/ 40663 w 135614"/>
                    <a:gd name="connsiteY5" fmla="*/ 67788 h 314140"/>
                    <a:gd name="connsiteX6" fmla="*/ 28232 w 135614"/>
                    <a:gd name="connsiteY6" fmla="*/ 81975 h 314140"/>
                    <a:gd name="connsiteX7" fmla="*/ 30492 w 135614"/>
                    <a:gd name="connsiteY7" fmla="*/ 105282 h 314140"/>
                    <a:gd name="connsiteX8" fmla="*/ 41794 w 135614"/>
                    <a:gd name="connsiteY8" fmla="*/ 114402 h 314140"/>
                    <a:gd name="connsiteX9" fmla="*/ 20321 w 135614"/>
                    <a:gd name="connsiteY9" fmla="*/ 133656 h 314140"/>
                    <a:gd name="connsiteX10" fmla="*/ 15801 w 135614"/>
                    <a:gd name="connsiteY10" fmla="*/ 160004 h 314140"/>
                    <a:gd name="connsiteX11" fmla="*/ 10150 w 135614"/>
                    <a:gd name="connsiteY11" fmla="*/ 180271 h 314140"/>
                    <a:gd name="connsiteX12" fmla="*/ 15801 w 135614"/>
                    <a:gd name="connsiteY12" fmla="*/ 200538 h 314140"/>
                    <a:gd name="connsiteX13" fmla="*/ 31622 w 135614"/>
                    <a:gd name="connsiteY13" fmla="*/ 211685 h 314140"/>
                    <a:gd name="connsiteX14" fmla="*/ 37273 w 135614"/>
                    <a:gd name="connsiteY14" fmla="*/ 224858 h 314140"/>
                    <a:gd name="connsiteX15" fmla="*/ 61006 w 135614"/>
                    <a:gd name="connsiteY15" fmla="*/ 216752 h 314140"/>
                    <a:gd name="connsiteX16" fmla="*/ 66656 w 135614"/>
                    <a:gd name="connsiteY16" fmla="*/ 230939 h 314140"/>
                    <a:gd name="connsiteX17" fmla="*/ 63265 w 135614"/>
                    <a:gd name="connsiteY17" fmla="*/ 255259 h 314140"/>
                    <a:gd name="connsiteX18" fmla="*/ 62136 w 135614"/>
                    <a:gd name="connsiteY18" fmla="*/ 271473 h 314140"/>
                    <a:gd name="connsiteX19" fmla="*/ 83608 w 135614"/>
                    <a:gd name="connsiteY19" fmla="*/ 289713 h 314140"/>
                    <a:gd name="connsiteX20" fmla="*/ 94909 w 135614"/>
                    <a:gd name="connsiteY20" fmla="*/ 294780 h 314140"/>
                    <a:gd name="connsiteX21" fmla="*/ 100560 w 135614"/>
                    <a:gd name="connsiteY21" fmla="*/ 308967 h 314140"/>
                    <a:gd name="connsiteX22" fmla="*/ 110731 w 135614"/>
                    <a:gd name="connsiteY22" fmla="*/ 292753 h 314140"/>
                    <a:gd name="connsiteX23" fmla="*/ 107340 w 135614"/>
                    <a:gd name="connsiteY23" fmla="*/ 263366 h 314140"/>
                    <a:gd name="connsiteX24" fmla="*/ 128813 w 135614"/>
                    <a:gd name="connsiteY24" fmla="*/ 255259 h 314140"/>
                    <a:gd name="connsiteX25" fmla="*/ 127682 w 135614"/>
                    <a:gd name="connsiteY25" fmla="*/ 237019 h 314140"/>
                    <a:gd name="connsiteX26" fmla="*/ 127682 w 135614"/>
                    <a:gd name="connsiteY26" fmla="*/ 211685 h 314140"/>
                    <a:gd name="connsiteX27" fmla="*/ 115251 w 135614"/>
                    <a:gd name="connsiteY27" fmla="*/ 197498 h 314140"/>
                    <a:gd name="connsiteX28" fmla="*/ 103950 w 135614"/>
                    <a:gd name="connsiteY28" fmla="*/ 174190 h 314140"/>
                    <a:gd name="connsiteX29" fmla="*/ 98299 w 135614"/>
                    <a:gd name="connsiteY29" fmla="*/ 170137 h 314140"/>
                    <a:gd name="connsiteX30" fmla="*/ 100560 w 135614"/>
                    <a:gd name="connsiteY30" fmla="*/ 176217 h 314140"/>
                    <a:gd name="connsiteX31" fmla="*/ 106210 w 135614"/>
                    <a:gd name="connsiteY31" fmla="*/ 178244 h 314140"/>
                    <a:gd name="connsiteX32" fmla="*/ 106210 w 135614"/>
                    <a:gd name="connsiteY32" fmla="*/ 190404 h 314140"/>
                    <a:gd name="connsiteX33" fmla="*/ 94909 w 135614"/>
                    <a:gd name="connsiteY33" fmla="*/ 183311 h 314140"/>
                    <a:gd name="connsiteX34" fmla="*/ 86998 w 135614"/>
                    <a:gd name="connsiteY34" fmla="*/ 185337 h 314140"/>
                    <a:gd name="connsiteX35" fmla="*/ 86998 w 135614"/>
                    <a:gd name="connsiteY35" fmla="*/ 166084 h 314140"/>
                    <a:gd name="connsiteX36" fmla="*/ 79087 w 135614"/>
                    <a:gd name="connsiteY36" fmla="*/ 161017 h 314140"/>
                    <a:gd name="connsiteX37" fmla="*/ 81348 w 135614"/>
                    <a:gd name="connsiteY37" fmla="*/ 143790 h 314140"/>
                    <a:gd name="connsiteX38" fmla="*/ 75697 w 135614"/>
                    <a:gd name="connsiteY38" fmla="*/ 131629 h 314140"/>
                    <a:gd name="connsiteX39" fmla="*/ 77957 w 135614"/>
                    <a:gd name="connsiteY39" fmla="*/ 109336 h 314140"/>
                    <a:gd name="connsiteX40" fmla="*/ 66656 w 135614"/>
                    <a:gd name="connsiteY40" fmla="*/ 107309 h 314140"/>
                    <a:gd name="connsiteX41" fmla="*/ 66656 w 135614"/>
                    <a:gd name="connsiteY41" fmla="*/ 100216 h 314140"/>
                    <a:gd name="connsiteX42" fmla="*/ 77957 w 135614"/>
                    <a:gd name="connsiteY42" fmla="*/ 82988 h 314140"/>
                    <a:gd name="connsiteX43" fmla="*/ 75697 w 135614"/>
                    <a:gd name="connsiteY43" fmla="*/ 32321 h 314140"/>
                    <a:gd name="connsiteX44" fmla="*/ 71176 w 135614"/>
                    <a:gd name="connsiteY44" fmla="*/ 15093 h 31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5614" h="314140">
                      <a:moveTo>
                        <a:pt x="71176" y="15093"/>
                      </a:moveTo>
                      <a:lnTo>
                        <a:pt x="65526" y="15093"/>
                      </a:lnTo>
                      <a:lnTo>
                        <a:pt x="32753" y="9013"/>
                      </a:lnTo>
                      <a:cubicBezTo>
                        <a:pt x="32753" y="9013"/>
                        <a:pt x="37273" y="22187"/>
                        <a:pt x="42923" y="25227"/>
                      </a:cubicBezTo>
                      <a:cubicBezTo>
                        <a:pt x="48574" y="28267"/>
                        <a:pt x="41794" y="44481"/>
                        <a:pt x="48574" y="49548"/>
                      </a:cubicBezTo>
                      <a:cubicBezTo>
                        <a:pt x="55355" y="54614"/>
                        <a:pt x="44054" y="61708"/>
                        <a:pt x="40663" y="67788"/>
                      </a:cubicBezTo>
                      <a:cubicBezTo>
                        <a:pt x="37273" y="73868"/>
                        <a:pt x="24842" y="73868"/>
                        <a:pt x="28232" y="81975"/>
                      </a:cubicBezTo>
                      <a:cubicBezTo>
                        <a:pt x="31622" y="90082"/>
                        <a:pt x="31622" y="96162"/>
                        <a:pt x="30492" y="105282"/>
                      </a:cubicBezTo>
                      <a:cubicBezTo>
                        <a:pt x="29362" y="114402"/>
                        <a:pt x="39533" y="104269"/>
                        <a:pt x="41794" y="114402"/>
                      </a:cubicBezTo>
                      <a:cubicBezTo>
                        <a:pt x="44054" y="124536"/>
                        <a:pt x="27102" y="128589"/>
                        <a:pt x="20321" y="133656"/>
                      </a:cubicBezTo>
                      <a:cubicBezTo>
                        <a:pt x="13541" y="138723"/>
                        <a:pt x="13541" y="152910"/>
                        <a:pt x="15801" y="160004"/>
                      </a:cubicBezTo>
                      <a:cubicBezTo>
                        <a:pt x="18061" y="167097"/>
                        <a:pt x="9020" y="174190"/>
                        <a:pt x="10150" y="180271"/>
                      </a:cubicBezTo>
                      <a:cubicBezTo>
                        <a:pt x="11280" y="186351"/>
                        <a:pt x="15801" y="200538"/>
                        <a:pt x="15801" y="200538"/>
                      </a:cubicBezTo>
                      <a:cubicBezTo>
                        <a:pt x="15801" y="200538"/>
                        <a:pt x="28232" y="204591"/>
                        <a:pt x="31622" y="211685"/>
                      </a:cubicBezTo>
                      <a:cubicBezTo>
                        <a:pt x="35012" y="218778"/>
                        <a:pt x="30492" y="226885"/>
                        <a:pt x="37273" y="224858"/>
                      </a:cubicBezTo>
                      <a:cubicBezTo>
                        <a:pt x="44054" y="222831"/>
                        <a:pt x="61006" y="216752"/>
                        <a:pt x="61006" y="216752"/>
                      </a:cubicBezTo>
                      <a:cubicBezTo>
                        <a:pt x="61006" y="216752"/>
                        <a:pt x="66656" y="222831"/>
                        <a:pt x="66656" y="230939"/>
                      </a:cubicBezTo>
                      <a:cubicBezTo>
                        <a:pt x="66656" y="239045"/>
                        <a:pt x="67786" y="249179"/>
                        <a:pt x="63265" y="255259"/>
                      </a:cubicBezTo>
                      <a:cubicBezTo>
                        <a:pt x="58745" y="261339"/>
                        <a:pt x="56485" y="266406"/>
                        <a:pt x="62136" y="271473"/>
                      </a:cubicBezTo>
                      <a:cubicBezTo>
                        <a:pt x="67786" y="276540"/>
                        <a:pt x="74567" y="284646"/>
                        <a:pt x="83608" y="289713"/>
                      </a:cubicBezTo>
                      <a:cubicBezTo>
                        <a:pt x="92649" y="294780"/>
                        <a:pt x="94909" y="294780"/>
                        <a:pt x="94909" y="294780"/>
                      </a:cubicBezTo>
                      <a:cubicBezTo>
                        <a:pt x="94909" y="294780"/>
                        <a:pt x="93779" y="309980"/>
                        <a:pt x="100560" y="308967"/>
                      </a:cubicBezTo>
                      <a:cubicBezTo>
                        <a:pt x="107340" y="307954"/>
                        <a:pt x="116381" y="297820"/>
                        <a:pt x="110731" y="292753"/>
                      </a:cubicBezTo>
                      <a:cubicBezTo>
                        <a:pt x="105080" y="287687"/>
                        <a:pt x="100560" y="261339"/>
                        <a:pt x="107340" y="263366"/>
                      </a:cubicBezTo>
                      <a:cubicBezTo>
                        <a:pt x="114121" y="265393"/>
                        <a:pt x="127682" y="267419"/>
                        <a:pt x="128813" y="255259"/>
                      </a:cubicBezTo>
                      <a:cubicBezTo>
                        <a:pt x="129943" y="243099"/>
                        <a:pt x="123162" y="250192"/>
                        <a:pt x="127682" y="237019"/>
                      </a:cubicBezTo>
                      <a:cubicBezTo>
                        <a:pt x="132203" y="223845"/>
                        <a:pt x="134463" y="213711"/>
                        <a:pt x="127682" y="211685"/>
                      </a:cubicBezTo>
                      <a:cubicBezTo>
                        <a:pt x="120902" y="209658"/>
                        <a:pt x="117512" y="207631"/>
                        <a:pt x="115251" y="197498"/>
                      </a:cubicBezTo>
                      <a:cubicBezTo>
                        <a:pt x="112991" y="187364"/>
                        <a:pt x="110731" y="181284"/>
                        <a:pt x="103950" y="174190"/>
                      </a:cubicBezTo>
                      <a:cubicBezTo>
                        <a:pt x="101690" y="172164"/>
                        <a:pt x="100560" y="171151"/>
                        <a:pt x="98299" y="170137"/>
                      </a:cubicBezTo>
                      <a:cubicBezTo>
                        <a:pt x="98299" y="170137"/>
                        <a:pt x="98299" y="174190"/>
                        <a:pt x="100560" y="176217"/>
                      </a:cubicBezTo>
                      <a:cubicBezTo>
                        <a:pt x="103950" y="177230"/>
                        <a:pt x="106210" y="178244"/>
                        <a:pt x="106210" y="178244"/>
                      </a:cubicBezTo>
                      <a:cubicBezTo>
                        <a:pt x="107340" y="182297"/>
                        <a:pt x="105080" y="186351"/>
                        <a:pt x="106210" y="190404"/>
                      </a:cubicBezTo>
                      <a:cubicBezTo>
                        <a:pt x="103950" y="189391"/>
                        <a:pt x="98299" y="183311"/>
                        <a:pt x="94909" y="183311"/>
                      </a:cubicBezTo>
                      <a:cubicBezTo>
                        <a:pt x="89259" y="182297"/>
                        <a:pt x="93779" y="187364"/>
                        <a:pt x="86998" y="185337"/>
                      </a:cubicBezTo>
                      <a:cubicBezTo>
                        <a:pt x="85868" y="179257"/>
                        <a:pt x="89259" y="171151"/>
                        <a:pt x="86998" y="166084"/>
                      </a:cubicBezTo>
                      <a:cubicBezTo>
                        <a:pt x="85868" y="164057"/>
                        <a:pt x="79087" y="163043"/>
                        <a:pt x="79087" y="161017"/>
                      </a:cubicBezTo>
                      <a:cubicBezTo>
                        <a:pt x="77957" y="157977"/>
                        <a:pt x="77957" y="142776"/>
                        <a:pt x="81348" y="143790"/>
                      </a:cubicBezTo>
                      <a:cubicBezTo>
                        <a:pt x="85868" y="144803"/>
                        <a:pt x="75697" y="131629"/>
                        <a:pt x="75697" y="131629"/>
                      </a:cubicBezTo>
                      <a:cubicBezTo>
                        <a:pt x="73437" y="122509"/>
                        <a:pt x="77957" y="116429"/>
                        <a:pt x="77957" y="109336"/>
                      </a:cubicBezTo>
                      <a:cubicBezTo>
                        <a:pt x="73437" y="107309"/>
                        <a:pt x="73437" y="108322"/>
                        <a:pt x="66656" y="107309"/>
                      </a:cubicBezTo>
                      <a:cubicBezTo>
                        <a:pt x="66656" y="106295"/>
                        <a:pt x="66656" y="100216"/>
                        <a:pt x="66656" y="100216"/>
                      </a:cubicBezTo>
                      <a:lnTo>
                        <a:pt x="77957" y="82988"/>
                      </a:lnTo>
                      <a:cubicBezTo>
                        <a:pt x="80217" y="69815"/>
                        <a:pt x="77957" y="47521"/>
                        <a:pt x="75697" y="32321"/>
                      </a:cubicBezTo>
                      <a:cubicBezTo>
                        <a:pt x="73437" y="35360"/>
                        <a:pt x="62136" y="15093"/>
                        <a:pt x="71176" y="1509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3" name="Freeform: Shape 342">
                  <a:extLst>
                    <a:ext uri="{FF2B5EF4-FFF2-40B4-BE49-F238E27FC236}">
                      <a16:creationId xmlns:a16="http://schemas.microsoft.com/office/drawing/2014/main" id="{3D1E7321-2BAA-4A1F-97EE-F1BF71B30737}"/>
                    </a:ext>
                  </a:extLst>
                </p:cNvPr>
                <p:cNvSpPr/>
                <p:nvPr/>
              </p:nvSpPr>
              <p:spPr>
                <a:xfrm>
                  <a:off x="7389070" y="4760235"/>
                  <a:ext cx="293831" cy="547213"/>
                </a:xfrm>
                <a:custGeom>
                  <a:avLst/>
                  <a:gdLst>
                    <a:gd name="connsiteX0" fmla="*/ 267092 w 293831"/>
                    <a:gd name="connsiteY0" fmla="*/ 193444 h 547212"/>
                    <a:gd name="connsiteX1" fmla="*/ 264831 w 293831"/>
                    <a:gd name="connsiteY1" fmla="*/ 203578 h 547212"/>
                    <a:gd name="connsiteX2" fmla="*/ 267092 w 293831"/>
                    <a:gd name="connsiteY2" fmla="*/ 193444 h 547212"/>
                    <a:gd name="connsiteX3" fmla="*/ 229797 w 293831"/>
                    <a:gd name="connsiteY3" fmla="*/ 9013 h 547212"/>
                    <a:gd name="connsiteX4" fmla="*/ 218496 w 293831"/>
                    <a:gd name="connsiteY4" fmla="*/ 23200 h 547212"/>
                    <a:gd name="connsiteX5" fmla="*/ 216236 w 293831"/>
                    <a:gd name="connsiteY5" fmla="*/ 66775 h 547212"/>
                    <a:gd name="connsiteX6" fmla="*/ 202675 w 293831"/>
                    <a:gd name="connsiteY6" fmla="*/ 68801 h 547212"/>
                    <a:gd name="connsiteX7" fmla="*/ 200414 w 293831"/>
                    <a:gd name="connsiteY7" fmla="*/ 73868 h 547212"/>
                    <a:gd name="connsiteX8" fmla="*/ 189113 w 293831"/>
                    <a:gd name="connsiteY8" fmla="*/ 71842 h 547212"/>
                    <a:gd name="connsiteX9" fmla="*/ 191373 w 293831"/>
                    <a:gd name="connsiteY9" fmla="*/ 94135 h 547212"/>
                    <a:gd name="connsiteX10" fmla="*/ 183462 w 293831"/>
                    <a:gd name="connsiteY10" fmla="*/ 96162 h 547212"/>
                    <a:gd name="connsiteX11" fmla="*/ 185723 w 293831"/>
                    <a:gd name="connsiteY11" fmla="*/ 106296 h 547212"/>
                    <a:gd name="connsiteX12" fmla="*/ 177812 w 293831"/>
                    <a:gd name="connsiteY12" fmla="*/ 106296 h 547212"/>
                    <a:gd name="connsiteX13" fmla="*/ 175551 w 293831"/>
                    <a:gd name="connsiteY13" fmla="*/ 118456 h 547212"/>
                    <a:gd name="connsiteX14" fmla="*/ 167640 w 293831"/>
                    <a:gd name="connsiteY14" fmla="*/ 111363 h 547212"/>
                    <a:gd name="connsiteX15" fmla="*/ 159730 w 293831"/>
                    <a:gd name="connsiteY15" fmla="*/ 116429 h 547212"/>
                    <a:gd name="connsiteX16" fmla="*/ 159730 w 293831"/>
                    <a:gd name="connsiteY16" fmla="*/ 140750 h 547212"/>
                    <a:gd name="connsiteX17" fmla="*/ 154080 w 293831"/>
                    <a:gd name="connsiteY17" fmla="*/ 135683 h 547212"/>
                    <a:gd name="connsiteX18" fmla="*/ 132607 w 293831"/>
                    <a:gd name="connsiteY18" fmla="*/ 142777 h 547212"/>
                    <a:gd name="connsiteX19" fmla="*/ 130347 w 293831"/>
                    <a:gd name="connsiteY19" fmla="*/ 149870 h 547212"/>
                    <a:gd name="connsiteX20" fmla="*/ 108875 w 293831"/>
                    <a:gd name="connsiteY20" fmla="*/ 144803 h 547212"/>
                    <a:gd name="connsiteX21" fmla="*/ 106614 w 293831"/>
                    <a:gd name="connsiteY21" fmla="*/ 154937 h 547212"/>
                    <a:gd name="connsiteX22" fmla="*/ 95313 w 293831"/>
                    <a:gd name="connsiteY22" fmla="*/ 152910 h 547212"/>
                    <a:gd name="connsiteX23" fmla="*/ 93053 w 293831"/>
                    <a:gd name="connsiteY23" fmla="*/ 157977 h 547212"/>
                    <a:gd name="connsiteX24" fmla="*/ 77231 w 293831"/>
                    <a:gd name="connsiteY24" fmla="*/ 163044 h 547212"/>
                    <a:gd name="connsiteX25" fmla="*/ 74971 w 293831"/>
                    <a:gd name="connsiteY25" fmla="*/ 170137 h 547212"/>
                    <a:gd name="connsiteX26" fmla="*/ 59149 w 293831"/>
                    <a:gd name="connsiteY26" fmla="*/ 180271 h 547212"/>
                    <a:gd name="connsiteX27" fmla="*/ 53499 w 293831"/>
                    <a:gd name="connsiteY27" fmla="*/ 180271 h 547212"/>
                    <a:gd name="connsiteX28" fmla="*/ 53499 w 293831"/>
                    <a:gd name="connsiteY28" fmla="*/ 190404 h 547212"/>
                    <a:gd name="connsiteX29" fmla="*/ 39937 w 293831"/>
                    <a:gd name="connsiteY29" fmla="*/ 204591 h 547212"/>
                    <a:gd name="connsiteX30" fmla="*/ 51238 w 293831"/>
                    <a:gd name="connsiteY30" fmla="*/ 248166 h 547212"/>
                    <a:gd name="connsiteX31" fmla="*/ 53499 w 293831"/>
                    <a:gd name="connsiteY31" fmla="*/ 277553 h 547212"/>
                    <a:gd name="connsiteX32" fmla="*/ 59149 w 293831"/>
                    <a:gd name="connsiteY32" fmla="*/ 279580 h 547212"/>
                    <a:gd name="connsiteX33" fmla="*/ 61410 w 293831"/>
                    <a:gd name="connsiteY33" fmla="*/ 305927 h 547212"/>
                    <a:gd name="connsiteX34" fmla="*/ 53499 w 293831"/>
                    <a:gd name="connsiteY34" fmla="*/ 310994 h 547212"/>
                    <a:gd name="connsiteX35" fmla="*/ 51238 w 293831"/>
                    <a:gd name="connsiteY35" fmla="*/ 323154 h 547212"/>
                    <a:gd name="connsiteX36" fmla="*/ 35417 w 293831"/>
                    <a:gd name="connsiteY36" fmla="*/ 333288 h 547212"/>
                    <a:gd name="connsiteX37" fmla="*/ 35417 w 293831"/>
                    <a:gd name="connsiteY37" fmla="*/ 347475 h 547212"/>
                    <a:gd name="connsiteX38" fmla="*/ 35417 w 293831"/>
                    <a:gd name="connsiteY38" fmla="*/ 352541 h 547212"/>
                    <a:gd name="connsiteX39" fmla="*/ 16205 w 293831"/>
                    <a:gd name="connsiteY39" fmla="*/ 364702 h 547212"/>
                    <a:gd name="connsiteX40" fmla="*/ 18465 w 293831"/>
                    <a:gd name="connsiteY40" fmla="*/ 381929 h 547212"/>
                    <a:gd name="connsiteX41" fmla="*/ 10554 w 293831"/>
                    <a:gd name="connsiteY41" fmla="*/ 392062 h 547212"/>
                    <a:gd name="connsiteX42" fmla="*/ 21855 w 293831"/>
                    <a:gd name="connsiteY42" fmla="*/ 445770 h 547212"/>
                    <a:gd name="connsiteX43" fmla="*/ 33157 w 293831"/>
                    <a:gd name="connsiteY43" fmla="*/ 452864 h 547212"/>
                    <a:gd name="connsiteX44" fmla="*/ 30896 w 293831"/>
                    <a:gd name="connsiteY44" fmla="*/ 462997 h 547212"/>
                    <a:gd name="connsiteX45" fmla="*/ 36547 w 293831"/>
                    <a:gd name="connsiteY45" fmla="*/ 468064 h 547212"/>
                    <a:gd name="connsiteX46" fmla="*/ 55759 w 293831"/>
                    <a:gd name="connsiteY46" fmla="*/ 516705 h 547212"/>
                    <a:gd name="connsiteX47" fmla="*/ 82882 w 293831"/>
                    <a:gd name="connsiteY47" fmla="*/ 528866 h 547212"/>
                    <a:gd name="connsiteX48" fmla="*/ 94183 w 293831"/>
                    <a:gd name="connsiteY48" fmla="*/ 538999 h 547212"/>
                    <a:gd name="connsiteX49" fmla="*/ 119045 w 293831"/>
                    <a:gd name="connsiteY49" fmla="*/ 528866 h 547212"/>
                    <a:gd name="connsiteX50" fmla="*/ 154080 w 293831"/>
                    <a:gd name="connsiteY50" fmla="*/ 511638 h 547212"/>
                    <a:gd name="connsiteX51" fmla="*/ 154080 w 293831"/>
                    <a:gd name="connsiteY51" fmla="*/ 504545 h 547212"/>
                    <a:gd name="connsiteX52" fmla="*/ 159730 w 293831"/>
                    <a:gd name="connsiteY52" fmla="*/ 502518 h 547212"/>
                    <a:gd name="connsiteX53" fmla="*/ 171031 w 293831"/>
                    <a:gd name="connsiteY53" fmla="*/ 473131 h 547212"/>
                    <a:gd name="connsiteX54" fmla="*/ 173291 w 293831"/>
                    <a:gd name="connsiteY54" fmla="*/ 448810 h 547212"/>
                    <a:gd name="connsiteX55" fmla="*/ 186853 w 293831"/>
                    <a:gd name="connsiteY55" fmla="*/ 426517 h 547212"/>
                    <a:gd name="connsiteX56" fmla="*/ 192503 w 293831"/>
                    <a:gd name="connsiteY56" fmla="*/ 397129 h 547212"/>
                    <a:gd name="connsiteX57" fmla="*/ 198154 w 293831"/>
                    <a:gd name="connsiteY57" fmla="*/ 392062 h 547212"/>
                    <a:gd name="connsiteX58" fmla="*/ 198154 w 293831"/>
                    <a:gd name="connsiteY58" fmla="*/ 381929 h 547212"/>
                    <a:gd name="connsiteX59" fmla="*/ 198154 w 293831"/>
                    <a:gd name="connsiteY59" fmla="*/ 371795 h 547212"/>
                    <a:gd name="connsiteX60" fmla="*/ 209455 w 293831"/>
                    <a:gd name="connsiteY60" fmla="*/ 361662 h 547212"/>
                    <a:gd name="connsiteX61" fmla="*/ 209455 w 293831"/>
                    <a:gd name="connsiteY61" fmla="*/ 344435 h 547212"/>
                    <a:gd name="connsiteX62" fmla="*/ 217366 w 293831"/>
                    <a:gd name="connsiteY62" fmla="*/ 322141 h 547212"/>
                    <a:gd name="connsiteX63" fmla="*/ 215106 w 293831"/>
                    <a:gd name="connsiteY63" fmla="*/ 302887 h 547212"/>
                    <a:gd name="connsiteX64" fmla="*/ 226407 w 293831"/>
                    <a:gd name="connsiteY64" fmla="*/ 288700 h 547212"/>
                    <a:gd name="connsiteX65" fmla="*/ 226407 w 293831"/>
                    <a:gd name="connsiteY65" fmla="*/ 276540 h 547212"/>
                    <a:gd name="connsiteX66" fmla="*/ 237708 w 293831"/>
                    <a:gd name="connsiteY66" fmla="*/ 266406 h 547212"/>
                    <a:gd name="connsiteX67" fmla="*/ 239968 w 293831"/>
                    <a:gd name="connsiteY67" fmla="*/ 252219 h 547212"/>
                    <a:gd name="connsiteX68" fmla="*/ 247879 w 293831"/>
                    <a:gd name="connsiteY68" fmla="*/ 242085 h 547212"/>
                    <a:gd name="connsiteX69" fmla="*/ 250140 w 293831"/>
                    <a:gd name="connsiteY69" fmla="*/ 205605 h 547212"/>
                    <a:gd name="connsiteX70" fmla="*/ 261441 w 293831"/>
                    <a:gd name="connsiteY70" fmla="*/ 198511 h 547212"/>
                    <a:gd name="connsiteX71" fmla="*/ 261441 w 293831"/>
                    <a:gd name="connsiteY71" fmla="*/ 193444 h 547212"/>
                    <a:gd name="connsiteX72" fmla="*/ 263701 w 293831"/>
                    <a:gd name="connsiteY72" fmla="*/ 183311 h 547212"/>
                    <a:gd name="connsiteX73" fmla="*/ 263701 w 293831"/>
                    <a:gd name="connsiteY73" fmla="*/ 169124 h 547212"/>
                    <a:gd name="connsiteX74" fmla="*/ 255790 w 293831"/>
                    <a:gd name="connsiteY74" fmla="*/ 164057 h 547212"/>
                    <a:gd name="connsiteX75" fmla="*/ 250140 w 293831"/>
                    <a:gd name="connsiteY75" fmla="*/ 134670 h 547212"/>
                    <a:gd name="connsiteX76" fmla="*/ 258050 w 293831"/>
                    <a:gd name="connsiteY76" fmla="*/ 132643 h 547212"/>
                    <a:gd name="connsiteX77" fmla="*/ 269351 w 293831"/>
                    <a:gd name="connsiteY77" fmla="*/ 151897 h 547212"/>
                    <a:gd name="connsiteX78" fmla="*/ 275002 w 293831"/>
                    <a:gd name="connsiteY78" fmla="*/ 151897 h 547212"/>
                    <a:gd name="connsiteX79" fmla="*/ 282913 w 293831"/>
                    <a:gd name="connsiteY79" fmla="*/ 103256 h 547212"/>
                    <a:gd name="connsiteX80" fmla="*/ 271612 w 293831"/>
                    <a:gd name="connsiteY80" fmla="*/ 91095 h 547212"/>
                    <a:gd name="connsiteX81" fmla="*/ 271612 w 293831"/>
                    <a:gd name="connsiteY81" fmla="*/ 78935 h 547212"/>
                    <a:gd name="connsiteX82" fmla="*/ 273872 w 293831"/>
                    <a:gd name="connsiteY82" fmla="*/ 71842 h 547212"/>
                    <a:gd name="connsiteX83" fmla="*/ 262571 w 293831"/>
                    <a:gd name="connsiteY83" fmla="*/ 33334 h 547212"/>
                    <a:gd name="connsiteX84" fmla="*/ 249009 w 293831"/>
                    <a:gd name="connsiteY84" fmla="*/ 31307 h 547212"/>
                    <a:gd name="connsiteX85" fmla="*/ 243359 w 293831"/>
                    <a:gd name="connsiteY85" fmla="*/ 21174 h 547212"/>
                    <a:gd name="connsiteX86" fmla="*/ 235448 w 293831"/>
                    <a:gd name="connsiteY86" fmla="*/ 19147 h 547212"/>
                    <a:gd name="connsiteX87" fmla="*/ 235448 w 293831"/>
                    <a:gd name="connsiteY87" fmla="*/ 9013 h 547212"/>
                    <a:gd name="connsiteX88" fmla="*/ 229797 w 293831"/>
                    <a:gd name="connsiteY88" fmla="*/ 9013 h 54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93831" h="547212">
                      <a:moveTo>
                        <a:pt x="267092" y="193444"/>
                      </a:moveTo>
                      <a:cubicBezTo>
                        <a:pt x="265961" y="194458"/>
                        <a:pt x="260310" y="206618"/>
                        <a:pt x="264831" y="203578"/>
                      </a:cubicBezTo>
                      <a:cubicBezTo>
                        <a:pt x="265961" y="202565"/>
                        <a:pt x="271612" y="190404"/>
                        <a:pt x="267092" y="193444"/>
                      </a:cubicBezTo>
                      <a:close/>
                      <a:moveTo>
                        <a:pt x="229797" y="9013"/>
                      </a:moveTo>
                      <a:cubicBezTo>
                        <a:pt x="227537" y="13067"/>
                        <a:pt x="220756" y="19147"/>
                        <a:pt x="218496" y="23200"/>
                      </a:cubicBezTo>
                      <a:cubicBezTo>
                        <a:pt x="213976" y="38401"/>
                        <a:pt x="216236" y="56641"/>
                        <a:pt x="216236" y="66775"/>
                      </a:cubicBezTo>
                      <a:cubicBezTo>
                        <a:pt x="212845" y="67788"/>
                        <a:pt x="208325" y="66775"/>
                        <a:pt x="202675" y="68801"/>
                      </a:cubicBezTo>
                      <a:lnTo>
                        <a:pt x="200414" y="73868"/>
                      </a:lnTo>
                      <a:cubicBezTo>
                        <a:pt x="192503" y="75895"/>
                        <a:pt x="197024" y="73868"/>
                        <a:pt x="189113" y="71842"/>
                      </a:cubicBezTo>
                      <a:cubicBezTo>
                        <a:pt x="191373" y="78935"/>
                        <a:pt x="187983" y="81975"/>
                        <a:pt x="191373" y="94135"/>
                      </a:cubicBezTo>
                      <a:cubicBezTo>
                        <a:pt x="187983" y="95149"/>
                        <a:pt x="183462" y="94135"/>
                        <a:pt x="183462" y="96162"/>
                      </a:cubicBezTo>
                      <a:cubicBezTo>
                        <a:pt x="181202" y="101229"/>
                        <a:pt x="186853" y="103256"/>
                        <a:pt x="185723" y="106296"/>
                      </a:cubicBezTo>
                      <a:cubicBezTo>
                        <a:pt x="185723" y="106296"/>
                        <a:pt x="177812" y="106296"/>
                        <a:pt x="177812" y="106296"/>
                      </a:cubicBezTo>
                      <a:cubicBezTo>
                        <a:pt x="175551" y="110349"/>
                        <a:pt x="176682" y="115416"/>
                        <a:pt x="175551" y="118456"/>
                      </a:cubicBezTo>
                      <a:cubicBezTo>
                        <a:pt x="171031" y="116429"/>
                        <a:pt x="171031" y="113389"/>
                        <a:pt x="167640" y="111363"/>
                      </a:cubicBezTo>
                      <a:cubicBezTo>
                        <a:pt x="167640" y="112376"/>
                        <a:pt x="159730" y="115416"/>
                        <a:pt x="159730" y="116429"/>
                      </a:cubicBezTo>
                      <a:cubicBezTo>
                        <a:pt x="157470" y="122510"/>
                        <a:pt x="159730" y="133657"/>
                        <a:pt x="159730" y="140750"/>
                      </a:cubicBezTo>
                      <a:cubicBezTo>
                        <a:pt x="154080" y="139736"/>
                        <a:pt x="156339" y="136696"/>
                        <a:pt x="154080" y="135683"/>
                      </a:cubicBezTo>
                      <a:cubicBezTo>
                        <a:pt x="147298" y="133657"/>
                        <a:pt x="135997" y="140750"/>
                        <a:pt x="132607" y="142777"/>
                      </a:cubicBezTo>
                      <a:lnTo>
                        <a:pt x="130347" y="149870"/>
                      </a:lnTo>
                      <a:cubicBezTo>
                        <a:pt x="126956" y="150883"/>
                        <a:pt x="111134" y="144803"/>
                        <a:pt x="108875" y="144803"/>
                      </a:cubicBezTo>
                      <a:cubicBezTo>
                        <a:pt x="105484" y="144803"/>
                        <a:pt x="106614" y="150883"/>
                        <a:pt x="106614" y="154937"/>
                      </a:cubicBezTo>
                      <a:cubicBezTo>
                        <a:pt x="103224" y="155950"/>
                        <a:pt x="102094" y="150883"/>
                        <a:pt x="95313" y="152910"/>
                      </a:cubicBezTo>
                      <a:lnTo>
                        <a:pt x="93053" y="157977"/>
                      </a:lnTo>
                      <a:cubicBezTo>
                        <a:pt x="88532" y="161017"/>
                        <a:pt x="81752" y="160004"/>
                        <a:pt x="77231" y="163044"/>
                      </a:cubicBezTo>
                      <a:cubicBezTo>
                        <a:pt x="76101" y="163044"/>
                        <a:pt x="74971" y="170137"/>
                        <a:pt x="74971" y="170137"/>
                      </a:cubicBezTo>
                      <a:cubicBezTo>
                        <a:pt x="70450" y="176217"/>
                        <a:pt x="61410" y="178244"/>
                        <a:pt x="59149" y="180271"/>
                      </a:cubicBezTo>
                      <a:lnTo>
                        <a:pt x="53499" y="180271"/>
                      </a:lnTo>
                      <a:cubicBezTo>
                        <a:pt x="52369" y="182298"/>
                        <a:pt x="54629" y="187364"/>
                        <a:pt x="53499" y="190404"/>
                      </a:cubicBezTo>
                      <a:cubicBezTo>
                        <a:pt x="52369" y="195471"/>
                        <a:pt x="41068" y="199525"/>
                        <a:pt x="39937" y="204591"/>
                      </a:cubicBezTo>
                      <a:cubicBezTo>
                        <a:pt x="34287" y="225872"/>
                        <a:pt x="47848" y="237019"/>
                        <a:pt x="51238" y="248166"/>
                      </a:cubicBezTo>
                      <a:cubicBezTo>
                        <a:pt x="54629" y="259313"/>
                        <a:pt x="50108" y="267419"/>
                        <a:pt x="53499" y="277553"/>
                      </a:cubicBezTo>
                      <a:cubicBezTo>
                        <a:pt x="53499" y="277553"/>
                        <a:pt x="58019" y="279580"/>
                        <a:pt x="59149" y="279580"/>
                      </a:cubicBezTo>
                      <a:cubicBezTo>
                        <a:pt x="59149" y="290727"/>
                        <a:pt x="64800" y="296807"/>
                        <a:pt x="61410" y="305927"/>
                      </a:cubicBezTo>
                      <a:cubicBezTo>
                        <a:pt x="61410" y="306940"/>
                        <a:pt x="54629" y="308967"/>
                        <a:pt x="53499" y="310994"/>
                      </a:cubicBezTo>
                      <a:cubicBezTo>
                        <a:pt x="51238" y="315047"/>
                        <a:pt x="53499" y="319101"/>
                        <a:pt x="51238" y="323154"/>
                      </a:cubicBezTo>
                      <a:cubicBezTo>
                        <a:pt x="47848" y="327207"/>
                        <a:pt x="37677" y="328221"/>
                        <a:pt x="35417" y="333288"/>
                      </a:cubicBezTo>
                      <a:cubicBezTo>
                        <a:pt x="33157" y="337341"/>
                        <a:pt x="35417" y="347475"/>
                        <a:pt x="35417" y="347475"/>
                      </a:cubicBezTo>
                      <a:lnTo>
                        <a:pt x="35417" y="352541"/>
                      </a:lnTo>
                      <a:lnTo>
                        <a:pt x="16205" y="364702"/>
                      </a:lnTo>
                      <a:cubicBezTo>
                        <a:pt x="12815" y="370782"/>
                        <a:pt x="20725" y="373822"/>
                        <a:pt x="18465" y="381929"/>
                      </a:cubicBezTo>
                      <a:cubicBezTo>
                        <a:pt x="18465" y="382942"/>
                        <a:pt x="10554" y="390036"/>
                        <a:pt x="10554" y="392062"/>
                      </a:cubicBezTo>
                      <a:cubicBezTo>
                        <a:pt x="8294" y="408276"/>
                        <a:pt x="13944" y="434623"/>
                        <a:pt x="21855" y="445770"/>
                      </a:cubicBezTo>
                      <a:cubicBezTo>
                        <a:pt x="22985" y="446784"/>
                        <a:pt x="32026" y="451850"/>
                        <a:pt x="33157" y="452864"/>
                      </a:cubicBezTo>
                      <a:cubicBezTo>
                        <a:pt x="35417" y="457931"/>
                        <a:pt x="29766" y="456917"/>
                        <a:pt x="30896" y="462997"/>
                      </a:cubicBezTo>
                      <a:lnTo>
                        <a:pt x="36547" y="468064"/>
                      </a:lnTo>
                      <a:cubicBezTo>
                        <a:pt x="41068" y="484278"/>
                        <a:pt x="43327" y="507585"/>
                        <a:pt x="55759" y="516705"/>
                      </a:cubicBezTo>
                      <a:cubicBezTo>
                        <a:pt x="63670" y="522785"/>
                        <a:pt x="73841" y="523799"/>
                        <a:pt x="82882" y="528866"/>
                      </a:cubicBezTo>
                      <a:cubicBezTo>
                        <a:pt x="85142" y="529879"/>
                        <a:pt x="91923" y="537986"/>
                        <a:pt x="94183" y="538999"/>
                      </a:cubicBezTo>
                      <a:cubicBezTo>
                        <a:pt x="106614" y="541026"/>
                        <a:pt x="111134" y="531906"/>
                        <a:pt x="119045" y="528866"/>
                      </a:cubicBezTo>
                      <a:cubicBezTo>
                        <a:pt x="131477" y="523799"/>
                        <a:pt x="147298" y="521772"/>
                        <a:pt x="154080" y="511638"/>
                      </a:cubicBezTo>
                      <a:cubicBezTo>
                        <a:pt x="156339" y="509612"/>
                        <a:pt x="152949" y="506572"/>
                        <a:pt x="154080" y="504545"/>
                      </a:cubicBezTo>
                      <a:cubicBezTo>
                        <a:pt x="155209" y="503532"/>
                        <a:pt x="158600" y="503532"/>
                        <a:pt x="159730" y="502518"/>
                      </a:cubicBezTo>
                      <a:cubicBezTo>
                        <a:pt x="164250" y="493398"/>
                        <a:pt x="168771" y="481238"/>
                        <a:pt x="171031" y="473131"/>
                      </a:cubicBezTo>
                      <a:cubicBezTo>
                        <a:pt x="173291" y="462997"/>
                        <a:pt x="171031" y="457931"/>
                        <a:pt x="173291" y="448810"/>
                      </a:cubicBezTo>
                      <a:cubicBezTo>
                        <a:pt x="175551" y="442730"/>
                        <a:pt x="184592" y="432597"/>
                        <a:pt x="186853" y="426517"/>
                      </a:cubicBezTo>
                      <a:cubicBezTo>
                        <a:pt x="191373" y="415370"/>
                        <a:pt x="187983" y="409289"/>
                        <a:pt x="192503" y="397129"/>
                      </a:cubicBezTo>
                      <a:lnTo>
                        <a:pt x="198154" y="392062"/>
                      </a:lnTo>
                      <a:cubicBezTo>
                        <a:pt x="199284" y="388009"/>
                        <a:pt x="199284" y="380916"/>
                        <a:pt x="198154" y="381929"/>
                      </a:cubicBezTo>
                      <a:cubicBezTo>
                        <a:pt x="198154" y="380916"/>
                        <a:pt x="198154" y="372808"/>
                        <a:pt x="198154" y="371795"/>
                      </a:cubicBezTo>
                      <a:cubicBezTo>
                        <a:pt x="200414" y="368755"/>
                        <a:pt x="207195" y="365715"/>
                        <a:pt x="209455" y="361662"/>
                      </a:cubicBezTo>
                      <a:cubicBezTo>
                        <a:pt x="211715" y="356595"/>
                        <a:pt x="208325" y="350515"/>
                        <a:pt x="209455" y="344435"/>
                      </a:cubicBezTo>
                      <a:cubicBezTo>
                        <a:pt x="210586" y="340381"/>
                        <a:pt x="217366" y="327207"/>
                        <a:pt x="217366" y="322141"/>
                      </a:cubicBezTo>
                      <a:cubicBezTo>
                        <a:pt x="218496" y="314034"/>
                        <a:pt x="212845" y="309981"/>
                        <a:pt x="215106" y="302887"/>
                      </a:cubicBezTo>
                      <a:cubicBezTo>
                        <a:pt x="216236" y="298834"/>
                        <a:pt x="224146" y="291740"/>
                        <a:pt x="226407" y="288700"/>
                      </a:cubicBezTo>
                      <a:cubicBezTo>
                        <a:pt x="227537" y="284647"/>
                        <a:pt x="225277" y="280593"/>
                        <a:pt x="226407" y="276540"/>
                      </a:cubicBezTo>
                      <a:cubicBezTo>
                        <a:pt x="227537" y="273500"/>
                        <a:pt x="237708" y="266406"/>
                        <a:pt x="237708" y="266406"/>
                      </a:cubicBezTo>
                      <a:cubicBezTo>
                        <a:pt x="241098" y="261339"/>
                        <a:pt x="237708" y="258299"/>
                        <a:pt x="239968" y="252219"/>
                      </a:cubicBezTo>
                      <a:cubicBezTo>
                        <a:pt x="239968" y="251206"/>
                        <a:pt x="247879" y="244112"/>
                        <a:pt x="247879" y="242085"/>
                      </a:cubicBezTo>
                      <a:cubicBezTo>
                        <a:pt x="252399" y="227899"/>
                        <a:pt x="243359" y="218778"/>
                        <a:pt x="250140" y="205605"/>
                      </a:cubicBezTo>
                      <a:cubicBezTo>
                        <a:pt x="251270" y="203578"/>
                        <a:pt x="259181" y="200538"/>
                        <a:pt x="261441" y="198511"/>
                      </a:cubicBezTo>
                      <a:lnTo>
                        <a:pt x="261441" y="193444"/>
                      </a:lnTo>
                      <a:cubicBezTo>
                        <a:pt x="255790" y="197498"/>
                        <a:pt x="252399" y="188378"/>
                        <a:pt x="263701" y="183311"/>
                      </a:cubicBezTo>
                      <a:cubicBezTo>
                        <a:pt x="262571" y="178244"/>
                        <a:pt x="264831" y="173177"/>
                        <a:pt x="263701" y="169124"/>
                      </a:cubicBezTo>
                      <a:cubicBezTo>
                        <a:pt x="262571" y="168111"/>
                        <a:pt x="255790" y="166084"/>
                        <a:pt x="255790" y="164057"/>
                      </a:cubicBezTo>
                      <a:cubicBezTo>
                        <a:pt x="252399" y="153924"/>
                        <a:pt x="253530" y="143790"/>
                        <a:pt x="250140" y="134670"/>
                      </a:cubicBezTo>
                      <a:cubicBezTo>
                        <a:pt x="255790" y="135683"/>
                        <a:pt x="254660" y="132643"/>
                        <a:pt x="258050" y="132643"/>
                      </a:cubicBezTo>
                      <a:cubicBezTo>
                        <a:pt x="262571" y="139736"/>
                        <a:pt x="264831" y="142777"/>
                        <a:pt x="269351" y="151897"/>
                      </a:cubicBezTo>
                      <a:lnTo>
                        <a:pt x="275002" y="151897"/>
                      </a:lnTo>
                      <a:cubicBezTo>
                        <a:pt x="278393" y="138723"/>
                        <a:pt x="288563" y="122510"/>
                        <a:pt x="282913" y="103256"/>
                      </a:cubicBezTo>
                      <a:cubicBezTo>
                        <a:pt x="281783" y="99202"/>
                        <a:pt x="272742" y="95149"/>
                        <a:pt x="271612" y="91095"/>
                      </a:cubicBezTo>
                      <a:cubicBezTo>
                        <a:pt x="270482" y="87042"/>
                        <a:pt x="272742" y="82989"/>
                        <a:pt x="271612" y="78935"/>
                      </a:cubicBezTo>
                      <a:cubicBezTo>
                        <a:pt x="271612" y="80962"/>
                        <a:pt x="275002" y="73868"/>
                        <a:pt x="273872" y="71842"/>
                      </a:cubicBezTo>
                      <a:cubicBezTo>
                        <a:pt x="272742" y="65761"/>
                        <a:pt x="267092" y="38401"/>
                        <a:pt x="262571" y="33334"/>
                      </a:cubicBezTo>
                      <a:cubicBezTo>
                        <a:pt x="256920" y="26241"/>
                        <a:pt x="254660" y="33334"/>
                        <a:pt x="249009" y="31307"/>
                      </a:cubicBezTo>
                      <a:cubicBezTo>
                        <a:pt x="246749" y="30294"/>
                        <a:pt x="246749" y="23200"/>
                        <a:pt x="243359" y="21174"/>
                      </a:cubicBezTo>
                      <a:cubicBezTo>
                        <a:pt x="241098" y="19147"/>
                        <a:pt x="237708" y="20160"/>
                        <a:pt x="235448" y="19147"/>
                      </a:cubicBezTo>
                      <a:cubicBezTo>
                        <a:pt x="241098" y="19147"/>
                        <a:pt x="235448" y="11040"/>
                        <a:pt x="235448" y="9013"/>
                      </a:cubicBezTo>
                      <a:lnTo>
                        <a:pt x="229797"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4" name="Freeform: Shape 343">
                  <a:extLst>
                    <a:ext uri="{FF2B5EF4-FFF2-40B4-BE49-F238E27FC236}">
                      <a16:creationId xmlns:a16="http://schemas.microsoft.com/office/drawing/2014/main" id="{15E69A25-110B-4B34-89ED-12DC14D17C25}"/>
                    </a:ext>
                  </a:extLst>
                </p:cNvPr>
                <p:cNvSpPr/>
                <p:nvPr/>
              </p:nvSpPr>
              <p:spPr>
                <a:xfrm>
                  <a:off x="6620201" y="2534904"/>
                  <a:ext cx="113012" cy="91202"/>
                </a:xfrm>
                <a:custGeom>
                  <a:avLst/>
                  <a:gdLst>
                    <a:gd name="connsiteX0" fmla="*/ 17723 w 113011"/>
                    <a:gd name="connsiteY0" fmla="*/ 37387 h 91202"/>
                    <a:gd name="connsiteX1" fmla="*/ 26764 w 113011"/>
                    <a:gd name="connsiteY1" fmla="*/ 27254 h 91202"/>
                    <a:gd name="connsiteX2" fmla="*/ 36935 w 113011"/>
                    <a:gd name="connsiteY2" fmla="*/ 22187 h 91202"/>
                    <a:gd name="connsiteX3" fmla="*/ 42586 w 113011"/>
                    <a:gd name="connsiteY3" fmla="*/ 31307 h 91202"/>
                    <a:gd name="connsiteX4" fmla="*/ 52757 w 113011"/>
                    <a:gd name="connsiteY4" fmla="*/ 18134 h 91202"/>
                    <a:gd name="connsiteX5" fmla="*/ 62928 w 113011"/>
                    <a:gd name="connsiteY5" fmla="*/ 17120 h 91202"/>
                    <a:gd name="connsiteX6" fmla="*/ 73099 w 113011"/>
                    <a:gd name="connsiteY6" fmla="*/ 16107 h 91202"/>
                    <a:gd name="connsiteX7" fmla="*/ 85530 w 113011"/>
                    <a:gd name="connsiteY7" fmla="*/ 12054 h 91202"/>
                    <a:gd name="connsiteX8" fmla="*/ 91181 w 113011"/>
                    <a:gd name="connsiteY8" fmla="*/ 9013 h 91202"/>
                    <a:gd name="connsiteX9" fmla="*/ 103612 w 113011"/>
                    <a:gd name="connsiteY9" fmla="*/ 18134 h 91202"/>
                    <a:gd name="connsiteX10" fmla="*/ 104742 w 113011"/>
                    <a:gd name="connsiteY10" fmla="*/ 31307 h 91202"/>
                    <a:gd name="connsiteX11" fmla="*/ 110393 w 113011"/>
                    <a:gd name="connsiteY11" fmla="*/ 42454 h 91202"/>
                    <a:gd name="connsiteX12" fmla="*/ 110393 w 113011"/>
                    <a:gd name="connsiteY12" fmla="*/ 54614 h 91202"/>
                    <a:gd name="connsiteX13" fmla="*/ 104742 w 113011"/>
                    <a:gd name="connsiteY13" fmla="*/ 63735 h 91202"/>
                    <a:gd name="connsiteX14" fmla="*/ 95701 w 113011"/>
                    <a:gd name="connsiteY14" fmla="*/ 69815 h 91202"/>
                    <a:gd name="connsiteX15" fmla="*/ 77619 w 113011"/>
                    <a:gd name="connsiteY15" fmla="*/ 74882 h 91202"/>
                    <a:gd name="connsiteX16" fmla="*/ 66318 w 113011"/>
                    <a:gd name="connsiteY16" fmla="*/ 80962 h 91202"/>
                    <a:gd name="connsiteX17" fmla="*/ 55017 w 113011"/>
                    <a:gd name="connsiteY17" fmla="*/ 89069 h 91202"/>
                    <a:gd name="connsiteX18" fmla="*/ 23373 w 113011"/>
                    <a:gd name="connsiteY18" fmla="*/ 88055 h 91202"/>
                    <a:gd name="connsiteX19" fmla="*/ 15462 w 113011"/>
                    <a:gd name="connsiteY19" fmla="*/ 72855 h 91202"/>
                    <a:gd name="connsiteX20" fmla="*/ 13203 w 113011"/>
                    <a:gd name="connsiteY20" fmla="*/ 58668 h 91202"/>
                    <a:gd name="connsiteX21" fmla="*/ 16593 w 113011"/>
                    <a:gd name="connsiteY21" fmla="*/ 38401 h 91202"/>
                    <a:gd name="connsiteX22" fmla="*/ 17723 w 113011"/>
                    <a:gd name="connsiteY22" fmla="*/ 37387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011" h="91202">
                      <a:moveTo>
                        <a:pt x="17723" y="37387"/>
                      </a:moveTo>
                      <a:lnTo>
                        <a:pt x="26764" y="27254"/>
                      </a:lnTo>
                      <a:lnTo>
                        <a:pt x="36935" y="22187"/>
                      </a:lnTo>
                      <a:lnTo>
                        <a:pt x="42586" y="31307"/>
                      </a:lnTo>
                      <a:lnTo>
                        <a:pt x="52757" y="18134"/>
                      </a:lnTo>
                      <a:lnTo>
                        <a:pt x="62928" y="17120"/>
                      </a:lnTo>
                      <a:lnTo>
                        <a:pt x="73099" y="16107"/>
                      </a:lnTo>
                      <a:lnTo>
                        <a:pt x="85530" y="12054"/>
                      </a:lnTo>
                      <a:lnTo>
                        <a:pt x="91181" y="9013"/>
                      </a:lnTo>
                      <a:cubicBezTo>
                        <a:pt x="91181" y="9013"/>
                        <a:pt x="97962" y="12054"/>
                        <a:pt x="103612" y="18134"/>
                      </a:cubicBezTo>
                      <a:cubicBezTo>
                        <a:pt x="109263" y="24214"/>
                        <a:pt x="95701" y="23200"/>
                        <a:pt x="104742" y="31307"/>
                      </a:cubicBezTo>
                      <a:cubicBezTo>
                        <a:pt x="113783" y="39414"/>
                        <a:pt x="110393" y="42454"/>
                        <a:pt x="110393" y="42454"/>
                      </a:cubicBezTo>
                      <a:lnTo>
                        <a:pt x="110393" y="54614"/>
                      </a:lnTo>
                      <a:cubicBezTo>
                        <a:pt x="110393" y="54614"/>
                        <a:pt x="102482" y="56641"/>
                        <a:pt x="104742" y="63735"/>
                      </a:cubicBezTo>
                      <a:cubicBezTo>
                        <a:pt x="107003" y="69815"/>
                        <a:pt x="95701" y="69815"/>
                        <a:pt x="95701" y="69815"/>
                      </a:cubicBezTo>
                      <a:cubicBezTo>
                        <a:pt x="95701" y="69815"/>
                        <a:pt x="78750" y="68801"/>
                        <a:pt x="77619" y="74882"/>
                      </a:cubicBezTo>
                      <a:cubicBezTo>
                        <a:pt x="76489" y="80962"/>
                        <a:pt x="70839" y="74882"/>
                        <a:pt x="66318" y="80962"/>
                      </a:cubicBezTo>
                      <a:cubicBezTo>
                        <a:pt x="60667" y="87042"/>
                        <a:pt x="62928" y="89069"/>
                        <a:pt x="55017" y="89069"/>
                      </a:cubicBezTo>
                      <a:cubicBezTo>
                        <a:pt x="47106" y="89069"/>
                        <a:pt x="23373" y="88055"/>
                        <a:pt x="23373" y="88055"/>
                      </a:cubicBezTo>
                      <a:cubicBezTo>
                        <a:pt x="23373" y="88055"/>
                        <a:pt x="22244" y="79948"/>
                        <a:pt x="15462" y="72855"/>
                      </a:cubicBezTo>
                      <a:cubicBezTo>
                        <a:pt x="8682" y="64748"/>
                        <a:pt x="8682" y="66775"/>
                        <a:pt x="13203" y="58668"/>
                      </a:cubicBezTo>
                      <a:cubicBezTo>
                        <a:pt x="16593" y="50561"/>
                        <a:pt x="16593" y="38401"/>
                        <a:pt x="16593" y="38401"/>
                      </a:cubicBezTo>
                      <a:lnTo>
                        <a:pt x="17723" y="3738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5" name="Freeform: Shape 344">
                  <a:extLst>
                    <a:ext uri="{FF2B5EF4-FFF2-40B4-BE49-F238E27FC236}">
                      <a16:creationId xmlns:a16="http://schemas.microsoft.com/office/drawing/2014/main" id="{7E188FBE-8CB4-4003-91EF-3F8BDF2AB25B}"/>
                    </a:ext>
                  </a:extLst>
                </p:cNvPr>
                <p:cNvSpPr/>
                <p:nvPr/>
              </p:nvSpPr>
              <p:spPr>
                <a:xfrm>
                  <a:off x="6090186" y="2176851"/>
                  <a:ext cx="33904" cy="50668"/>
                </a:xfrm>
                <a:custGeom>
                  <a:avLst/>
                  <a:gdLst>
                    <a:gd name="connsiteX0" fmla="*/ 12061 w 33903"/>
                    <a:gd name="connsiteY0" fmla="*/ 31645 h 50667"/>
                    <a:gd name="connsiteX1" fmla="*/ 12061 w 33903"/>
                    <a:gd name="connsiteY1" fmla="*/ 21511 h 50667"/>
                    <a:gd name="connsiteX2" fmla="*/ 19972 w 33903"/>
                    <a:gd name="connsiteY2" fmla="*/ 9351 h 50667"/>
                    <a:gd name="connsiteX3" fmla="*/ 26753 w 33903"/>
                    <a:gd name="connsiteY3" fmla="*/ 18471 h 50667"/>
                    <a:gd name="connsiteX4" fmla="*/ 30143 w 33903"/>
                    <a:gd name="connsiteY4" fmla="*/ 29618 h 50667"/>
                    <a:gd name="connsiteX5" fmla="*/ 30143 w 33903"/>
                    <a:gd name="connsiteY5" fmla="*/ 47859 h 50667"/>
                    <a:gd name="connsiteX6" fmla="*/ 15451 w 33903"/>
                    <a:gd name="connsiteY6" fmla="*/ 43805 h 50667"/>
                    <a:gd name="connsiteX7" fmla="*/ 12061 w 33903"/>
                    <a:gd name="connsiteY7" fmla="*/ 31645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3" h="50667">
                      <a:moveTo>
                        <a:pt x="12061" y="31645"/>
                      </a:moveTo>
                      <a:cubicBezTo>
                        <a:pt x="12061" y="31645"/>
                        <a:pt x="7540" y="28605"/>
                        <a:pt x="12061" y="21511"/>
                      </a:cubicBezTo>
                      <a:cubicBezTo>
                        <a:pt x="15451" y="16445"/>
                        <a:pt x="6411" y="9351"/>
                        <a:pt x="19972" y="9351"/>
                      </a:cubicBezTo>
                      <a:cubicBezTo>
                        <a:pt x="19972" y="9351"/>
                        <a:pt x="21102" y="6311"/>
                        <a:pt x="26753" y="18471"/>
                      </a:cubicBezTo>
                      <a:cubicBezTo>
                        <a:pt x="32403" y="30632"/>
                        <a:pt x="36923" y="17458"/>
                        <a:pt x="30143" y="29618"/>
                      </a:cubicBezTo>
                      <a:cubicBezTo>
                        <a:pt x="23362" y="41779"/>
                        <a:pt x="30143" y="47859"/>
                        <a:pt x="30143" y="47859"/>
                      </a:cubicBezTo>
                      <a:cubicBezTo>
                        <a:pt x="30143" y="47859"/>
                        <a:pt x="23362" y="45832"/>
                        <a:pt x="15451" y="43805"/>
                      </a:cubicBezTo>
                      <a:cubicBezTo>
                        <a:pt x="8670" y="41779"/>
                        <a:pt x="12061" y="31645"/>
                        <a:pt x="12061" y="3164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6" name="Freeform: Shape 345">
                  <a:extLst>
                    <a:ext uri="{FF2B5EF4-FFF2-40B4-BE49-F238E27FC236}">
                      <a16:creationId xmlns:a16="http://schemas.microsoft.com/office/drawing/2014/main" id="{5905B75F-A1E9-4604-8B51-52295D60608F}"/>
                    </a:ext>
                  </a:extLst>
                </p:cNvPr>
                <p:cNvSpPr/>
                <p:nvPr/>
              </p:nvSpPr>
              <p:spPr>
                <a:xfrm>
                  <a:off x="6615440" y="1866017"/>
                  <a:ext cx="226024" cy="152004"/>
                </a:xfrm>
                <a:custGeom>
                  <a:avLst/>
                  <a:gdLst>
                    <a:gd name="connsiteX0" fmla="*/ 23614 w 226023"/>
                    <a:gd name="connsiteY0" fmla="*/ 18205 h 152003"/>
                    <a:gd name="connsiteX1" fmla="*/ 25873 w 226023"/>
                    <a:gd name="connsiteY1" fmla="*/ 64819 h 152003"/>
                    <a:gd name="connsiteX2" fmla="*/ 16832 w 226023"/>
                    <a:gd name="connsiteY2" fmla="*/ 70899 h 152003"/>
                    <a:gd name="connsiteX3" fmla="*/ 43956 w 226023"/>
                    <a:gd name="connsiteY3" fmla="*/ 97247 h 152003"/>
                    <a:gd name="connsiteX4" fmla="*/ 88030 w 226023"/>
                    <a:gd name="connsiteY4" fmla="*/ 105354 h 152003"/>
                    <a:gd name="connsiteX5" fmla="*/ 94811 w 226023"/>
                    <a:gd name="connsiteY5" fmla="*/ 135754 h 152003"/>
                    <a:gd name="connsiteX6" fmla="*/ 141146 w 226023"/>
                    <a:gd name="connsiteY6" fmla="*/ 139808 h 152003"/>
                    <a:gd name="connsiteX7" fmla="*/ 146796 w 226023"/>
                    <a:gd name="connsiteY7" fmla="*/ 149941 h 152003"/>
                    <a:gd name="connsiteX8" fmla="*/ 163748 w 226023"/>
                    <a:gd name="connsiteY8" fmla="*/ 143861 h 152003"/>
                    <a:gd name="connsiteX9" fmla="*/ 181830 w 226023"/>
                    <a:gd name="connsiteY9" fmla="*/ 143861 h 152003"/>
                    <a:gd name="connsiteX10" fmla="*/ 188611 w 226023"/>
                    <a:gd name="connsiteY10" fmla="*/ 132714 h 152003"/>
                    <a:gd name="connsiteX11" fmla="*/ 203302 w 226023"/>
                    <a:gd name="connsiteY11" fmla="*/ 131701 h 152003"/>
                    <a:gd name="connsiteX12" fmla="*/ 203302 w 226023"/>
                    <a:gd name="connsiteY12" fmla="*/ 112447 h 152003"/>
                    <a:gd name="connsiteX13" fmla="*/ 217994 w 226023"/>
                    <a:gd name="connsiteY13" fmla="*/ 83060 h 152003"/>
                    <a:gd name="connsiteX14" fmla="*/ 222514 w 226023"/>
                    <a:gd name="connsiteY14" fmla="*/ 64819 h 152003"/>
                    <a:gd name="connsiteX15" fmla="*/ 206692 w 226023"/>
                    <a:gd name="connsiteY15" fmla="*/ 58739 h 152003"/>
                    <a:gd name="connsiteX16" fmla="*/ 189741 w 226023"/>
                    <a:gd name="connsiteY16" fmla="*/ 49619 h 152003"/>
                    <a:gd name="connsiteX17" fmla="*/ 169399 w 226023"/>
                    <a:gd name="connsiteY17" fmla="*/ 43539 h 152003"/>
                    <a:gd name="connsiteX18" fmla="*/ 158097 w 226023"/>
                    <a:gd name="connsiteY18" fmla="*/ 29352 h 152003"/>
                    <a:gd name="connsiteX19" fmla="*/ 141146 w 226023"/>
                    <a:gd name="connsiteY19" fmla="*/ 32392 h 152003"/>
                    <a:gd name="connsiteX20" fmla="*/ 119674 w 226023"/>
                    <a:gd name="connsiteY20" fmla="*/ 24285 h 152003"/>
                    <a:gd name="connsiteX21" fmla="*/ 88030 w 226023"/>
                    <a:gd name="connsiteY21" fmla="*/ 18205 h 152003"/>
                    <a:gd name="connsiteX22" fmla="*/ 52996 w 226023"/>
                    <a:gd name="connsiteY22" fmla="*/ 9085 h 152003"/>
                    <a:gd name="connsiteX23" fmla="*/ 23614 w 226023"/>
                    <a:gd name="connsiteY23" fmla="*/ 18205 h 152003"/>
                    <a:gd name="connsiteX24" fmla="*/ 10052 w 226023"/>
                    <a:gd name="connsiteY24" fmla="*/ 52659 h 152003"/>
                    <a:gd name="connsiteX25" fmla="*/ 10052 w 226023"/>
                    <a:gd name="connsiteY25" fmla="*/ 57726 h 152003"/>
                    <a:gd name="connsiteX26" fmla="*/ 15703 w 226023"/>
                    <a:gd name="connsiteY26" fmla="*/ 57726 h 152003"/>
                    <a:gd name="connsiteX27" fmla="*/ 10052 w 226023"/>
                    <a:gd name="connsiteY27" fmla="*/ 52659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6023" h="152003">
                      <a:moveTo>
                        <a:pt x="23614" y="18205"/>
                      </a:moveTo>
                      <a:cubicBezTo>
                        <a:pt x="22483" y="30365"/>
                        <a:pt x="24743" y="44552"/>
                        <a:pt x="25873" y="64819"/>
                      </a:cubicBezTo>
                      <a:cubicBezTo>
                        <a:pt x="22483" y="66846"/>
                        <a:pt x="20223" y="68873"/>
                        <a:pt x="16832" y="70899"/>
                      </a:cubicBezTo>
                      <a:cubicBezTo>
                        <a:pt x="16832" y="70899"/>
                        <a:pt x="36045" y="90153"/>
                        <a:pt x="43956" y="97247"/>
                      </a:cubicBezTo>
                      <a:cubicBezTo>
                        <a:pt x="52996" y="105354"/>
                        <a:pt x="88030" y="105354"/>
                        <a:pt x="88030" y="105354"/>
                      </a:cubicBezTo>
                      <a:lnTo>
                        <a:pt x="94811" y="135754"/>
                      </a:lnTo>
                      <a:cubicBezTo>
                        <a:pt x="94811" y="135754"/>
                        <a:pt x="132105" y="135754"/>
                        <a:pt x="141146" y="139808"/>
                      </a:cubicBezTo>
                      <a:cubicBezTo>
                        <a:pt x="150186" y="143861"/>
                        <a:pt x="146796" y="149941"/>
                        <a:pt x="146796" y="149941"/>
                      </a:cubicBezTo>
                      <a:lnTo>
                        <a:pt x="163748" y="143861"/>
                      </a:lnTo>
                      <a:lnTo>
                        <a:pt x="181830" y="143861"/>
                      </a:lnTo>
                      <a:cubicBezTo>
                        <a:pt x="187481" y="143861"/>
                        <a:pt x="188611" y="132714"/>
                        <a:pt x="188611" y="132714"/>
                      </a:cubicBezTo>
                      <a:lnTo>
                        <a:pt x="203302" y="131701"/>
                      </a:lnTo>
                      <a:cubicBezTo>
                        <a:pt x="203302" y="131701"/>
                        <a:pt x="204433" y="123594"/>
                        <a:pt x="203302" y="112447"/>
                      </a:cubicBezTo>
                      <a:cubicBezTo>
                        <a:pt x="202172" y="101300"/>
                        <a:pt x="208953" y="91166"/>
                        <a:pt x="217994" y="83060"/>
                      </a:cubicBezTo>
                      <a:cubicBezTo>
                        <a:pt x="227035" y="74953"/>
                        <a:pt x="222514" y="64819"/>
                        <a:pt x="222514" y="64819"/>
                      </a:cubicBezTo>
                      <a:cubicBezTo>
                        <a:pt x="222514" y="64819"/>
                        <a:pt x="215734" y="60766"/>
                        <a:pt x="206692" y="58739"/>
                      </a:cubicBezTo>
                      <a:cubicBezTo>
                        <a:pt x="197652" y="56712"/>
                        <a:pt x="196522" y="54686"/>
                        <a:pt x="189741" y="49619"/>
                      </a:cubicBezTo>
                      <a:cubicBezTo>
                        <a:pt x="182960" y="44552"/>
                        <a:pt x="178439" y="48606"/>
                        <a:pt x="169399" y="43539"/>
                      </a:cubicBezTo>
                      <a:cubicBezTo>
                        <a:pt x="160358" y="38472"/>
                        <a:pt x="158097" y="29352"/>
                        <a:pt x="158097" y="29352"/>
                      </a:cubicBezTo>
                      <a:cubicBezTo>
                        <a:pt x="158097" y="29352"/>
                        <a:pt x="147927" y="32392"/>
                        <a:pt x="141146" y="32392"/>
                      </a:cubicBezTo>
                      <a:cubicBezTo>
                        <a:pt x="134365" y="32392"/>
                        <a:pt x="128715" y="24285"/>
                        <a:pt x="119674" y="24285"/>
                      </a:cubicBezTo>
                      <a:cubicBezTo>
                        <a:pt x="110632" y="24285"/>
                        <a:pt x="107242" y="21245"/>
                        <a:pt x="88030" y="18205"/>
                      </a:cubicBezTo>
                      <a:cubicBezTo>
                        <a:pt x="68818" y="15165"/>
                        <a:pt x="62037" y="9085"/>
                        <a:pt x="52996" y="9085"/>
                      </a:cubicBezTo>
                      <a:cubicBezTo>
                        <a:pt x="47346" y="8071"/>
                        <a:pt x="23614" y="18205"/>
                        <a:pt x="23614" y="18205"/>
                      </a:cubicBezTo>
                      <a:close/>
                      <a:moveTo>
                        <a:pt x="10052" y="52659"/>
                      </a:moveTo>
                      <a:lnTo>
                        <a:pt x="10052" y="57726"/>
                      </a:lnTo>
                      <a:lnTo>
                        <a:pt x="15703" y="57726"/>
                      </a:lnTo>
                      <a:cubicBezTo>
                        <a:pt x="12312" y="55699"/>
                        <a:pt x="19093" y="52659"/>
                        <a:pt x="10052" y="5265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7" name="Freeform: Shape 346">
                  <a:extLst>
                    <a:ext uri="{FF2B5EF4-FFF2-40B4-BE49-F238E27FC236}">
                      <a16:creationId xmlns:a16="http://schemas.microsoft.com/office/drawing/2014/main" id="{D4299757-3C71-4A61-8C82-F403366A2373}"/>
                    </a:ext>
                  </a:extLst>
                </p:cNvPr>
                <p:cNvSpPr/>
                <p:nvPr/>
              </p:nvSpPr>
              <p:spPr>
                <a:xfrm>
                  <a:off x="6244434" y="2308612"/>
                  <a:ext cx="22602" cy="30401"/>
                </a:xfrm>
                <a:custGeom>
                  <a:avLst/>
                  <a:gdLst>
                    <a:gd name="connsiteX0" fmla="*/ 17160 w 22602"/>
                    <a:gd name="connsiteY0" fmla="*/ 24528 h 30400"/>
                    <a:gd name="connsiteX1" fmla="*/ 11509 w 22602"/>
                    <a:gd name="connsiteY1" fmla="*/ 9327 h 30400"/>
                    <a:gd name="connsiteX2" fmla="*/ 19420 w 22602"/>
                    <a:gd name="connsiteY2" fmla="*/ 24528 h 30400"/>
                    <a:gd name="connsiteX3" fmla="*/ 17160 w 22602"/>
                    <a:gd name="connsiteY3" fmla="*/ 24528 h 30400"/>
                  </a:gdLst>
                  <a:ahLst/>
                  <a:cxnLst>
                    <a:cxn ang="0">
                      <a:pos x="connsiteX0" y="connsiteY0"/>
                    </a:cxn>
                    <a:cxn ang="0">
                      <a:pos x="connsiteX1" y="connsiteY1"/>
                    </a:cxn>
                    <a:cxn ang="0">
                      <a:pos x="connsiteX2" y="connsiteY2"/>
                    </a:cxn>
                    <a:cxn ang="0">
                      <a:pos x="connsiteX3" y="connsiteY3"/>
                    </a:cxn>
                  </a:cxnLst>
                  <a:rect l="l" t="t" r="r" b="b"/>
                  <a:pathLst>
                    <a:path w="22602" h="30400">
                      <a:moveTo>
                        <a:pt x="17160" y="24528"/>
                      </a:moveTo>
                      <a:cubicBezTo>
                        <a:pt x="6988" y="20474"/>
                        <a:pt x="10379" y="10341"/>
                        <a:pt x="11509" y="9327"/>
                      </a:cubicBezTo>
                      <a:cubicBezTo>
                        <a:pt x="23940" y="7301"/>
                        <a:pt x="22810" y="15407"/>
                        <a:pt x="19420" y="24528"/>
                      </a:cubicBezTo>
                      <a:lnTo>
                        <a:pt x="17160" y="2452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9" name="Freeform: Shape 348">
                  <a:extLst>
                    <a:ext uri="{FF2B5EF4-FFF2-40B4-BE49-F238E27FC236}">
                      <a16:creationId xmlns:a16="http://schemas.microsoft.com/office/drawing/2014/main" id="{0D7C5626-551E-4877-B2E3-76805BEECADB}"/>
                    </a:ext>
                  </a:extLst>
                </p:cNvPr>
                <p:cNvSpPr/>
                <p:nvPr/>
              </p:nvSpPr>
              <p:spPr>
                <a:xfrm>
                  <a:off x="6179214" y="2926060"/>
                  <a:ext cx="610265" cy="577613"/>
                </a:xfrm>
                <a:custGeom>
                  <a:avLst/>
                  <a:gdLst>
                    <a:gd name="connsiteX0" fmla="*/ 114023 w 610264"/>
                    <a:gd name="connsiteY0" fmla="*/ 9013 h 577613"/>
                    <a:gd name="connsiteX1" fmla="*/ 106112 w 610264"/>
                    <a:gd name="connsiteY1" fmla="*/ 24214 h 577613"/>
                    <a:gd name="connsiteX2" fmla="*/ 100462 w 610264"/>
                    <a:gd name="connsiteY2" fmla="*/ 43468 h 577613"/>
                    <a:gd name="connsiteX3" fmla="*/ 76729 w 610264"/>
                    <a:gd name="connsiteY3" fmla="*/ 58668 h 577613"/>
                    <a:gd name="connsiteX4" fmla="*/ 60907 w 610264"/>
                    <a:gd name="connsiteY4" fmla="*/ 64748 h 577613"/>
                    <a:gd name="connsiteX5" fmla="*/ 62038 w 610264"/>
                    <a:gd name="connsiteY5" fmla="*/ 93122 h 577613"/>
                    <a:gd name="connsiteX6" fmla="*/ 55257 w 610264"/>
                    <a:gd name="connsiteY6" fmla="*/ 109336 h 577613"/>
                    <a:gd name="connsiteX7" fmla="*/ 39436 w 610264"/>
                    <a:gd name="connsiteY7" fmla="*/ 122510 h 577613"/>
                    <a:gd name="connsiteX8" fmla="*/ 28134 w 610264"/>
                    <a:gd name="connsiteY8" fmla="*/ 127576 h 577613"/>
                    <a:gd name="connsiteX9" fmla="*/ 33785 w 610264"/>
                    <a:gd name="connsiteY9" fmla="*/ 141763 h 577613"/>
                    <a:gd name="connsiteX10" fmla="*/ 29264 w 610264"/>
                    <a:gd name="connsiteY10" fmla="*/ 206618 h 577613"/>
                    <a:gd name="connsiteX11" fmla="*/ 41696 w 610264"/>
                    <a:gd name="connsiteY11" fmla="*/ 220805 h 577613"/>
                    <a:gd name="connsiteX12" fmla="*/ 30395 w 610264"/>
                    <a:gd name="connsiteY12" fmla="*/ 230939 h 577613"/>
                    <a:gd name="connsiteX13" fmla="*/ 33785 w 610264"/>
                    <a:gd name="connsiteY13" fmla="*/ 244112 h 577613"/>
                    <a:gd name="connsiteX14" fmla="*/ 32654 w 610264"/>
                    <a:gd name="connsiteY14" fmla="*/ 284647 h 577613"/>
                    <a:gd name="connsiteX15" fmla="*/ 10052 w 610264"/>
                    <a:gd name="connsiteY15" fmla="*/ 302887 h 577613"/>
                    <a:gd name="connsiteX16" fmla="*/ 21353 w 610264"/>
                    <a:gd name="connsiteY16" fmla="*/ 316061 h 577613"/>
                    <a:gd name="connsiteX17" fmla="*/ 36045 w 610264"/>
                    <a:gd name="connsiteY17" fmla="*/ 340381 h 577613"/>
                    <a:gd name="connsiteX18" fmla="*/ 45086 w 610264"/>
                    <a:gd name="connsiteY18" fmla="*/ 359635 h 577613"/>
                    <a:gd name="connsiteX19" fmla="*/ 60907 w 610264"/>
                    <a:gd name="connsiteY19" fmla="*/ 380916 h 577613"/>
                    <a:gd name="connsiteX20" fmla="*/ 84640 w 610264"/>
                    <a:gd name="connsiteY20" fmla="*/ 384969 h 577613"/>
                    <a:gd name="connsiteX21" fmla="*/ 101592 w 610264"/>
                    <a:gd name="connsiteY21" fmla="*/ 398142 h 577613"/>
                    <a:gd name="connsiteX22" fmla="*/ 119674 w 610264"/>
                    <a:gd name="connsiteY22" fmla="*/ 412330 h 577613"/>
                    <a:gd name="connsiteX23" fmla="*/ 204433 w 610264"/>
                    <a:gd name="connsiteY23" fmla="*/ 456917 h 577613"/>
                    <a:gd name="connsiteX24" fmla="*/ 208953 w 610264"/>
                    <a:gd name="connsiteY24" fmla="*/ 448810 h 577613"/>
                    <a:gd name="connsiteX25" fmla="*/ 234946 w 610264"/>
                    <a:gd name="connsiteY25" fmla="*/ 432597 h 577613"/>
                    <a:gd name="connsiteX26" fmla="*/ 269980 w 610264"/>
                    <a:gd name="connsiteY26" fmla="*/ 409289 h 577613"/>
                    <a:gd name="connsiteX27" fmla="*/ 573982 w 610264"/>
                    <a:gd name="connsiteY27" fmla="*/ 572440 h 577613"/>
                    <a:gd name="connsiteX28" fmla="*/ 573982 w 610264"/>
                    <a:gd name="connsiteY28" fmla="*/ 543053 h 577613"/>
                    <a:gd name="connsiteX29" fmla="*/ 607886 w 610264"/>
                    <a:gd name="connsiteY29" fmla="*/ 543053 h 577613"/>
                    <a:gd name="connsiteX30" fmla="*/ 606756 w 610264"/>
                    <a:gd name="connsiteY30" fmla="*/ 468064 h 577613"/>
                    <a:gd name="connsiteX31" fmla="*/ 604495 w 610264"/>
                    <a:gd name="connsiteY31" fmla="*/ 183311 h 577613"/>
                    <a:gd name="connsiteX32" fmla="*/ 597714 w 610264"/>
                    <a:gd name="connsiteY32" fmla="*/ 173177 h 577613"/>
                    <a:gd name="connsiteX33" fmla="*/ 592064 w 610264"/>
                    <a:gd name="connsiteY33" fmla="*/ 152910 h 577613"/>
                    <a:gd name="connsiteX34" fmla="*/ 598845 w 610264"/>
                    <a:gd name="connsiteY34" fmla="*/ 128590 h 577613"/>
                    <a:gd name="connsiteX35" fmla="*/ 592064 w 610264"/>
                    <a:gd name="connsiteY35" fmla="*/ 99202 h 577613"/>
                    <a:gd name="connsiteX36" fmla="*/ 589804 w 610264"/>
                    <a:gd name="connsiteY36" fmla="*/ 74882 h 577613"/>
                    <a:gd name="connsiteX37" fmla="*/ 576242 w 610264"/>
                    <a:gd name="connsiteY37" fmla="*/ 72855 h 577613"/>
                    <a:gd name="connsiteX38" fmla="*/ 576242 w 610264"/>
                    <a:gd name="connsiteY38" fmla="*/ 65761 h 577613"/>
                    <a:gd name="connsiteX39" fmla="*/ 537818 w 610264"/>
                    <a:gd name="connsiteY39" fmla="*/ 65761 h 577613"/>
                    <a:gd name="connsiteX40" fmla="*/ 537818 w 610264"/>
                    <a:gd name="connsiteY40" fmla="*/ 55628 h 577613"/>
                    <a:gd name="connsiteX41" fmla="*/ 529907 w 610264"/>
                    <a:gd name="connsiteY41" fmla="*/ 53601 h 577613"/>
                    <a:gd name="connsiteX42" fmla="*/ 527647 w 610264"/>
                    <a:gd name="connsiteY42" fmla="*/ 46508 h 577613"/>
                    <a:gd name="connsiteX43" fmla="*/ 511825 w 610264"/>
                    <a:gd name="connsiteY43" fmla="*/ 46508 h 577613"/>
                    <a:gd name="connsiteX44" fmla="*/ 484702 w 610264"/>
                    <a:gd name="connsiteY44" fmla="*/ 34347 h 577613"/>
                    <a:gd name="connsiteX45" fmla="*/ 476792 w 610264"/>
                    <a:gd name="connsiteY45" fmla="*/ 32321 h 577613"/>
                    <a:gd name="connsiteX46" fmla="*/ 474532 w 610264"/>
                    <a:gd name="connsiteY46" fmla="*/ 37388 h 577613"/>
                    <a:gd name="connsiteX47" fmla="*/ 460970 w 610264"/>
                    <a:gd name="connsiteY47" fmla="*/ 39414 h 577613"/>
                    <a:gd name="connsiteX48" fmla="*/ 449669 w 610264"/>
                    <a:gd name="connsiteY48" fmla="*/ 49548 h 577613"/>
                    <a:gd name="connsiteX49" fmla="*/ 438368 w 610264"/>
                    <a:gd name="connsiteY49" fmla="*/ 49548 h 577613"/>
                    <a:gd name="connsiteX50" fmla="*/ 427066 w 610264"/>
                    <a:gd name="connsiteY50" fmla="*/ 66775 h 577613"/>
                    <a:gd name="connsiteX51" fmla="*/ 415765 w 610264"/>
                    <a:gd name="connsiteY51" fmla="*/ 73868 h 577613"/>
                    <a:gd name="connsiteX52" fmla="*/ 413505 w 610264"/>
                    <a:gd name="connsiteY52" fmla="*/ 127576 h 577613"/>
                    <a:gd name="connsiteX53" fmla="*/ 405594 w 610264"/>
                    <a:gd name="connsiteY53" fmla="*/ 137710 h 577613"/>
                    <a:gd name="connsiteX54" fmla="*/ 329876 w 610264"/>
                    <a:gd name="connsiteY54" fmla="*/ 118456 h 577613"/>
                    <a:gd name="connsiteX55" fmla="*/ 318575 w 610264"/>
                    <a:gd name="connsiteY55" fmla="*/ 118456 h 577613"/>
                    <a:gd name="connsiteX56" fmla="*/ 310664 w 610264"/>
                    <a:gd name="connsiteY56" fmla="*/ 111363 h 577613"/>
                    <a:gd name="connsiteX57" fmla="*/ 283541 w 610264"/>
                    <a:gd name="connsiteY57" fmla="*/ 106296 h 577613"/>
                    <a:gd name="connsiteX58" fmla="*/ 250768 w 610264"/>
                    <a:gd name="connsiteY58" fmla="*/ 76908 h 577613"/>
                    <a:gd name="connsiteX59" fmla="*/ 248508 w 610264"/>
                    <a:gd name="connsiteY59" fmla="*/ 76908 h 577613"/>
                    <a:gd name="connsiteX60" fmla="*/ 246247 w 610264"/>
                    <a:gd name="connsiteY60" fmla="*/ 64748 h 577613"/>
                    <a:gd name="connsiteX61" fmla="*/ 232686 w 610264"/>
                    <a:gd name="connsiteY61" fmla="*/ 62722 h 577613"/>
                    <a:gd name="connsiteX62" fmla="*/ 224775 w 610264"/>
                    <a:gd name="connsiteY62" fmla="*/ 55628 h 577613"/>
                    <a:gd name="connsiteX63" fmla="*/ 213474 w 610264"/>
                    <a:gd name="connsiteY63" fmla="*/ 55628 h 577613"/>
                    <a:gd name="connsiteX64" fmla="*/ 211214 w 610264"/>
                    <a:gd name="connsiteY64" fmla="*/ 50561 h 577613"/>
                    <a:gd name="connsiteX65" fmla="*/ 186351 w 610264"/>
                    <a:gd name="connsiteY65" fmla="*/ 43468 h 577613"/>
                    <a:gd name="connsiteX66" fmla="*/ 186351 w 610264"/>
                    <a:gd name="connsiteY66" fmla="*/ 41441 h 577613"/>
                    <a:gd name="connsiteX67" fmla="*/ 147927 w 610264"/>
                    <a:gd name="connsiteY67" fmla="*/ 41441 h 577613"/>
                    <a:gd name="connsiteX68" fmla="*/ 140016 w 610264"/>
                    <a:gd name="connsiteY68" fmla="*/ 31307 h 577613"/>
                    <a:gd name="connsiteX69" fmla="*/ 120804 w 610264"/>
                    <a:gd name="connsiteY69" fmla="*/ 26241 h 577613"/>
                    <a:gd name="connsiteX70" fmla="*/ 118544 w 610264"/>
                    <a:gd name="connsiteY70" fmla="*/ 16107 h 577613"/>
                    <a:gd name="connsiteX71" fmla="*/ 114023 w 610264"/>
                    <a:gd name="connsiteY71" fmla="*/ 9013 h 57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610264" h="577613">
                      <a:moveTo>
                        <a:pt x="114023" y="9013"/>
                      </a:moveTo>
                      <a:lnTo>
                        <a:pt x="106112" y="24214"/>
                      </a:lnTo>
                      <a:cubicBezTo>
                        <a:pt x="106112" y="24214"/>
                        <a:pt x="111763" y="38401"/>
                        <a:pt x="100462" y="43468"/>
                      </a:cubicBezTo>
                      <a:cubicBezTo>
                        <a:pt x="89160" y="48534"/>
                        <a:pt x="84640" y="58668"/>
                        <a:pt x="76729" y="58668"/>
                      </a:cubicBezTo>
                      <a:cubicBezTo>
                        <a:pt x="68818" y="58668"/>
                        <a:pt x="60907" y="64748"/>
                        <a:pt x="60907" y="64748"/>
                      </a:cubicBezTo>
                      <a:cubicBezTo>
                        <a:pt x="60907" y="64748"/>
                        <a:pt x="59778" y="82989"/>
                        <a:pt x="62038" y="93122"/>
                      </a:cubicBezTo>
                      <a:cubicBezTo>
                        <a:pt x="64298" y="103256"/>
                        <a:pt x="56387" y="102242"/>
                        <a:pt x="55257" y="109336"/>
                      </a:cubicBezTo>
                      <a:cubicBezTo>
                        <a:pt x="54127" y="116429"/>
                        <a:pt x="39436" y="122510"/>
                        <a:pt x="39436" y="122510"/>
                      </a:cubicBezTo>
                      <a:cubicBezTo>
                        <a:pt x="39436" y="122510"/>
                        <a:pt x="32654" y="122510"/>
                        <a:pt x="28134" y="127576"/>
                      </a:cubicBezTo>
                      <a:cubicBezTo>
                        <a:pt x="23614" y="132643"/>
                        <a:pt x="33785" y="141763"/>
                        <a:pt x="33785" y="141763"/>
                      </a:cubicBezTo>
                      <a:lnTo>
                        <a:pt x="29264" y="206618"/>
                      </a:lnTo>
                      <a:lnTo>
                        <a:pt x="41696" y="220805"/>
                      </a:lnTo>
                      <a:cubicBezTo>
                        <a:pt x="41696" y="220805"/>
                        <a:pt x="24744" y="229925"/>
                        <a:pt x="30395" y="230939"/>
                      </a:cubicBezTo>
                      <a:cubicBezTo>
                        <a:pt x="36045" y="231952"/>
                        <a:pt x="33785" y="244112"/>
                        <a:pt x="33785" y="244112"/>
                      </a:cubicBezTo>
                      <a:cubicBezTo>
                        <a:pt x="33785" y="244112"/>
                        <a:pt x="34915" y="270460"/>
                        <a:pt x="32654" y="284647"/>
                      </a:cubicBezTo>
                      <a:cubicBezTo>
                        <a:pt x="29264" y="298834"/>
                        <a:pt x="10052" y="302887"/>
                        <a:pt x="10052" y="302887"/>
                      </a:cubicBezTo>
                      <a:cubicBezTo>
                        <a:pt x="10052" y="302887"/>
                        <a:pt x="15703" y="308967"/>
                        <a:pt x="21353" y="316061"/>
                      </a:cubicBezTo>
                      <a:cubicBezTo>
                        <a:pt x="27004" y="323154"/>
                        <a:pt x="28134" y="334301"/>
                        <a:pt x="36045" y="340381"/>
                      </a:cubicBezTo>
                      <a:cubicBezTo>
                        <a:pt x="42826" y="346461"/>
                        <a:pt x="45086" y="350515"/>
                        <a:pt x="45086" y="359635"/>
                      </a:cubicBezTo>
                      <a:cubicBezTo>
                        <a:pt x="45086" y="368755"/>
                        <a:pt x="54127" y="380916"/>
                        <a:pt x="60907" y="380916"/>
                      </a:cubicBezTo>
                      <a:cubicBezTo>
                        <a:pt x="67689" y="380916"/>
                        <a:pt x="76729" y="381929"/>
                        <a:pt x="84640" y="384969"/>
                      </a:cubicBezTo>
                      <a:cubicBezTo>
                        <a:pt x="92551" y="388009"/>
                        <a:pt x="93681" y="398142"/>
                        <a:pt x="101592" y="398142"/>
                      </a:cubicBezTo>
                      <a:cubicBezTo>
                        <a:pt x="109503" y="398142"/>
                        <a:pt x="119674" y="412330"/>
                        <a:pt x="119674" y="412330"/>
                      </a:cubicBezTo>
                      <a:lnTo>
                        <a:pt x="204433" y="456917"/>
                      </a:lnTo>
                      <a:lnTo>
                        <a:pt x="208953" y="448810"/>
                      </a:lnTo>
                      <a:lnTo>
                        <a:pt x="234946" y="432597"/>
                      </a:lnTo>
                      <a:lnTo>
                        <a:pt x="269980" y="409289"/>
                      </a:lnTo>
                      <a:lnTo>
                        <a:pt x="573982" y="572440"/>
                      </a:lnTo>
                      <a:lnTo>
                        <a:pt x="573982" y="543053"/>
                      </a:lnTo>
                      <a:lnTo>
                        <a:pt x="607886" y="543053"/>
                      </a:lnTo>
                      <a:lnTo>
                        <a:pt x="606756" y="468064"/>
                      </a:lnTo>
                      <a:lnTo>
                        <a:pt x="604495" y="183311"/>
                      </a:lnTo>
                      <a:cubicBezTo>
                        <a:pt x="604495" y="183311"/>
                        <a:pt x="603365" y="178244"/>
                        <a:pt x="597714" y="173177"/>
                      </a:cubicBezTo>
                      <a:cubicBezTo>
                        <a:pt x="592064" y="168111"/>
                        <a:pt x="593194" y="165070"/>
                        <a:pt x="592064" y="152910"/>
                      </a:cubicBezTo>
                      <a:cubicBezTo>
                        <a:pt x="590934" y="140750"/>
                        <a:pt x="592064" y="136696"/>
                        <a:pt x="598845" y="128590"/>
                      </a:cubicBezTo>
                      <a:cubicBezTo>
                        <a:pt x="605625" y="120483"/>
                        <a:pt x="595455" y="107309"/>
                        <a:pt x="592064" y="99202"/>
                      </a:cubicBezTo>
                      <a:cubicBezTo>
                        <a:pt x="588673" y="91095"/>
                        <a:pt x="589804" y="74882"/>
                        <a:pt x="589804" y="74882"/>
                      </a:cubicBezTo>
                      <a:cubicBezTo>
                        <a:pt x="588673" y="74882"/>
                        <a:pt x="580762" y="72855"/>
                        <a:pt x="576242" y="72855"/>
                      </a:cubicBezTo>
                      <a:cubicBezTo>
                        <a:pt x="576242" y="72855"/>
                        <a:pt x="576242" y="65761"/>
                        <a:pt x="576242" y="65761"/>
                      </a:cubicBezTo>
                      <a:cubicBezTo>
                        <a:pt x="563811" y="61708"/>
                        <a:pt x="550250" y="64748"/>
                        <a:pt x="537818" y="65761"/>
                      </a:cubicBezTo>
                      <a:cubicBezTo>
                        <a:pt x="536688" y="64748"/>
                        <a:pt x="533298" y="57655"/>
                        <a:pt x="537818" y="55628"/>
                      </a:cubicBezTo>
                      <a:cubicBezTo>
                        <a:pt x="535558" y="54614"/>
                        <a:pt x="532167" y="54614"/>
                        <a:pt x="529907" y="53601"/>
                      </a:cubicBezTo>
                      <a:cubicBezTo>
                        <a:pt x="527647" y="51575"/>
                        <a:pt x="529907" y="47521"/>
                        <a:pt x="527647" y="46508"/>
                      </a:cubicBezTo>
                      <a:cubicBezTo>
                        <a:pt x="523127" y="44481"/>
                        <a:pt x="516346" y="47521"/>
                        <a:pt x="511825" y="46508"/>
                      </a:cubicBezTo>
                      <a:cubicBezTo>
                        <a:pt x="503914" y="45494"/>
                        <a:pt x="491483" y="37388"/>
                        <a:pt x="484702" y="34347"/>
                      </a:cubicBezTo>
                      <a:cubicBezTo>
                        <a:pt x="482443" y="33334"/>
                        <a:pt x="477922" y="32321"/>
                        <a:pt x="476792" y="32321"/>
                      </a:cubicBezTo>
                      <a:lnTo>
                        <a:pt x="474532" y="37388"/>
                      </a:lnTo>
                      <a:cubicBezTo>
                        <a:pt x="467750" y="39414"/>
                        <a:pt x="466621" y="37388"/>
                        <a:pt x="460970" y="39414"/>
                      </a:cubicBezTo>
                      <a:cubicBezTo>
                        <a:pt x="457580" y="40428"/>
                        <a:pt x="454190" y="48534"/>
                        <a:pt x="449669" y="49548"/>
                      </a:cubicBezTo>
                      <a:cubicBezTo>
                        <a:pt x="447408" y="50561"/>
                        <a:pt x="440628" y="48534"/>
                        <a:pt x="438368" y="49548"/>
                      </a:cubicBezTo>
                      <a:cubicBezTo>
                        <a:pt x="433847" y="51575"/>
                        <a:pt x="430457" y="62722"/>
                        <a:pt x="427066" y="66775"/>
                      </a:cubicBezTo>
                      <a:cubicBezTo>
                        <a:pt x="423676" y="71842"/>
                        <a:pt x="421416" y="70828"/>
                        <a:pt x="415765" y="73868"/>
                      </a:cubicBezTo>
                      <a:cubicBezTo>
                        <a:pt x="433847" y="100216"/>
                        <a:pt x="438368" y="105282"/>
                        <a:pt x="413505" y="127576"/>
                      </a:cubicBezTo>
                      <a:cubicBezTo>
                        <a:pt x="411244" y="128590"/>
                        <a:pt x="407854" y="136696"/>
                        <a:pt x="405594" y="137710"/>
                      </a:cubicBezTo>
                      <a:cubicBezTo>
                        <a:pt x="388642" y="141763"/>
                        <a:pt x="343437" y="121496"/>
                        <a:pt x="329876" y="118456"/>
                      </a:cubicBezTo>
                      <a:cubicBezTo>
                        <a:pt x="326485" y="117443"/>
                        <a:pt x="321965" y="119469"/>
                        <a:pt x="318575" y="118456"/>
                      </a:cubicBezTo>
                      <a:cubicBezTo>
                        <a:pt x="317445" y="118456"/>
                        <a:pt x="312925" y="111363"/>
                        <a:pt x="310664" y="111363"/>
                      </a:cubicBezTo>
                      <a:cubicBezTo>
                        <a:pt x="298233" y="108323"/>
                        <a:pt x="295973" y="115416"/>
                        <a:pt x="283541" y="106296"/>
                      </a:cubicBezTo>
                      <a:cubicBezTo>
                        <a:pt x="271110" y="98189"/>
                        <a:pt x="264329" y="82989"/>
                        <a:pt x="250768" y="76908"/>
                      </a:cubicBezTo>
                      <a:cubicBezTo>
                        <a:pt x="249637" y="76908"/>
                        <a:pt x="248508" y="76908"/>
                        <a:pt x="248508" y="76908"/>
                      </a:cubicBezTo>
                      <a:cubicBezTo>
                        <a:pt x="246247" y="72855"/>
                        <a:pt x="249637" y="67788"/>
                        <a:pt x="246247" y="64748"/>
                      </a:cubicBezTo>
                      <a:cubicBezTo>
                        <a:pt x="241727" y="61708"/>
                        <a:pt x="238336" y="64748"/>
                        <a:pt x="232686" y="62722"/>
                      </a:cubicBezTo>
                      <a:cubicBezTo>
                        <a:pt x="231556" y="61708"/>
                        <a:pt x="225905" y="55628"/>
                        <a:pt x="224775" y="55628"/>
                      </a:cubicBezTo>
                      <a:cubicBezTo>
                        <a:pt x="221385" y="54614"/>
                        <a:pt x="216864" y="56641"/>
                        <a:pt x="213474" y="55628"/>
                      </a:cubicBezTo>
                      <a:lnTo>
                        <a:pt x="211214" y="50561"/>
                      </a:lnTo>
                      <a:cubicBezTo>
                        <a:pt x="203303" y="45494"/>
                        <a:pt x="195392" y="46508"/>
                        <a:pt x="186351" y="43468"/>
                      </a:cubicBezTo>
                      <a:cubicBezTo>
                        <a:pt x="186351" y="42454"/>
                        <a:pt x="186351" y="41441"/>
                        <a:pt x="186351" y="41441"/>
                      </a:cubicBezTo>
                      <a:cubicBezTo>
                        <a:pt x="169399" y="39414"/>
                        <a:pt x="162618" y="46508"/>
                        <a:pt x="147927" y="41441"/>
                      </a:cubicBezTo>
                      <a:cubicBezTo>
                        <a:pt x="144537" y="40428"/>
                        <a:pt x="142276" y="33334"/>
                        <a:pt x="140016" y="31307"/>
                      </a:cubicBezTo>
                      <a:cubicBezTo>
                        <a:pt x="134365" y="28267"/>
                        <a:pt x="126455" y="29281"/>
                        <a:pt x="120804" y="26241"/>
                      </a:cubicBezTo>
                      <a:cubicBezTo>
                        <a:pt x="115154" y="23200"/>
                        <a:pt x="119674" y="18134"/>
                        <a:pt x="118544" y="16107"/>
                      </a:cubicBezTo>
                      <a:lnTo>
                        <a:pt x="114023"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0" name="Freeform: Shape 349">
                  <a:extLst>
                    <a:ext uri="{FF2B5EF4-FFF2-40B4-BE49-F238E27FC236}">
                      <a16:creationId xmlns:a16="http://schemas.microsoft.com/office/drawing/2014/main" id="{CDDC6B67-61E0-4A76-AB25-FA02ED8FF5B7}"/>
                    </a:ext>
                  </a:extLst>
                </p:cNvPr>
                <p:cNvSpPr/>
                <p:nvPr/>
              </p:nvSpPr>
              <p:spPr>
                <a:xfrm>
                  <a:off x="5474020" y="3915096"/>
                  <a:ext cx="169518" cy="192538"/>
                </a:xfrm>
                <a:custGeom>
                  <a:avLst/>
                  <a:gdLst>
                    <a:gd name="connsiteX0" fmla="*/ 13442 w 169517"/>
                    <a:gd name="connsiteY0" fmla="*/ 92109 h 192537"/>
                    <a:gd name="connsiteX1" fmla="*/ 34915 w 169517"/>
                    <a:gd name="connsiteY1" fmla="*/ 121496 h 192537"/>
                    <a:gd name="connsiteX2" fmla="*/ 42825 w 169517"/>
                    <a:gd name="connsiteY2" fmla="*/ 121496 h 192537"/>
                    <a:gd name="connsiteX3" fmla="*/ 42825 w 169517"/>
                    <a:gd name="connsiteY3" fmla="*/ 123523 h 192537"/>
                    <a:gd name="connsiteX4" fmla="*/ 69948 w 169517"/>
                    <a:gd name="connsiteY4" fmla="*/ 142777 h 192537"/>
                    <a:gd name="connsiteX5" fmla="*/ 75599 w 169517"/>
                    <a:gd name="connsiteY5" fmla="*/ 142777 h 192537"/>
                    <a:gd name="connsiteX6" fmla="*/ 81249 w 169517"/>
                    <a:gd name="connsiteY6" fmla="*/ 156964 h 192537"/>
                    <a:gd name="connsiteX7" fmla="*/ 110632 w 169517"/>
                    <a:gd name="connsiteY7" fmla="*/ 179257 h 192537"/>
                    <a:gd name="connsiteX8" fmla="*/ 124194 w 169517"/>
                    <a:gd name="connsiteY8" fmla="*/ 179257 h 192537"/>
                    <a:gd name="connsiteX9" fmla="*/ 137755 w 169517"/>
                    <a:gd name="connsiteY9" fmla="*/ 191418 h 192537"/>
                    <a:gd name="connsiteX10" fmla="*/ 149057 w 169517"/>
                    <a:gd name="connsiteY10" fmla="*/ 191418 h 192537"/>
                    <a:gd name="connsiteX11" fmla="*/ 150186 w 169517"/>
                    <a:gd name="connsiteY11" fmla="*/ 181284 h 192537"/>
                    <a:gd name="connsiteX12" fmla="*/ 150186 w 169517"/>
                    <a:gd name="connsiteY12" fmla="*/ 165070 h 192537"/>
                    <a:gd name="connsiteX13" fmla="*/ 159228 w 169517"/>
                    <a:gd name="connsiteY13" fmla="*/ 146830 h 192537"/>
                    <a:gd name="connsiteX14" fmla="*/ 158097 w 169517"/>
                    <a:gd name="connsiteY14" fmla="*/ 136696 h 192537"/>
                    <a:gd name="connsiteX15" fmla="*/ 143406 w 169517"/>
                    <a:gd name="connsiteY15" fmla="*/ 118456 h 192537"/>
                    <a:gd name="connsiteX16" fmla="*/ 130975 w 169517"/>
                    <a:gd name="connsiteY16" fmla="*/ 99202 h 192537"/>
                    <a:gd name="connsiteX17" fmla="*/ 108373 w 169517"/>
                    <a:gd name="connsiteY17" fmla="*/ 91095 h 192537"/>
                    <a:gd name="connsiteX18" fmla="*/ 125324 w 169517"/>
                    <a:gd name="connsiteY18" fmla="*/ 67788 h 192537"/>
                    <a:gd name="connsiteX19" fmla="*/ 121933 w 169517"/>
                    <a:gd name="connsiteY19" fmla="*/ 43468 h 192537"/>
                    <a:gd name="connsiteX20" fmla="*/ 109502 w 169517"/>
                    <a:gd name="connsiteY20" fmla="*/ 42454 h 192537"/>
                    <a:gd name="connsiteX21" fmla="*/ 94811 w 169517"/>
                    <a:gd name="connsiteY21" fmla="*/ 61708 h 192537"/>
                    <a:gd name="connsiteX22" fmla="*/ 85770 w 169517"/>
                    <a:gd name="connsiteY22" fmla="*/ 53601 h 192537"/>
                    <a:gd name="connsiteX23" fmla="*/ 92551 w 169517"/>
                    <a:gd name="connsiteY23" fmla="*/ 29281 h 192537"/>
                    <a:gd name="connsiteX24" fmla="*/ 82379 w 169517"/>
                    <a:gd name="connsiteY24" fmla="*/ 9013 h 192537"/>
                    <a:gd name="connsiteX25" fmla="*/ 76729 w 169517"/>
                    <a:gd name="connsiteY25" fmla="*/ 19147 h 192537"/>
                    <a:gd name="connsiteX26" fmla="*/ 59777 w 169517"/>
                    <a:gd name="connsiteY26" fmla="*/ 19147 h 192537"/>
                    <a:gd name="connsiteX27" fmla="*/ 52996 w 169517"/>
                    <a:gd name="connsiteY27" fmla="*/ 32321 h 192537"/>
                    <a:gd name="connsiteX28" fmla="*/ 38305 w 169517"/>
                    <a:gd name="connsiteY28" fmla="*/ 43468 h 192537"/>
                    <a:gd name="connsiteX29" fmla="*/ 21353 w 169517"/>
                    <a:gd name="connsiteY29" fmla="*/ 64748 h 192537"/>
                    <a:gd name="connsiteX30" fmla="*/ 10052 w 169517"/>
                    <a:gd name="connsiteY30" fmla="*/ 88055 h 192537"/>
                    <a:gd name="connsiteX31" fmla="*/ 13442 w 169517"/>
                    <a:gd name="connsiteY31" fmla="*/ 92109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9517" h="192537">
                      <a:moveTo>
                        <a:pt x="13442" y="92109"/>
                      </a:moveTo>
                      <a:cubicBezTo>
                        <a:pt x="23614" y="98189"/>
                        <a:pt x="25873" y="114402"/>
                        <a:pt x="34915" y="121496"/>
                      </a:cubicBezTo>
                      <a:cubicBezTo>
                        <a:pt x="36045" y="122510"/>
                        <a:pt x="40565" y="120483"/>
                        <a:pt x="42825" y="121496"/>
                      </a:cubicBezTo>
                      <a:cubicBezTo>
                        <a:pt x="42825" y="122510"/>
                        <a:pt x="42825" y="123523"/>
                        <a:pt x="42825" y="123523"/>
                      </a:cubicBezTo>
                      <a:cubicBezTo>
                        <a:pt x="48476" y="125549"/>
                        <a:pt x="69948" y="142777"/>
                        <a:pt x="69948" y="142777"/>
                      </a:cubicBezTo>
                      <a:lnTo>
                        <a:pt x="75599" y="142777"/>
                      </a:lnTo>
                      <a:cubicBezTo>
                        <a:pt x="78989" y="146830"/>
                        <a:pt x="77859" y="152910"/>
                        <a:pt x="81249" y="156964"/>
                      </a:cubicBezTo>
                      <a:lnTo>
                        <a:pt x="110632" y="179257"/>
                      </a:lnTo>
                      <a:cubicBezTo>
                        <a:pt x="114023" y="181284"/>
                        <a:pt x="120804" y="178244"/>
                        <a:pt x="124194" y="179257"/>
                      </a:cubicBezTo>
                      <a:cubicBezTo>
                        <a:pt x="128715" y="180271"/>
                        <a:pt x="132105" y="190404"/>
                        <a:pt x="137755" y="191418"/>
                      </a:cubicBezTo>
                      <a:cubicBezTo>
                        <a:pt x="141146" y="192431"/>
                        <a:pt x="144536" y="192431"/>
                        <a:pt x="149057" y="191418"/>
                      </a:cubicBezTo>
                      <a:cubicBezTo>
                        <a:pt x="149057" y="191418"/>
                        <a:pt x="150186" y="187364"/>
                        <a:pt x="150186" y="181284"/>
                      </a:cubicBezTo>
                      <a:cubicBezTo>
                        <a:pt x="150186" y="175204"/>
                        <a:pt x="141146" y="170137"/>
                        <a:pt x="150186" y="165070"/>
                      </a:cubicBezTo>
                      <a:cubicBezTo>
                        <a:pt x="159228" y="160004"/>
                        <a:pt x="155837" y="154937"/>
                        <a:pt x="159228" y="146830"/>
                      </a:cubicBezTo>
                      <a:cubicBezTo>
                        <a:pt x="162618" y="138723"/>
                        <a:pt x="164879" y="136696"/>
                        <a:pt x="158097" y="136696"/>
                      </a:cubicBezTo>
                      <a:cubicBezTo>
                        <a:pt x="151317" y="136696"/>
                        <a:pt x="147927" y="126563"/>
                        <a:pt x="143406" y="118456"/>
                      </a:cubicBezTo>
                      <a:cubicBezTo>
                        <a:pt x="138885" y="110349"/>
                        <a:pt x="136626" y="100216"/>
                        <a:pt x="130975" y="99202"/>
                      </a:cubicBezTo>
                      <a:cubicBezTo>
                        <a:pt x="125324" y="98189"/>
                        <a:pt x="108373" y="91095"/>
                        <a:pt x="108373" y="91095"/>
                      </a:cubicBezTo>
                      <a:cubicBezTo>
                        <a:pt x="108373" y="91095"/>
                        <a:pt x="117413" y="74882"/>
                        <a:pt x="125324" y="67788"/>
                      </a:cubicBezTo>
                      <a:cubicBezTo>
                        <a:pt x="134365" y="61708"/>
                        <a:pt x="121933" y="43468"/>
                        <a:pt x="121933" y="43468"/>
                      </a:cubicBezTo>
                      <a:cubicBezTo>
                        <a:pt x="121933" y="43468"/>
                        <a:pt x="117413" y="32321"/>
                        <a:pt x="109502" y="42454"/>
                      </a:cubicBezTo>
                      <a:cubicBezTo>
                        <a:pt x="101591" y="52588"/>
                        <a:pt x="94811" y="61708"/>
                        <a:pt x="94811" y="61708"/>
                      </a:cubicBezTo>
                      <a:lnTo>
                        <a:pt x="85770" y="53601"/>
                      </a:lnTo>
                      <a:cubicBezTo>
                        <a:pt x="85770" y="53601"/>
                        <a:pt x="97071" y="39414"/>
                        <a:pt x="92551" y="29281"/>
                      </a:cubicBezTo>
                      <a:cubicBezTo>
                        <a:pt x="88030" y="19147"/>
                        <a:pt x="82379" y="9013"/>
                        <a:pt x="82379" y="9013"/>
                      </a:cubicBezTo>
                      <a:cubicBezTo>
                        <a:pt x="82379" y="9013"/>
                        <a:pt x="82379" y="17120"/>
                        <a:pt x="76729" y="19147"/>
                      </a:cubicBezTo>
                      <a:cubicBezTo>
                        <a:pt x="71078" y="21174"/>
                        <a:pt x="59777" y="19147"/>
                        <a:pt x="59777" y="19147"/>
                      </a:cubicBezTo>
                      <a:cubicBezTo>
                        <a:pt x="59777" y="19147"/>
                        <a:pt x="59777" y="30294"/>
                        <a:pt x="52996" y="32321"/>
                      </a:cubicBezTo>
                      <a:cubicBezTo>
                        <a:pt x="46216" y="34347"/>
                        <a:pt x="38305" y="43468"/>
                        <a:pt x="38305" y="43468"/>
                      </a:cubicBezTo>
                      <a:cubicBezTo>
                        <a:pt x="38305" y="43468"/>
                        <a:pt x="29264" y="54614"/>
                        <a:pt x="21353" y="64748"/>
                      </a:cubicBezTo>
                      <a:cubicBezTo>
                        <a:pt x="13442" y="74882"/>
                        <a:pt x="10052" y="88055"/>
                        <a:pt x="10052" y="88055"/>
                      </a:cubicBezTo>
                      <a:lnTo>
                        <a:pt x="13442" y="92109"/>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1" name="Freeform: Shape 350">
                  <a:extLst>
                    <a:ext uri="{FF2B5EF4-FFF2-40B4-BE49-F238E27FC236}">
                      <a16:creationId xmlns:a16="http://schemas.microsoft.com/office/drawing/2014/main" id="{E051BABE-87E8-472A-8B00-B74EDA12BED0}"/>
                    </a:ext>
                  </a:extLst>
                </p:cNvPr>
                <p:cNvSpPr/>
                <p:nvPr/>
              </p:nvSpPr>
              <p:spPr>
                <a:xfrm>
                  <a:off x="6828672" y="5423984"/>
                  <a:ext cx="79108" cy="70935"/>
                </a:xfrm>
                <a:custGeom>
                  <a:avLst/>
                  <a:gdLst>
                    <a:gd name="connsiteX0" fmla="*/ 43186 w 79108"/>
                    <a:gd name="connsiteY0" fmla="*/ 59681 h 70934"/>
                    <a:gd name="connsiteX1" fmla="*/ 49967 w 79108"/>
                    <a:gd name="connsiteY1" fmla="*/ 53601 h 70934"/>
                    <a:gd name="connsiteX2" fmla="*/ 61268 w 79108"/>
                    <a:gd name="connsiteY2" fmla="*/ 47521 h 70934"/>
                    <a:gd name="connsiteX3" fmla="*/ 75960 w 79108"/>
                    <a:gd name="connsiteY3" fmla="*/ 43467 h 70934"/>
                    <a:gd name="connsiteX4" fmla="*/ 72569 w 79108"/>
                    <a:gd name="connsiteY4" fmla="*/ 28267 h 70934"/>
                    <a:gd name="connsiteX5" fmla="*/ 61268 w 79108"/>
                    <a:gd name="connsiteY5" fmla="*/ 17120 h 70934"/>
                    <a:gd name="connsiteX6" fmla="*/ 54487 w 79108"/>
                    <a:gd name="connsiteY6" fmla="*/ 9013 h 70934"/>
                    <a:gd name="connsiteX7" fmla="*/ 31885 w 79108"/>
                    <a:gd name="connsiteY7" fmla="*/ 23200 h 70934"/>
                    <a:gd name="connsiteX8" fmla="*/ 18323 w 79108"/>
                    <a:gd name="connsiteY8" fmla="*/ 28267 h 70934"/>
                    <a:gd name="connsiteX9" fmla="*/ 11543 w 79108"/>
                    <a:gd name="connsiteY9" fmla="*/ 41440 h 70934"/>
                    <a:gd name="connsiteX10" fmla="*/ 19454 w 79108"/>
                    <a:gd name="connsiteY10" fmla="*/ 52588 h 70934"/>
                    <a:gd name="connsiteX11" fmla="*/ 30755 w 79108"/>
                    <a:gd name="connsiteY11" fmla="*/ 65761 h 70934"/>
                    <a:gd name="connsiteX12" fmla="*/ 43186 w 79108"/>
                    <a:gd name="connsiteY12" fmla="*/ 59681 h 7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08" h="70934">
                      <a:moveTo>
                        <a:pt x="43186" y="59681"/>
                      </a:moveTo>
                      <a:cubicBezTo>
                        <a:pt x="46576" y="57654"/>
                        <a:pt x="47707" y="55628"/>
                        <a:pt x="49967" y="53601"/>
                      </a:cubicBezTo>
                      <a:cubicBezTo>
                        <a:pt x="54487" y="50561"/>
                        <a:pt x="56748" y="49548"/>
                        <a:pt x="61268" y="47521"/>
                      </a:cubicBezTo>
                      <a:cubicBezTo>
                        <a:pt x="66918" y="45494"/>
                        <a:pt x="72569" y="47521"/>
                        <a:pt x="75960" y="43467"/>
                      </a:cubicBezTo>
                      <a:cubicBezTo>
                        <a:pt x="79350" y="38400"/>
                        <a:pt x="75960" y="33334"/>
                        <a:pt x="72569" y="28267"/>
                      </a:cubicBezTo>
                      <a:cubicBezTo>
                        <a:pt x="69179" y="23200"/>
                        <a:pt x="65788" y="21173"/>
                        <a:pt x="61268" y="17120"/>
                      </a:cubicBezTo>
                      <a:cubicBezTo>
                        <a:pt x="59008" y="14080"/>
                        <a:pt x="54487" y="9013"/>
                        <a:pt x="54487" y="9013"/>
                      </a:cubicBezTo>
                      <a:cubicBezTo>
                        <a:pt x="54487" y="9013"/>
                        <a:pt x="38665" y="17120"/>
                        <a:pt x="31885" y="23200"/>
                      </a:cubicBezTo>
                      <a:cubicBezTo>
                        <a:pt x="25104" y="29281"/>
                        <a:pt x="22844" y="28267"/>
                        <a:pt x="18323" y="28267"/>
                      </a:cubicBezTo>
                      <a:cubicBezTo>
                        <a:pt x="13803" y="28267"/>
                        <a:pt x="7022" y="41440"/>
                        <a:pt x="11543" y="41440"/>
                      </a:cubicBezTo>
                      <a:cubicBezTo>
                        <a:pt x="16063" y="41440"/>
                        <a:pt x="14933" y="44481"/>
                        <a:pt x="19454" y="52588"/>
                      </a:cubicBezTo>
                      <a:cubicBezTo>
                        <a:pt x="23974" y="60694"/>
                        <a:pt x="19454" y="65761"/>
                        <a:pt x="30755" y="65761"/>
                      </a:cubicBezTo>
                      <a:cubicBezTo>
                        <a:pt x="42056" y="65761"/>
                        <a:pt x="38665" y="62721"/>
                        <a:pt x="43186" y="5968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2" name="Freeform: Shape 351">
                  <a:extLst>
                    <a:ext uri="{FF2B5EF4-FFF2-40B4-BE49-F238E27FC236}">
                      <a16:creationId xmlns:a16="http://schemas.microsoft.com/office/drawing/2014/main" id="{DC0D2154-0BC3-44B2-ABDA-74E43F49D206}"/>
                    </a:ext>
                  </a:extLst>
                </p:cNvPr>
                <p:cNvSpPr/>
                <p:nvPr/>
              </p:nvSpPr>
              <p:spPr>
                <a:xfrm>
                  <a:off x="7128012" y="2870564"/>
                  <a:ext cx="79108" cy="111469"/>
                </a:xfrm>
                <a:custGeom>
                  <a:avLst/>
                  <a:gdLst>
                    <a:gd name="connsiteX0" fmla="*/ 45588 w 79108"/>
                    <a:gd name="connsiteY0" fmla="*/ 20935 h 111469"/>
                    <a:gd name="connsiteX1" fmla="*/ 37677 w 79108"/>
                    <a:gd name="connsiteY1" fmla="*/ 38162 h 111469"/>
                    <a:gd name="connsiteX2" fmla="*/ 26376 w 79108"/>
                    <a:gd name="connsiteY2" fmla="*/ 45256 h 111469"/>
                    <a:gd name="connsiteX3" fmla="*/ 24116 w 79108"/>
                    <a:gd name="connsiteY3" fmla="*/ 76670 h 111469"/>
                    <a:gd name="connsiteX4" fmla="*/ 10554 w 79108"/>
                    <a:gd name="connsiteY4" fmla="*/ 90857 h 111469"/>
                    <a:gd name="connsiteX5" fmla="*/ 10554 w 79108"/>
                    <a:gd name="connsiteY5" fmla="*/ 102004 h 111469"/>
                    <a:gd name="connsiteX6" fmla="*/ 26376 w 79108"/>
                    <a:gd name="connsiteY6" fmla="*/ 99977 h 111469"/>
                    <a:gd name="connsiteX7" fmla="*/ 37677 w 79108"/>
                    <a:gd name="connsiteY7" fmla="*/ 96937 h 111469"/>
                    <a:gd name="connsiteX8" fmla="*/ 44458 w 79108"/>
                    <a:gd name="connsiteY8" fmla="*/ 82750 h 111469"/>
                    <a:gd name="connsiteX9" fmla="*/ 55759 w 79108"/>
                    <a:gd name="connsiteY9" fmla="*/ 74643 h 111469"/>
                    <a:gd name="connsiteX10" fmla="*/ 60280 w 79108"/>
                    <a:gd name="connsiteY10" fmla="*/ 53362 h 111469"/>
                    <a:gd name="connsiteX11" fmla="*/ 77231 w 79108"/>
                    <a:gd name="connsiteY11" fmla="*/ 22962 h 111469"/>
                    <a:gd name="connsiteX12" fmla="*/ 61410 w 79108"/>
                    <a:gd name="connsiteY12" fmla="*/ 9788 h 111469"/>
                    <a:gd name="connsiteX13" fmla="*/ 45588 w 79108"/>
                    <a:gd name="connsiteY13" fmla="*/ 18908 h 111469"/>
                    <a:gd name="connsiteX14" fmla="*/ 45588 w 79108"/>
                    <a:gd name="connsiteY14" fmla="*/ 20935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08" h="111469">
                      <a:moveTo>
                        <a:pt x="45588" y="20935"/>
                      </a:moveTo>
                      <a:cubicBezTo>
                        <a:pt x="37677" y="26002"/>
                        <a:pt x="42198" y="30055"/>
                        <a:pt x="37677" y="38162"/>
                      </a:cubicBezTo>
                      <a:cubicBezTo>
                        <a:pt x="35417" y="41202"/>
                        <a:pt x="28636" y="42216"/>
                        <a:pt x="26376" y="45256"/>
                      </a:cubicBezTo>
                      <a:cubicBezTo>
                        <a:pt x="21855" y="55389"/>
                        <a:pt x="27506" y="65523"/>
                        <a:pt x="24116" y="76670"/>
                      </a:cubicBezTo>
                      <a:cubicBezTo>
                        <a:pt x="21855" y="81736"/>
                        <a:pt x="11685" y="84776"/>
                        <a:pt x="10554" y="90857"/>
                      </a:cubicBezTo>
                      <a:cubicBezTo>
                        <a:pt x="9424" y="93897"/>
                        <a:pt x="10554" y="97950"/>
                        <a:pt x="10554" y="102004"/>
                      </a:cubicBezTo>
                      <a:cubicBezTo>
                        <a:pt x="10554" y="102004"/>
                        <a:pt x="24116" y="107070"/>
                        <a:pt x="26376" y="99977"/>
                      </a:cubicBezTo>
                      <a:cubicBezTo>
                        <a:pt x="28636" y="92883"/>
                        <a:pt x="33157" y="98963"/>
                        <a:pt x="37677" y="96937"/>
                      </a:cubicBezTo>
                      <a:cubicBezTo>
                        <a:pt x="37677" y="96937"/>
                        <a:pt x="41068" y="88830"/>
                        <a:pt x="44458" y="82750"/>
                      </a:cubicBezTo>
                      <a:cubicBezTo>
                        <a:pt x="47849" y="77683"/>
                        <a:pt x="52369" y="80723"/>
                        <a:pt x="55759" y="74643"/>
                      </a:cubicBezTo>
                      <a:cubicBezTo>
                        <a:pt x="59150" y="69576"/>
                        <a:pt x="56889" y="55389"/>
                        <a:pt x="60280" y="53362"/>
                      </a:cubicBezTo>
                      <a:cubicBezTo>
                        <a:pt x="69321" y="44242"/>
                        <a:pt x="76102" y="32082"/>
                        <a:pt x="77231" y="22962"/>
                      </a:cubicBezTo>
                      <a:cubicBezTo>
                        <a:pt x="78361" y="13841"/>
                        <a:pt x="67060" y="13841"/>
                        <a:pt x="61410" y="9788"/>
                      </a:cubicBezTo>
                      <a:cubicBezTo>
                        <a:pt x="55759" y="5735"/>
                        <a:pt x="45588" y="18908"/>
                        <a:pt x="45588" y="18908"/>
                      </a:cubicBezTo>
                      <a:lnTo>
                        <a:pt x="45588" y="20935"/>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3" name="Freeform: Shape 352">
                  <a:extLst>
                    <a:ext uri="{FF2B5EF4-FFF2-40B4-BE49-F238E27FC236}">
                      <a16:creationId xmlns:a16="http://schemas.microsoft.com/office/drawing/2014/main" id="{3561F37C-8975-48A1-9324-AFD902AA35F7}"/>
                    </a:ext>
                  </a:extLst>
                </p:cNvPr>
                <p:cNvSpPr/>
                <p:nvPr/>
              </p:nvSpPr>
              <p:spPr>
                <a:xfrm>
                  <a:off x="6629002" y="1776913"/>
                  <a:ext cx="282530" cy="152004"/>
                </a:xfrm>
                <a:custGeom>
                  <a:avLst/>
                  <a:gdLst>
                    <a:gd name="connsiteX0" fmla="*/ 10052 w 282529"/>
                    <a:gd name="connsiteY0" fmla="*/ 107309 h 152003"/>
                    <a:gd name="connsiteX1" fmla="*/ 41695 w 282529"/>
                    <a:gd name="connsiteY1" fmla="*/ 97175 h 152003"/>
                    <a:gd name="connsiteX2" fmla="*/ 76729 w 282529"/>
                    <a:gd name="connsiteY2" fmla="*/ 106296 h 152003"/>
                    <a:gd name="connsiteX3" fmla="*/ 108372 w 282529"/>
                    <a:gd name="connsiteY3" fmla="*/ 112376 h 152003"/>
                    <a:gd name="connsiteX4" fmla="*/ 129844 w 282529"/>
                    <a:gd name="connsiteY4" fmla="*/ 120483 h 152003"/>
                    <a:gd name="connsiteX5" fmla="*/ 146796 w 282529"/>
                    <a:gd name="connsiteY5" fmla="*/ 117443 h 152003"/>
                    <a:gd name="connsiteX6" fmla="*/ 158097 w 282529"/>
                    <a:gd name="connsiteY6" fmla="*/ 131630 h 152003"/>
                    <a:gd name="connsiteX7" fmla="*/ 178439 w 282529"/>
                    <a:gd name="connsiteY7" fmla="*/ 137710 h 152003"/>
                    <a:gd name="connsiteX8" fmla="*/ 195391 w 282529"/>
                    <a:gd name="connsiteY8" fmla="*/ 146830 h 152003"/>
                    <a:gd name="connsiteX9" fmla="*/ 211213 w 282529"/>
                    <a:gd name="connsiteY9" fmla="*/ 152910 h 152003"/>
                    <a:gd name="connsiteX10" fmla="*/ 237206 w 282529"/>
                    <a:gd name="connsiteY10" fmla="*/ 138723 h 152003"/>
                    <a:gd name="connsiteX11" fmla="*/ 249637 w 282529"/>
                    <a:gd name="connsiteY11" fmla="*/ 128590 h 152003"/>
                    <a:gd name="connsiteX12" fmla="*/ 258678 w 282529"/>
                    <a:gd name="connsiteY12" fmla="*/ 108322 h 152003"/>
                    <a:gd name="connsiteX13" fmla="*/ 282411 w 282529"/>
                    <a:gd name="connsiteY13" fmla="*/ 108322 h 152003"/>
                    <a:gd name="connsiteX14" fmla="*/ 279020 w 282529"/>
                    <a:gd name="connsiteY14" fmla="*/ 94135 h 152003"/>
                    <a:gd name="connsiteX15" fmla="*/ 267719 w 282529"/>
                    <a:gd name="connsiteY15" fmla="*/ 79948 h 152003"/>
                    <a:gd name="connsiteX16" fmla="*/ 253028 w 282529"/>
                    <a:gd name="connsiteY16" fmla="*/ 71842 h 152003"/>
                    <a:gd name="connsiteX17" fmla="*/ 249637 w 282529"/>
                    <a:gd name="connsiteY17" fmla="*/ 46508 h 152003"/>
                    <a:gd name="connsiteX18" fmla="*/ 231555 w 282529"/>
                    <a:gd name="connsiteY18" fmla="*/ 46508 h 152003"/>
                    <a:gd name="connsiteX19" fmla="*/ 225905 w 282529"/>
                    <a:gd name="connsiteY19" fmla="*/ 35361 h 152003"/>
                    <a:gd name="connsiteX20" fmla="*/ 207823 w 282529"/>
                    <a:gd name="connsiteY20" fmla="*/ 40428 h 152003"/>
                    <a:gd name="connsiteX21" fmla="*/ 198781 w 282529"/>
                    <a:gd name="connsiteY21" fmla="*/ 24214 h 152003"/>
                    <a:gd name="connsiteX22" fmla="*/ 188611 w 282529"/>
                    <a:gd name="connsiteY22" fmla="*/ 24214 h 152003"/>
                    <a:gd name="connsiteX23" fmla="*/ 176179 w 282529"/>
                    <a:gd name="connsiteY23" fmla="*/ 13067 h 152003"/>
                    <a:gd name="connsiteX24" fmla="*/ 152447 w 282529"/>
                    <a:gd name="connsiteY24" fmla="*/ 9013 h 152003"/>
                    <a:gd name="connsiteX25" fmla="*/ 142275 w 282529"/>
                    <a:gd name="connsiteY25" fmla="*/ 15094 h 152003"/>
                    <a:gd name="connsiteX26" fmla="*/ 120804 w 282529"/>
                    <a:gd name="connsiteY26" fmla="*/ 15094 h 152003"/>
                    <a:gd name="connsiteX27" fmla="*/ 121933 w 282529"/>
                    <a:gd name="connsiteY27" fmla="*/ 57655 h 152003"/>
                    <a:gd name="connsiteX28" fmla="*/ 81249 w 282529"/>
                    <a:gd name="connsiteY28" fmla="*/ 62721 h 152003"/>
                    <a:gd name="connsiteX29" fmla="*/ 81249 w 282529"/>
                    <a:gd name="connsiteY29" fmla="*/ 60695 h 152003"/>
                    <a:gd name="connsiteX30" fmla="*/ 62037 w 282529"/>
                    <a:gd name="connsiteY30" fmla="*/ 41441 h 152003"/>
                    <a:gd name="connsiteX31" fmla="*/ 64298 w 282529"/>
                    <a:gd name="connsiteY31" fmla="*/ 36374 h 152003"/>
                    <a:gd name="connsiteX32" fmla="*/ 64298 w 282529"/>
                    <a:gd name="connsiteY32" fmla="*/ 26240 h 152003"/>
                    <a:gd name="connsiteX33" fmla="*/ 58647 w 282529"/>
                    <a:gd name="connsiteY33" fmla="*/ 26240 h 152003"/>
                    <a:gd name="connsiteX34" fmla="*/ 52996 w 282529"/>
                    <a:gd name="connsiteY34" fmla="*/ 31307 h 152003"/>
                    <a:gd name="connsiteX35" fmla="*/ 31524 w 282529"/>
                    <a:gd name="connsiteY35" fmla="*/ 50561 h 152003"/>
                    <a:gd name="connsiteX36" fmla="*/ 10052 w 282529"/>
                    <a:gd name="connsiteY36" fmla="*/ 107309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2529" h="152003">
                      <a:moveTo>
                        <a:pt x="10052" y="107309"/>
                      </a:moveTo>
                      <a:cubicBezTo>
                        <a:pt x="10052" y="107309"/>
                        <a:pt x="33784" y="97175"/>
                        <a:pt x="41695" y="97175"/>
                      </a:cubicBezTo>
                      <a:cubicBezTo>
                        <a:pt x="50736" y="97175"/>
                        <a:pt x="58647" y="102242"/>
                        <a:pt x="76729" y="106296"/>
                      </a:cubicBezTo>
                      <a:cubicBezTo>
                        <a:pt x="94811" y="110349"/>
                        <a:pt x="99331" y="112376"/>
                        <a:pt x="108372" y="112376"/>
                      </a:cubicBezTo>
                      <a:cubicBezTo>
                        <a:pt x="117413" y="112376"/>
                        <a:pt x="123064" y="120483"/>
                        <a:pt x="129844" y="120483"/>
                      </a:cubicBezTo>
                      <a:cubicBezTo>
                        <a:pt x="136625" y="120483"/>
                        <a:pt x="146796" y="117443"/>
                        <a:pt x="146796" y="117443"/>
                      </a:cubicBezTo>
                      <a:cubicBezTo>
                        <a:pt x="146796" y="117443"/>
                        <a:pt x="150186" y="126563"/>
                        <a:pt x="158097" y="131630"/>
                      </a:cubicBezTo>
                      <a:cubicBezTo>
                        <a:pt x="167138" y="136696"/>
                        <a:pt x="170528" y="132643"/>
                        <a:pt x="178439" y="137710"/>
                      </a:cubicBezTo>
                      <a:cubicBezTo>
                        <a:pt x="186350" y="142777"/>
                        <a:pt x="187480" y="143790"/>
                        <a:pt x="195391" y="146830"/>
                      </a:cubicBezTo>
                      <a:cubicBezTo>
                        <a:pt x="203302" y="149870"/>
                        <a:pt x="211213" y="152910"/>
                        <a:pt x="211213" y="152910"/>
                      </a:cubicBezTo>
                      <a:cubicBezTo>
                        <a:pt x="211213" y="152910"/>
                        <a:pt x="223644" y="132643"/>
                        <a:pt x="237206" y="138723"/>
                      </a:cubicBezTo>
                      <a:cubicBezTo>
                        <a:pt x="250767" y="144803"/>
                        <a:pt x="249637" y="142777"/>
                        <a:pt x="249637" y="128590"/>
                      </a:cubicBezTo>
                      <a:cubicBezTo>
                        <a:pt x="249637" y="114402"/>
                        <a:pt x="258678" y="108322"/>
                        <a:pt x="258678" y="108322"/>
                      </a:cubicBezTo>
                      <a:cubicBezTo>
                        <a:pt x="258678" y="108322"/>
                        <a:pt x="276760" y="117443"/>
                        <a:pt x="282411" y="108322"/>
                      </a:cubicBezTo>
                      <a:lnTo>
                        <a:pt x="279020" y="94135"/>
                      </a:lnTo>
                      <a:cubicBezTo>
                        <a:pt x="279020" y="94135"/>
                        <a:pt x="273370" y="88055"/>
                        <a:pt x="267719" y="79948"/>
                      </a:cubicBezTo>
                      <a:cubicBezTo>
                        <a:pt x="262069" y="71842"/>
                        <a:pt x="253028" y="79948"/>
                        <a:pt x="253028" y="71842"/>
                      </a:cubicBezTo>
                      <a:cubicBezTo>
                        <a:pt x="253028" y="63735"/>
                        <a:pt x="249637" y="46508"/>
                        <a:pt x="249637" y="46508"/>
                      </a:cubicBezTo>
                      <a:cubicBezTo>
                        <a:pt x="249637" y="46508"/>
                        <a:pt x="232685" y="54614"/>
                        <a:pt x="231555" y="46508"/>
                      </a:cubicBezTo>
                      <a:cubicBezTo>
                        <a:pt x="230425" y="38401"/>
                        <a:pt x="225905" y="35361"/>
                        <a:pt x="225905" y="35361"/>
                      </a:cubicBezTo>
                      <a:lnTo>
                        <a:pt x="207823" y="40428"/>
                      </a:lnTo>
                      <a:lnTo>
                        <a:pt x="198781" y="24214"/>
                      </a:lnTo>
                      <a:lnTo>
                        <a:pt x="188611" y="24214"/>
                      </a:lnTo>
                      <a:cubicBezTo>
                        <a:pt x="188611" y="24214"/>
                        <a:pt x="187480" y="16107"/>
                        <a:pt x="176179" y="13067"/>
                      </a:cubicBezTo>
                      <a:cubicBezTo>
                        <a:pt x="164878" y="10027"/>
                        <a:pt x="152447" y="9013"/>
                        <a:pt x="152447" y="9013"/>
                      </a:cubicBezTo>
                      <a:cubicBezTo>
                        <a:pt x="152447" y="9013"/>
                        <a:pt x="149057" y="15094"/>
                        <a:pt x="142275" y="15094"/>
                      </a:cubicBezTo>
                      <a:cubicBezTo>
                        <a:pt x="135495" y="15094"/>
                        <a:pt x="120804" y="15094"/>
                        <a:pt x="120804" y="15094"/>
                      </a:cubicBezTo>
                      <a:cubicBezTo>
                        <a:pt x="118543" y="28267"/>
                        <a:pt x="118543" y="39414"/>
                        <a:pt x="121933" y="57655"/>
                      </a:cubicBezTo>
                      <a:cubicBezTo>
                        <a:pt x="111763" y="59681"/>
                        <a:pt x="95941" y="68801"/>
                        <a:pt x="81249" y="62721"/>
                      </a:cubicBezTo>
                      <a:cubicBezTo>
                        <a:pt x="81249" y="61708"/>
                        <a:pt x="81249" y="60695"/>
                        <a:pt x="81249" y="60695"/>
                      </a:cubicBezTo>
                      <a:cubicBezTo>
                        <a:pt x="78989" y="59681"/>
                        <a:pt x="65427" y="44481"/>
                        <a:pt x="62037" y="41441"/>
                      </a:cubicBezTo>
                      <a:cubicBezTo>
                        <a:pt x="62037" y="41441"/>
                        <a:pt x="62037" y="32321"/>
                        <a:pt x="64298" y="36374"/>
                      </a:cubicBezTo>
                      <a:cubicBezTo>
                        <a:pt x="64298" y="35361"/>
                        <a:pt x="64298" y="27254"/>
                        <a:pt x="64298" y="26240"/>
                      </a:cubicBezTo>
                      <a:lnTo>
                        <a:pt x="58647" y="26240"/>
                      </a:lnTo>
                      <a:lnTo>
                        <a:pt x="52996" y="31307"/>
                      </a:lnTo>
                      <a:cubicBezTo>
                        <a:pt x="33784" y="37387"/>
                        <a:pt x="40565" y="36374"/>
                        <a:pt x="31524" y="50561"/>
                      </a:cubicBezTo>
                      <a:cubicBezTo>
                        <a:pt x="16832" y="74882"/>
                        <a:pt x="11182" y="89069"/>
                        <a:pt x="10052" y="10730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8" name="Freeform: Shape 357">
                  <a:extLst>
                    <a:ext uri="{FF2B5EF4-FFF2-40B4-BE49-F238E27FC236}">
                      <a16:creationId xmlns:a16="http://schemas.microsoft.com/office/drawing/2014/main" id="{25FB64B6-80FE-4624-8CCE-154E94B8E26F}"/>
                    </a:ext>
                  </a:extLst>
                </p:cNvPr>
                <p:cNvSpPr/>
                <p:nvPr/>
              </p:nvSpPr>
              <p:spPr>
                <a:xfrm>
                  <a:off x="9424918" y="3375990"/>
                  <a:ext cx="259928" cy="354675"/>
                </a:xfrm>
                <a:custGeom>
                  <a:avLst/>
                  <a:gdLst>
                    <a:gd name="connsiteX0" fmla="*/ 28134 w 259927"/>
                    <a:gd name="connsiteY0" fmla="*/ 80962 h 354674"/>
                    <a:gd name="connsiteX1" fmla="*/ 15703 w 259927"/>
                    <a:gd name="connsiteY1" fmla="*/ 97176 h 354674"/>
                    <a:gd name="connsiteX2" fmla="*/ 13442 w 259927"/>
                    <a:gd name="connsiteY2" fmla="*/ 110349 h 354674"/>
                    <a:gd name="connsiteX3" fmla="*/ 10052 w 259927"/>
                    <a:gd name="connsiteY3" fmla="*/ 115416 h 354674"/>
                    <a:gd name="connsiteX4" fmla="*/ 10052 w 259927"/>
                    <a:gd name="connsiteY4" fmla="*/ 126563 h 354674"/>
                    <a:gd name="connsiteX5" fmla="*/ 17963 w 259927"/>
                    <a:gd name="connsiteY5" fmla="*/ 127576 h 354674"/>
                    <a:gd name="connsiteX6" fmla="*/ 32654 w 259927"/>
                    <a:gd name="connsiteY6" fmla="*/ 123523 h 354674"/>
                    <a:gd name="connsiteX7" fmla="*/ 34915 w 259927"/>
                    <a:gd name="connsiteY7" fmla="*/ 136696 h 354674"/>
                    <a:gd name="connsiteX8" fmla="*/ 25874 w 259927"/>
                    <a:gd name="connsiteY8" fmla="*/ 150883 h 354674"/>
                    <a:gd name="connsiteX9" fmla="*/ 28134 w 259927"/>
                    <a:gd name="connsiteY9" fmla="*/ 160004 h 354674"/>
                    <a:gd name="connsiteX10" fmla="*/ 30394 w 259927"/>
                    <a:gd name="connsiteY10" fmla="*/ 169124 h 354674"/>
                    <a:gd name="connsiteX11" fmla="*/ 37175 w 259927"/>
                    <a:gd name="connsiteY11" fmla="*/ 175204 h 354674"/>
                    <a:gd name="connsiteX12" fmla="*/ 42826 w 259927"/>
                    <a:gd name="connsiteY12" fmla="*/ 186351 h 354674"/>
                    <a:gd name="connsiteX13" fmla="*/ 38305 w 259927"/>
                    <a:gd name="connsiteY13" fmla="*/ 196484 h 354674"/>
                    <a:gd name="connsiteX14" fmla="*/ 47346 w 259927"/>
                    <a:gd name="connsiteY14" fmla="*/ 201551 h 354674"/>
                    <a:gd name="connsiteX15" fmla="*/ 54127 w 259927"/>
                    <a:gd name="connsiteY15" fmla="*/ 196484 h 354674"/>
                    <a:gd name="connsiteX16" fmla="*/ 63168 w 259927"/>
                    <a:gd name="connsiteY16" fmla="*/ 186351 h 354674"/>
                    <a:gd name="connsiteX17" fmla="*/ 84640 w 259927"/>
                    <a:gd name="connsiteY17" fmla="*/ 171151 h 354674"/>
                    <a:gd name="connsiteX18" fmla="*/ 94811 w 259927"/>
                    <a:gd name="connsiteY18" fmla="*/ 176217 h 354674"/>
                    <a:gd name="connsiteX19" fmla="*/ 93681 w 259927"/>
                    <a:gd name="connsiteY19" fmla="*/ 182298 h 354674"/>
                    <a:gd name="connsiteX20" fmla="*/ 100462 w 259927"/>
                    <a:gd name="connsiteY20" fmla="*/ 189391 h 354674"/>
                    <a:gd name="connsiteX21" fmla="*/ 112893 w 259927"/>
                    <a:gd name="connsiteY21" fmla="*/ 195471 h 354674"/>
                    <a:gd name="connsiteX22" fmla="*/ 127585 w 259927"/>
                    <a:gd name="connsiteY22" fmla="*/ 195471 h 354674"/>
                    <a:gd name="connsiteX23" fmla="*/ 144537 w 259927"/>
                    <a:gd name="connsiteY23" fmla="*/ 215738 h 354674"/>
                    <a:gd name="connsiteX24" fmla="*/ 144537 w 259927"/>
                    <a:gd name="connsiteY24" fmla="*/ 231952 h 354674"/>
                    <a:gd name="connsiteX25" fmla="*/ 145666 w 259927"/>
                    <a:gd name="connsiteY25" fmla="*/ 250193 h 354674"/>
                    <a:gd name="connsiteX26" fmla="*/ 153577 w 259927"/>
                    <a:gd name="connsiteY26" fmla="*/ 261340 h 354674"/>
                    <a:gd name="connsiteX27" fmla="*/ 164879 w 259927"/>
                    <a:gd name="connsiteY27" fmla="*/ 269446 h 354674"/>
                    <a:gd name="connsiteX28" fmla="*/ 168269 w 259927"/>
                    <a:gd name="connsiteY28" fmla="*/ 277553 h 354674"/>
                    <a:gd name="connsiteX29" fmla="*/ 170529 w 259927"/>
                    <a:gd name="connsiteY29" fmla="*/ 290727 h 354674"/>
                    <a:gd name="connsiteX30" fmla="*/ 172789 w 259927"/>
                    <a:gd name="connsiteY30" fmla="*/ 296807 h 354674"/>
                    <a:gd name="connsiteX31" fmla="*/ 167139 w 259927"/>
                    <a:gd name="connsiteY31" fmla="*/ 309981 h 354674"/>
                    <a:gd name="connsiteX32" fmla="*/ 163749 w 259927"/>
                    <a:gd name="connsiteY32" fmla="*/ 321128 h 354674"/>
                    <a:gd name="connsiteX33" fmla="*/ 154707 w 259927"/>
                    <a:gd name="connsiteY33" fmla="*/ 330248 h 354674"/>
                    <a:gd name="connsiteX34" fmla="*/ 173919 w 259927"/>
                    <a:gd name="connsiteY34" fmla="*/ 334301 h 354674"/>
                    <a:gd name="connsiteX35" fmla="*/ 178440 w 259927"/>
                    <a:gd name="connsiteY35" fmla="*/ 341395 h 354674"/>
                    <a:gd name="connsiteX36" fmla="*/ 190871 w 259927"/>
                    <a:gd name="connsiteY36" fmla="*/ 348488 h 354674"/>
                    <a:gd name="connsiteX37" fmla="*/ 201042 w 259927"/>
                    <a:gd name="connsiteY37" fmla="*/ 345448 h 354674"/>
                    <a:gd name="connsiteX38" fmla="*/ 201042 w 259927"/>
                    <a:gd name="connsiteY38" fmla="*/ 329234 h 354674"/>
                    <a:gd name="connsiteX39" fmla="*/ 211213 w 259927"/>
                    <a:gd name="connsiteY39" fmla="*/ 318087 h 354674"/>
                    <a:gd name="connsiteX40" fmla="*/ 221385 w 259927"/>
                    <a:gd name="connsiteY40" fmla="*/ 322141 h 354674"/>
                    <a:gd name="connsiteX41" fmla="*/ 231556 w 259927"/>
                    <a:gd name="connsiteY41" fmla="*/ 330248 h 354674"/>
                    <a:gd name="connsiteX42" fmla="*/ 247377 w 259927"/>
                    <a:gd name="connsiteY42" fmla="*/ 327208 h 354674"/>
                    <a:gd name="connsiteX43" fmla="*/ 250767 w 259927"/>
                    <a:gd name="connsiteY43" fmla="*/ 316061 h 354674"/>
                    <a:gd name="connsiteX44" fmla="*/ 247377 w 259927"/>
                    <a:gd name="connsiteY44" fmla="*/ 294780 h 354674"/>
                    <a:gd name="connsiteX45" fmla="*/ 243987 w 259927"/>
                    <a:gd name="connsiteY45" fmla="*/ 279580 h 354674"/>
                    <a:gd name="connsiteX46" fmla="*/ 231556 w 259927"/>
                    <a:gd name="connsiteY46" fmla="*/ 271473 h 354674"/>
                    <a:gd name="connsiteX47" fmla="*/ 224775 w 259927"/>
                    <a:gd name="connsiteY47" fmla="*/ 256273 h 354674"/>
                    <a:gd name="connsiteX48" fmla="*/ 217994 w 259927"/>
                    <a:gd name="connsiteY48" fmla="*/ 242085 h 354674"/>
                    <a:gd name="connsiteX49" fmla="*/ 202172 w 259927"/>
                    <a:gd name="connsiteY49" fmla="*/ 232965 h 354674"/>
                    <a:gd name="connsiteX50" fmla="*/ 190871 w 259927"/>
                    <a:gd name="connsiteY50" fmla="*/ 218778 h 354674"/>
                    <a:gd name="connsiteX51" fmla="*/ 187481 w 259927"/>
                    <a:gd name="connsiteY51" fmla="*/ 207631 h 354674"/>
                    <a:gd name="connsiteX52" fmla="*/ 176180 w 259927"/>
                    <a:gd name="connsiteY52" fmla="*/ 198511 h 354674"/>
                    <a:gd name="connsiteX53" fmla="*/ 161488 w 259927"/>
                    <a:gd name="connsiteY53" fmla="*/ 179258 h 354674"/>
                    <a:gd name="connsiteX54" fmla="*/ 152447 w 259927"/>
                    <a:gd name="connsiteY54" fmla="*/ 154937 h 354674"/>
                    <a:gd name="connsiteX55" fmla="*/ 129845 w 259927"/>
                    <a:gd name="connsiteY55" fmla="*/ 143790 h 354674"/>
                    <a:gd name="connsiteX56" fmla="*/ 134365 w 259927"/>
                    <a:gd name="connsiteY56" fmla="*/ 127576 h 354674"/>
                    <a:gd name="connsiteX57" fmla="*/ 144537 w 259927"/>
                    <a:gd name="connsiteY57" fmla="*/ 119470 h 354674"/>
                    <a:gd name="connsiteX58" fmla="*/ 156968 w 259927"/>
                    <a:gd name="connsiteY58" fmla="*/ 112376 h 354674"/>
                    <a:gd name="connsiteX59" fmla="*/ 167139 w 259927"/>
                    <a:gd name="connsiteY59" fmla="*/ 107309 h 354674"/>
                    <a:gd name="connsiteX60" fmla="*/ 167139 w 259927"/>
                    <a:gd name="connsiteY60" fmla="*/ 89069 h 354674"/>
                    <a:gd name="connsiteX61" fmla="*/ 154707 w 259927"/>
                    <a:gd name="connsiteY61" fmla="*/ 78935 h 354674"/>
                    <a:gd name="connsiteX62" fmla="*/ 138886 w 259927"/>
                    <a:gd name="connsiteY62" fmla="*/ 70828 h 354674"/>
                    <a:gd name="connsiteX63" fmla="*/ 127585 w 259927"/>
                    <a:gd name="connsiteY63" fmla="*/ 80962 h 354674"/>
                    <a:gd name="connsiteX64" fmla="*/ 112893 w 259927"/>
                    <a:gd name="connsiteY64" fmla="*/ 75895 h 354674"/>
                    <a:gd name="connsiteX65" fmla="*/ 108373 w 259927"/>
                    <a:gd name="connsiteY65" fmla="*/ 67788 h 354674"/>
                    <a:gd name="connsiteX66" fmla="*/ 92551 w 259927"/>
                    <a:gd name="connsiteY66" fmla="*/ 59681 h 354674"/>
                    <a:gd name="connsiteX67" fmla="*/ 83510 w 259927"/>
                    <a:gd name="connsiteY67" fmla="*/ 48535 h 354674"/>
                    <a:gd name="connsiteX68" fmla="*/ 85770 w 259927"/>
                    <a:gd name="connsiteY68" fmla="*/ 37388 h 354674"/>
                    <a:gd name="connsiteX69" fmla="*/ 68818 w 259927"/>
                    <a:gd name="connsiteY69" fmla="*/ 13067 h 354674"/>
                    <a:gd name="connsiteX70" fmla="*/ 54127 w 259927"/>
                    <a:gd name="connsiteY70" fmla="*/ 9013 h 354674"/>
                    <a:gd name="connsiteX71" fmla="*/ 45086 w 259927"/>
                    <a:gd name="connsiteY71" fmla="*/ 23201 h 354674"/>
                    <a:gd name="connsiteX72" fmla="*/ 55257 w 259927"/>
                    <a:gd name="connsiteY72" fmla="*/ 41441 h 354674"/>
                    <a:gd name="connsiteX73" fmla="*/ 54127 w 259927"/>
                    <a:gd name="connsiteY73" fmla="*/ 65761 h 354674"/>
                    <a:gd name="connsiteX74" fmla="*/ 51867 w 259927"/>
                    <a:gd name="connsiteY74" fmla="*/ 81975 h 354674"/>
                    <a:gd name="connsiteX75" fmla="*/ 28134 w 259927"/>
                    <a:gd name="connsiteY75" fmla="*/ 80962 h 35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59927" h="354674">
                      <a:moveTo>
                        <a:pt x="28134" y="80962"/>
                      </a:moveTo>
                      <a:lnTo>
                        <a:pt x="15703" y="97176"/>
                      </a:lnTo>
                      <a:lnTo>
                        <a:pt x="13442" y="110349"/>
                      </a:lnTo>
                      <a:lnTo>
                        <a:pt x="10052" y="115416"/>
                      </a:lnTo>
                      <a:lnTo>
                        <a:pt x="10052" y="126563"/>
                      </a:lnTo>
                      <a:lnTo>
                        <a:pt x="17963" y="127576"/>
                      </a:lnTo>
                      <a:lnTo>
                        <a:pt x="32654" y="123523"/>
                      </a:lnTo>
                      <a:lnTo>
                        <a:pt x="34915" y="136696"/>
                      </a:lnTo>
                      <a:lnTo>
                        <a:pt x="25874" y="150883"/>
                      </a:lnTo>
                      <a:lnTo>
                        <a:pt x="28134" y="160004"/>
                      </a:lnTo>
                      <a:lnTo>
                        <a:pt x="30394" y="169124"/>
                      </a:lnTo>
                      <a:lnTo>
                        <a:pt x="37175" y="175204"/>
                      </a:lnTo>
                      <a:lnTo>
                        <a:pt x="42826" y="186351"/>
                      </a:lnTo>
                      <a:lnTo>
                        <a:pt x="38305" y="196484"/>
                      </a:lnTo>
                      <a:lnTo>
                        <a:pt x="47346" y="201551"/>
                      </a:lnTo>
                      <a:lnTo>
                        <a:pt x="54127" y="196484"/>
                      </a:lnTo>
                      <a:lnTo>
                        <a:pt x="63168" y="186351"/>
                      </a:lnTo>
                      <a:lnTo>
                        <a:pt x="84640" y="171151"/>
                      </a:lnTo>
                      <a:lnTo>
                        <a:pt x="94811" y="176217"/>
                      </a:lnTo>
                      <a:lnTo>
                        <a:pt x="93681" y="182298"/>
                      </a:lnTo>
                      <a:lnTo>
                        <a:pt x="100462" y="189391"/>
                      </a:lnTo>
                      <a:lnTo>
                        <a:pt x="112893" y="195471"/>
                      </a:lnTo>
                      <a:lnTo>
                        <a:pt x="127585" y="195471"/>
                      </a:lnTo>
                      <a:lnTo>
                        <a:pt x="144537" y="215738"/>
                      </a:lnTo>
                      <a:lnTo>
                        <a:pt x="144537" y="231952"/>
                      </a:lnTo>
                      <a:lnTo>
                        <a:pt x="145666" y="250193"/>
                      </a:lnTo>
                      <a:lnTo>
                        <a:pt x="153577" y="261340"/>
                      </a:lnTo>
                      <a:lnTo>
                        <a:pt x="164879" y="269446"/>
                      </a:lnTo>
                      <a:lnTo>
                        <a:pt x="168269" y="277553"/>
                      </a:lnTo>
                      <a:lnTo>
                        <a:pt x="170529" y="290727"/>
                      </a:lnTo>
                      <a:lnTo>
                        <a:pt x="172789" y="296807"/>
                      </a:lnTo>
                      <a:lnTo>
                        <a:pt x="167139" y="309981"/>
                      </a:lnTo>
                      <a:lnTo>
                        <a:pt x="163749" y="321128"/>
                      </a:lnTo>
                      <a:lnTo>
                        <a:pt x="154707" y="330248"/>
                      </a:lnTo>
                      <a:lnTo>
                        <a:pt x="173919" y="334301"/>
                      </a:lnTo>
                      <a:lnTo>
                        <a:pt x="178440" y="341395"/>
                      </a:lnTo>
                      <a:lnTo>
                        <a:pt x="190871" y="348488"/>
                      </a:lnTo>
                      <a:lnTo>
                        <a:pt x="201042" y="345448"/>
                      </a:lnTo>
                      <a:lnTo>
                        <a:pt x="201042" y="329234"/>
                      </a:lnTo>
                      <a:lnTo>
                        <a:pt x="211213" y="318087"/>
                      </a:lnTo>
                      <a:lnTo>
                        <a:pt x="221385" y="322141"/>
                      </a:lnTo>
                      <a:lnTo>
                        <a:pt x="231556" y="330248"/>
                      </a:lnTo>
                      <a:lnTo>
                        <a:pt x="247377" y="327208"/>
                      </a:lnTo>
                      <a:lnTo>
                        <a:pt x="250767" y="316061"/>
                      </a:lnTo>
                      <a:lnTo>
                        <a:pt x="247377" y="294780"/>
                      </a:lnTo>
                      <a:lnTo>
                        <a:pt x="243987" y="279580"/>
                      </a:lnTo>
                      <a:lnTo>
                        <a:pt x="231556" y="271473"/>
                      </a:lnTo>
                      <a:lnTo>
                        <a:pt x="224775" y="256273"/>
                      </a:lnTo>
                      <a:lnTo>
                        <a:pt x="217994" y="242085"/>
                      </a:lnTo>
                      <a:lnTo>
                        <a:pt x="202172" y="232965"/>
                      </a:lnTo>
                      <a:lnTo>
                        <a:pt x="190871" y="218778"/>
                      </a:lnTo>
                      <a:lnTo>
                        <a:pt x="187481" y="207631"/>
                      </a:lnTo>
                      <a:lnTo>
                        <a:pt x="176180" y="198511"/>
                      </a:lnTo>
                      <a:lnTo>
                        <a:pt x="161488" y="179258"/>
                      </a:lnTo>
                      <a:lnTo>
                        <a:pt x="152447" y="154937"/>
                      </a:lnTo>
                      <a:lnTo>
                        <a:pt x="129845" y="143790"/>
                      </a:lnTo>
                      <a:lnTo>
                        <a:pt x="134365" y="127576"/>
                      </a:lnTo>
                      <a:lnTo>
                        <a:pt x="144537" y="119470"/>
                      </a:lnTo>
                      <a:lnTo>
                        <a:pt x="156968" y="112376"/>
                      </a:lnTo>
                      <a:lnTo>
                        <a:pt x="167139" y="107309"/>
                      </a:lnTo>
                      <a:lnTo>
                        <a:pt x="167139" y="89069"/>
                      </a:lnTo>
                      <a:lnTo>
                        <a:pt x="154707" y="78935"/>
                      </a:lnTo>
                      <a:lnTo>
                        <a:pt x="138886" y="70828"/>
                      </a:lnTo>
                      <a:lnTo>
                        <a:pt x="127585" y="80962"/>
                      </a:lnTo>
                      <a:lnTo>
                        <a:pt x="112893" y="75895"/>
                      </a:lnTo>
                      <a:lnTo>
                        <a:pt x="108373" y="67788"/>
                      </a:lnTo>
                      <a:lnTo>
                        <a:pt x="92551" y="59681"/>
                      </a:lnTo>
                      <a:lnTo>
                        <a:pt x="83510" y="48535"/>
                      </a:lnTo>
                      <a:lnTo>
                        <a:pt x="85770" y="37388"/>
                      </a:lnTo>
                      <a:lnTo>
                        <a:pt x="68818" y="13067"/>
                      </a:lnTo>
                      <a:lnTo>
                        <a:pt x="54127" y="9013"/>
                      </a:lnTo>
                      <a:lnTo>
                        <a:pt x="45086" y="23201"/>
                      </a:lnTo>
                      <a:lnTo>
                        <a:pt x="55257" y="41441"/>
                      </a:lnTo>
                      <a:lnTo>
                        <a:pt x="54127" y="65761"/>
                      </a:lnTo>
                      <a:lnTo>
                        <a:pt x="51867" y="81975"/>
                      </a:lnTo>
                      <a:cubicBezTo>
                        <a:pt x="51867" y="81975"/>
                        <a:pt x="37175" y="80962"/>
                        <a:pt x="28134" y="8096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9" name="Freeform: Shape 358">
                  <a:extLst>
                    <a:ext uri="{FF2B5EF4-FFF2-40B4-BE49-F238E27FC236}">
                      <a16:creationId xmlns:a16="http://schemas.microsoft.com/office/drawing/2014/main" id="{F37BF110-8D1F-4202-B2BF-78D72E0BA57C}"/>
                    </a:ext>
                  </a:extLst>
                </p:cNvPr>
                <p:cNvSpPr/>
                <p:nvPr/>
              </p:nvSpPr>
              <p:spPr>
                <a:xfrm>
                  <a:off x="8326441" y="2494904"/>
                  <a:ext cx="395542" cy="182404"/>
                </a:xfrm>
                <a:custGeom>
                  <a:avLst/>
                  <a:gdLst>
                    <a:gd name="connsiteX0" fmla="*/ 138886 w 395541"/>
                    <a:gd name="connsiteY0" fmla="*/ 176696 h 182404"/>
                    <a:gd name="connsiteX1" fmla="*/ 151317 w 395541"/>
                    <a:gd name="connsiteY1" fmla="*/ 166562 h 182404"/>
                    <a:gd name="connsiteX2" fmla="*/ 162618 w 395541"/>
                    <a:gd name="connsiteY2" fmla="*/ 161495 h 182404"/>
                    <a:gd name="connsiteX3" fmla="*/ 177310 w 395541"/>
                    <a:gd name="connsiteY3" fmla="*/ 147309 h 182404"/>
                    <a:gd name="connsiteX4" fmla="*/ 197652 w 395541"/>
                    <a:gd name="connsiteY4" fmla="*/ 137175 h 182404"/>
                    <a:gd name="connsiteX5" fmla="*/ 212344 w 395541"/>
                    <a:gd name="connsiteY5" fmla="*/ 152375 h 182404"/>
                    <a:gd name="connsiteX6" fmla="*/ 229295 w 395541"/>
                    <a:gd name="connsiteY6" fmla="*/ 144268 h 182404"/>
                    <a:gd name="connsiteX7" fmla="*/ 258678 w 395541"/>
                    <a:gd name="connsiteY7" fmla="*/ 136162 h 182404"/>
                    <a:gd name="connsiteX8" fmla="*/ 267720 w 395541"/>
                    <a:gd name="connsiteY8" fmla="*/ 107788 h 182404"/>
                    <a:gd name="connsiteX9" fmla="*/ 325356 w 395541"/>
                    <a:gd name="connsiteY9" fmla="*/ 88534 h 182404"/>
                    <a:gd name="connsiteX10" fmla="*/ 331006 w 395541"/>
                    <a:gd name="connsiteY10" fmla="*/ 74347 h 182404"/>
                    <a:gd name="connsiteX11" fmla="*/ 349088 w 395541"/>
                    <a:gd name="connsiteY11" fmla="*/ 68267 h 182404"/>
                    <a:gd name="connsiteX12" fmla="*/ 366040 w 395541"/>
                    <a:gd name="connsiteY12" fmla="*/ 54080 h 182404"/>
                    <a:gd name="connsiteX13" fmla="*/ 396553 w 395541"/>
                    <a:gd name="connsiteY13" fmla="*/ 40906 h 182404"/>
                    <a:gd name="connsiteX14" fmla="*/ 378471 w 395541"/>
                    <a:gd name="connsiteY14" fmla="*/ 31786 h 182404"/>
                    <a:gd name="connsiteX15" fmla="*/ 356999 w 395541"/>
                    <a:gd name="connsiteY15" fmla="*/ 23679 h 182404"/>
                    <a:gd name="connsiteX16" fmla="*/ 334396 w 395541"/>
                    <a:gd name="connsiteY16" fmla="*/ 12532 h 182404"/>
                    <a:gd name="connsiteX17" fmla="*/ 302753 w 395541"/>
                    <a:gd name="connsiteY17" fmla="*/ 9492 h 182404"/>
                    <a:gd name="connsiteX18" fmla="*/ 259809 w 395541"/>
                    <a:gd name="connsiteY18" fmla="*/ 12532 h 182404"/>
                    <a:gd name="connsiteX19" fmla="*/ 222515 w 395541"/>
                    <a:gd name="connsiteY19" fmla="*/ 28746 h 182404"/>
                    <a:gd name="connsiteX20" fmla="*/ 206693 w 395541"/>
                    <a:gd name="connsiteY20" fmla="*/ 22666 h 182404"/>
                    <a:gd name="connsiteX21" fmla="*/ 189741 w 395541"/>
                    <a:gd name="connsiteY21" fmla="*/ 12532 h 182404"/>
                    <a:gd name="connsiteX22" fmla="*/ 171660 w 395541"/>
                    <a:gd name="connsiteY22" fmla="*/ 18612 h 182404"/>
                    <a:gd name="connsiteX23" fmla="*/ 156968 w 395541"/>
                    <a:gd name="connsiteY23" fmla="*/ 32799 h 182404"/>
                    <a:gd name="connsiteX24" fmla="*/ 145666 w 395541"/>
                    <a:gd name="connsiteY24" fmla="*/ 42933 h 182404"/>
                    <a:gd name="connsiteX25" fmla="*/ 108373 w 395541"/>
                    <a:gd name="connsiteY25" fmla="*/ 23679 h 182404"/>
                    <a:gd name="connsiteX26" fmla="*/ 82380 w 395541"/>
                    <a:gd name="connsiteY26" fmla="*/ 23679 h 182404"/>
                    <a:gd name="connsiteX27" fmla="*/ 51867 w 395541"/>
                    <a:gd name="connsiteY27" fmla="*/ 45973 h 182404"/>
                    <a:gd name="connsiteX28" fmla="*/ 67689 w 395541"/>
                    <a:gd name="connsiteY28" fmla="*/ 40906 h 182404"/>
                    <a:gd name="connsiteX29" fmla="*/ 71079 w 395541"/>
                    <a:gd name="connsiteY29" fmla="*/ 55093 h 182404"/>
                    <a:gd name="connsiteX30" fmla="*/ 56387 w 395541"/>
                    <a:gd name="connsiteY30" fmla="*/ 66240 h 182404"/>
                    <a:gd name="connsiteX31" fmla="*/ 45086 w 395541"/>
                    <a:gd name="connsiteY31" fmla="*/ 74347 h 182404"/>
                    <a:gd name="connsiteX32" fmla="*/ 65428 w 395541"/>
                    <a:gd name="connsiteY32" fmla="*/ 84480 h 182404"/>
                    <a:gd name="connsiteX33" fmla="*/ 80120 w 395541"/>
                    <a:gd name="connsiteY33" fmla="*/ 85494 h 182404"/>
                    <a:gd name="connsiteX34" fmla="*/ 86901 w 395541"/>
                    <a:gd name="connsiteY34" fmla="*/ 94614 h 182404"/>
                    <a:gd name="connsiteX35" fmla="*/ 110633 w 395541"/>
                    <a:gd name="connsiteY35" fmla="*/ 102721 h 182404"/>
                    <a:gd name="connsiteX36" fmla="*/ 126455 w 395541"/>
                    <a:gd name="connsiteY36" fmla="*/ 106774 h 182404"/>
                    <a:gd name="connsiteX37" fmla="*/ 123064 w 395541"/>
                    <a:gd name="connsiteY37" fmla="*/ 110828 h 182404"/>
                    <a:gd name="connsiteX38" fmla="*/ 91421 w 395541"/>
                    <a:gd name="connsiteY38" fmla="*/ 140215 h 182404"/>
                    <a:gd name="connsiteX39" fmla="*/ 74469 w 395541"/>
                    <a:gd name="connsiteY39" fmla="*/ 141228 h 182404"/>
                    <a:gd name="connsiteX40" fmla="*/ 56387 w 395541"/>
                    <a:gd name="connsiteY40" fmla="*/ 150349 h 182404"/>
                    <a:gd name="connsiteX41" fmla="*/ 46216 w 395541"/>
                    <a:gd name="connsiteY41" fmla="*/ 147309 h 182404"/>
                    <a:gd name="connsiteX42" fmla="*/ 42826 w 395541"/>
                    <a:gd name="connsiteY42" fmla="*/ 153389 h 182404"/>
                    <a:gd name="connsiteX43" fmla="*/ 30395 w 395541"/>
                    <a:gd name="connsiteY43" fmla="*/ 147309 h 182404"/>
                    <a:gd name="connsiteX44" fmla="*/ 10052 w 395541"/>
                    <a:gd name="connsiteY44" fmla="*/ 153389 h 182404"/>
                    <a:gd name="connsiteX45" fmla="*/ 20223 w 395541"/>
                    <a:gd name="connsiteY45" fmla="*/ 167576 h 182404"/>
                    <a:gd name="connsiteX46" fmla="*/ 43956 w 395541"/>
                    <a:gd name="connsiteY46" fmla="*/ 166562 h 182404"/>
                    <a:gd name="connsiteX47" fmla="*/ 55257 w 395541"/>
                    <a:gd name="connsiteY47" fmla="*/ 175683 h 182404"/>
                    <a:gd name="connsiteX48" fmla="*/ 77859 w 395541"/>
                    <a:gd name="connsiteY48" fmla="*/ 174669 h 182404"/>
                    <a:gd name="connsiteX49" fmla="*/ 93681 w 395541"/>
                    <a:gd name="connsiteY49" fmla="*/ 179736 h 182404"/>
                    <a:gd name="connsiteX50" fmla="*/ 114023 w 395541"/>
                    <a:gd name="connsiteY50" fmla="*/ 178723 h 182404"/>
                    <a:gd name="connsiteX51" fmla="*/ 138886 w 395541"/>
                    <a:gd name="connsiteY51" fmla="*/ 176696 h 182404"/>
                    <a:gd name="connsiteX52" fmla="*/ 331006 w 395541"/>
                    <a:gd name="connsiteY52" fmla="*/ 21652 h 182404"/>
                    <a:gd name="connsiteX53" fmla="*/ 328746 w 395541"/>
                    <a:gd name="connsiteY53" fmla="*/ 29759 h 182404"/>
                    <a:gd name="connsiteX54" fmla="*/ 317445 w 395541"/>
                    <a:gd name="connsiteY54" fmla="*/ 29759 h 182404"/>
                    <a:gd name="connsiteX55" fmla="*/ 315184 w 395541"/>
                    <a:gd name="connsiteY55" fmla="*/ 36853 h 182404"/>
                    <a:gd name="connsiteX56" fmla="*/ 293712 w 395541"/>
                    <a:gd name="connsiteY56" fmla="*/ 43946 h 182404"/>
                    <a:gd name="connsiteX57" fmla="*/ 275630 w 395541"/>
                    <a:gd name="connsiteY57" fmla="*/ 25706 h 182404"/>
                    <a:gd name="connsiteX58" fmla="*/ 289192 w 395541"/>
                    <a:gd name="connsiteY58" fmla="*/ 21652 h 182404"/>
                    <a:gd name="connsiteX59" fmla="*/ 316315 w 395541"/>
                    <a:gd name="connsiteY59" fmla="*/ 16586 h 182404"/>
                    <a:gd name="connsiteX60" fmla="*/ 331006 w 395541"/>
                    <a:gd name="connsiteY60" fmla="*/ 21652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95541" h="182404">
                      <a:moveTo>
                        <a:pt x="138886" y="176696"/>
                      </a:moveTo>
                      <a:cubicBezTo>
                        <a:pt x="143407" y="173656"/>
                        <a:pt x="146797" y="169602"/>
                        <a:pt x="151317" y="166562"/>
                      </a:cubicBezTo>
                      <a:cubicBezTo>
                        <a:pt x="155838" y="164536"/>
                        <a:pt x="158098" y="163522"/>
                        <a:pt x="162618" y="161495"/>
                      </a:cubicBezTo>
                      <a:cubicBezTo>
                        <a:pt x="169399" y="157442"/>
                        <a:pt x="170529" y="152375"/>
                        <a:pt x="177310" y="147309"/>
                      </a:cubicBezTo>
                      <a:cubicBezTo>
                        <a:pt x="184091" y="142242"/>
                        <a:pt x="188611" y="136162"/>
                        <a:pt x="197652" y="137175"/>
                      </a:cubicBezTo>
                      <a:cubicBezTo>
                        <a:pt x="205563" y="138188"/>
                        <a:pt x="203303" y="151362"/>
                        <a:pt x="212344" y="152375"/>
                      </a:cubicBezTo>
                      <a:cubicBezTo>
                        <a:pt x="219124" y="153389"/>
                        <a:pt x="222515" y="147309"/>
                        <a:pt x="229295" y="144268"/>
                      </a:cubicBezTo>
                      <a:cubicBezTo>
                        <a:pt x="240597" y="140215"/>
                        <a:pt x="250768" y="144268"/>
                        <a:pt x="258678" y="136162"/>
                      </a:cubicBezTo>
                      <a:cubicBezTo>
                        <a:pt x="267720" y="128055"/>
                        <a:pt x="259809" y="117921"/>
                        <a:pt x="267720" y="107788"/>
                      </a:cubicBezTo>
                      <a:cubicBezTo>
                        <a:pt x="281281" y="89547"/>
                        <a:pt x="324226" y="98667"/>
                        <a:pt x="325356" y="88534"/>
                      </a:cubicBezTo>
                      <a:cubicBezTo>
                        <a:pt x="325356" y="84480"/>
                        <a:pt x="326485" y="78400"/>
                        <a:pt x="331006" y="74347"/>
                      </a:cubicBezTo>
                      <a:cubicBezTo>
                        <a:pt x="336657" y="69280"/>
                        <a:pt x="342307" y="71307"/>
                        <a:pt x="349088" y="68267"/>
                      </a:cubicBezTo>
                      <a:cubicBezTo>
                        <a:pt x="356999" y="64213"/>
                        <a:pt x="359259" y="59147"/>
                        <a:pt x="366040" y="54080"/>
                      </a:cubicBezTo>
                      <a:cubicBezTo>
                        <a:pt x="376211" y="48000"/>
                        <a:pt x="385252" y="45973"/>
                        <a:pt x="396553" y="40906"/>
                      </a:cubicBezTo>
                      <a:lnTo>
                        <a:pt x="378471" y="31786"/>
                      </a:lnTo>
                      <a:cubicBezTo>
                        <a:pt x="378471" y="31786"/>
                        <a:pt x="358129" y="28746"/>
                        <a:pt x="356999" y="23679"/>
                      </a:cubicBezTo>
                      <a:cubicBezTo>
                        <a:pt x="355869" y="18612"/>
                        <a:pt x="342307" y="12532"/>
                        <a:pt x="334396" y="12532"/>
                      </a:cubicBezTo>
                      <a:cubicBezTo>
                        <a:pt x="326485" y="12532"/>
                        <a:pt x="316315" y="7465"/>
                        <a:pt x="302753" y="9492"/>
                      </a:cubicBezTo>
                      <a:cubicBezTo>
                        <a:pt x="290322" y="12532"/>
                        <a:pt x="268850" y="12532"/>
                        <a:pt x="259809" y="12532"/>
                      </a:cubicBezTo>
                      <a:cubicBezTo>
                        <a:pt x="250768" y="12532"/>
                        <a:pt x="234946" y="27732"/>
                        <a:pt x="222515" y="28746"/>
                      </a:cubicBezTo>
                      <a:cubicBezTo>
                        <a:pt x="210083" y="29759"/>
                        <a:pt x="219124" y="24692"/>
                        <a:pt x="206693" y="22666"/>
                      </a:cubicBezTo>
                      <a:cubicBezTo>
                        <a:pt x="194262" y="20639"/>
                        <a:pt x="195392" y="9492"/>
                        <a:pt x="189741" y="12532"/>
                      </a:cubicBezTo>
                      <a:cubicBezTo>
                        <a:pt x="173919" y="21652"/>
                        <a:pt x="177310" y="18612"/>
                        <a:pt x="171660" y="18612"/>
                      </a:cubicBezTo>
                      <a:cubicBezTo>
                        <a:pt x="166009" y="18612"/>
                        <a:pt x="156968" y="32799"/>
                        <a:pt x="156968" y="32799"/>
                      </a:cubicBezTo>
                      <a:cubicBezTo>
                        <a:pt x="156968" y="32799"/>
                        <a:pt x="145666" y="36853"/>
                        <a:pt x="145666" y="42933"/>
                      </a:cubicBezTo>
                      <a:cubicBezTo>
                        <a:pt x="145666" y="49013"/>
                        <a:pt x="120804" y="23679"/>
                        <a:pt x="108373" y="23679"/>
                      </a:cubicBezTo>
                      <a:lnTo>
                        <a:pt x="82380" y="23679"/>
                      </a:lnTo>
                      <a:cubicBezTo>
                        <a:pt x="69949" y="23679"/>
                        <a:pt x="51867" y="45973"/>
                        <a:pt x="51867" y="45973"/>
                      </a:cubicBezTo>
                      <a:cubicBezTo>
                        <a:pt x="60907" y="40906"/>
                        <a:pt x="67689" y="40906"/>
                        <a:pt x="67689" y="40906"/>
                      </a:cubicBezTo>
                      <a:cubicBezTo>
                        <a:pt x="67689" y="40906"/>
                        <a:pt x="80120" y="46986"/>
                        <a:pt x="71079" y="55093"/>
                      </a:cubicBezTo>
                      <a:cubicBezTo>
                        <a:pt x="62038" y="63200"/>
                        <a:pt x="64298" y="63200"/>
                        <a:pt x="56387" y="66240"/>
                      </a:cubicBezTo>
                      <a:cubicBezTo>
                        <a:pt x="48476" y="69280"/>
                        <a:pt x="31525" y="72320"/>
                        <a:pt x="45086" y="74347"/>
                      </a:cubicBezTo>
                      <a:cubicBezTo>
                        <a:pt x="57517" y="75360"/>
                        <a:pt x="56387" y="89547"/>
                        <a:pt x="65428" y="84480"/>
                      </a:cubicBezTo>
                      <a:cubicBezTo>
                        <a:pt x="74469" y="79414"/>
                        <a:pt x="81250" y="78400"/>
                        <a:pt x="80120" y="85494"/>
                      </a:cubicBezTo>
                      <a:cubicBezTo>
                        <a:pt x="78990" y="92587"/>
                        <a:pt x="74469" y="94614"/>
                        <a:pt x="86901" y="94614"/>
                      </a:cubicBezTo>
                      <a:cubicBezTo>
                        <a:pt x="99332" y="94614"/>
                        <a:pt x="98202" y="94614"/>
                        <a:pt x="110633" y="102721"/>
                      </a:cubicBezTo>
                      <a:cubicBezTo>
                        <a:pt x="119674" y="107788"/>
                        <a:pt x="126455" y="105761"/>
                        <a:pt x="126455" y="106774"/>
                      </a:cubicBezTo>
                      <a:cubicBezTo>
                        <a:pt x="126455" y="106774"/>
                        <a:pt x="125324" y="107788"/>
                        <a:pt x="123064" y="110828"/>
                      </a:cubicBezTo>
                      <a:cubicBezTo>
                        <a:pt x="114023" y="118935"/>
                        <a:pt x="104982" y="140215"/>
                        <a:pt x="91421" y="140215"/>
                      </a:cubicBezTo>
                      <a:cubicBezTo>
                        <a:pt x="78990" y="140215"/>
                        <a:pt x="74469" y="141228"/>
                        <a:pt x="74469" y="141228"/>
                      </a:cubicBezTo>
                      <a:cubicBezTo>
                        <a:pt x="74469" y="141228"/>
                        <a:pt x="57517" y="156429"/>
                        <a:pt x="56387" y="150349"/>
                      </a:cubicBezTo>
                      <a:cubicBezTo>
                        <a:pt x="55257" y="144268"/>
                        <a:pt x="46216" y="147309"/>
                        <a:pt x="46216" y="147309"/>
                      </a:cubicBezTo>
                      <a:lnTo>
                        <a:pt x="42826" y="153389"/>
                      </a:lnTo>
                      <a:lnTo>
                        <a:pt x="30395" y="147309"/>
                      </a:lnTo>
                      <a:lnTo>
                        <a:pt x="10052" y="153389"/>
                      </a:lnTo>
                      <a:lnTo>
                        <a:pt x="20223" y="167576"/>
                      </a:lnTo>
                      <a:lnTo>
                        <a:pt x="43956" y="166562"/>
                      </a:lnTo>
                      <a:cubicBezTo>
                        <a:pt x="43956" y="166562"/>
                        <a:pt x="47346" y="176696"/>
                        <a:pt x="55257" y="175683"/>
                      </a:cubicBezTo>
                      <a:cubicBezTo>
                        <a:pt x="63168" y="174669"/>
                        <a:pt x="73339" y="166562"/>
                        <a:pt x="77859" y="174669"/>
                      </a:cubicBezTo>
                      <a:cubicBezTo>
                        <a:pt x="82380" y="182776"/>
                        <a:pt x="93681" y="179736"/>
                        <a:pt x="93681" y="179736"/>
                      </a:cubicBezTo>
                      <a:cubicBezTo>
                        <a:pt x="93681" y="179736"/>
                        <a:pt x="106112" y="182776"/>
                        <a:pt x="114023" y="178723"/>
                      </a:cubicBezTo>
                      <a:cubicBezTo>
                        <a:pt x="120804" y="175683"/>
                        <a:pt x="129845" y="173656"/>
                        <a:pt x="138886" y="176696"/>
                      </a:cubicBezTo>
                      <a:close/>
                      <a:moveTo>
                        <a:pt x="331006" y="21652"/>
                      </a:moveTo>
                      <a:cubicBezTo>
                        <a:pt x="331006" y="24692"/>
                        <a:pt x="327616" y="28746"/>
                        <a:pt x="328746" y="29759"/>
                      </a:cubicBezTo>
                      <a:cubicBezTo>
                        <a:pt x="326485" y="30773"/>
                        <a:pt x="320835" y="28746"/>
                        <a:pt x="317445" y="29759"/>
                      </a:cubicBezTo>
                      <a:cubicBezTo>
                        <a:pt x="314054" y="30773"/>
                        <a:pt x="316315" y="34826"/>
                        <a:pt x="315184" y="36853"/>
                      </a:cubicBezTo>
                      <a:cubicBezTo>
                        <a:pt x="312925" y="38879"/>
                        <a:pt x="297103" y="43946"/>
                        <a:pt x="293712" y="43946"/>
                      </a:cubicBezTo>
                      <a:cubicBezTo>
                        <a:pt x="274500" y="43946"/>
                        <a:pt x="259809" y="33813"/>
                        <a:pt x="275630" y="25706"/>
                      </a:cubicBezTo>
                      <a:cubicBezTo>
                        <a:pt x="279021" y="24692"/>
                        <a:pt x="282411" y="22666"/>
                        <a:pt x="289192" y="21652"/>
                      </a:cubicBezTo>
                      <a:cubicBezTo>
                        <a:pt x="295973" y="20639"/>
                        <a:pt x="314054" y="16586"/>
                        <a:pt x="316315" y="16586"/>
                      </a:cubicBezTo>
                      <a:cubicBezTo>
                        <a:pt x="327616" y="16586"/>
                        <a:pt x="331006" y="18612"/>
                        <a:pt x="331006" y="2165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0" name="Freeform: Shape 359">
                  <a:extLst>
                    <a:ext uri="{FF2B5EF4-FFF2-40B4-BE49-F238E27FC236}">
                      <a16:creationId xmlns:a16="http://schemas.microsoft.com/office/drawing/2014/main" id="{9CD31595-EA22-4189-9F2C-47B9B8D1623A}"/>
                    </a:ext>
                  </a:extLst>
                </p:cNvPr>
                <p:cNvSpPr/>
                <p:nvPr/>
              </p:nvSpPr>
              <p:spPr>
                <a:xfrm>
                  <a:off x="7501454" y="3044285"/>
                  <a:ext cx="101711" cy="81069"/>
                </a:xfrm>
                <a:custGeom>
                  <a:avLst/>
                  <a:gdLst>
                    <a:gd name="connsiteX0" fmla="*/ 86901 w 101710"/>
                    <a:gd name="connsiteY0" fmla="*/ 12391 h 81068"/>
                    <a:gd name="connsiteX1" fmla="*/ 68818 w 101710"/>
                    <a:gd name="connsiteY1" fmla="*/ 9351 h 81068"/>
                    <a:gd name="connsiteX2" fmla="*/ 41696 w 101710"/>
                    <a:gd name="connsiteY2" fmla="*/ 33672 h 81068"/>
                    <a:gd name="connsiteX3" fmla="*/ 10052 w 101710"/>
                    <a:gd name="connsiteY3" fmla="*/ 57992 h 81068"/>
                    <a:gd name="connsiteX4" fmla="*/ 58648 w 101710"/>
                    <a:gd name="connsiteY4" fmla="*/ 66099 h 81068"/>
                    <a:gd name="connsiteX5" fmla="*/ 64298 w 101710"/>
                    <a:gd name="connsiteY5" fmla="*/ 80286 h 81068"/>
                    <a:gd name="connsiteX6" fmla="*/ 92551 w 101710"/>
                    <a:gd name="connsiteY6" fmla="*/ 79273 h 81068"/>
                    <a:gd name="connsiteX7" fmla="*/ 84640 w 101710"/>
                    <a:gd name="connsiteY7" fmla="*/ 60019 h 81068"/>
                    <a:gd name="connsiteX8" fmla="*/ 78990 w 101710"/>
                    <a:gd name="connsiteY8" fmla="*/ 60019 h 81068"/>
                    <a:gd name="connsiteX9" fmla="*/ 84640 w 101710"/>
                    <a:gd name="connsiteY9" fmla="*/ 30632 h 81068"/>
                    <a:gd name="connsiteX10" fmla="*/ 98202 w 101710"/>
                    <a:gd name="connsiteY10" fmla="*/ 37725 h 81068"/>
                    <a:gd name="connsiteX11" fmla="*/ 100462 w 101710"/>
                    <a:gd name="connsiteY11" fmla="*/ 35699 h 81068"/>
                    <a:gd name="connsiteX12" fmla="*/ 102722 w 101710"/>
                    <a:gd name="connsiteY12" fmla="*/ 33672 h 81068"/>
                    <a:gd name="connsiteX13" fmla="*/ 94811 w 101710"/>
                    <a:gd name="connsiteY13" fmla="*/ 31645 h 81068"/>
                    <a:gd name="connsiteX14" fmla="*/ 86901 w 101710"/>
                    <a:gd name="connsiteY14" fmla="*/ 12391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710" h="81068">
                      <a:moveTo>
                        <a:pt x="86901" y="12391"/>
                      </a:moveTo>
                      <a:cubicBezTo>
                        <a:pt x="86901" y="12391"/>
                        <a:pt x="76729" y="12391"/>
                        <a:pt x="68818" y="9351"/>
                      </a:cubicBezTo>
                      <a:cubicBezTo>
                        <a:pt x="60907" y="6311"/>
                        <a:pt x="48476" y="24552"/>
                        <a:pt x="41696" y="33672"/>
                      </a:cubicBezTo>
                      <a:cubicBezTo>
                        <a:pt x="34915" y="42792"/>
                        <a:pt x="10052" y="57992"/>
                        <a:pt x="10052" y="57992"/>
                      </a:cubicBezTo>
                      <a:lnTo>
                        <a:pt x="58648" y="66099"/>
                      </a:lnTo>
                      <a:lnTo>
                        <a:pt x="64298" y="80286"/>
                      </a:lnTo>
                      <a:lnTo>
                        <a:pt x="92551" y="79273"/>
                      </a:lnTo>
                      <a:cubicBezTo>
                        <a:pt x="89160" y="71166"/>
                        <a:pt x="88031" y="67112"/>
                        <a:pt x="84640" y="60019"/>
                      </a:cubicBezTo>
                      <a:lnTo>
                        <a:pt x="78990" y="60019"/>
                      </a:lnTo>
                      <a:cubicBezTo>
                        <a:pt x="76729" y="50899"/>
                        <a:pt x="83510" y="37725"/>
                        <a:pt x="84640" y="30632"/>
                      </a:cubicBezTo>
                      <a:cubicBezTo>
                        <a:pt x="86901" y="31645"/>
                        <a:pt x="95942" y="37725"/>
                        <a:pt x="98202" y="37725"/>
                      </a:cubicBezTo>
                      <a:cubicBezTo>
                        <a:pt x="98202" y="37725"/>
                        <a:pt x="94811" y="37725"/>
                        <a:pt x="100462" y="35699"/>
                      </a:cubicBezTo>
                      <a:cubicBezTo>
                        <a:pt x="103852" y="38739"/>
                        <a:pt x="102722" y="33672"/>
                        <a:pt x="102722" y="33672"/>
                      </a:cubicBezTo>
                      <a:cubicBezTo>
                        <a:pt x="101592" y="32658"/>
                        <a:pt x="94811" y="31645"/>
                        <a:pt x="94811" y="31645"/>
                      </a:cubicBezTo>
                      <a:cubicBezTo>
                        <a:pt x="91421" y="26578"/>
                        <a:pt x="89160" y="16445"/>
                        <a:pt x="86901" y="1239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1" name="Freeform: Shape 360">
                  <a:extLst>
                    <a:ext uri="{FF2B5EF4-FFF2-40B4-BE49-F238E27FC236}">
                      <a16:creationId xmlns:a16="http://schemas.microsoft.com/office/drawing/2014/main" id="{FCB448C4-6C5C-4A3A-8914-190ECFDC2879}"/>
                    </a:ext>
                  </a:extLst>
                </p:cNvPr>
                <p:cNvSpPr/>
                <p:nvPr/>
              </p:nvSpPr>
              <p:spPr>
                <a:xfrm>
                  <a:off x="7081050" y="4079260"/>
                  <a:ext cx="327735" cy="374942"/>
                </a:xfrm>
                <a:custGeom>
                  <a:avLst/>
                  <a:gdLst>
                    <a:gd name="connsiteX0" fmla="*/ 22483 w 327734"/>
                    <a:gd name="connsiteY0" fmla="*/ 212698 h 374942"/>
                    <a:gd name="connsiteX1" fmla="*/ 28134 w 327734"/>
                    <a:gd name="connsiteY1" fmla="*/ 224858 h 374942"/>
                    <a:gd name="connsiteX2" fmla="*/ 33784 w 327734"/>
                    <a:gd name="connsiteY2" fmla="*/ 224858 h 374942"/>
                    <a:gd name="connsiteX3" fmla="*/ 39435 w 327734"/>
                    <a:gd name="connsiteY3" fmla="*/ 217765 h 374942"/>
                    <a:gd name="connsiteX4" fmla="*/ 50736 w 327734"/>
                    <a:gd name="connsiteY4" fmla="*/ 219792 h 374942"/>
                    <a:gd name="connsiteX5" fmla="*/ 42825 w 327734"/>
                    <a:gd name="connsiteY5" fmla="*/ 224858 h 374942"/>
                    <a:gd name="connsiteX6" fmla="*/ 40565 w 327734"/>
                    <a:gd name="connsiteY6" fmla="*/ 242085 h 374942"/>
                    <a:gd name="connsiteX7" fmla="*/ 32654 w 327734"/>
                    <a:gd name="connsiteY7" fmla="*/ 247152 h 374942"/>
                    <a:gd name="connsiteX8" fmla="*/ 30394 w 327734"/>
                    <a:gd name="connsiteY8" fmla="*/ 268433 h 374942"/>
                    <a:gd name="connsiteX9" fmla="*/ 140016 w 327734"/>
                    <a:gd name="connsiteY9" fmla="*/ 313020 h 374942"/>
                    <a:gd name="connsiteX10" fmla="*/ 145666 w 327734"/>
                    <a:gd name="connsiteY10" fmla="*/ 329234 h 374942"/>
                    <a:gd name="connsiteX11" fmla="*/ 152447 w 327734"/>
                    <a:gd name="connsiteY11" fmla="*/ 345448 h 374942"/>
                    <a:gd name="connsiteX12" fmla="*/ 162618 w 327734"/>
                    <a:gd name="connsiteY12" fmla="*/ 351528 h 374942"/>
                    <a:gd name="connsiteX13" fmla="*/ 205563 w 327734"/>
                    <a:gd name="connsiteY13" fmla="*/ 374835 h 374942"/>
                    <a:gd name="connsiteX14" fmla="*/ 213474 w 327734"/>
                    <a:gd name="connsiteY14" fmla="*/ 367742 h 374942"/>
                    <a:gd name="connsiteX15" fmla="*/ 213474 w 327734"/>
                    <a:gd name="connsiteY15" fmla="*/ 336328 h 374942"/>
                    <a:gd name="connsiteX16" fmla="*/ 219124 w 327734"/>
                    <a:gd name="connsiteY16" fmla="*/ 336328 h 374942"/>
                    <a:gd name="connsiteX17" fmla="*/ 234945 w 327734"/>
                    <a:gd name="connsiteY17" fmla="*/ 309980 h 374942"/>
                    <a:gd name="connsiteX18" fmla="*/ 254158 w 327734"/>
                    <a:gd name="connsiteY18" fmla="*/ 304913 h 374942"/>
                    <a:gd name="connsiteX19" fmla="*/ 267719 w 327734"/>
                    <a:gd name="connsiteY19" fmla="*/ 280593 h 374942"/>
                    <a:gd name="connsiteX20" fmla="*/ 283540 w 327734"/>
                    <a:gd name="connsiteY20" fmla="*/ 278566 h 374942"/>
                    <a:gd name="connsiteX21" fmla="*/ 289191 w 327734"/>
                    <a:gd name="connsiteY21" fmla="*/ 252219 h 374942"/>
                    <a:gd name="connsiteX22" fmla="*/ 302753 w 327734"/>
                    <a:gd name="connsiteY22" fmla="*/ 242085 h 374942"/>
                    <a:gd name="connsiteX23" fmla="*/ 300492 w 327734"/>
                    <a:gd name="connsiteY23" fmla="*/ 231952 h 374942"/>
                    <a:gd name="connsiteX24" fmla="*/ 305013 w 327734"/>
                    <a:gd name="connsiteY24" fmla="*/ 228912 h 374942"/>
                    <a:gd name="connsiteX25" fmla="*/ 280150 w 327734"/>
                    <a:gd name="connsiteY25" fmla="*/ 203578 h 374942"/>
                    <a:gd name="connsiteX26" fmla="*/ 276760 w 327734"/>
                    <a:gd name="connsiteY26" fmla="*/ 72855 h 374942"/>
                    <a:gd name="connsiteX27" fmla="*/ 297102 w 327734"/>
                    <a:gd name="connsiteY27" fmla="*/ 59681 h 374942"/>
                    <a:gd name="connsiteX28" fmla="*/ 318575 w 327734"/>
                    <a:gd name="connsiteY28" fmla="*/ 18134 h 374942"/>
                    <a:gd name="connsiteX29" fmla="*/ 277890 w 327734"/>
                    <a:gd name="connsiteY29" fmla="*/ 22187 h 374942"/>
                    <a:gd name="connsiteX30" fmla="*/ 267719 w 327734"/>
                    <a:gd name="connsiteY30" fmla="*/ 9013 h 374942"/>
                    <a:gd name="connsiteX31" fmla="*/ 246247 w 327734"/>
                    <a:gd name="connsiteY31" fmla="*/ 18134 h 374942"/>
                    <a:gd name="connsiteX32" fmla="*/ 231555 w 327734"/>
                    <a:gd name="connsiteY32" fmla="*/ 29281 h 374942"/>
                    <a:gd name="connsiteX33" fmla="*/ 212343 w 327734"/>
                    <a:gd name="connsiteY33" fmla="*/ 30294 h 374942"/>
                    <a:gd name="connsiteX34" fmla="*/ 192001 w 327734"/>
                    <a:gd name="connsiteY34" fmla="*/ 27254 h 374942"/>
                    <a:gd name="connsiteX35" fmla="*/ 162618 w 327734"/>
                    <a:gd name="connsiteY35" fmla="*/ 23200 h 374942"/>
                    <a:gd name="connsiteX36" fmla="*/ 138885 w 327734"/>
                    <a:gd name="connsiteY36" fmla="*/ 24214 h 374942"/>
                    <a:gd name="connsiteX37" fmla="*/ 115153 w 327734"/>
                    <a:gd name="connsiteY37" fmla="*/ 27254 h 374942"/>
                    <a:gd name="connsiteX38" fmla="*/ 88030 w 327734"/>
                    <a:gd name="connsiteY38" fmla="*/ 24214 h 374942"/>
                    <a:gd name="connsiteX39" fmla="*/ 67688 w 327734"/>
                    <a:gd name="connsiteY39" fmla="*/ 10027 h 374942"/>
                    <a:gd name="connsiteX40" fmla="*/ 51866 w 327734"/>
                    <a:gd name="connsiteY40" fmla="*/ 11040 h 374942"/>
                    <a:gd name="connsiteX41" fmla="*/ 37174 w 327734"/>
                    <a:gd name="connsiteY41" fmla="*/ 11040 h 374942"/>
                    <a:gd name="connsiteX42" fmla="*/ 27004 w 327734"/>
                    <a:gd name="connsiteY42" fmla="*/ 20160 h 374942"/>
                    <a:gd name="connsiteX43" fmla="*/ 10052 w 327734"/>
                    <a:gd name="connsiteY43" fmla="*/ 24214 h 374942"/>
                    <a:gd name="connsiteX44" fmla="*/ 11182 w 327734"/>
                    <a:gd name="connsiteY44" fmla="*/ 33334 h 374942"/>
                    <a:gd name="connsiteX45" fmla="*/ 17962 w 327734"/>
                    <a:gd name="connsiteY45" fmla="*/ 41441 h 374942"/>
                    <a:gd name="connsiteX46" fmla="*/ 27004 w 327734"/>
                    <a:gd name="connsiteY46" fmla="*/ 49548 h 374942"/>
                    <a:gd name="connsiteX47" fmla="*/ 25873 w 327734"/>
                    <a:gd name="connsiteY47" fmla="*/ 69815 h 374942"/>
                    <a:gd name="connsiteX48" fmla="*/ 30394 w 327734"/>
                    <a:gd name="connsiteY48" fmla="*/ 93122 h 374942"/>
                    <a:gd name="connsiteX49" fmla="*/ 39435 w 327734"/>
                    <a:gd name="connsiteY49" fmla="*/ 113389 h 374942"/>
                    <a:gd name="connsiteX50" fmla="*/ 34914 w 327734"/>
                    <a:gd name="connsiteY50" fmla="*/ 131629 h 374942"/>
                    <a:gd name="connsiteX51" fmla="*/ 22483 w 327734"/>
                    <a:gd name="connsiteY51" fmla="*/ 144803 h 374942"/>
                    <a:gd name="connsiteX52" fmla="*/ 16832 w 327734"/>
                    <a:gd name="connsiteY52" fmla="*/ 170137 h 374942"/>
                    <a:gd name="connsiteX53" fmla="*/ 20223 w 327734"/>
                    <a:gd name="connsiteY53" fmla="*/ 199524 h 374942"/>
                    <a:gd name="connsiteX54" fmla="*/ 20223 w 327734"/>
                    <a:gd name="connsiteY54" fmla="*/ 211685 h 374942"/>
                    <a:gd name="connsiteX55" fmla="*/ 22483 w 327734"/>
                    <a:gd name="connsiteY55" fmla="*/ 212698 h 374942"/>
                    <a:gd name="connsiteX56" fmla="*/ 90290 w 327734"/>
                    <a:gd name="connsiteY56" fmla="*/ 28267 h 374942"/>
                    <a:gd name="connsiteX57" fmla="*/ 98201 w 327734"/>
                    <a:gd name="connsiteY57" fmla="*/ 33334 h 374942"/>
                    <a:gd name="connsiteX58" fmla="*/ 100462 w 327734"/>
                    <a:gd name="connsiteY58" fmla="*/ 69815 h 374942"/>
                    <a:gd name="connsiteX59" fmla="*/ 114022 w 327734"/>
                    <a:gd name="connsiteY59" fmla="*/ 89069 h 374942"/>
                    <a:gd name="connsiteX60" fmla="*/ 116283 w 327734"/>
                    <a:gd name="connsiteY60" fmla="*/ 106295 h 374942"/>
                    <a:gd name="connsiteX61" fmla="*/ 110632 w 327734"/>
                    <a:gd name="connsiteY61" fmla="*/ 106295 h 374942"/>
                    <a:gd name="connsiteX62" fmla="*/ 102721 w 327734"/>
                    <a:gd name="connsiteY62" fmla="*/ 87042 h 374942"/>
                    <a:gd name="connsiteX63" fmla="*/ 86900 w 327734"/>
                    <a:gd name="connsiteY63" fmla="*/ 74882 h 374942"/>
                    <a:gd name="connsiteX64" fmla="*/ 86900 w 327734"/>
                    <a:gd name="connsiteY64" fmla="*/ 67788 h 374942"/>
                    <a:gd name="connsiteX65" fmla="*/ 81249 w 327734"/>
                    <a:gd name="connsiteY65" fmla="*/ 67788 h 374942"/>
                    <a:gd name="connsiteX66" fmla="*/ 90290 w 327734"/>
                    <a:gd name="connsiteY66" fmla="*/ 28267 h 37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27734" h="374942">
                      <a:moveTo>
                        <a:pt x="22483" y="212698"/>
                      </a:moveTo>
                      <a:cubicBezTo>
                        <a:pt x="24743" y="213711"/>
                        <a:pt x="24743" y="223845"/>
                        <a:pt x="28134" y="224858"/>
                      </a:cubicBezTo>
                      <a:lnTo>
                        <a:pt x="33784" y="224858"/>
                      </a:lnTo>
                      <a:cubicBezTo>
                        <a:pt x="33784" y="223845"/>
                        <a:pt x="38305" y="217765"/>
                        <a:pt x="39435" y="217765"/>
                      </a:cubicBezTo>
                      <a:cubicBezTo>
                        <a:pt x="45085" y="215738"/>
                        <a:pt x="47346" y="220805"/>
                        <a:pt x="50736" y="219792"/>
                      </a:cubicBezTo>
                      <a:cubicBezTo>
                        <a:pt x="48476" y="223845"/>
                        <a:pt x="45085" y="221818"/>
                        <a:pt x="42825" y="224858"/>
                      </a:cubicBezTo>
                      <a:cubicBezTo>
                        <a:pt x="39435" y="229925"/>
                        <a:pt x="42825" y="236005"/>
                        <a:pt x="40565" y="242085"/>
                      </a:cubicBezTo>
                      <a:cubicBezTo>
                        <a:pt x="39435" y="244112"/>
                        <a:pt x="32654" y="245125"/>
                        <a:pt x="32654" y="247152"/>
                      </a:cubicBezTo>
                      <a:cubicBezTo>
                        <a:pt x="29263" y="257286"/>
                        <a:pt x="30394" y="263366"/>
                        <a:pt x="30394" y="268433"/>
                      </a:cubicBezTo>
                      <a:lnTo>
                        <a:pt x="140016" y="313020"/>
                      </a:lnTo>
                      <a:cubicBezTo>
                        <a:pt x="140016" y="313020"/>
                        <a:pt x="146796" y="321127"/>
                        <a:pt x="145666" y="329234"/>
                      </a:cubicBezTo>
                      <a:cubicBezTo>
                        <a:pt x="144536" y="337341"/>
                        <a:pt x="144536" y="344434"/>
                        <a:pt x="152447" y="345448"/>
                      </a:cubicBezTo>
                      <a:cubicBezTo>
                        <a:pt x="160358" y="346461"/>
                        <a:pt x="162618" y="351528"/>
                        <a:pt x="162618" y="351528"/>
                      </a:cubicBezTo>
                      <a:lnTo>
                        <a:pt x="205563" y="374835"/>
                      </a:lnTo>
                      <a:cubicBezTo>
                        <a:pt x="206692" y="373822"/>
                        <a:pt x="213474" y="368755"/>
                        <a:pt x="213474" y="367742"/>
                      </a:cubicBezTo>
                      <a:cubicBezTo>
                        <a:pt x="215733" y="357608"/>
                        <a:pt x="205563" y="350514"/>
                        <a:pt x="213474" y="336328"/>
                      </a:cubicBezTo>
                      <a:lnTo>
                        <a:pt x="219124" y="336328"/>
                      </a:lnTo>
                      <a:cubicBezTo>
                        <a:pt x="223644" y="328221"/>
                        <a:pt x="227034" y="314034"/>
                        <a:pt x="234945" y="309980"/>
                      </a:cubicBezTo>
                      <a:cubicBezTo>
                        <a:pt x="240596" y="306940"/>
                        <a:pt x="249637" y="307954"/>
                        <a:pt x="254158" y="304913"/>
                      </a:cubicBezTo>
                      <a:cubicBezTo>
                        <a:pt x="257548" y="301873"/>
                        <a:pt x="264329" y="282620"/>
                        <a:pt x="267719" y="280593"/>
                      </a:cubicBezTo>
                      <a:cubicBezTo>
                        <a:pt x="267719" y="280593"/>
                        <a:pt x="281281" y="282620"/>
                        <a:pt x="283540" y="278566"/>
                      </a:cubicBezTo>
                      <a:cubicBezTo>
                        <a:pt x="288061" y="272486"/>
                        <a:pt x="284671" y="258299"/>
                        <a:pt x="289191" y="252219"/>
                      </a:cubicBezTo>
                      <a:cubicBezTo>
                        <a:pt x="291451" y="249179"/>
                        <a:pt x="300492" y="246139"/>
                        <a:pt x="302753" y="242085"/>
                      </a:cubicBezTo>
                      <a:cubicBezTo>
                        <a:pt x="305013" y="237019"/>
                        <a:pt x="298233" y="238032"/>
                        <a:pt x="300492" y="231952"/>
                      </a:cubicBezTo>
                      <a:cubicBezTo>
                        <a:pt x="300492" y="230939"/>
                        <a:pt x="303883" y="229925"/>
                        <a:pt x="305013" y="228912"/>
                      </a:cubicBezTo>
                      <a:lnTo>
                        <a:pt x="280150" y="203578"/>
                      </a:lnTo>
                      <a:lnTo>
                        <a:pt x="276760" y="72855"/>
                      </a:lnTo>
                      <a:lnTo>
                        <a:pt x="297102" y="59681"/>
                      </a:lnTo>
                      <a:lnTo>
                        <a:pt x="318575" y="18134"/>
                      </a:lnTo>
                      <a:cubicBezTo>
                        <a:pt x="318575" y="18134"/>
                        <a:pt x="286931" y="26240"/>
                        <a:pt x="277890" y="22187"/>
                      </a:cubicBezTo>
                      <a:cubicBezTo>
                        <a:pt x="268849" y="18134"/>
                        <a:pt x="267719" y="9013"/>
                        <a:pt x="267719" y="9013"/>
                      </a:cubicBezTo>
                      <a:cubicBezTo>
                        <a:pt x="267719" y="9013"/>
                        <a:pt x="255287" y="23200"/>
                        <a:pt x="246247" y="18134"/>
                      </a:cubicBezTo>
                      <a:cubicBezTo>
                        <a:pt x="236076" y="13067"/>
                        <a:pt x="231555" y="29281"/>
                        <a:pt x="231555" y="29281"/>
                      </a:cubicBezTo>
                      <a:cubicBezTo>
                        <a:pt x="231555" y="29281"/>
                        <a:pt x="221384" y="30294"/>
                        <a:pt x="212343" y="30294"/>
                      </a:cubicBezTo>
                      <a:cubicBezTo>
                        <a:pt x="203302" y="30294"/>
                        <a:pt x="197652" y="32321"/>
                        <a:pt x="192001" y="27254"/>
                      </a:cubicBezTo>
                      <a:cubicBezTo>
                        <a:pt x="186350" y="22187"/>
                        <a:pt x="162618" y="23200"/>
                        <a:pt x="162618" y="23200"/>
                      </a:cubicBezTo>
                      <a:cubicBezTo>
                        <a:pt x="162618" y="23200"/>
                        <a:pt x="145666" y="31307"/>
                        <a:pt x="138885" y="24214"/>
                      </a:cubicBezTo>
                      <a:cubicBezTo>
                        <a:pt x="132105" y="18134"/>
                        <a:pt x="120804" y="28267"/>
                        <a:pt x="115153" y="27254"/>
                      </a:cubicBezTo>
                      <a:cubicBezTo>
                        <a:pt x="109502" y="26240"/>
                        <a:pt x="88030" y="24214"/>
                        <a:pt x="88030" y="24214"/>
                      </a:cubicBezTo>
                      <a:lnTo>
                        <a:pt x="67688" y="10027"/>
                      </a:lnTo>
                      <a:lnTo>
                        <a:pt x="51866" y="11040"/>
                      </a:lnTo>
                      <a:cubicBezTo>
                        <a:pt x="51866" y="11040"/>
                        <a:pt x="46215" y="11040"/>
                        <a:pt x="37174" y="11040"/>
                      </a:cubicBezTo>
                      <a:lnTo>
                        <a:pt x="27004" y="20160"/>
                      </a:lnTo>
                      <a:lnTo>
                        <a:pt x="10052" y="24214"/>
                      </a:lnTo>
                      <a:lnTo>
                        <a:pt x="11182" y="33334"/>
                      </a:lnTo>
                      <a:cubicBezTo>
                        <a:pt x="11182" y="33334"/>
                        <a:pt x="14572" y="38401"/>
                        <a:pt x="17962" y="41441"/>
                      </a:cubicBezTo>
                      <a:cubicBezTo>
                        <a:pt x="32654" y="49548"/>
                        <a:pt x="19093" y="42454"/>
                        <a:pt x="27004" y="49548"/>
                      </a:cubicBezTo>
                      <a:cubicBezTo>
                        <a:pt x="34914" y="56641"/>
                        <a:pt x="28134" y="57654"/>
                        <a:pt x="25873" y="69815"/>
                      </a:cubicBezTo>
                      <a:cubicBezTo>
                        <a:pt x="23613" y="81975"/>
                        <a:pt x="21353" y="86028"/>
                        <a:pt x="30394" y="93122"/>
                      </a:cubicBezTo>
                      <a:cubicBezTo>
                        <a:pt x="39435" y="100216"/>
                        <a:pt x="40565" y="106295"/>
                        <a:pt x="39435" y="113389"/>
                      </a:cubicBezTo>
                      <a:cubicBezTo>
                        <a:pt x="38305" y="120483"/>
                        <a:pt x="37174" y="126563"/>
                        <a:pt x="34914" y="131629"/>
                      </a:cubicBezTo>
                      <a:cubicBezTo>
                        <a:pt x="32654" y="136696"/>
                        <a:pt x="23613" y="130616"/>
                        <a:pt x="22483" y="144803"/>
                      </a:cubicBezTo>
                      <a:cubicBezTo>
                        <a:pt x="21353" y="158990"/>
                        <a:pt x="23613" y="164057"/>
                        <a:pt x="16832" y="170137"/>
                      </a:cubicBezTo>
                      <a:cubicBezTo>
                        <a:pt x="10052" y="176217"/>
                        <a:pt x="24743" y="196484"/>
                        <a:pt x="20223" y="199524"/>
                      </a:cubicBezTo>
                      <a:cubicBezTo>
                        <a:pt x="15703" y="202564"/>
                        <a:pt x="20223" y="211685"/>
                        <a:pt x="20223" y="211685"/>
                      </a:cubicBezTo>
                      <a:cubicBezTo>
                        <a:pt x="21353" y="211685"/>
                        <a:pt x="22483" y="212698"/>
                        <a:pt x="22483" y="212698"/>
                      </a:cubicBezTo>
                      <a:close/>
                      <a:moveTo>
                        <a:pt x="90290" y="28267"/>
                      </a:moveTo>
                      <a:cubicBezTo>
                        <a:pt x="90290" y="29281"/>
                        <a:pt x="98201" y="32321"/>
                        <a:pt x="98201" y="33334"/>
                      </a:cubicBezTo>
                      <a:cubicBezTo>
                        <a:pt x="103852" y="48534"/>
                        <a:pt x="98201" y="56641"/>
                        <a:pt x="100462" y="69815"/>
                      </a:cubicBezTo>
                      <a:cubicBezTo>
                        <a:pt x="101591" y="74882"/>
                        <a:pt x="110632" y="84002"/>
                        <a:pt x="114022" y="89069"/>
                      </a:cubicBezTo>
                      <a:cubicBezTo>
                        <a:pt x="114022" y="89069"/>
                        <a:pt x="116283" y="102242"/>
                        <a:pt x="116283" y="106295"/>
                      </a:cubicBezTo>
                      <a:lnTo>
                        <a:pt x="110632" y="106295"/>
                      </a:lnTo>
                      <a:cubicBezTo>
                        <a:pt x="108372" y="102242"/>
                        <a:pt x="104982" y="91095"/>
                        <a:pt x="102721" y="87042"/>
                      </a:cubicBezTo>
                      <a:cubicBezTo>
                        <a:pt x="99331" y="82988"/>
                        <a:pt x="88030" y="79948"/>
                        <a:pt x="86900" y="74882"/>
                      </a:cubicBezTo>
                      <a:cubicBezTo>
                        <a:pt x="85769" y="73868"/>
                        <a:pt x="88030" y="67788"/>
                        <a:pt x="86900" y="67788"/>
                      </a:cubicBezTo>
                      <a:lnTo>
                        <a:pt x="81249" y="67788"/>
                      </a:lnTo>
                      <a:cubicBezTo>
                        <a:pt x="78989" y="55628"/>
                        <a:pt x="89160" y="36374"/>
                        <a:pt x="90290" y="2826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3" name="Freeform: Shape 362">
                  <a:extLst>
                    <a:ext uri="{FF2B5EF4-FFF2-40B4-BE49-F238E27FC236}">
                      <a16:creationId xmlns:a16="http://schemas.microsoft.com/office/drawing/2014/main" id="{304CBD94-B0CC-4814-89DE-B7F29D76CF3D}"/>
                    </a:ext>
                  </a:extLst>
                </p:cNvPr>
                <p:cNvSpPr/>
                <p:nvPr/>
              </p:nvSpPr>
              <p:spPr>
                <a:xfrm>
                  <a:off x="7544628" y="1937023"/>
                  <a:ext cx="1469155" cy="678949"/>
                </a:xfrm>
                <a:custGeom>
                  <a:avLst/>
                  <a:gdLst>
                    <a:gd name="connsiteX0" fmla="*/ 1451856 w 1469155"/>
                    <a:gd name="connsiteY0" fmla="*/ 300860 h 678949"/>
                    <a:gd name="connsiteX1" fmla="*/ 1399870 w 1469155"/>
                    <a:gd name="connsiteY1" fmla="*/ 308967 h 678949"/>
                    <a:gd name="connsiteX2" fmla="*/ 1384048 w 1469155"/>
                    <a:gd name="connsiteY2" fmla="*/ 322141 h 678949"/>
                    <a:gd name="connsiteX3" fmla="*/ 1372747 w 1469155"/>
                    <a:gd name="connsiteY3" fmla="*/ 336328 h 678949"/>
                    <a:gd name="connsiteX4" fmla="*/ 1351275 w 1469155"/>
                    <a:gd name="connsiteY4" fmla="*/ 344434 h 678949"/>
                    <a:gd name="connsiteX5" fmla="*/ 1346755 w 1469155"/>
                    <a:gd name="connsiteY5" fmla="*/ 354568 h 678949"/>
                    <a:gd name="connsiteX6" fmla="*/ 1342234 w 1469155"/>
                    <a:gd name="connsiteY6" fmla="*/ 369768 h 678949"/>
                    <a:gd name="connsiteX7" fmla="*/ 1313981 w 1469155"/>
                    <a:gd name="connsiteY7" fmla="*/ 380915 h 678949"/>
                    <a:gd name="connsiteX8" fmla="*/ 1292509 w 1469155"/>
                    <a:gd name="connsiteY8" fmla="*/ 380915 h 678949"/>
                    <a:gd name="connsiteX9" fmla="*/ 1277817 w 1469155"/>
                    <a:gd name="connsiteY9" fmla="*/ 390036 h 678949"/>
                    <a:gd name="connsiteX10" fmla="*/ 1266516 w 1469155"/>
                    <a:gd name="connsiteY10" fmla="*/ 408276 h 678949"/>
                    <a:gd name="connsiteX11" fmla="*/ 1251824 w 1469155"/>
                    <a:gd name="connsiteY11" fmla="*/ 419423 h 678949"/>
                    <a:gd name="connsiteX12" fmla="*/ 1245044 w 1469155"/>
                    <a:gd name="connsiteY12" fmla="*/ 443743 h 678949"/>
                    <a:gd name="connsiteX13" fmla="*/ 1249564 w 1469155"/>
                    <a:gd name="connsiteY13" fmla="*/ 464011 h 678949"/>
                    <a:gd name="connsiteX14" fmla="*/ 1261996 w 1469155"/>
                    <a:gd name="connsiteY14" fmla="*/ 474144 h 678949"/>
                    <a:gd name="connsiteX15" fmla="*/ 1252955 w 1469155"/>
                    <a:gd name="connsiteY15" fmla="*/ 485291 h 678949"/>
                    <a:gd name="connsiteX16" fmla="*/ 1219051 w 1469155"/>
                    <a:gd name="connsiteY16" fmla="*/ 485291 h 678949"/>
                    <a:gd name="connsiteX17" fmla="*/ 1190798 w 1469155"/>
                    <a:gd name="connsiteY17" fmla="*/ 496438 h 678949"/>
                    <a:gd name="connsiteX18" fmla="*/ 1162545 w 1469155"/>
                    <a:gd name="connsiteY18" fmla="*/ 501505 h 678949"/>
                    <a:gd name="connsiteX19" fmla="*/ 1155764 w 1469155"/>
                    <a:gd name="connsiteY19" fmla="*/ 509612 h 678949"/>
                    <a:gd name="connsiteX20" fmla="*/ 1161415 w 1469155"/>
                    <a:gd name="connsiteY20" fmla="*/ 520759 h 678949"/>
                    <a:gd name="connsiteX21" fmla="*/ 1178367 w 1469155"/>
                    <a:gd name="connsiteY21" fmla="*/ 535959 h 678949"/>
                    <a:gd name="connsiteX22" fmla="*/ 1187407 w 1469155"/>
                    <a:gd name="connsiteY22" fmla="*/ 550146 h 678949"/>
                    <a:gd name="connsiteX23" fmla="*/ 1172716 w 1469155"/>
                    <a:gd name="connsiteY23" fmla="*/ 578520 h 678949"/>
                    <a:gd name="connsiteX24" fmla="*/ 1171586 w 1469155"/>
                    <a:gd name="connsiteY24" fmla="*/ 602840 h 678949"/>
                    <a:gd name="connsiteX25" fmla="*/ 1156895 w 1469155"/>
                    <a:gd name="connsiteY25" fmla="*/ 594734 h 678949"/>
                    <a:gd name="connsiteX26" fmla="*/ 1135422 w 1469155"/>
                    <a:gd name="connsiteY26" fmla="*/ 586627 h 678949"/>
                    <a:gd name="connsiteX27" fmla="*/ 1112820 w 1469155"/>
                    <a:gd name="connsiteY27" fmla="*/ 575480 h 678949"/>
                    <a:gd name="connsiteX28" fmla="*/ 1081177 w 1469155"/>
                    <a:gd name="connsiteY28" fmla="*/ 572440 h 678949"/>
                    <a:gd name="connsiteX29" fmla="*/ 1038232 w 1469155"/>
                    <a:gd name="connsiteY29" fmla="*/ 575480 h 678949"/>
                    <a:gd name="connsiteX30" fmla="*/ 1000938 w 1469155"/>
                    <a:gd name="connsiteY30" fmla="*/ 591694 h 678949"/>
                    <a:gd name="connsiteX31" fmla="*/ 985116 w 1469155"/>
                    <a:gd name="connsiteY31" fmla="*/ 585613 h 678949"/>
                    <a:gd name="connsiteX32" fmla="*/ 968165 w 1469155"/>
                    <a:gd name="connsiteY32" fmla="*/ 575480 h 678949"/>
                    <a:gd name="connsiteX33" fmla="*/ 950082 w 1469155"/>
                    <a:gd name="connsiteY33" fmla="*/ 581560 h 678949"/>
                    <a:gd name="connsiteX34" fmla="*/ 935391 w 1469155"/>
                    <a:gd name="connsiteY34" fmla="*/ 595747 h 678949"/>
                    <a:gd name="connsiteX35" fmla="*/ 924090 w 1469155"/>
                    <a:gd name="connsiteY35" fmla="*/ 605881 h 678949"/>
                    <a:gd name="connsiteX36" fmla="*/ 886796 w 1469155"/>
                    <a:gd name="connsiteY36" fmla="*/ 586627 h 678949"/>
                    <a:gd name="connsiteX37" fmla="*/ 860803 w 1469155"/>
                    <a:gd name="connsiteY37" fmla="*/ 586627 h 678949"/>
                    <a:gd name="connsiteX38" fmla="*/ 830290 w 1469155"/>
                    <a:gd name="connsiteY38" fmla="*/ 608921 h 678949"/>
                    <a:gd name="connsiteX39" fmla="*/ 809948 w 1469155"/>
                    <a:gd name="connsiteY39" fmla="*/ 613987 h 678949"/>
                    <a:gd name="connsiteX40" fmla="*/ 788475 w 1469155"/>
                    <a:gd name="connsiteY40" fmla="*/ 622094 h 678949"/>
                    <a:gd name="connsiteX41" fmla="*/ 769263 w 1469155"/>
                    <a:gd name="connsiteY41" fmla="*/ 629188 h 678949"/>
                    <a:gd name="connsiteX42" fmla="*/ 757962 w 1469155"/>
                    <a:gd name="connsiteY42" fmla="*/ 650468 h 678949"/>
                    <a:gd name="connsiteX43" fmla="*/ 736490 w 1469155"/>
                    <a:gd name="connsiteY43" fmla="*/ 653508 h 678949"/>
                    <a:gd name="connsiteX44" fmla="*/ 735360 w 1469155"/>
                    <a:gd name="connsiteY44" fmla="*/ 666682 h 678949"/>
                    <a:gd name="connsiteX45" fmla="*/ 722928 w 1469155"/>
                    <a:gd name="connsiteY45" fmla="*/ 670735 h 678949"/>
                    <a:gd name="connsiteX46" fmla="*/ 721799 w 1469155"/>
                    <a:gd name="connsiteY46" fmla="*/ 652495 h 678949"/>
                    <a:gd name="connsiteX47" fmla="*/ 694676 w 1469155"/>
                    <a:gd name="connsiteY47" fmla="*/ 646415 h 678949"/>
                    <a:gd name="connsiteX48" fmla="*/ 661902 w 1469155"/>
                    <a:gd name="connsiteY48" fmla="*/ 641348 h 678949"/>
                    <a:gd name="connsiteX49" fmla="*/ 661902 w 1469155"/>
                    <a:gd name="connsiteY49" fmla="*/ 627161 h 678949"/>
                    <a:gd name="connsiteX50" fmla="*/ 655121 w 1469155"/>
                    <a:gd name="connsiteY50" fmla="*/ 619054 h 678949"/>
                    <a:gd name="connsiteX51" fmla="*/ 642690 w 1469155"/>
                    <a:gd name="connsiteY51" fmla="*/ 612974 h 678949"/>
                    <a:gd name="connsiteX52" fmla="*/ 624608 w 1469155"/>
                    <a:gd name="connsiteY52" fmla="*/ 606894 h 678949"/>
                    <a:gd name="connsiteX53" fmla="*/ 612177 w 1469155"/>
                    <a:gd name="connsiteY53" fmla="*/ 588654 h 678949"/>
                    <a:gd name="connsiteX54" fmla="*/ 606526 w 1469155"/>
                    <a:gd name="connsiteY54" fmla="*/ 596760 h 678949"/>
                    <a:gd name="connsiteX55" fmla="*/ 563582 w 1469155"/>
                    <a:gd name="connsiteY55" fmla="*/ 588654 h 678949"/>
                    <a:gd name="connsiteX56" fmla="*/ 526287 w 1469155"/>
                    <a:gd name="connsiteY56" fmla="*/ 587640 h 678949"/>
                    <a:gd name="connsiteX57" fmla="*/ 521767 w 1469155"/>
                    <a:gd name="connsiteY57" fmla="*/ 552173 h 678949"/>
                    <a:gd name="connsiteX58" fmla="*/ 514986 w 1469155"/>
                    <a:gd name="connsiteY58" fmla="*/ 532919 h 678949"/>
                    <a:gd name="connsiteX59" fmla="*/ 509336 w 1469155"/>
                    <a:gd name="connsiteY59" fmla="*/ 528866 h 678949"/>
                    <a:gd name="connsiteX60" fmla="*/ 524028 w 1469155"/>
                    <a:gd name="connsiteY60" fmla="*/ 522785 h 678949"/>
                    <a:gd name="connsiteX61" fmla="*/ 531938 w 1469155"/>
                    <a:gd name="connsiteY61" fmla="*/ 505558 h 678949"/>
                    <a:gd name="connsiteX62" fmla="*/ 531938 w 1469155"/>
                    <a:gd name="connsiteY62" fmla="*/ 500491 h 678949"/>
                    <a:gd name="connsiteX63" fmla="*/ 499165 w 1469155"/>
                    <a:gd name="connsiteY63" fmla="*/ 481238 h 678949"/>
                    <a:gd name="connsiteX64" fmla="*/ 501425 w 1469155"/>
                    <a:gd name="connsiteY64" fmla="*/ 458944 h 678949"/>
                    <a:gd name="connsiteX65" fmla="*/ 499165 w 1469155"/>
                    <a:gd name="connsiteY65" fmla="*/ 444757 h 678949"/>
                    <a:gd name="connsiteX66" fmla="*/ 520637 w 1469155"/>
                    <a:gd name="connsiteY66" fmla="*/ 413343 h 678949"/>
                    <a:gd name="connsiteX67" fmla="*/ 509336 w 1469155"/>
                    <a:gd name="connsiteY67" fmla="*/ 415369 h 678949"/>
                    <a:gd name="connsiteX68" fmla="*/ 501425 w 1469155"/>
                    <a:gd name="connsiteY68" fmla="*/ 410303 h 678949"/>
                    <a:gd name="connsiteX69" fmla="*/ 501425 w 1469155"/>
                    <a:gd name="connsiteY69" fmla="*/ 417396 h 678949"/>
                    <a:gd name="connsiteX70" fmla="*/ 474302 w 1469155"/>
                    <a:gd name="connsiteY70" fmla="*/ 415369 h 678949"/>
                    <a:gd name="connsiteX71" fmla="*/ 476563 w 1469155"/>
                    <a:gd name="connsiteY71" fmla="*/ 425503 h 678949"/>
                    <a:gd name="connsiteX72" fmla="*/ 474302 w 1469155"/>
                    <a:gd name="connsiteY72" fmla="*/ 435637 h 678949"/>
                    <a:gd name="connsiteX73" fmla="*/ 458480 w 1469155"/>
                    <a:gd name="connsiteY73" fmla="*/ 433610 h 678949"/>
                    <a:gd name="connsiteX74" fmla="*/ 456221 w 1469155"/>
                    <a:gd name="connsiteY74" fmla="*/ 440703 h 678949"/>
                    <a:gd name="connsiteX75" fmla="*/ 444919 w 1469155"/>
                    <a:gd name="connsiteY75" fmla="*/ 440703 h 678949"/>
                    <a:gd name="connsiteX76" fmla="*/ 439269 w 1469155"/>
                    <a:gd name="connsiteY76" fmla="*/ 454890 h 678949"/>
                    <a:gd name="connsiteX77" fmla="*/ 437008 w 1469155"/>
                    <a:gd name="connsiteY77" fmla="*/ 465024 h 678949"/>
                    <a:gd name="connsiteX78" fmla="*/ 434748 w 1469155"/>
                    <a:gd name="connsiteY78" fmla="*/ 450837 h 678949"/>
                    <a:gd name="connsiteX79" fmla="*/ 426837 w 1469155"/>
                    <a:gd name="connsiteY79" fmla="*/ 452864 h 678949"/>
                    <a:gd name="connsiteX80" fmla="*/ 415536 w 1469155"/>
                    <a:gd name="connsiteY80" fmla="*/ 454890 h 678949"/>
                    <a:gd name="connsiteX81" fmla="*/ 413275 w 1469155"/>
                    <a:gd name="connsiteY81" fmla="*/ 467051 h 678949"/>
                    <a:gd name="connsiteX82" fmla="*/ 411016 w 1469155"/>
                    <a:gd name="connsiteY82" fmla="*/ 469077 h 678949"/>
                    <a:gd name="connsiteX83" fmla="*/ 394064 w 1469155"/>
                    <a:gd name="connsiteY83" fmla="*/ 467051 h 678949"/>
                    <a:gd name="connsiteX84" fmla="*/ 365811 w 1469155"/>
                    <a:gd name="connsiteY84" fmla="*/ 472117 h 678949"/>
                    <a:gd name="connsiteX85" fmla="*/ 328516 w 1469155"/>
                    <a:gd name="connsiteY85" fmla="*/ 486304 h 678949"/>
                    <a:gd name="connsiteX86" fmla="*/ 323996 w 1469155"/>
                    <a:gd name="connsiteY86" fmla="*/ 637295 h 678949"/>
                    <a:gd name="connsiteX87" fmla="*/ 291223 w 1469155"/>
                    <a:gd name="connsiteY87" fmla="*/ 636281 h 678949"/>
                    <a:gd name="connsiteX88" fmla="*/ 241498 w 1469155"/>
                    <a:gd name="connsiteY88" fmla="*/ 602840 h 678949"/>
                    <a:gd name="connsiteX89" fmla="*/ 204203 w 1469155"/>
                    <a:gd name="connsiteY89" fmla="*/ 619054 h 678949"/>
                    <a:gd name="connsiteX90" fmla="*/ 195162 w 1469155"/>
                    <a:gd name="connsiteY90" fmla="*/ 632228 h 678949"/>
                    <a:gd name="connsiteX91" fmla="*/ 192902 w 1469155"/>
                    <a:gd name="connsiteY91" fmla="*/ 633241 h 678949"/>
                    <a:gd name="connsiteX92" fmla="*/ 206464 w 1469155"/>
                    <a:gd name="connsiteY92" fmla="*/ 589667 h 678949"/>
                    <a:gd name="connsiteX93" fmla="*/ 179341 w 1469155"/>
                    <a:gd name="connsiteY93" fmla="*/ 584600 h 678949"/>
                    <a:gd name="connsiteX94" fmla="*/ 157869 w 1469155"/>
                    <a:gd name="connsiteY94" fmla="*/ 572440 h 678949"/>
                    <a:gd name="connsiteX95" fmla="*/ 160129 w 1469155"/>
                    <a:gd name="connsiteY95" fmla="*/ 562306 h 678949"/>
                    <a:gd name="connsiteX96" fmla="*/ 157869 w 1469155"/>
                    <a:gd name="connsiteY96" fmla="*/ 558253 h 678949"/>
                    <a:gd name="connsiteX97" fmla="*/ 122835 w 1469155"/>
                    <a:gd name="connsiteY97" fmla="*/ 526839 h 678949"/>
                    <a:gd name="connsiteX98" fmla="*/ 128486 w 1469155"/>
                    <a:gd name="connsiteY98" fmla="*/ 516705 h 678949"/>
                    <a:gd name="connsiteX99" fmla="*/ 169170 w 1469155"/>
                    <a:gd name="connsiteY99" fmla="*/ 518732 h 678949"/>
                    <a:gd name="connsiteX100" fmla="*/ 171430 w 1469155"/>
                    <a:gd name="connsiteY100" fmla="*/ 511638 h 678949"/>
                    <a:gd name="connsiteX101" fmla="*/ 155608 w 1469155"/>
                    <a:gd name="connsiteY101" fmla="*/ 511638 h 678949"/>
                    <a:gd name="connsiteX102" fmla="*/ 147697 w 1469155"/>
                    <a:gd name="connsiteY102" fmla="*/ 497451 h 678949"/>
                    <a:gd name="connsiteX103" fmla="*/ 149958 w 1469155"/>
                    <a:gd name="connsiteY103" fmla="*/ 490358 h 678949"/>
                    <a:gd name="connsiteX104" fmla="*/ 157869 w 1469155"/>
                    <a:gd name="connsiteY104" fmla="*/ 495425 h 678949"/>
                    <a:gd name="connsiteX105" fmla="*/ 173691 w 1469155"/>
                    <a:gd name="connsiteY105" fmla="*/ 490358 h 678949"/>
                    <a:gd name="connsiteX106" fmla="*/ 184992 w 1469155"/>
                    <a:gd name="connsiteY106" fmla="*/ 492385 h 678949"/>
                    <a:gd name="connsiteX107" fmla="*/ 184992 w 1469155"/>
                    <a:gd name="connsiteY107" fmla="*/ 473131 h 678949"/>
                    <a:gd name="connsiteX108" fmla="*/ 198553 w 1469155"/>
                    <a:gd name="connsiteY108" fmla="*/ 473131 h 678949"/>
                    <a:gd name="connsiteX109" fmla="*/ 209854 w 1469155"/>
                    <a:gd name="connsiteY109" fmla="*/ 483264 h 678949"/>
                    <a:gd name="connsiteX110" fmla="*/ 239237 w 1469155"/>
                    <a:gd name="connsiteY110" fmla="*/ 488331 h 678949"/>
                    <a:gd name="connsiteX111" fmla="*/ 231326 w 1469155"/>
                    <a:gd name="connsiteY111" fmla="*/ 500491 h 678949"/>
                    <a:gd name="connsiteX112" fmla="*/ 250539 w 1469155"/>
                    <a:gd name="connsiteY112" fmla="*/ 493398 h 678949"/>
                    <a:gd name="connsiteX113" fmla="*/ 258450 w 1469155"/>
                    <a:gd name="connsiteY113" fmla="*/ 495425 h 678949"/>
                    <a:gd name="connsiteX114" fmla="*/ 264100 w 1469155"/>
                    <a:gd name="connsiteY114" fmla="*/ 490358 h 678949"/>
                    <a:gd name="connsiteX115" fmla="*/ 269751 w 1469155"/>
                    <a:gd name="connsiteY115" fmla="*/ 466037 h 678949"/>
                    <a:gd name="connsiteX116" fmla="*/ 261840 w 1469155"/>
                    <a:gd name="connsiteY116" fmla="*/ 464011 h 678949"/>
                    <a:gd name="connsiteX117" fmla="*/ 259579 w 1469155"/>
                    <a:gd name="connsiteY117" fmla="*/ 456917 h 678949"/>
                    <a:gd name="connsiteX118" fmla="*/ 251668 w 1469155"/>
                    <a:gd name="connsiteY118" fmla="*/ 454890 h 678949"/>
                    <a:gd name="connsiteX119" fmla="*/ 246018 w 1469155"/>
                    <a:gd name="connsiteY119" fmla="*/ 428543 h 678949"/>
                    <a:gd name="connsiteX120" fmla="*/ 230197 w 1469155"/>
                    <a:gd name="connsiteY120" fmla="*/ 426516 h 678949"/>
                    <a:gd name="connsiteX121" fmla="*/ 224546 w 1469155"/>
                    <a:gd name="connsiteY121" fmla="*/ 414356 h 678949"/>
                    <a:gd name="connsiteX122" fmla="*/ 216635 w 1469155"/>
                    <a:gd name="connsiteY122" fmla="*/ 412329 h 678949"/>
                    <a:gd name="connsiteX123" fmla="*/ 205334 w 1469155"/>
                    <a:gd name="connsiteY123" fmla="*/ 400169 h 678949"/>
                    <a:gd name="connsiteX124" fmla="*/ 194033 w 1469155"/>
                    <a:gd name="connsiteY124" fmla="*/ 402196 h 678949"/>
                    <a:gd name="connsiteX125" fmla="*/ 191772 w 1469155"/>
                    <a:gd name="connsiteY125" fmla="*/ 397129 h 678949"/>
                    <a:gd name="connsiteX126" fmla="*/ 166910 w 1469155"/>
                    <a:gd name="connsiteY126" fmla="*/ 397129 h 678949"/>
                    <a:gd name="connsiteX127" fmla="*/ 166910 w 1469155"/>
                    <a:gd name="connsiteY127" fmla="*/ 386996 h 678949"/>
                    <a:gd name="connsiteX128" fmla="*/ 155608 w 1469155"/>
                    <a:gd name="connsiteY128" fmla="*/ 379902 h 678949"/>
                    <a:gd name="connsiteX129" fmla="*/ 144307 w 1469155"/>
                    <a:gd name="connsiteY129" fmla="*/ 379902 h 678949"/>
                    <a:gd name="connsiteX130" fmla="*/ 138657 w 1469155"/>
                    <a:gd name="connsiteY130" fmla="*/ 381929 h 678949"/>
                    <a:gd name="connsiteX131" fmla="*/ 138657 w 1469155"/>
                    <a:gd name="connsiteY131" fmla="*/ 392062 h 678949"/>
                    <a:gd name="connsiteX132" fmla="*/ 119444 w 1469155"/>
                    <a:gd name="connsiteY132" fmla="*/ 402196 h 678949"/>
                    <a:gd name="connsiteX133" fmla="*/ 113794 w 1469155"/>
                    <a:gd name="connsiteY133" fmla="*/ 409289 h 678949"/>
                    <a:gd name="connsiteX134" fmla="*/ 92322 w 1469155"/>
                    <a:gd name="connsiteY134" fmla="*/ 409289 h 678949"/>
                    <a:gd name="connsiteX135" fmla="*/ 84411 w 1469155"/>
                    <a:gd name="connsiteY135" fmla="*/ 419423 h 678949"/>
                    <a:gd name="connsiteX136" fmla="*/ 68589 w 1469155"/>
                    <a:gd name="connsiteY136" fmla="*/ 419423 h 678949"/>
                    <a:gd name="connsiteX137" fmla="*/ 62938 w 1469155"/>
                    <a:gd name="connsiteY137" fmla="*/ 402196 h 678949"/>
                    <a:gd name="connsiteX138" fmla="*/ 62938 w 1469155"/>
                    <a:gd name="connsiteY138" fmla="*/ 386996 h 678949"/>
                    <a:gd name="connsiteX139" fmla="*/ 48247 w 1469155"/>
                    <a:gd name="connsiteY139" fmla="*/ 356595 h 678949"/>
                    <a:gd name="connsiteX140" fmla="*/ 30165 w 1469155"/>
                    <a:gd name="connsiteY140" fmla="*/ 359635 h 678949"/>
                    <a:gd name="connsiteX141" fmla="*/ 24515 w 1469155"/>
                    <a:gd name="connsiteY141" fmla="*/ 333288 h 678949"/>
                    <a:gd name="connsiteX142" fmla="*/ 12083 w 1469155"/>
                    <a:gd name="connsiteY142" fmla="*/ 318087 h 678949"/>
                    <a:gd name="connsiteX143" fmla="*/ 27905 w 1469155"/>
                    <a:gd name="connsiteY143" fmla="*/ 294780 h 678949"/>
                    <a:gd name="connsiteX144" fmla="*/ 34685 w 1469155"/>
                    <a:gd name="connsiteY144" fmla="*/ 284646 h 678949"/>
                    <a:gd name="connsiteX145" fmla="*/ 23384 w 1469155"/>
                    <a:gd name="connsiteY145" fmla="*/ 275526 h 678949"/>
                    <a:gd name="connsiteX146" fmla="*/ 34685 w 1469155"/>
                    <a:gd name="connsiteY146" fmla="*/ 246139 h 678949"/>
                    <a:gd name="connsiteX147" fmla="*/ 50507 w 1469155"/>
                    <a:gd name="connsiteY147" fmla="*/ 237019 h 678949"/>
                    <a:gd name="connsiteX148" fmla="*/ 68589 w 1469155"/>
                    <a:gd name="connsiteY148" fmla="*/ 225872 h 678949"/>
                    <a:gd name="connsiteX149" fmla="*/ 79890 w 1469155"/>
                    <a:gd name="connsiteY149" fmla="*/ 250192 h 678949"/>
                    <a:gd name="connsiteX150" fmla="*/ 103623 w 1469155"/>
                    <a:gd name="connsiteY150" fmla="*/ 237019 h 678949"/>
                    <a:gd name="connsiteX151" fmla="*/ 86671 w 1469155"/>
                    <a:gd name="connsiteY151" fmla="*/ 218778 h 678949"/>
                    <a:gd name="connsiteX152" fmla="*/ 96842 w 1469155"/>
                    <a:gd name="connsiteY152" fmla="*/ 195471 h 678949"/>
                    <a:gd name="connsiteX153" fmla="*/ 113794 w 1469155"/>
                    <a:gd name="connsiteY153" fmla="*/ 184324 h 678949"/>
                    <a:gd name="connsiteX154" fmla="*/ 139787 w 1469155"/>
                    <a:gd name="connsiteY154" fmla="*/ 185337 h 678949"/>
                    <a:gd name="connsiteX155" fmla="*/ 168040 w 1469155"/>
                    <a:gd name="connsiteY155" fmla="*/ 158990 h 678949"/>
                    <a:gd name="connsiteX156" fmla="*/ 161259 w 1469155"/>
                    <a:gd name="connsiteY156" fmla="*/ 149870 h 678949"/>
                    <a:gd name="connsiteX157" fmla="*/ 194033 w 1469155"/>
                    <a:gd name="connsiteY157" fmla="*/ 143790 h 678949"/>
                    <a:gd name="connsiteX158" fmla="*/ 194033 w 1469155"/>
                    <a:gd name="connsiteY158" fmla="*/ 152910 h 678949"/>
                    <a:gd name="connsiteX159" fmla="*/ 210984 w 1469155"/>
                    <a:gd name="connsiteY159" fmla="*/ 151897 h 678949"/>
                    <a:gd name="connsiteX160" fmla="*/ 210984 w 1469155"/>
                    <a:gd name="connsiteY160" fmla="*/ 145817 h 678949"/>
                    <a:gd name="connsiteX161" fmla="*/ 229066 w 1469155"/>
                    <a:gd name="connsiteY161" fmla="*/ 153923 h 678949"/>
                    <a:gd name="connsiteX162" fmla="*/ 232456 w 1469155"/>
                    <a:gd name="connsiteY162" fmla="*/ 169124 h 678949"/>
                    <a:gd name="connsiteX163" fmla="*/ 253929 w 1469155"/>
                    <a:gd name="connsiteY163" fmla="*/ 173177 h 678949"/>
                    <a:gd name="connsiteX164" fmla="*/ 272010 w 1469155"/>
                    <a:gd name="connsiteY164" fmla="*/ 187364 h 678949"/>
                    <a:gd name="connsiteX165" fmla="*/ 286703 w 1469155"/>
                    <a:gd name="connsiteY165" fmla="*/ 200538 h 678949"/>
                    <a:gd name="connsiteX166" fmla="*/ 308174 w 1469155"/>
                    <a:gd name="connsiteY166" fmla="*/ 204591 h 678949"/>
                    <a:gd name="connsiteX167" fmla="*/ 301394 w 1469155"/>
                    <a:gd name="connsiteY167" fmla="*/ 223845 h 678949"/>
                    <a:gd name="connsiteX168" fmla="*/ 319476 w 1469155"/>
                    <a:gd name="connsiteY168" fmla="*/ 227898 h 678949"/>
                    <a:gd name="connsiteX169" fmla="*/ 323996 w 1469155"/>
                    <a:gd name="connsiteY169" fmla="*/ 207631 h 678949"/>
                    <a:gd name="connsiteX170" fmla="*/ 340948 w 1469155"/>
                    <a:gd name="connsiteY170" fmla="*/ 203578 h 678949"/>
                    <a:gd name="connsiteX171" fmla="*/ 373721 w 1469155"/>
                    <a:gd name="connsiteY171" fmla="*/ 211685 h 678949"/>
                    <a:gd name="connsiteX172" fmla="*/ 401974 w 1469155"/>
                    <a:gd name="connsiteY172" fmla="*/ 196484 h 678949"/>
                    <a:gd name="connsiteX173" fmla="*/ 422317 w 1469155"/>
                    <a:gd name="connsiteY173" fmla="*/ 205605 h 678949"/>
                    <a:gd name="connsiteX174" fmla="*/ 437008 w 1469155"/>
                    <a:gd name="connsiteY174" fmla="*/ 201551 h 678949"/>
                    <a:gd name="connsiteX175" fmla="*/ 453960 w 1469155"/>
                    <a:gd name="connsiteY175" fmla="*/ 226885 h 678949"/>
                    <a:gd name="connsiteX176" fmla="*/ 476563 w 1469155"/>
                    <a:gd name="connsiteY176" fmla="*/ 231952 h 678949"/>
                    <a:gd name="connsiteX177" fmla="*/ 492384 w 1469155"/>
                    <a:gd name="connsiteY177" fmla="*/ 231952 h 678949"/>
                    <a:gd name="connsiteX178" fmla="*/ 507076 w 1469155"/>
                    <a:gd name="connsiteY178" fmla="*/ 211685 h 678949"/>
                    <a:gd name="connsiteX179" fmla="*/ 485603 w 1469155"/>
                    <a:gd name="connsiteY179" fmla="*/ 198511 h 678949"/>
                    <a:gd name="connsiteX180" fmla="*/ 472042 w 1469155"/>
                    <a:gd name="connsiteY180" fmla="*/ 187364 h 678949"/>
                    <a:gd name="connsiteX181" fmla="*/ 484474 w 1469155"/>
                    <a:gd name="connsiteY181" fmla="*/ 166084 h 678949"/>
                    <a:gd name="connsiteX182" fmla="*/ 483343 w 1469155"/>
                    <a:gd name="connsiteY182" fmla="*/ 156963 h 678949"/>
                    <a:gd name="connsiteX183" fmla="*/ 467522 w 1469155"/>
                    <a:gd name="connsiteY183" fmla="*/ 136696 h 678949"/>
                    <a:gd name="connsiteX184" fmla="*/ 467522 w 1469155"/>
                    <a:gd name="connsiteY184" fmla="*/ 121496 h 678949"/>
                    <a:gd name="connsiteX185" fmla="*/ 473172 w 1469155"/>
                    <a:gd name="connsiteY185" fmla="*/ 108322 h 678949"/>
                    <a:gd name="connsiteX186" fmla="*/ 473172 w 1469155"/>
                    <a:gd name="connsiteY186" fmla="*/ 89069 h 678949"/>
                    <a:gd name="connsiteX187" fmla="*/ 490124 w 1469155"/>
                    <a:gd name="connsiteY187" fmla="*/ 73868 h 678949"/>
                    <a:gd name="connsiteX188" fmla="*/ 490124 w 1469155"/>
                    <a:gd name="connsiteY188" fmla="*/ 58668 h 678949"/>
                    <a:gd name="connsiteX189" fmla="*/ 488994 w 1469155"/>
                    <a:gd name="connsiteY189" fmla="*/ 47521 h 678949"/>
                    <a:gd name="connsiteX190" fmla="*/ 503685 w 1469155"/>
                    <a:gd name="connsiteY190" fmla="*/ 39414 h 678949"/>
                    <a:gd name="connsiteX191" fmla="*/ 524028 w 1469155"/>
                    <a:gd name="connsiteY191" fmla="*/ 47521 h 678949"/>
                    <a:gd name="connsiteX192" fmla="*/ 545500 w 1469155"/>
                    <a:gd name="connsiteY192" fmla="*/ 50561 h 678949"/>
                    <a:gd name="connsiteX193" fmla="*/ 561322 w 1469155"/>
                    <a:gd name="connsiteY193" fmla="*/ 56641 h 678949"/>
                    <a:gd name="connsiteX194" fmla="*/ 594095 w 1469155"/>
                    <a:gd name="connsiteY194" fmla="*/ 52588 h 678949"/>
                    <a:gd name="connsiteX195" fmla="*/ 617828 w 1469155"/>
                    <a:gd name="connsiteY195" fmla="*/ 44481 h 678949"/>
                    <a:gd name="connsiteX196" fmla="*/ 651731 w 1469155"/>
                    <a:gd name="connsiteY196" fmla="*/ 45494 h 678949"/>
                    <a:gd name="connsiteX197" fmla="*/ 685635 w 1469155"/>
                    <a:gd name="connsiteY197" fmla="*/ 36374 h 678949"/>
                    <a:gd name="connsiteX198" fmla="*/ 698066 w 1469155"/>
                    <a:gd name="connsiteY198" fmla="*/ 36374 h 678949"/>
                    <a:gd name="connsiteX199" fmla="*/ 731969 w 1469155"/>
                    <a:gd name="connsiteY199" fmla="*/ 20160 h 678949"/>
                    <a:gd name="connsiteX200" fmla="*/ 755702 w 1469155"/>
                    <a:gd name="connsiteY200" fmla="*/ 12054 h 678949"/>
                    <a:gd name="connsiteX201" fmla="*/ 771524 w 1469155"/>
                    <a:gd name="connsiteY201" fmla="*/ 9013 h 678949"/>
                    <a:gd name="connsiteX202" fmla="*/ 778305 w 1469155"/>
                    <a:gd name="connsiteY202" fmla="*/ 18134 h 678949"/>
                    <a:gd name="connsiteX203" fmla="*/ 792996 w 1469155"/>
                    <a:gd name="connsiteY203" fmla="*/ 23200 h 678949"/>
                    <a:gd name="connsiteX204" fmla="*/ 792996 w 1469155"/>
                    <a:gd name="connsiteY204" fmla="*/ 31307 h 678949"/>
                    <a:gd name="connsiteX205" fmla="*/ 788475 w 1469155"/>
                    <a:gd name="connsiteY205" fmla="*/ 47521 h 678949"/>
                    <a:gd name="connsiteX206" fmla="*/ 799776 w 1469155"/>
                    <a:gd name="connsiteY206" fmla="*/ 48534 h 678949"/>
                    <a:gd name="connsiteX207" fmla="*/ 815598 w 1469155"/>
                    <a:gd name="connsiteY207" fmla="*/ 64748 h 678949"/>
                    <a:gd name="connsiteX208" fmla="*/ 828029 w 1469155"/>
                    <a:gd name="connsiteY208" fmla="*/ 58668 h 678949"/>
                    <a:gd name="connsiteX209" fmla="*/ 843851 w 1469155"/>
                    <a:gd name="connsiteY209" fmla="*/ 43468 h 678949"/>
                    <a:gd name="connsiteX210" fmla="*/ 867584 w 1469155"/>
                    <a:gd name="connsiteY210" fmla="*/ 56641 h 678949"/>
                    <a:gd name="connsiteX211" fmla="*/ 872104 w 1469155"/>
                    <a:gd name="connsiteY211" fmla="*/ 61708 h 678949"/>
                    <a:gd name="connsiteX212" fmla="*/ 886796 w 1469155"/>
                    <a:gd name="connsiteY212" fmla="*/ 55628 h 678949"/>
                    <a:gd name="connsiteX213" fmla="*/ 898097 w 1469155"/>
                    <a:gd name="connsiteY213" fmla="*/ 61708 h 678949"/>
                    <a:gd name="connsiteX214" fmla="*/ 898097 w 1469155"/>
                    <a:gd name="connsiteY214" fmla="*/ 72855 h 678949"/>
                    <a:gd name="connsiteX215" fmla="*/ 929740 w 1469155"/>
                    <a:gd name="connsiteY215" fmla="*/ 75895 h 678949"/>
                    <a:gd name="connsiteX216" fmla="*/ 959124 w 1469155"/>
                    <a:gd name="connsiteY216" fmla="*/ 64748 h 678949"/>
                    <a:gd name="connsiteX217" fmla="*/ 994157 w 1469155"/>
                    <a:gd name="connsiteY217" fmla="*/ 50561 h 678949"/>
                    <a:gd name="connsiteX218" fmla="*/ 1021280 w 1469155"/>
                    <a:gd name="connsiteY218" fmla="*/ 41441 h 678949"/>
                    <a:gd name="connsiteX219" fmla="*/ 1050663 w 1469155"/>
                    <a:gd name="connsiteY219" fmla="*/ 35361 h 678949"/>
                    <a:gd name="connsiteX220" fmla="*/ 1055184 w 1469155"/>
                    <a:gd name="connsiteY220" fmla="*/ 41441 h 678949"/>
                    <a:gd name="connsiteX221" fmla="*/ 1054053 w 1469155"/>
                    <a:gd name="connsiteY221" fmla="*/ 57655 h 678949"/>
                    <a:gd name="connsiteX222" fmla="*/ 1076656 w 1469155"/>
                    <a:gd name="connsiteY222" fmla="*/ 93122 h 678949"/>
                    <a:gd name="connsiteX223" fmla="*/ 1103779 w 1469155"/>
                    <a:gd name="connsiteY223" fmla="*/ 146830 h 678949"/>
                    <a:gd name="connsiteX224" fmla="*/ 1124121 w 1469155"/>
                    <a:gd name="connsiteY224" fmla="*/ 183311 h 678949"/>
                    <a:gd name="connsiteX225" fmla="*/ 1146723 w 1469155"/>
                    <a:gd name="connsiteY225" fmla="*/ 204591 h 678949"/>
                    <a:gd name="connsiteX226" fmla="*/ 1180627 w 1469155"/>
                    <a:gd name="connsiteY226" fmla="*/ 198511 h 678949"/>
                    <a:gd name="connsiteX227" fmla="*/ 1219051 w 1469155"/>
                    <a:gd name="connsiteY227" fmla="*/ 198511 h 678949"/>
                    <a:gd name="connsiteX228" fmla="*/ 1251824 w 1469155"/>
                    <a:gd name="connsiteY228" fmla="*/ 224858 h 678949"/>
                    <a:gd name="connsiteX229" fmla="*/ 1257475 w 1469155"/>
                    <a:gd name="connsiteY229" fmla="*/ 244112 h 678949"/>
                    <a:gd name="connsiteX230" fmla="*/ 1266516 w 1469155"/>
                    <a:gd name="connsiteY230" fmla="*/ 267419 h 678949"/>
                    <a:gd name="connsiteX231" fmla="*/ 1273297 w 1469155"/>
                    <a:gd name="connsiteY231" fmla="*/ 277553 h 678949"/>
                    <a:gd name="connsiteX232" fmla="*/ 1293639 w 1469155"/>
                    <a:gd name="connsiteY232" fmla="*/ 287687 h 678949"/>
                    <a:gd name="connsiteX233" fmla="*/ 1317371 w 1469155"/>
                    <a:gd name="connsiteY233" fmla="*/ 282620 h 678949"/>
                    <a:gd name="connsiteX234" fmla="*/ 1361446 w 1469155"/>
                    <a:gd name="connsiteY234" fmla="*/ 264379 h 678949"/>
                    <a:gd name="connsiteX235" fmla="*/ 1388569 w 1469155"/>
                    <a:gd name="connsiteY235" fmla="*/ 259313 h 678949"/>
                    <a:gd name="connsiteX236" fmla="*/ 1405521 w 1469155"/>
                    <a:gd name="connsiteY236" fmla="*/ 260326 h 678949"/>
                    <a:gd name="connsiteX237" fmla="*/ 1414562 w 1469155"/>
                    <a:gd name="connsiteY237" fmla="*/ 275526 h 678949"/>
                    <a:gd name="connsiteX238" fmla="*/ 1426993 w 1469155"/>
                    <a:gd name="connsiteY238" fmla="*/ 288700 h 678949"/>
                    <a:gd name="connsiteX239" fmla="*/ 1437164 w 1469155"/>
                    <a:gd name="connsiteY239" fmla="*/ 296807 h 678949"/>
                    <a:gd name="connsiteX240" fmla="*/ 1462027 w 1469155"/>
                    <a:gd name="connsiteY240" fmla="*/ 301873 h 678949"/>
                    <a:gd name="connsiteX241" fmla="*/ 1451856 w 1469155"/>
                    <a:gd name="connsiteY241" fmla="*/ 300860 h 678949"/>
                    <a:gd name="connsiteX242" fmla="*/ 229066 w 1469155"/>
                    <a:gd name="connsiteY242" fmla="*/ 499478 h 678949"/>
                    <a:gd name="connsiteX243" fmla="*/ 217765 w 1469155"/>
                    <a:gd name="connsiteY243" fmla="*/ 516705 h 678949"/>
                    <a:gd name="connsiteX244" fmla="*/ 190642 w 1469155"/>
                    <a:gd name="connsiteY244" fmla="*/ 516705 h 678949"/>
                    <a:gd name="connsiteX245" fmla="*/ 229066 w 1469155"/>
                    <a:gd name="connsiteY245" fmla="*/ 499478 h 678949"/>
                    <a:gd name="connsiteX246" fmla="*/ 488994 w 1469155"/>
                    <a:gd name="connsiteY246" fmla="*/ 431583 h 678949"/>
                    <a:gd name="connsiteX247" fmla="*/ 488994 w 1469155"/>
                    <a:gd name="connsiteY247" fmla="*/ 436650 h 678949"/>
                    <a:gd name="connsiteX248" fmla="*/ 488994 w 1469155"/>
                    <a:gd name="connsiteY248" fmla="*/ 431583 h 678949"/>
                    <a:gd name="connsiteX249" fmla="*/ 1161415 w 1469155"/>
                    <a:gd name="connsiteY249" fmla="*/ 367742 h 678949"/>
                    <a:gd name="connsiteX250" fmla="*/ 1167065 w 1469155"/>
                    <a:gd name="connsiteY250" fmla="*/ 377875 h 678949"/>
                    <a:gd name="connsiteX251" fmla="*/ 1155764 w 1469155"/>
                    <a:gd name="connsiteY251" fmla="*/ 382942 h 678949"/>
                    <a:gd name="connsiteX252" fmla="*/ 1155764 w 1469155"/>
                    <a:gd name="connsiteY252" fmla="*/ 393076 h 678949"/>
                    <a:gd name="connsiteX253" fmla="*/ 1130901 w 1469155"/>
                    <a:gd name="connsiteY253" fmla="*/ 398142 h 678949"/>
                    <a:gd name="connsiteX254" fmla="*/ 1130901 w 1469155"/>
                    <a:gd name="connsiteY254" fmla="*/ 405236 h 678949"/>
                    <a:gd name="connsiteX255" fmla="*/ 1115080 w 1469155"/>
                    <a:gd name="connsiteY255" fmla="*/ 400169 h 678949"/>
                    <a:gd name="connsiteX256" fmla="*/ 1076656 w 1469155"/>
                    <a:gd name="connsiteY256" fmla="*/ 405236 h 678949"/>
                    <a:gd name="connsiteX257" fmla="*/ 1047273 w 1469155"/>
                    <a:gd name="connsiteY257" fmla="*/ 400169 h 678949"/>
                    <a:gd name="connsiteX258" fmla="*/ 1045013 w 1469155"/>
                    <a:gd name="connsiteY258" fmla="*/ 402196 h 678949"/>
                    <a:gd name="connsiteX259" fmla="*/ 1045013 w 1469155"/>
                    <a:gd name="connsiteY259" fmla="*/ 395102 h 678949"/>
                    <a:gd name="connsiteX260" fmla="*/ 1033711 w 1469155"/>
                    <a:gd name="connsiteY260" fmla="*/ 395102 h 678949"/>
                    <a:gd name="connsiteX261" fmla="*/ 1033711 w 1469155"/>
                    <a:gd name="connsiteY261" fmla="*/ 407263 h 678949"/>
                    <a:gd name="connsiteX262" fmla="*/ 1022410 w 1469155"/>
                    <a:gd name="connsiteY262" fmla="*/ 414356 h 678949"/>
                    <a:gd name="connsiteX263" fmla="*/ 1003198 w 1469155"/>
                    <a:gd name="connsiteY263" fmla="*/ 414356 h 678949"/>
                    <a:gd name="connsiteX264" fmla="*/ 987377 w 1469155"/>
                    <a:gd name="connsiteY264" fmla="*/ 433610 h 678949"/>
                    <a:gd name="connsiteX265" fmla="*/ 971555 w 1469155"/>
                    <a:gd name="connsiteY265" fmla="*/ 435637 h 678949"/>
                    <a:gd name="connsiteX266" fmla="*/ 955733 w 1469155"/>
                    <a:gd name="connsiteY266" fmla="*/ 452864 h 678949"/>
                    <a:gd name="connsiteX267" fmla="*/ 950082 w 1469155"/>
                    <a:gd name="connsiteY267" fmla="*/ 452864 h 678949"/>
                    <a:gd name="connsiteX268" fmla="*/ 944432 w 1469155"/>
                    <a:gd name="connsiteY268" fmla="*/ 470091 h 678949"/>
                    <a:gd name="connsiteX269" fmla="*/ 942172 w 1469155"/>
                    <a:gd name="connsiteY269" fmla="*/ 470091 h 678949"/>
                    <a:gd name="connsiteX270" fmla="*/ 944432 w 1469155"/>
                    <a:gd name="connsiteY270" fmla="*/ 482251 h 678949"/>
                    <a:gd name="connsiteX271" fmla="*/ 952343 w 1469155"/>
                    <a:gd name="connsiteY271" fmla="*/ 482251 h 678949"/>
                    <a:gd name="connsiteX272" fmla="*/ 952343 w 1469155"/>
                    <a:gd name="connsiteY272" fmla="*/ 489345 h 678949"/>
                    <a:gd name="connsiteX273" fmla="*/ 930871 w 1469155"/>
                    <a:gd name="connsiteY273" fmla="*/ 479211 h 678949"/>
                    <a:gd name="connsiteX274" fmla="*/ 930871 w 1469155"/>
                    <a:gd name="connsiteY274" fmla="*/ 461984 h 678949"/>
                    <a:gd name="connsiteX275" fmla="*/ 930871 w 1469155"/>
                    <a:gd name="connsiteY275" fmla="*/ 456917 h 678949"/>
                    <a:gd name="connsiteX276" fmla="*/ 919570 w 1469155"/>
                    <a:gd name="connsiteY276" fmla="*/ 456917 h 678949"/>
                    <a:gd name="connsiteX277" fmla="*/ 917309 w 1469155"/>
                    <a:gd name="connsiteY277" fmla="*/ 446784 h 678949"/>
                    <a:gd name="connsiteX278" fmla="*/ 936521 w 1469155"/>
                    <a:gd name="connsiteY278" fmla="*/ 434623 h 678949"/>
                    <a:gd name="connsiteX279" fmla="*/ 938781 w 1469155"/>
                    <a:gd name="connsiteY279" fmla="*/ 427530 h 678949"/>
                    <a:gd name="connsiteX280" fmla="*/ 952343 w 1469155"/>
                    <a:gd name="connsiteY280" fmla="*/ 413343 h 678949"/>
                    <a:gd name="connsiteX281" fmla="*/ 960254 w 1469155"/>
                    <a:gd name="connsiteY281" fmla="*/ 415369 h 678949"/>
                    <a:gd name="connsiteX282" fmla="*/ 965904 w 1469155"/>
                    <a:gd name="connsiteY282" fmla="*/ 403209 h 678949"/>
                    <a:gd name="connsiteX283" fmla="*/ 981726 w 1469155"/>
                    <a:gd name="connsiteY283" fmla="*/ 398142 h 678949"/>
                    <a:gd name="connsiteX284" fmla="*/ 987377 w 1469155"/>
                    <a:gd name="connsiteY284" fmla="*/ 388009 h 678949"/>
                    <a:gd name="connsiteX285" fmla="*/ 1028061 w 1469155"/>
                    <a:gd name="connsiteY285" fmla="*/ 388009 h 678949"/>
                    <a:gd name="connsiteX286" fmla="*/ 1033711 w 1469155"/>
                    <a:gd name="connsiteY286" fmla="*/ 382942 h 678949"/>
                    <a:gd name="connsiteX287" fmla="*/ 1058574 w 1469155"/>
                    <a:gd name="connsiteY287" fmla="*/ 382942 h 678949"/>
                    <a:gd name="connsiteX288" fmla="*/ 1060835 w 1469155"/>
                    <a:gd name="connsiteY288" fmla="*/ 388009 h 678949"/>
                    <a:gd name="connsiteX289" fmla="*/ 1076656 w 1469155"/>
                    <a:gd name="connsiteY289" fmla="*/ 385982 h 678949"/>
                    <a:gd name="connsiteX290" fmla="*/ 1084567 w 1469155"/>
                    <a:gd name="connsiteY290" fmla="*/ 393076 h 678949"/>
                    <a:gd name="connsiteX291" fmla="*/ 1106039 w 1469155"/>
                    <a:gd name="connsiteY291" fmla="*/ 388009 h 678949"/>
                    <a:gd name="connsiteX292" fmla="*/ 1127511 w 1469155"/>
                    <a:gd name="connsiteY292" fmla="*/ 393076 h 678949"/>
                    <a:gd name="connsiteX293" fmla="*/ 1161415 w 1469155"/>
                    <a:gd name="connsiteY293" fmla="*/ 367742 h 67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469155" h="678949">
                      <a:moveTo>
                        <a:pt x="1451856" y="300860"/>
                      </a:moveTo>
                      <a:lnTo>
                        <a:pt x="1399870" y="308967"/>
                      </a:lnTo>
                      <a:lnTo>
                        <a:pt x="1384048" y="322141"/>
                      </a:lnTo>
                      <a:lnTo>
                        <a:pt x="1372747" y="336328"/>
                      </a:lnTo>
                      <a:lnTo>
                        <a:pt x="1351275" y="344434"/>
                      </a:lnTo>
                      <a:lnTo>
                        <a:pt x="1346755" y="354568"/>
                      </a:lnTo>
                      <a:lnTo>
                        <a:pt x="1342234" y="369768"/>
                      </a:lnTo>
                      <a:lnTo>
                        <a:pt x="1313981" y="380915"/>
                      </a:lnTo>
                      <a:lnTo>
                        <a:pt x="1292509" y="380915"/>
                      </a:lnTo>
                      <a:lnTo>
                        <a:pt x="1277817" y="390036"/>
                      </a:lnTo>
                      <a:lnTo>
                        <a:pt x="1266516" y="408276"/>
                      </a:lnTo>
                      <a:lnTo>
                        <a:pt x="1251824" y="419423"/>
                      </a:lnTo>
                      <a:lnTo>
                        <a:pt x="1245044" y="443743"/>
                      </a:lnTo>
                      <a:lnTo>
                        <a:pt x="1249564" y="464011"/>
                      </a:lnTo>
                      <a:lnTo>
                        <a:pt x="1261996" y="474144"/>
                      </a:lnTo>
                      <a:lnTo>
                        <a:pt x="1252955" y="485291"/>
                      </a:lnTo>
                      <a:lnTo>
                        <a:pt x="1219051" y="485291"/>
                      </a:lnTo>
                      <a:lnTo>
                        <a:pt x="1190798" y="496438"/>
                      </a:lnTo>
                      <a:lnTo>
                        <a:pt x="1162545" y="501505"/>
                      </a:lnTo>
                      <a:lnTo>
                        <a:pt x="1155764" y="509612"/>
                      </a:lnTo>
                      <a:lnTo>
                        <a:pt x="1161415" y="520759"/>
                      </a:lnTo>
                      <a:lnTo>
                        <a:pt x="1178367" y="535959"/>
                      </a:lnTo>
                      <a:lnTo>
                        <a:pt x="1187407" y="550146"/>
                      </a:lnTo>
                      <a:lnTo>
                        <a:pt x="1172716" y="578520"/>
                      </a:lnTo>
                      <a:lnTo>
                        <a:pt x="1171586" y="602840"/>
                      </a:lnTo>
                      <a:lnTo>
                        <a:pt x="1156895" y="594734"/>
                      </a:lnTo>
                      <a:cubicBezTo>
                        <a:pt x="1156895" y="594734"/>
                        <a:pt x="1136552" y="591694"/>
                        <a:pt x="1135422" y="586627"/>
                      </a:cubicBezTo>
                      <a:cubicBezTo>
                        <a:pt x="1134292" y="581560"/>
                        <a:pt x="1120731" y="575480"/>
                        <a:pt x="1112820" y="575480"/>
                      </a:cubicBezTo>
                      <a:cubicBezTo>
                        <a:pt x="1104909" y="575480"/>
                        <a:pt x="1094738" y="570413"/>
                        <a:pt x="1081177" y="572440"/>
                      </a:cubicBezTo>
                      <a:cubicBezTo>
                        <a:pt x="1068745" y="575480"/>
                        <a:pt x="1047273" y="575480"/>
                        <a:pt x="1038232" y="575480"/>
                      </a:cubicBezTo>
                      <a:cubicBezTo>
                        <a:pt x="1029191" y="575480"/>
                        <a:pt x="1013369" y="590680"/>
                        <a:pt x="1000938" y="591694"/>
                      </a:cubicBezTo>
                      <a:cubicBezTo>
                        <a:pt x="988507" y="592707"/>
                        <a:pt x="997547" y="587640"/>
                        <a:pt x="985116" y="585613"/>
                      </a:cubicBezTo>
                      <a:cubicBezTo>
                        <a:pt x="972685" y="583587"/>
                        <a:pt x="973815" y="572440"/>
                        <a:pt x="968165" y="575480"/>
                      </a:cubicBezTo>
                      <a:cubicBezTo>
                        <a:pt x="952343" y="584600"/>
                        <a:pt x="955733" y="581560"/>
                        <a:pt x="950082" y="581560"/>
                      </a:cubicBezTo>
                      <a:cubicBezTo>
                        <a:pt x="944432" y="581560"/>
                        <a:pt x="935391" y="595747"/>
                        <a:pt x="935391" y="595747"/>
                      </a:cubicBezTo>
                      <a:cubicBezTo>
                        <a:pt x="935391" y="595747"/>
                        <a:pt x="924090" y="599800"/>
                        <a:pt x="924090" y="605881"/>
                      </a:cubicBezTo>
                      <a:cubicBezTo>
                        <a:pt x="924090" y="611961"/>
                        <a:pt x="899227" y="586627"/>
                        <a:pt x="886796" y="586627"/>
                      </a:cubicBezTo>
                      <a:lnTo>
                        <a:pt x="860803" y="586627"/>
                      </a:lnTo>
                      <a:cubicBezTo>
                        <a:pt x="848371" y="586627"/>
                        <a:pt x="830290" y="608921"/>
                        <a:pt x="830290" y="608921"/>
                      </a:cubicBezTo>
                      <a:cubicBezTo>
                        <a:pt x="821249" y="613987"/>
                        <a:pt x="818989" y="611961"/>
                        <a:pt x="809948" y="613987"/>
                      </a:cubicBezTo>
                      <a:cubicBezTo>
                        <a:pt x="799776" y="617028"/>
                        <a:pt x="791866" y="613987"/>
                        <a:pt x="788475" y="622094"/>
                      </a:cubicBezTo>
                      <a:cubicBezTo>
                        <a:pt x="785085" y="630201"/>
                        <a:pt x="776044" y="627161"/>
                        <a:pt x="769263" y="629188"/>
                      </a:cubicBezTo>
                      <a:cubicBezTo>
                        <a:pt x="762483" y="631214"/>
                        <a:pt x="757962" y="650468"/>
                        <a:pt x="757962" y="650468"/>
                      </a:cubicBezTo>
                      <a:cubicBezTo>
                        <a:pt x="757962" y="650468"/>
                        <a:pt x="745531" y="653508"/>
                        <a:pt x="736490" y="653508"/>
                      </a:cubicBezTo>
                      <a:lnTo>
                        <a:pt x="735360" y="666682"/>
                      </a:lnTo>
                      <a:cubicBezTo>
                        <a:pt x="735360" y="666682"/>
                        <a:pt x="728579" y="670735"/>
                        <a:pt x="722928" y="670735"/>
                      </a:cubicBezTo>
                      <a:cubicBezTo>
                        <a:pt x="717278" y="670735"/>
                        <a:pt x="726319" y="661615"/>
                        <a:pt x="721799" y="652495"/>
                      </a:cubicBezTo>
                      <a:cubicBezTo>
                        <a:pt x="719538" y="646415"/>
                        <a:pt x="700326" y="642361"/>
                        <a:pt x="694676" y="646415"/>
                      </a:cubicBezTo>
                      <a:cubicBezTo>
                        <a:pt x="689025" y="650468"/>
                        <a:pt x="668683" y="645402"/>
                        <a:pt x="661902" y="641348"/>
                      </a:cubicBezTo>
                      <a:cubicBezTo>
                        <a:pt x="655121" y="637295"/>
                        <a:pt x="661902" y="633241"/>
                        <a:pt x="661902" y="627161"/>
                      </a:cubicBezTo>
                      <a:cubicBezTo>
                        <a:pt x="661902" y="621081"/>
                        <a:pt x="655121" y="627161"/>
                        <a:pt x="655121" y="619054"/>
                      </a:cubicBezTo>
                      <a:cubicBezTo>
                        <a:pt x="655121" y="610947"/>
                        <a:pt x="650601" y="610947"/>
                        <a:pt x="642690" y="612974"/>
                      </a:cubicBezTo>
                      <a:cubicBezTo>
                        <a:pt x="633649" y="613987"/>
                        <a:pt x="627998" y="611961"/>
                        <a:pt x="624608" y="606894"/>
                      </a:cubicBezTo>
                      <a:cubicBezTo>
                        <a:pt x="621218" y="601827"/>
                        <a:pt x="612177" y="588654"/>
                        <a:pt x="612177" y="588654"/>
                      </a:cubicBezTo>
                      <a:lnTo>
                        <a:pt x="606526" y="596760"/>
                      </a:lnTo>
                      <a:cubicBezTo>
                        <a:pt x="606526" y="596760"/>
                        <a:pt x="577143" y="592707"/>
                        <a:pt x="563582" y="588654"/>
                      </a:cubicBezTo>
                      <a:cubicBezTo>
                        <a:pt x="551150" y="584600"/>
                        <a:pt x="526287" y="587640"/>
                        <a:pt x="526287" y="587640"/>
                      </a:cubicBezTo>
                      <a:cubicBezTo>
                        <a:pt x="526287" y="587640"/>
                        <a:pt x="521767" y="558253"/>
                        <a:pt x="521767" y="552173"/>
                      </a:cubicBezTo>
                      <a:cubicBezTo>
                        <a:pt x="521767" y="546093"/>
                        <a:pt x="514986" y="532919"/>
                        <a:pt x="514986" y="532919"/>
                      </a:cubicBezTo>
                      <a:lnTo>
                        <a:pt x="509336" y="528866"/>
                      </a:lnTo>
                      <a:cubicBezTo>
                        <a:pt x="513856" y="523799"/>
                        <a:pt x="519507" y="525825"/>
                        <a:pt x="524028" y="522785"/>
                      </a:cubicBezTo>
                      <a:cubicBezTo>
                        <a:pt x="520637" y="507585"/>
                        <a:pt x="517247" y="513665"/>
                        <a:pt x="531938" y="505558"/>
                      </a:cubicBezTo>
                      <a:lnTo>
                        <a:pt x="531938" y="500491"/>
                      </a:lnTo>
                      <a:cubicBezTo>
                        <a:pt x="520637" y="496438"/>
                        <a:pt x="502555" y="489345"/>
                        <a:pt x="499165" y="481238"/>
                      </a:cubicBezTo>
                      <a:cubicBezTo>
                        <a:pt x="496905" y="474144"/>
                        <a:pt x="501425" y="461984"/>
                        <a:pt x="501425" y="458944"/>
                      </a:cubicBezTo>
                      <a:cubicBezTo>
                        <a:pt x="501425" y="458944"/>
                        <a:pt x="498034" y="447797"/>
                        <a:pt x="499165" y="444757"/>
                      </a:cubicBezTo>
                      <a:cubicBezTo>
                        <a:pt x="499165" y="441717"/>
                        <a:pt x="517247" y="419423"/>
                        <a:pt x="520637" y="413343"/>
                      </a:cubicBezTo>
                      <a:cubicBezTo>
                        <a:pt x="513856" y="412329"/>
                        <a:pt x="512727" y="416383"/>
                        <a:pt x="509336" y="415369"/>
                      </a:cubicBezTo>
                      <a:cubicBezTo>
                        <a:pt x="508206" y="415369"/>
                        <a:pt x="503685" y="410303"/>
                        <a:pt x="501425" y="410303"/>
                      </a:cubicBezTo>
                      <a:cubicBezTo>
                        <a:pt x="496905" y="410303"/>
                        <a:pt x="500295" y="413343"/>
                        <a:pt x="501425" y="417396"/>
                      </a:cubicBezTo>
                      <a:cubicBezTo>
                        <a:pt x="488994" y="417396"/>
                        <a:pt x="485603" y="415369"/>
                        <a:pt x="474302" y="415369"/>
                      </a:cubicBezTo>
                      <a:cubicBezTo>
                        <a:pt x="474302" y="415369"/>
                        <a:pt x="470912" y="426516"/>
                        <a:pt x="476563" y="425503"/>
                      </a:cubicBezTo>
                      <a:cubicBezTo>
                        <a:pt x="475432" y="428543"/>
                        <a:pt x="473172" y="434623"/>
                        <a:pt x="474302" y="435637"/>
                      </a:cubicBezTo>
                      <a:cubicBezTo>
                        <a:pt x="466391" y="435637"/>
                        <a:pt x="465261" y="434623"/>
                        <a:pt x="458480" y="433610"/>
                      </a:cubicBezTo>
                      <a:lnTo>
                        <a:pt x="456221" y="440703"/>
                      </a:lnTo>
                      <a:cubicBezTo>
                        <a:pt x="453960" y="441717"/>
                        <a:pt x="447179" y="440703"/>
                        <a:pt x="444919" y="440703"/>
                      </a:cubicBezTo>
                      <a:cubicBezTo>
                        <a:pt x="442659" y="448810"/>
                        <a:pt x="441528" y="450837"/>
                        <a:pt x="439269" y="454890"/>
                      </a:cubicBezTo>
                      <a:cubicBezTo>
                        <a:pt x="437008" y="458944"/>
                        <a:pt x="440399" y="461984"/>
                        <a:pt x="437008" y="465024"/>
                      </a:cubicBezTo>
                      <a:cubicBezTo>
                        <a:pt x="424577" y="473131"/>
                        <a:pt x="433618" y="451850"/>
                        <a:pt x="434748" y="450837"/>
                      </a:cubicBezTo>
                      <a:cubicBezTo>
                        <a:pt x="434748" y="450837"/>
                        <a:pt x="422317" y="452864"/>
                        <a:pt x="426837" y="452864"/>
                      </a:cubicBezTo>
                      <a:cubicBezTo>
                        <a:pt x="423447" y="453877"/>
                        <a:pt x="418926" y="452864"/>
                        <a:pt x="415536" y="454890"/>
                      </a:cubicBezTo>
                      <a:cubicBezTo>
                        <a:pt x="412146" y="457931"/>
                        <a:pt x="415536" y="461984"/>
                        <a:pt x="413275" y="467051"/>
                      </a:cubicBezTo>
                      <a:lnTo>
                        <a:pt x="411016" y="469077"/>
                      </a:lnTo>
                      <a:cubicBezTo>
                        <a:pt x="406495" y="469077"/>
                        <a:pt x="399715" y="468064"/>
                        <a:pt x="394064" y="467051"/>
                      </a:cubicBezTo>
                      <a:cubicBezTo>
                        <a:pt x="385022" y="466037"/>
                        <a:pt x="373721" y="472117"/>
                        <a:pt x="365811" y="472117"/>
                      </a:cubicBezTo>
                      <a:cubicBezTo>
                        <a:pt x="357900" y="472117"/>
                        <a:pt x="328516" y="486304"/>
                        <a:pt x="328516" y="486304"/>
                      </a:cubicBezTo>
                      <a:lnTo>
                        <a:pt x="323996" y="637295"/>
                      </a:lnTo>
                      <a:cubicBezTo>
                        <a:pt x="323996" y="637295"/>
                        <a:pt x="298004" y="638308"/>
                        <a:pt x="291223" y="636281"/>
                      </a:cubicBezTo>
                      <a:cubicBezTo>
                        <a:pt x="284442" y="634255"/>
                        <a:pt x="276531" y="599800"/>
                        <a:pt x="241498" y="602840"/>
                      </a:cubicBezTo>
                      <a:cubicBezTo>
                        <a:pt x="229066" y="603854"/>
                        <a:pt x="206464" y="599800"/>
                        <a:pt x="204203" y="619054"/>
                      </a:cubicBezTo>
                      <a:cubicBezTo>
                        <a:pt x="203073" y="630201"/>
                        <a:pt x="195162" y="632228"/>
                        <a:pt x="195162" y="632228"/>
                      </a:cubicBezTo>
                      <a:lnTo>
                        <a:pt x="192902" y="633241"/>
                      </a:lnTo>
                      <a:cubicBezTo>
                        <a:pt x="197423" y="616014"/>
                        <a:pt x="199683" y="603854"/>
                        <a:pt x="206464" y="589667"/>
                      </a:cubicBezTo>
                      <a:cubicBezTo>
                        <a:pt x="201944" y="588654"/>
                        <a:pt x="183861" y="586627"/>
                        <a:pt x="179341" y="584600"/>
                      </a:cubicBezTo>
                      <a:cubicBezTo>
                        <a:pt x="165780" y="578520"/>
                        <a:pt x="184992" y="569400"/>
                        <a:pt x="157869" y="572440"/>
                      </a:cubicBezTo>
                      <a:cubicBezTo>
                        <a:pt x="156739" y="567373"/>
                        <a:pt x="161259" y="565346"/>
                        <a:pt x="160129" y="562306"/>
                      </a:cubicBezTo>
                      <a:lnTo>
                        <a:pt x="157869" y="558253"/>
                      </a:lnTo>
                      <a:cubicBezTo>
                        <a:pt x="151088" y="542039"/>
                        <a:pt x="140917" y="532919"/>
                        <a:pt x="122835" y="526839"/>
                      </a:cubicBezTo>
                      <a:cubicBezTo>
                        <a:pt x="122835" y="526839"/>
                        <a:pt x="127355" y="517719"/>
                        <a:pt x="128486" y="516705"/>
                      </a:cubicBezTo>
                      <a:cubicBezTo>
                        <a:pt x="144307" y="520759"/>
                        <a:pt x="153348" y="520759"/>
                        <a:pt x="169170" y="518732"/>
                      </a:cubicBezTo>
                      <a:lnTo>
                        <a:pt x="171430" y="511638"/>
                      </a:lnTo>
                      <a:cubicBezTo>
                        <a:pt x="166910" y="510625"/>
                        <a:pt x="160129" y="511638"/>
                        <a:pt x="155608" y="511638"/>
                      </a:cubicBezTo>
                      <a:cubicBezTo>
                        <a:pt x="154478" y="507585"/>
                        <a:pt x="147697" y="499478"/>
                        <a:pt x="147697" y="497451"/>
                      </a:cubicBezTo>
                      <a:cubicBezTo>
                        <a:pt x="146567" y="491371"/>
                        <a:pt x="151088" y="493398"/>
                        <a:pt x="149958" y="490358"/>
                      </a:cubicBezTo>
                      <a:cubicBezTo>
                        <a:pt x="152218" y="490358"/>
                        <a:pt x="157869" y="495425"/>
                        <a:pt x="157869" y="495425"/>
                      </a:cubicBezTo>
                      <a:cubicBezTo>
                        <a:pt x="168040" y="497451"/>
                        <a:pt x="169170" y="491371"/>
                        <a:pt x="173691" y="490358"/>
                      </a:cubicBezTo>
                      <a:cubicBezTo>
                        <a:pt x="177081" y="490358"/>
                        <a:pt x="178211" y="493398"/>
                        <a:pt x="184992" y="492385"/>
                      </a:cubicBezTo>
                      <a:cubicBezTo>
                        <a:pt x="184992" y="485291"/>
                        <a:pt x="184992" y="478198"/>
                        <a:pt x="184992" y="473131"/>
                      </a:cubicBezTo>
                      <a:cubicBezTo>
                        <a:pt x="189512" y="474144"/>
                        <a:pt x="194033" y="472117"/>
                        <a:pt x="198553" y="473131"/>
                      </a:cubicBezTo>
                      <a:cubicBezTo>
                        <a:pt x="201944" y="474144"/>
                        <a:pt x="206464" y="482251"/>
                        <a:pt x="209854" y="483264"/>
                      </a:cubicBezTo>
                      <a:cubicBezTo>
                        <a:pt x="217765" y="486304"/>
                        <a:pt x="232456" y="486304"/>
                        <a:pt x="239237" y="488331"/>
                      </a:cubicBezTo>
                      <a:cubicBezTo>
                        <a:pt x="235847" y="492385"/>
                        <a:pt x="232456" y="496438"/>
                        <a:pt x="231326" y="500491"/>
                      </a:cubicBezTo>
                      <a:cubicBezTo>
                        <a:pt x="236977" y="497451"/>
                        <a:pt x="243757" y="492385"/>
                        <a:pt x="250539" y="493398"/>
                      </a:cubicBezTo>
                      <a:cubicBezTo>
                        <a:pt x="250539" y="493398"/>
                        <a:pt x="253929" y="497451"/>
                        <a:pt x="258450" y="495425"/>
                      </a:cubicBezTo>
                      <a:cubicBezTo>
                        <a:pt x="259579" y="495425"/>
                        <a:pt x="260709" y="491371"/>
                        <a:pt x="264100" y="490358"/>
                      </a:cubicBezTo>
                      <a:cubicBezTo>
                        <a:pt x="267490" y="479211"/>
                        <a:pt x="266360" y="476171"/>
                        <a:pt x="269751" y="466037"/>
                      </a:cubicBezTo>
                      <a:cubicBezTo>
                        <a:pt x="268620" y="466037"/>
                        <a:pt x="262970" y="464011"/>
                        <a:pt x="261840" y="464011"/>
                      </a:cubicBezTo>
                      <a:cubicBezTo>
                        <a:pt x="260709" y="462997"/>
                        <a:pt x="260709" y="457931"/>
                        <a:pt x="259579" y="456917"/>
                      </a:cubicBezTo>
                      <a:cubicBezTo>
                        <a:pt x="256189" y="454890"/>
                        <a:pt x="252799" y="456917"/>
                        <a:pt x="251668" y="454890"/>
                      </a:cubicBezTo>
                      <a:cubicBezTo>
                        <a:pt x="247148" y="448810"/>
                        <a:pt x="249408" y="432597"/>
                        <a:pt x="246018" y="428543"/>
                      </a:cubicBezTo>
                      <a:cubicBezTo>
                        <a:pt x="242628" y="424490"/>
                        <a:pt x="235847" y="428543"/>
                        <a:pt x="230197" y="426516"/>
                      </a:cubicBezTo>
                      <a:cubicBezTo>
                        <a:pt x="227936" y="425503"/>
                        <a:pt x="226806" y="416383"/>
                        <a:pt x="224546" y="414356"/>
                      </a:cubicBezTo>
                      <a:cubicBezTo>
                        <a:pt x="222286" y="412329"/>
                        <a:pt x="220025" y="413343"/>
                        <a:pt x="216635" y="412329"/>
                      </a:cubicBezTo>
                      <a:cubicBezTo>
                        <a:pt x="216635" y="412329"/>
                        <a:pt x="205334" y="400169"/>
                        <a:pt x="205334" y="400169"/>
                      </a:cubicBezTo>
                      <a:cubicBezTo>
                        <a:pt x="199683" y="398142"/>
                        <a:pt x="199683" y="403209"/>
                        <a:pt x="194033" y="402196"/>
                      </a:cubicBezTo>
                      <a:lnTo>
                        <a:pt x="191772" y="397129"/>
                      </a:lnTo>
                      <a:cubicBezTo>
                        <a:pt x="182731" y="397129"/>
                        <a:pt x="179341" y="396116"/>
                        <a:pt x="166910" y="397129"/>
                      </a:cubicBezTo>
                      <a:cubicBezTo>
                        <a:pt x="165780" y="395102"/>
                        <a:pt x="166910" y="389022"/>
                        <a:pt x="166910" y="386996"/>
                      </a:cubicBezTo>
                      <a:cubicBezTo>
                        <a:pt x="163519" y="385982"/>
                        <a:pt x="157869" y="379902"/>
                        <a:pt x="155608" y="379902"/>
                      </a:cubicBezTo>
                      <a:cubicBezTo>
                        <a:pt x="152218" y="378889"/>
                        <a:pt x="147697" y="380915"/>
                        <a:pt x="144307" y="379902"/>
                      </a:cubicBezTo>
                      <a:cubicBezTo>
                        <a:pt x="144307" y="380915"/>
                        <a:pt x="139787" y="381929"/>
                        <a:pt x="138657" y="381929"/>
                      </a:cubicBezTo>
                      <a:cubicBezTo>
                        <a:pt x="138657" y="381929"/>
                        <a:pt x="140917" y="389022"/>
                        <a:pt x="138657" y="392062"/>
                      </a:cubicBezTo>
                      <a:cubicBezTo>
                        <a:pt x="135266" y="397129"/>
                        <a:pt x="125095" y="398142"/>
                        <a:pt x="119444" y="402196"/>
                      </a:cubicBezTo>
                      <a:cubicBezTo>
                        <a:pt x="118314" y="403209"/>
                        <a:pt x="114924" y="409289"/>
                        <a:pt x="113794" y="409289"/>
                      </a:cubicBezTo>
                      <a:cubicBezTo>
                        <a:pt x="107013" y="411316"/>
                        <a:pt x="99102" y="407263"/>
                        <a:pt x="92322" y="409289"/>
                      </a:cubicBezTo>
                      <a:cubicBezTo>
                        <a:pt x="88932" y="410303"/>
                        <a:pt x="86671" y="417396"/>
                        <a:pt x="84411" y="419423"/>
                      </a:cubicBezTo>
                      <a:cubicBezTo>
                        <a:pt x="77630" y="422463"/>
                        <a:pt x="71980" y="418410"/>
                        <a:pt x="68589" y="419423"/>
                      </a:cubicBezTo>
                      <a:cubicBezTo>
                        <a:pt x="68589" y="419423"/>
                        <a:pt x="59548" y="407263"/>
                        <a:pt x="62938" y="402196"/>
                      </a:cubicBezTo>
                      <a:cubicBezTo>
                        <a:pt x="66329" y="397129"/>
                        <a:pt x="62938" y="386996"/>
                        <a:pt x="62938" y="386996"/>
                      </a:cubicBezTo>
                      <a:lnTo>
                        <a:pt x="48247" y="356595"/>
                      </a:lnTo>
                      <a:cubicBezTo>
                        <a:pt x="48247" y="356595"/>
                        <a:pt x="31295" y="366728"/>
                        <a:pt x="30165" y="359635"/>
                      </a:cubicBezTo>
                      <a:cubicBezTo>
                        <a:pt x="29035" y="351528"/>
                        <a:pt x="35816" y="336328"/>
                        <a:pt x="24515" y="333288"/>
                      </a:cubicBezTo>
                      <a:cubicBezTo>
                        <a:pt x="13214" y="329234"/>
                        <a:pt x="6432" y="324167"/>
                        <a:pt x="12083" y="318087"/>
                      </a:cubicBezTo>
                      <a:cubicBezTo>
                        <a:pt x="17734" y="312007"/>
                        <a:pt x="27905" y="294780"/>
                        <a:pt x="27905" y="294780"/>
                      </a:cubicBezTo>
                      <a:cubicBezTo>
                        <a:pt x="27905" y="294780"/>
                        <a:pt x="38076" y="291740"/>
                        <a:pt x="34685" y="284646"/>
                      </a:cubicBezTo>
                      <a:cubicBezTo>
                        <a:pt x="31295" y="277553"/>
                        <a:pt x="23384" y="275526"/>
                        <a:pt x="23384" y="275526"/>
                      </a:cubicBezTo>
                      <a:cubicBezTo>
                        <a:pt x="23384" y="275526"/>
                        <a:pt x="41466" y="260326"/>
                        <a:pt x="34685" y="246139"/>
                      </a:cubicBezTo>
                      <a:cubicBezTo>
                        <a:pt x="31295" y="240059"/>
                        <a:pt x="49377" y="243099"/>
                        <a:pt x="50507" y="237019"/>
                      </a:cubicBezTo>
                      <a:cubicBezTo>
                        <a:pt x="51637" y="230939"/>
                        <a:pt x="66329" y="217765"/>
                        <a:pt x="68589" y="225872"/>
                      </a:cubicBezTo>
                      <a:cubicBezTo>
                        <a:pt x="70849" y="233979"/>
                        <a:pt x="79890" y="250192"/>
                        <a:pt x="79890" y="250192"/>
                      </a:cubicBezTo>
                      <a:lnTo>
                        <a:pt x="103623" y="237019"/>
                      </a:lnTo>
                      <a:cubicBezTo>
                        <a:pt x="103623" y="237019"/>
                        <a:pt x="85541" y="226885"/>
                        <a:pt x="86671" y="218778"/>
                      </a:cubicBezTo>
                      <a:cubicBezTo>
                        <a:pt x="87801" y="210671"/>
                        <a:pt x="90062" y="195471"/>
                        <a:pt x="96842" y="195471"/>
                      </a:cubicBezTo>
                      <a:cubicBezTo>
                        <a:pt x="103623" y="195471"/>
                        <a:pt x="107013" y="180271"/>
                        <a:pt x="113794" y="184324"/>
                      </a:cubicBezTo>
                      <a:cubicBezTo>
                        <a:pt x="120575" y="188378"/>
                        <a:pt x="139787" y="185337"/>
                        <a:pt x="139787" y="185337"/>
                      </a:cubicBezTo>
                      <a:cubicBezTo>
                        <a:pt x="139787" y="185337"/>
                        <a:pt x="163519" y="165070"/>
                        <a:pt x="168040" y="158990"/>
                      </a:cubicBezTo>
                      <a:cubicBezTo>
                        <a:pt x="172560" y="152910"/>
                        <a:pt x="161259" y="149870"/>
                        <a:pt x="161259" y="149870"/>
                      </a:cubicBezTo>
                      <a:lnTo>
                        <a:pt x="194033" y="143790"/>
                      </a:lnTo>
                      <a:lnTo>
                        <a:pt x="194033" y="152910"/>
                      </a:lnTo>
                      <a:lnTo>
                        <a:pt x="210984" y="151897"/>
                      </a:lnTo>
                      <a:cubicBezTo>
                        <a:pt x="210984" y="151897"/>
                        <a:pt x="205334" y="145817"/>
                        <a:pt x="210984" y="145817"/>
                      </a:cubicBezTo>
                      <a:cubicBezTo>
                        <a:pt x="216635" y="145817"/>
                        <a:pt x="225676" y="146830"/>
                        <a:pt x="229066" y="153923"/>
                      </a:cubicBezTo>
                      <a:cubicBezTo>
                        <a:pt x="232456" y="161017"/>
                        <a:pt x="232456" y="169124"/>
                        <a:pt x="232456" y="169124"/>
                      </a:cubicBezTo>
                      <a:cubicBezTo>
                        <a:pt x="232456" y="169124"/>
                        <a:pt x="244888" y="169124"/>
                        <a:pt x="253929" y="173177"/>
                      </a:cubicBezTo>
                      <a:cubicBezTo>
                        <a:pt x="262970" y="177231"/>
                        <a:pt x="268620" y="179257"/>
                        <a:pt x="272010" y="187364"/>
                      </a:cubicBezTo>
                      <a:cubicBezTo>
                        <a:pt x="275401" y="195471"/>
                        <a:pt x="278792" y="200538"/>
                        <a:pt x="286703" y="200538"/>
                      </a:cubicBezTo>
                      <a:cubicBezTo>
                        <a:pt x="294613" y="200538"/>
                        <a:pt x="303654" y="196484"/>
                        <a:pt x="308174" y="204591"/>
                      </a:cubicBezTo>
                      <a:cubicBezTo>
                        <a:pt x="312695" y="212698"/>
                        <a:pt x="301394" y="223845"/>
                        <a:pt x="301394" y="223845"/>
                      </a:cubicBezTo>
                      <a:lnTo>
                        <a:pt x="319476" y="227898"/>
                      </a:lnTo>
                      <a:cubicBezTo>
                        <a:pt x="319476" y="227898"/>
                        <a:pt x="318346" y="207631"/>
                        <a:pt x="323996" y="207631"/>
                      </a:cubicBezTo>
                      <a:cubicBezTo>
                        <a:pt x="329647" y="207631"/>
                        <a:pt x="327387" y="197498"/>
                        <a:pt x="340948" y="203578"/>
                      </a:cubicBezTo>
                      <a:cubicBezTo>
                        <a:pt x="355640" y="209658"/>
                        <a:pt x="366941" y="216752"/>
                        <a:pt x="373721" y="211685"/>
                      </a:cubicBezTo>
                      <a:cubicBezTo>
                        <a:pt x="380502" y="206618"/>
                        <a:pt x="389543" y="200538"/>
                        <a:pt x="401974" y="196484"/>
                      </a:cubicBezTo>
                      <a:cubicBezTo>
                        <a:pt x="414406" y="192431"/>
                        <a:pt x="413275" y="207631"/>
                        <a:pt x="422317" y="205605"/>
                      </a:cubicBezTo>
                      <a:cubicBezTo>
                        <a:pt x="431358" y="202564"/>
                        <a:pt x="427968" y="196484"/>
                        <a:pt x="437008" y="201551"/>
                      </a:cubicBezTo>
                      <a:cubicBezTo>
                        <a:pt x="446049" y="206618"/>
                        <a:pt x="453960" y="226885"/>
                        <a:pt x="453960" y="226885"/>
                      </a:cubicBezTo>
                      <a:lnTo>
                        <a:pt x="476563" y="231952"/>
                      </a:lnTo>
                      <a:lnTo>
                        <a:pt x="492384" y="231952"/>
                      </a:lnTo>
                      <a:cubicBezTo>
                        <a:pt x="492384" y="231952"/>
                        <a:pt x="509336" y="226885"/>
                        <a:pt x="507076" y="211685"/>
                      </a:cubicBezTo>
                      <a:cubicBezTo>
                        <a:pt x="498034" y="201551"/>
                        <a:pt x="485603" y="198511"/>
                        <a:pt x="485603" y="198511"/>
                      </a:cubicBezTo>
                      <a:lnTo>
                        <a:pt x="472042" y="187364"/>
                      </a:lnTo>
                      <a:lnTo>
                        <a:pt x="484474" y="166084"/>
                      </a:lnTo>
                      <a:lnTo>
                        <a:pt x="483343" y="156963"/>
                      </a:lnTo>
                      <a:lnTo>
                        <a:pt x="467522" y="136696"/>
                      </a:lnTo>
                      <a:lnTo>
                        <a:pt x="467522" y="121496"/>
                      </a:lnTo>
                      <a:lnTo>
                        <a:pt x="473172" y="108322"/>
                      </a:lnTo>
                      <a:lnTo>
                        <a:pt x="473172" y="89069"/>
                      </a:lnTo>
                      <a:lnTo>
                        <a:pt x="490124" y="73868"/>
                      </a:lnTo>
                      <a:lnTo>
                        <a:pt x="490124" y="58668"/>
                      </a:lnTo>
                      <a:lnTo>
                        <a:pt x="488994" y="47521"/>
                      </a:lnTo>
                      <a:lnTo>
                        <a:pt x="503685" y="39414"/>
                      </a:lnTo>
                      <a:lnTo>
                        <a:pt x="524028" y="47521"/>
                      </a:lnTo>
                      <a:lnTo>
                        <a:pt x="545500" y="50561"/>
                      </a:lnTo>
                      <a:lnTo>
                        <a:pt x="561322" y="56641"/>
                      </a:lnTo>
                      <a:lnTo>
                        <a:pt x="594095" y="52588"/>
                      </a:lnTo>
                      <a:lnTo>
                        <a:pt x="617828" y="44481"/>
                      </a:lnTo>
                      <a:lnTo>
                        <a:pt x="651731" y="45494"/>
                      </a:lnTo>
                      <a:lnTo>
                        <a:pt x="685635" y="36374"/>
                      </a:lnTo>
                      <a:lnTo>
                        <a:pt x="698066" y="36374"/>
                      </a:lnTo>
                      <a:lnTo>
                        <a:pt x="731969" y="20160"/>
                      </a:lnTo>
                      <a:lnTo>
                        <a:pt x="755702" y="12054"/>
                      </a:lnTo>
                      <a:lnTo>
                        <a:pt x="771524" y="9013"/>
                      </a:lnTo>
                      <a:lnTo>
                        <a:pt x="778305" y="18134"/>
                      </a:lnTo>
                      <a:lnTo>
                        <a:pt x="792996" y="23200"/>
                      </a:lnTo>
                      <a:lnTo>
                        <a:pt x="792996" y="31307"/>
                      </a:lnTo>
                      <a:lnTo>
                        <a:pt x="788475" y="47521"/>
                      </a:lnTo>
                      <a:lnTo>
                        <a:pt x="799776" y="48534"/>
                      </a:lnTo>
                      <a:lnTo>
                        <a:pt x="815598" y="64748"/>
                      </a:lnTo>
                      <a:lnTo>
                        <a:pt x="828029" y="58668"/>
                      </a:lnTo>
                      <a:lnTo>
                        <a:pt x="843851" y="43468"/>
                      </a:lnTo>
                      <a:lnTo>
                        <a:pt x="867584" y="56641"/>
                      </a:lnTo>
                      <a:lnTo>
                        <a:pt x="872104" y="61708"/>
                      </a:lnTo>
                      <a:lnTo>
                        <a:pt x="886796" y="55628"/>
                      </a:lnTo>
                      <a:cubicBezTo>
                        <a:pt x="886796" y="55628"/>
                        <a:pt x="893576" y="51574"/>
                        <a:pt x="898097" y="61708"/>
                      </a:cubicBezTo>
                      <a:cubicBezTo>
                        <a:pt x="902618" y="71842"/>
                        <a:pt x="898097" y="72855"/>
                        <a:pt x="898097" y="72855"/>
                      </a:cubicBezTo>
                      <a:lnTo>
                        <a:pt x="929740" y="75895"/>
                      </a:lnTo>
                      <a:lnTo>
                        <a:pt x="959124" y="64748"/>
                      </a:lnTo>
                      <a:lnTo>
                        <a:pt x="994157" y="50561"/>
                      </a:lnTo>
                      <a:lnTo>
                        <a:pt x="1021280" y="41441"/>
                      </a:lnTo>
                      <a:lnTo>
                        <a:pt x="1050663" y="35361"/>
                      </a:lnTo>
                      <a:lnTo>
                        <a:pt x="1055184" y="41441"/>
                      </a:lnTo>
                      <a:lnTo>
                        <a:pt x="1054053" y="57655"/>
                      </a:lnTo>
                      <a:lnTo>
                        <a:pt x="1076656" y="93122"/>
                      </a:lnTo>
                      <a:lnTo>
                        <a:pt x="1103779" y="146830"/>
                      </a:lnTo>
                      <a:lnTo>
                        <a:pt x="1124121" y="183311"/>
                      </a:lnTo>
                      <a:cubicBezTo>
                        <a:pt x="1124121" y="183311"/>
                        <a:pt x="1138812" y="203578"/>
                        <a:pt x="1146723" y="204591"/>
                      </a:cubicBezTo>
                      <a:cubicBezTo>
                        <a:pt x="1155764" y="205605"/>
                        <a:pt x="1180627" y="198511"/>
                        <a:pt x="1180627" y="198511"/>
                      </a:cubicBezTo>
                      <a:lnTo>
                        <a:pt x="1219051" y="198511"/>
                      </a:lnTo>
                      <a:cubicBezTo>
                        <a:pt x="1229222" y="198511"/>
                        <a:pt x="1251824" y="224858"/>
                        <a:pt x="1251824" y="224858"/>
                      </a:cubicBezTo>
                      <a:lnTo>
                        <a:pt x="1257475" y="244112"/>
                      </a:lnTo>
                      <a:lnTo>
                        <a:pt x="1266516" y="267419"/>
                      </a:lnTo>
                      <a:lnTo>
                        <a:pt x="1273297" y="277553"/>
                      </a:lnTo>
                      <a:lnTo>
                        <a:pt x="1293639" y="287687"/>
                      </a:lnTo>
                      <a:lnTo>
                        <a:pt x="1317371" y="282620"/>
                      </a:lnTo>
                      <a:lnTo>
                        <a:pt x="1361446" y="264379"/>
                      </a:lnTo>
                      <a:lnTo>
                        <a:pt x="1388569" y="259313"/>
                      </a:lnTo>
                      <a:lnTo>
                        <a:pt x="1405521" y="260326"/>
                      </a:lnTo>
                      <a:lnTo>
                        <a:pt x="1414562" y="275526"/>
                      </a:lnTo>
                      <a:lnTo>
                        <a:pt x="1426993" y="288700"/>
                      </a:lnTo>
                      <a:lnTo>
                        <a:pt x="1437164" y="296807"/>
                      </a:lnTo>
                      <a:lnTo>
                        <a:pt x="1462027" y="301873"/>
                      </a:lnTo>
                      <a:lnTo>
                        <a:pt x="1451856" y="300860"/>
                      </a:lnTo>
                      <a:close/>
                      <a:moveTo>
                        <a:pt x="229066" y="499478"/>
                      </a:moveTo>
                      <a:cubicBezTo>
                        <a:pt x="231326" y="498465"/>
                        <a:pt x="221155" y="512652"/>
                        <a:pt x="217765" y="516705"/>
                      </a:cubicBezTo>
                      <a:cubicBezTo>
                        <a:pt x="204203" y="532919"/>
                        <a:pt x="206464" y="523799"/>
                        <a:pt x="190642" y="516705"/>
                      </a:cubicBezTo>
                      <a:cubicBezTo>
                        <a:pt x="215505" y="516705"/>
                        <a:pt x="210984" y="508598"/>
                        <a:pt x="229066" y="499478"/>
                      </a:cubicBezTo>
                      <a:close/>
                      <a:moveTo>
                        <a:pt x="488994" y="431583"/>
                      </a:moveTo>
                      <a:lnTo>
                        <a:pt x="488994" y="436650"/>
                      </a:lnTo>
                      <a:cubicBezTo>
                        <a:pt x="500295" y="437663"/>
                        <a:pt x="496905" y="432597"/>
                        <a:pt x="488994" y="431583"/>
                      </a:cubicBezTo>
                      <a:close/>
                      <a:moveTo>
                        <a:pt x="1161415" y="367742"/>
                      </a:moveTo>
                      <a:cubicBezTo>
                        <a:pt x="1161415" y="367742"/>
                        <a:pt x="1165936" y="375849"/>
                        <a:pt x="1167065" y="377875"/>
                      </a:cubicBezTo>
                      <a:cubicBezTo>
                        <a:pt x="1164805" y="379902"/>
                        <a:pt x="1158025" y="379902"/>
                        <a:pt x="1155764" y="382942"/>
                      </a:cubicBezTo>
                      <a:cubicBezTo>
                        <a:pt x="1154634" y="384969"/>
                        <a:pt x="1155764" y="391049"/>
                        <a:pt x="1155764" y="393076"/>
                      </a:cubicBezTo>
                      <a:cubicBezTo>
                        <a:pt x="1146723" y="394089"/>
                        <a:pt x="1141073" y="397129"/>
                        <a:pt x="1130901" y="398142"/>
                      </a:cubicBezTo>
                      <a:cubicBezTo>
                        <a:pt x="1130901" y="398142"/>
                        <a:pt x="1130901" y="405236"/>
                        <a:pt x="1130901" y="405236"/>
                      </a:cubicBezTo>
                      <a:cubicBezTo>
                        <a:pt x="1124121" y="407263"/>
                        <a:pt x="1115080" y="400169"/>
                        <a:pt x="1115080" y="400169"/>
                      </a:cubicBezTo>
                      <a:cubicBezTo>
                        <a:pt x="1104909" y="399156"/>
                        <a:pt x="1085697" y="405236"/>
                        <a:pt x="1076656" y="405236"/>
                      </a:cubicBezTo>
                      <a:cubicBezTo>
                        <a:pt x="1069875" y="405236"/>
                        <a:pt x="1055184" y="394089"/>
                        <a:pt x="1047273" y="400169"/>
                      </a:cubicBezTo>
                      <a:cubicBezTo>
                        <a:pt x="1045013" y="402196"/>
                        <a:pt x="1050663" y="404223"/>
                        <a:pt x="1045013" y="402196"/>
                      </a:cubicBezTo>
                      <a:cubicBezTo>
                        <a:pt x="1045013" y="402196"/>
                        <a:pt x="1045013" y="395102"/>
                        <a:pt x="1045013" y="395102"/>
                      </a:cubicBezTo>
                      <a:cubicBezTo>
                        <a:pt x="1042752" y="395102"/>
                        <a:pt x="1035972" y="396116"/>
                        <a:pt x="1033711" y="395102"/>
                      </a:cubicBezTo>
                      <a:cubicBezTo>
                        <a:pt x="1032582" y="398142"/>
                        <a:pt x="1033711" y="404223"/>
                        <a:pt x="1033711" y="407263"/>
                      </a:cubicBezTo>
                      <a:cubicBezTo>
                        <a:pt x="1031451" y="408276"/>
                        <a:pt x="1023540" y="414356"/>
                        <a:pt x="1022410" y="414356"/>
                      </a:cubicBezTo>
                      <a:cubicBezTo>
                        <a:pt x="1017889" y="415369"/>
                        <a:pt x="1011109" y="410303"/>
                        <a:pt x="1003198" y="414356"/>
                      </a:cubicBezTo>
                      <a:cubicBezTo>
                        <a:pt x="1003198" y="414356"/>
                        <a:pt x="987377" y="433610"/>
                        <a:pt x="987377" y="433610"/>
                      </a:cubicBezTo>
                      <a:cubicBezTo>
                        <a:pt x="981726" y="436650"/>
                        <a:pt x="977205" y="433610"/>
                        <a:pt x="971555" y="435637"/>
                      </a:cubicBezTo>
                      <a:cubicBezTo>
                        <a:pt x="970425" y="435637"/>
                        <a:pt x="956863" y="450837"/>
                        <a:pt x="955733" y="452864"/>
                      </a:cubicBezTo>
                      <a:lnTo>
                        <a:pt x="950082" y="452864"/>
                      </a:lnTo>
                      <a:cubicBezTo>
                        <a:pt x="947823" y="459957"/>
                        <a:pt x="946692" y="464011"/>
                        <a:pt x="944432" y="470091"/>
                      </a:cubicBezTo>
                      <a:lnTo>
                        <a:pt x="942172" y="470091"/>
                      </a:lnTo>
                      <a:cubicBezTo>
                        <a:pt x="941041" y="476171"/>
                        <a:pt x="945562" y="479211"/>
                        <a:pt x="944432" y="482251"/>
                      </a:cubicBezTo>
                      <a:cubicBezTo>
                        <a:pt x="946692" y="482251"/>
                        <a:pt x="951213" y="481238"/>
                        <a:pt x="952343" y="482251"/>
                      </a:cubicBezTo>
                      <a:cubicBezTo>
                        <a:pt x="953473" y="483264"/>
                        <a:pt x="951213" y="488331"/>
                        <a:pt x="952343" y="489345"/>
                      </a:cubicBezTo>
                      <a:cubicBezTo>
                        <a:pt x="943302" y="485291"/>
                        <a:pt x="937651" y="483264"/>
                        <a:pt x="930871" y="479211"/>
                      </a:cubicBezTo>
                      <a:cubicBezTo>
                        <a:pt x="930871" y="479211"/>
                        <a:pt x="936521" y="457931"/>
                        <a:pt x="930871" y="461984"/>
                      </a:cubicBezTo>
                      <a:lnTo>
                        <a:pt x="930871" y="456917"/>
                      </a:lnTo>
                      <a:cubicBezTo>
                        <a:pt x="928610" y="455904"/>
                        <a:pt x="921829" y="456917"/>
                        <a:pt x="919570" y="456917"/>
                      </a:cubicBezTo>
                      <a:cubicBezTo>
                        <a:pt x="919570" y="454890"/>
                        <a:pt x="916179" y="451850"/>
                        <a:pt x="917309" y="446784"/>
                      </a:cubicBezTo>
                      <a:cubicBezTo>
                        <a:pt x="919570" y="435637"/>
                        <a:pt x="929740" y="439690"/>
                        <a:pt x="936521" y="434623"/>
                      </a:cubicBezTo>
                      <a:lnTo>
                        <a:pt x="938781" y="427530"/>
                      </a:lnTo>
                      <a:cubicBezTo>
                        <a:pt x="943302" y="422463"/>
                        <a:pt x="947823" y="417396"/>
                        <a:pt x="952343" y="413343"/>
                      </a:cubicBezTo>
                      <a:cubicBezTo>
                        <a:pt x="952343" y="413343"/>
                        <a:pt x="956863" y="418410"/>
                        <a:pt x="960254" y="415369"/>
                      </a:cubicBezTo>
                      <a:cubicBezTo>
                        <a:pt x="962514" y="414356"/>
                        <a:pt x="963644" y="405236"/>
                        <a:pt x="965904" y="403209"/>
                      </a:cubicBezTo>
                      <a:cubicBezTo>
                        <a:pt x="970425" y="399156"/>
                        <a:pt x="976076" y="402196"/>
                        <a:pt x="981726" y="398142"/>
                      </a:cubicBezTo>
                      <a:cubicBezTo>
                        <a:pt x="983986" y="397129"/>
                        <a:pt x="983986" y="390036"/>
                        <a:pt x="987377" y="388009"/>
                      </a:cubicBezTo>
                      <a:cubicBezTo>
                        <a:pt x="1000938" y="382942"/>
                        <a:pt x="1014499" y="389022"/>
                        <a:pt x="1028061" y="388009"/>
                      </a:cubicBezTo>
                      <a:lnTo>
                        <a:pt x="1033711" y="382942"/>
                      </a:lnTo>
                      <a:cubicBezTo>
                        <a:pt x="1034841" y="382942"/>
                        <a:pt x="1057444" y="382942"/>
                        <a:pt x="1058574" y="382942"/>
                      </a:cubicBezTo>
                      <a:lnTo>
                        <a:pt x="1060835" y="388009"/>
                      </a:lnTo>
                      <a:cubicBezTo>
                        <a:pt x="1068745" y="388009"/>
                        <a:pt x="1068745" y="383955"/>
                        <a:pt x="1076656" y="385982"/>
                      </a:cubicBezTo>
                      <a:cubicBezTo>
                        <a:pt x="1076656" y="385982"/>
                        <a:pt x="1083437" y="393076"/>
                        <a:pt x="1084567" y="393076"/>
                      </a:cubicBezTo>
                      <a:cubicBezTo>
                        <a:pt x="1094738" y="394089"/>
                        <a:pt x="1102648" y="388009"/>
                        <a:pt x="1106039" y="388009"/>
                      </a:cubicBezTo>
                      <a:lnTo>
                        <a:pt x="1127511" y="393076"/>
                      </a:lnTo>
                      <a:cubicBezTo>
                        <a:pt x="1141073" y="373822"/>
                        <a:pt x="1141073" y="378889"/>
                        <a:pt x="1161415" y="36774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5" name="Freeform: Shape 364">
                  <a:extLst>
                    <a:ext uri="{FF2B5EF4-FFF2-40B4-BE49-F238E27FC236}">
                      <a16:creationId xmlns:a16="http://schemas.microsoft.com/office/drawing/2014/main" id="{6708EB48-EBCD-44F9-9924-5BD5423D9059}"/>
                    </a:ext>
                  </a:extLst>
                </p:cNvPr>
                <p:cNvSpPr/>
                <p:nvPr/>
              </p:nvSpPr>
              <p:spPr>
                <a:xfrm>
                  <a:off x="7119474" y="2935180"/>
                  <a:ext cx="180819" cy="182404"/>
                </a:xfrm>
                <a:custGeom>
                  <a:avLst/>
                  <a:gdLst>
                    <a:gd name="connsiteX0" fmla="*/ 41695 w 180819"/>
                    <a:gd name="connsiteY0" fmla="*/ 66775 h 182404"/>
                    <a:gd name="connsiteX1" fmla="*/ 42826 w 180819"/>
                    <a:gd name="connsiteY1" fmla="*/ 58668 h 182404"/>
                    <a:gd name="connsiteX2" fmla="*/ 48476 w 180819"/>
                    <a:gd name="connsiteY2" fmla="*/ 43468 h 182404"/>
                    <a:gd name="connsiteX3" fmla="*/ 69948 w 180819"/>
                    <a:gd name="connsiteY3" fmla="*/ 38401 h 182404"/>
                    <a:gd name="connsiteX4" fmla="*/ 99332 w 180819"/>
                    <a:gd name="connsiteY4" fmla="*/ 44481 h 182404"/>
                    <a:gd name="connsiteX5" fmla="*/ 153577 w 180819"/>
                    <a:gd name="connsiteY5" fmla="*/ 9013 h 182404"/>
                    <a:gd name="connsiteX6" fmla="*/ 173919 w 180819"/>
                    <a:gd name="connsiteY6" fmla="*/ 63735 h 182404"/>
                    <a:gd name="connsiteX7" fmla="*/ 171659 w 180819"/>
                    <a:gd name="connsiteY7" fmla="*/ 71842 h 182404"/>
                    <a:gd name="connsiteX8" fmla="*/ 101592 w 180819"/>
                    <a:gd name="connsiteY8" fmla="*/ 88055 h 182404"/>
                    <a:gd name="connsiteX9" fmla="*/ 123064 w 180819"/>
                    <a:gd name="connsiteY9" fmla="*/ 119470 h 182404"/>
                    <a:gd name="connsiteX10" fmla="*/ 104982 w 180819"/>
                    <a:gd name="connsiteY10" fmla="*/ 134670 h 182404"/>
                    <a:gd name="connsiteX11" fmla="*/ 90291 w 180819"/>
                    <a:gd name="connsiteY11" fmla="*/ 148857 h 182404"/>
                    <a:gd name="connsiteX12" fmla="*/ 77859 w 180819"/>
                    <a:gd name="connsiteY12" fmla="*/ 162030 h 182404"/>
                    <a:gd name="connsiteX13" fmla="*/ 51867 w 180819"/>
                    <a:gd name="connsiteY13" fmla="*/ 178244 h 182404"/>
                    <a:gd name="connsiteX14" fmla="*/ 10052 w 180819"/>
                    <a:gd name="connsiteY14" fmla="*/ 177231 h 182404"/>
                    <a:gd name="connsiteX15" fmla="*/ 10052 w 180819"/>
                    <a:gd name="connsiteY15" fmla="*/ 172164 h 182404"/>
                    <a:gd name="connsiteX16" fmla="*/ 34915 w 180819"/>
                    <a:gd name="connsiteY16" fmla="*/ 136696 h 182404"/>
                    <a:gd name="connsiteX17" fmla="*/ 42826 w 180819"/>
                    <a:gd name="connsiteY17" fmla="*/ 98189 h 182404"/>
                    <a:gd name="connsiteX18" fmla="*/ 41695 w 180819"/>
                    <a:gd name="connsiteY18" fmla="*/ 82989 h 182404"/>
                    <a:gd name="connsiteX19" fmla="*/ 41695 w 180819"/>
                    <a:gd name="connsiteY19" fmla="*/ 80962 h 182404"/>
                    <a:gd name="connsiteX20" fmla="*/ 42826 w 180819"/>
                    <a:gd name="connsiteY20" fmla="*/ 80962 h 182404"/>
                    <a:gd name="connsiteX21" fmla="*/ 41695 w 180819"/>
                    <a:gd name="connsiteY21" fmla="*/ 66775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0819" h="182404">
                      <a:moveTo>
                        <a:pt x="41695" y="66775"/>
                      </a:moveTo>
                      <a:cubicBezTo>
                        <a:pt x="41695" y="63735"/>
                        <a:pt x="41695" y="61708"/>
                        <a:pt x="42826" y="58668"/>
                      </a:cubicBezTo>
                      <a:cubicBezTo>
                        <a:pt x="43956" y="66775"/>
                        <a:pt x="48476" y="43468"/>
                        <a:pt x="48476" y="43468"/>
                      </a:cubicBezTo>
                      <a:cubicBezTo>
                        <a:pt x="52996" y="40428"/>
                        <a:pt x="65428" y="34347"/>
                        <a:pt x="69948" y="38401"/>
                      </a:cubicBezTo>
                      <a:cubicBezTo>
                        <a:pt x="75599" y="43468"/>
                        <a:pt x="99332" y="44481"/>
                        <a:pt x="99332" y="44481"/>
                      </a:cubicBezTo>
                      <a:lnTo>
                        <a:pt x="153577" y="9013"/>
                      </a:lnTo>
                      <a:lnTo>
                        <a:pt x="173919" y="63735"/>
                      </a:lnTo>
                      <a:lnTo>
                        <a:pt x="171659" y="71842"/>
                      </a:lnTo>
                      <a:lnTo>
                        <a:pt x="101592" y="88055"/>
                      </a:lnTo>
                      <a:lnTo>
                        <a:pt x="123064" y="119470"/>
                      </a:lnTo>
                      <a:cubicBezTo>
                        <a:pt x="123064" y="119470"/>
                        <a:pt x="106112" y="127576"/>
                        <a:pt x="104982" y="134670"/>
                      </a:cubicBezTo>
                      <a:cubicBezTo>
                        <a:pt x="103852" y="141763"/>
                        <a:pt x="94811" y="140750"/>
                        <a:pt x="90291" y="148857"/>
                      </a:cubicBezTo>
                      <a:cubicBezTo>
                        <a:pt x="85770" y="156964"/>
                        <a:pt x="77859" y="162030"/>
                        <a:pt x="77859" y="162030"/>
                      </a:cubicBezTo>
                      <a:lnTo>
                        <a:pt x="51867" y="178244"/>
                      </a:lnTo>
                      <a:lnTo>
                        <a:pt x="10052" y="177231"/>
                      </a:lnTo>
                      <a:cubicBezTo>
                        <a:pt x="10052" y="180271"/>
                        <a:pt x="10052" y="172164"/>
                        <a:pt x="10052" y="172164"/>
                      </a:cubicBezTo>
                      <a:cubicBezTo>
                        <a:pt x="10052" y="172164"/>
                        <a:pt x="37175" y="145817"/>
                        <a:pt x="34915" y="136696"/>
                      </a:cubicBezTo>
                      <a:cubicBezTo>
                        <a:pt x="30394" y="118456"/>
                        <a:pt x="42826" y="98189"/>
                        <a:pt x="42826" y="98189"/>
                      </a:cubicBezTo>
                      <a:cubicBezTo>
                        <a:pt x="42826" y="98189"/>
                        <a:pt x="42826" y="89069"/>
                        <a:pt x="41695" y="82989"/>
                      </a:cubicBezTo>
                      <a:cubicBezTo>
                        <a:pt x="41695" y="81975"/>
                        <a:pt x="41695" y="80962"/>
                        <a:pt x="41695" y="80962"/>
                      </a:cubicBezTo>
                      <a:cubicBezTo>
                        <a:pt x="42826" y="80962"/>
                        <a:pt x="42826" y="80962"/>
                        <a:pt x="42826" y="80962"/>
                      </a:cubicBezTo>
                      <a:cubicBezTo>
                        <a:pt x="42826" y="76908"/>
                        <a:pt x="41695" y="70828"/>
                        <a:pt x="41695" y="6677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6" name="Freeform: Shape 365">
                  <a:extLst>
                    <a:ext uri="{FF2B5EF4-FFF2-40B4-BE49-F238E27FC236}">
                      <a16:creationId xmlns:a16="http://schemas.microsoft.com/office/drawing/2014/main" id="{F37C330A-C535-412F-BE1A-485EAEF7BDCD}"/>
                    </a:ext>
                  </a:extLst>
                </p:cNvPr>
                <p:cNvSpPr/>
                <p:nvPr/>
              </p:nvSpPr>
              <p:spPr>
                <a:xfrm>
                  <a:off x="10352746" y="2388980"/>
                  <a:ext cx="666771" cy="830953"/>
                </a:xfrm>
                <a:custGeom>
                  <a:avLst/>
                  <a:gdLst>
                    <a:gd name="connsiteX0" fmla="*/ 45085 w 666770"/>
                    <a:gd name="connsiteY0" fmla="*/ 815646 h 830952"/>
                    <a:gd name="connsiteX1" fmla="*/ 33784 w 666770"/>
                    <a:gd name="connsiteY1" fmla="*/ 827806 h 830952"/>
                    <a:gd name="connsiteX2" fmla="*/ 36045 w 666770"/>
                    <a:gd name="connsiteY2" fmla="*/ 829832 h 830952"/>
                    <a:gd name="connsiteX3" fmla="*/ 49606 w 666770"/>
                    <a:gd name="connsiteY3" fmla="*/ 815646 h 830952"/>
                    <a:gd name="connsiteX4" fmla="*/ 45085 w 666770"/>
                    <a:gd name="connsiteY4" fmla="*/ 815646 h 830952"/>
                    <a:gd name="connsiteX5" fmla="*/ 10052 w 666770"/>
                    <a:gd name="connsiteY5" fmla="*/ 808552 h 830952"/>
                    <a:gd name="connsiteX6" fmla="*/ 10052 w 666770"/>
                    <a:gd name="connsiteY6" fmla="*/ 815646 h 830952"/>
                    <a:gd name="connsiteX7" fmla="*/ 15703 w 666770"/>
                    <a:gd name="connsiteY7" fmla="*/ 817672 h 830952"/>
                    <a:gd name="connsiteX8" fmla="*/ 10052 w 666770"/>
                    <a:gd name="connsiteY8" fmla="*/ 808552 h 830952"/>
                    <a:gd name="connsiteX9" fmla="*/ 145666 w 666770"/>
                    <a:gd name="connsiteY9" fmla="*/ 665669 h 830952"/>
                    <a:gd name="connsiteX10" fmla="*/ 145666 w 666770"/>
                    <a:gd name="connsiteY10" fmla="*/ 675802 h 830952"/>
                    <a:gd name="connsiteX11" fmla="*/ 145666 w 666770"/>
                    <a:gd name="connsiteY11" fmla="*/ 665669 h 830952"/>
                    <a:gd name="connsiteX12" fmla="*/ 132105 w 666770"/>
                    <a:gd name="connsiteY12" fmla="*/ 521772 h 830952"/>
                    <a:gd name="connsiteX13" fmla="*/ 129844 w 666770"/>
                    <a:gd name="connsiteY13" fmla="*/ 533932 h 830952"/>
                    <a:gd name="connsiteX14" fmla="*/ 118543 w 666770"/>
                    <a:gd name="connsiteY14" fmla="*/ 531906 h 830952"/>
                    <a:gd name="connsiteX15" fmla="*/ 116283 w 666770"/>
                    <a:gd name="connsiteY15" fmla="*/ 542039 h 830952"/>
                    <a:gd name="connsiteX16" fmla="*/ 108372 w 666770"/>
                    <a:gd name="connsiteY16" fmla="*/ 544066 h 830952"/>
                    <a:gd name="connsiteX17" fmla="*/ 100462 w 666770"/>
                    <a:gd name="connsiteY17" fmla="*/ 538999 h 830952"/>
                    <a:gd name="connsiteX18" fmla="*/ 100462 w 666770"/>
                    <a:gd name="connsiteY18" fmla="*/ 558253 h 830952"/>
                    <a:gd name="connsiteX19" fmla="*/ 114022 w 666770"/>
                    <a:gd name="connsiteY19" fmla="*/ 568387 h 830952"/>
                    <a:gd name="connsiteX20" fmla="*/ 108372 w 666770"/>
                    <a:gd name="connsiteY20" fmla="*/ 575480 h 830952"/>
                    <a:gd name="connsiteX21" fmla="*/ 108372 w 666770"/>
                    <a:gd name="connsiteY21" fmla="*/ 570413 h 830952"/>
                    <a:gd name="connsiteX22" fmla="*/ 102721 w 666770"/>
                    <a:gd name="connsiteY22" fmla="*/ 577507 h 830952"/>
                    <a:gd name="connsiteX23" fmla="*/ 108372 w 666770"/>
                    <a:gd name="connsiteY23" fmla="*/ 582573 h 830952"/>
                    <a:gd name="connsiteX24" fmla="*/ 110632 w 666770"/>
                    <a:gd name="connsiteY24" fmla="*/ 589667 h 830952"/>
                    <a:gd name="connsiteX25" fmla="*/ 118543 w 666770"/>
                    <a:gd name="connsiteY25" fmla="*/ 584600 h 830952"/>
                    <a:gd name="connsiteX26" fmla="*/ 126454 w 666770"/>
                    <a:gd name="connsiteY26" fmla="*/ 589667 h 830952"/>
                    <a:gd name="connsiteX27" fmla="*/ 132105 w 666770"/>
                    <a:gd name="connsiteY27" fmla="*/ 584600 h 830952"/>
                    <a:gd name="connsiteX28" fmla="*/ 124194 w 666770"/>
                    <a:gd name="connsiteY28" fmla="*/ 562306 h 830952"/>
                    <a:gd name="connsiteX29" fmla="*/ 132105 w 666770"/>
                    <a:gd name="connsiteY29" fmla="*/ 562306 h 830952"/>
                    <a:gd name="connsiteX30" fmla="*/ 137755 w 666770"/>
                    <a:gd name="connsiteY30" fmla="*/ 576493 h 830952"/>
                    <a:gd name="connsiteX31" fmla="*/ 135495 w 666770"/>
                    <a:gd name="connsiteY31" fmla="*/ 583587 h 830952"/>
                    <a:gd name="connsiteX32" fmla="*/ 116283 w 666770"/>
                    <a:gd name="connsiteY32" fmla="*/ 597774 h 830952"/>
                    <a:gd name="connsiteX33" fmla="*/ 114022 w 666770"/>
                    <a:gd name="connsiteY33" fmla="*/ 615001 h 830952"/>
                    <a:gd name="connsiteX34" fmla="*/ 116283 w 666770"/>
                    <a:gd name="connsiteY34" fmla="*/ 620068 h 830952"/>
                    <a:gd name="connsiteX35" fmla="*/ 110632 w 666770"/>
                    <a:gd name="connsiteY35" fmla="*/ 625135 h 830952"/>
                    <a:gd name="connsiteX36" fmla="*/ 110632 w 666770"/>
                    <a:gd name="connsiteY36" fmla="*/ 630201 h 830952"/>
                    <a:gd name="connsiteX37" fmla="*/ 124194 w 666770"/>
                    <a:gd name="connsiteY37" fmla="*/ 634255 h 830952"/>
                    <a:gd name="connsiteX38" fmla="*/ 126454 w 666770"/>
                    <a:gd name="connsiteY38" fmla="*/ 620068 h 830952"/>
                    <a:gd name="connsiteX39" fmla="*/ 134365 w 666770"/>
                    <a:gd name="connsiteY39" fmla="*/ 622094 h 830952"/>
                    <a:gd name="connsiteX40" fmla="*/ 132105 w 666770"/>
                    <a:gd name="connsiteY40" fmla="*/ 644388 h 830952"/>
                    <a:gd name="connsiteX41" fmla="*/ 140016 w 666770"/>
                    <a:gd name="connsiteY41" fmla="*/ 644388 h 830952"/>
                    <a:gd name="connsiteX42" fmla="*/ 151317 w 666770"/>
                    <a:gd name="connsiteY42" fmla="*/ 632228 h 830952"/>
                    <a:gd name="connsiteX43" fmla="*/ 149057 w 666770"/>
                    <a:gd name="connsiteY43" fmla="*/ 630201 h 830952"/>
                    <a:gd name="connsiteX44" fmla="*/ 160358 w 666770"/>
                    <a:gd name="connsiteY44" fmla="*/ 623108 h 830952"/>
                    <a:gd name="connsiteX45" fmla="*/ 162618 w 666770"/>
                    <a:gd name="connsiteY45" fmla="*/ 596760 h 830952"/>
                    <a:gd name="connsiteX46" fmla="*/ 181830 w 666770"/>
                    <a:gd name="connsiteY46" fmla="*/ 567373 h 830952"/>
                    <a:gd name="connsiteX47" fmla="*/ 173919 w 666770"/>
                    <a:gd name="connsiteY47" fmla="*/ 565346 h 830952"/>
                    <a:gd name="connsiteX48" fmla="*/ 171659 w 666770"/>
                    <a:gd name="connsiteY48" fmla="*/ 555213 h 830952"/>
                    <a:gd name="connsiteX49" fmla="*/ 169399 w 666770"/>
                    <a:gd name="connsiteY49" fmla="*/ 535959 h 830952"/>
                    <a:gd name="connsiteX50" fmla="*/ 150186 w 666770"/>
                    <a:gd name="connsiteY50" fmla="*/ 535959 h 830952"/>
                    <a:gd name="connsiteX51" fmla="*/ 152447 w 666770"/>
                    <a:gd name="connsiteY51" fmla="*/ 523799 h 830952"/>
                    <a:gd name="connsiteX52" fmla="*/ 132105 w 666770"/>
                    <a:gd name="connsiteY52" fmla="*/ 521772 h 830952"/>
                    <a:gd name="connsiteX53" fmla="*/ 267719 w 666770"/>
                    <a:gd name="connsiteY53" fmla="*/ 509612 h 830952"/>
                    <a:gd name="connsiteX54" fmla="*/ 267719 w 666770"/>
                    <a:gd name="connsiteY54" fmla="*/ 514678 h 830952"/>
                    <a:gd name="connsiteX55" fmla="*/ 273370 w 666770"/>
                    <a:gd name="connsiteY55" fmla="*/ 514678 h 830952"/>
                    <a:gd name="connsiteX56" fmla="*/ 267719 w 666770"/>
                    <a:gd name="connsiteY56" fmla="*/ 509612 h 830952"/>
                    <a:gd name="connsiteX57" fmla="*/ 251897 w 666770"/>
                    <a:gd name="connsiteY57" fmla="*/ 507585 h 830952"/>
                    <a:gd name="connsiteX58" fmla="*/ 238336 w 666770"/>
                    <a:gd name="connsiteY58" fmla="*/ 509612 h 830952"/>
                    <a:gd name="connsiteX59" fmla="*/ 236076 w 666770"/>
                    <a:gd name="connsiteY59" fmla="*/ 519745 h 830952"/>
                    <a:gd name="connsiteX60" fmla="*/ 214603 w 666770"/>
                    <a:gd name="connsiteY60" fmla="*/ 519745 h 830952"/>
                    <a:gd name="connsiteX61" fmla="*/ 206692 w 666770"/>
                    <a:gd name="connsiteY61" fmla="*/ 531906 h 830952"/>
                    <a:gd name="connsiteX62" fmla="*/ 195391 w 666770"/>
                    <a:gd name="connsiteY62" fmla="*/ 544066 h 830952"/>
                    <a:gd name="connsiteX63" fmla="*/ 193131 w 666770"/>
                    <a:gd name="connsiteY63" fmla="*/ 546093 h 830952"/>
                    <a:gd name="connsiteX64" fmla="*/ 201042 w 666770"/>
                    <a:gd name="connsiteY64" fmla="*/ 558253 h 830952"/>
                    <a:gd name="connsiteX65" fmla="*/ 203302 w 666770"/>
                    <a:gd name="connsiteY65" fmla="*/ 558253 h 830952"/>
                    <a:gd name="connsiteX66" fmla="*/ 205563 w 666770"/>
                    <a:gd name="connsiteY66" fmla="*/ 572440 h 830952"/>
                    <a:gd name="connsiteX67" fmla="*/ 213474 w 666770"/>
                    <a:gd name="connsiteY67" fmla="*/ 577507 h 830952"/>
                    <a:gd name="connsiteX68" fmla="*/ 219124 w 666770"/>
                    <a:gd name="connsiteY68" fmla="*/ 582573 h 830952"/>
                    <a:gd name="connsiteX69" fmla="*/ 224775 w 666770"/>
                    <a:gd name="connsiteY69" fmla="*/ 572440 h 830952"/>
                    <a:gd name="connsiteX70" fmla="*/ 227034 w 666770"/>
                    <a:gd name="connsiteY70" fmla="*/ 553186 h 830952"/>
                    <a:gd name="connsiteX71" fmla="*/ 240596 w 666770"/>
                    <a:gd name="connsiteY71" fmla="*/ 553186 h 830952"/>
                    <a:gd name="connsiteX72" fmla="*/ 248507 w 666770"/>
                    <a:gd name="connsiteY72" fmla="*/ 546093 h 830952"/>
                    <a:gd name="connsiteX73" fmla="*/ 250767 w 666770"/>
                    <a:gd name="connsiteY73" fmla="*/ 553186 h 830952"/>
                    <a:gd name="connsiteX74" fmla="*/ 262069 w 666770"/>
                    <a:gd name="connsiteY74" fmla="*/ 551159 h 830952"/>
                    <a:gd name="connsiteX75" fmla="*/ 262069 w 666770"/>
                    <a:gd name="connsiteY75" fmla="*/ 544066 h 830952"/>
                    <a:gd name="connsiteX76" fmla="*/ 269980 w 666770"/>
                    <a:gd name="connsiteY76" fmla="*/ 536972 h 830952"/>
                    <a:gd name="connsiteX77" fmla="*/ 262069 w 666770"/>
                    <a:gd name="connsiteY77" fmla="*/ 519745 h 830952"/>
                    <a:gd name="connsiteX78" fmla="*/ 259808 w 666770"/>
                    <a:gd name="connsiteY78" fmla="*/ 507585 h 830952"/>
                    <a:gd name="connsiteX79" fmla="*/ 251897 w 666770"/>
                    <a:gd name="connsiteY79" fmla="*/ 507585 h 830952"/>
                    <a:gd name="connsiteX80" fmla="*/ 227034 w 666770"/>
                    <a:gd name="connsiteY80" fmla="*/ 478198 h 830952"/>
                    <a:gd name="connsiteX81" fmla="*/ 232685 w 666770"/>
                    <a:gd name="connsiteY81" fmla="*/ 490358 h 830952"/>
                    <a:gd name="connsiteX82" fmla="*/ 221384 w 666770"/>
                    <a:gd name="connsiteY82" fmla="*/ 488331 h 830952"/>
                    <a:gd name="connsiteX83" fmla="*/ 223644 w 666770"/>
                    <a:gd name="connsiteY83" fmla="*/ 481238 h 830952"/>
                    <a:gd name="connsiteX84" fmla="*/ 227034 w 666770"/>
                    <a:gd name="connsiteY84" fmla="*/ 478198 h 830952"/>
                    <a:gd name="connsiteX85" fmla="*/ 479052 w 666770"/>
                    <a:gd name="connsiteY85" fmla="*/ 203578 h 830952"/>
                    <a:gd name="connsiteX86" fmla="*/ 471141 w 666770"/>
                    <a:gd name="connsiteY86" fmla="*/ 205605 h 830952"/>
                    <a:gd name="connsiteX87" fmla="*/ 455319 w 666770"/>
                    <a:gd name="connsiteY87" fmla="*/ 234992 h 830952"/>
                    <a:gd name="connsiteX88" fmla="*/ 460969 w 666770"/>
                    <a:gd name="connsiteY88" fmla="*/ 240059 h 830952"/>
                    <a:gd name="connsiteX89" fmla="*/ 447408 w 666770"/>
                    <a:gd name="connsiteY89" fmla="*/ 271473 h 830952"/>
                    <a:gd name="connsiteX90" fmla="*/ 453058 w 666770"/>
                    <a:gd name="connsiteY90" fmla="*/ 273500 h 830952"/>
                    <a:gd name="connsiteX91" fmla="*/ 464360 w 666770"/>
                    <a:gd name="connsiteY91" fmla="*/ 268433 h 830952"/>
                    <a:gd name="connsiteX92" fmla="*/ 462100 w 666770"/>
                    <a:gd name="connsiteY92" fmla="*/ 290727 h 830952"/>
                    <a:gd name="connsiteX93" fmla="*/ 454189 w 666770"/>
                    <a:gd name="connsiteY93" fmla="*/ 297820 h 830952"/>
                    <a:gd name="connsiteX94" fmla="*/ 451928 w 666770"/>
                    <a:gd name="connsiteY94" fmla="*/ 317074 h 830952"/>
                    <a:gd name="connsiteX95" fmla="*/ 444018 w 666770"/>
                    <a:gd name="connsiteY95" fmla="*/ 322141 h 830952"/>
                    <a:gd name="connsiteX96" fmla="*/ 438367 w 666770"/>
                    <a:gd name="connsiteY96" fmla="*/ 339368 h 830952"/>
                    <a:gd name="connsiteX97" fmla="*/ 416895 w 666770"/>
                    <a:gd name="connsiteY97" fmla="*/ 361662 h 830952"/>
                    <a:gd name="connsiteX98" fmla="*/ 403333 w 666770"/>
                    <a:gd name="connsiteY98" fmla="*/ 368755 h 830952"/>
                    <a:gd name="connsiteX99" fmla="*/ 392032 w 666770"/>
                    <a:gd name="connsiteY99" fmla="*/ 391049 h 830952"/>
                    <a:gd name="connsiteX100" fmla="*/ 392032 w 666770"/>
                    <a:gd name="connsiteY100" fmla="*/ 393076 h 830952"/>
                    <a:gd name="connsiteX101" fmla="*/ 380731 w 666770"/>
                    <a:gd name="connsiteY101" fmla="*/ 393076 h 830952"/>
                    <a:gd name="connsiteX102" fmla="*/ 359259 w 666770"/>
                    <a:gd name="connsiteY102" fmla="*/ 410303 h 830952"/>
                    <a:gd name="connsiteX103" fmla="*/ 345697 w 666770"/>
                    <a:gd name="connsiteY103" fmla="*/ 405236 h 830952"/>
                    <a:gd name="connsiteX104" fmla="*/ 345697 w 666770"/>
                    <a:gd name="connsiteY104" fmla="*/ 398143 h 830952"/>
                    <a:gd name="connsiteX105" fmla="*/ 343437 w 666770"/>
                    <a:gd name="connsiteY105" fmla="*/ 391049 h 830952"/>
                    <a:gd name="connsiteX106" fmla="*/ 356998 w 666770"/>
                    <a:gd name="connsiteY106" fmla="*/ 378889 h 830952"/>
                    <a:gd name="connsiteX107" fmla="*/ 359259 w 666770"/>
                    <a:gd name="connsiteY107" fmla="*/ 376862 h 830952"/>
                    <a:gd name="connsiteX108" fmla="*/ 353608 w 666770"/>
                    <a:gd name="connsiteY108" fmla="*/ 376862 h 830952"/>
                    <a:gd name="connsiteX109" fmla="*/ 334396 w 666770"/>
                    <a:gd name="connsiteY109" fmla="*/ 389022 h 830952"/>
                    <a:gd name="connsiteX110" fmla="*/ 334396 w 666770"/>
                    <a:gd name="connsiteY110" fmla="*/ 411316 h 830952"/>
                    <a:gd name="connsiteX111" fmla="*/ 318575 w 666770"/>
                    <a:gd name="connsiteY111" fmla="*/ 435637 h 830952"/>
                    <a:gd name="connsiteX112" fmla="*/ 318575 w 666770"/>
                    <a:gd name="connsiteY112" fmla="*/ 449824 h 830952"/>
                    <a:gd name="connsiteX113" fmla="*/ 318575 w 666770"/>
                    <a:gd name="connsiteY113" fmla="*/ 454890 h 830952"/>
                    <a:gd name="connsiteX114" fmla="*/ 289191 w 666770"/>
                    <a:gd name="connsiteY114" fmla="*/ 461984 h 830952"/>
                    <a:gd name="connsiteX115" fmla="*/ 289191 w 666770"/>
                    <a:gd name="connsiteY115" fmla="*/ 456917 h 830952"/>
                    <a:gd name="connsiteX116" fmla="*/ 259808 w 666770"/>
                    <a:gd name="connsiteY116" fmla="*/ 467051 h 830952"/>
                    <a:gd name="connsiteX117" fmla="*/ 232685 w 666770"/>
                    <a:gd name="connsiteY117" fmla="*/ 461984 h 830952"/>
                    <a:gd name="connsiteX118" fmla="*/ 238336 w 666770"/>
                    <a:gd name="connsiteY118" fmla="*/ 469077 h 830952"/>
                    <a:gd name="connsiteX119" fmla="*/ 227034 w 666770"/>
                    <a:gd name="connsiteY119" fmla="*/ 476171 h 830952"/>
                    <a:gd name="connsiteX120" fmla="*/ 227034 w 666770"/>
                    <a:gd name="connsiteY120" fmla="*/ 464011 h 830952"/>
                    <a:gd name="connsiteX121" fmla="*/ 221384 w 666770"/>
                    <a:gd name="connsiteY121" fmla="*/ 464011 h 830952"/>
                    <a:gd name="connsiteX122" fmla="*/ 213474 w 666770"/>
                    <a:gd name="connsiteY122" fmla="*/ 469077 h 830952"/>
                    <a:gd name="connsiteX123" fmla="*/ 207823 w 666770"/>
                    <a:gd name="connsiteY123" fmla="*/ 481238 h 830952"/>
                    <a:gd name="connsiteX124" fmla="*/ 194261 w 666770"/>
                    <a:gd name="connsiteY124" fmla="*/ 486305 h 830952"/>
                    <a:gd name="connsiteX125" fmla="*/ 188611 w 666770"/>
                    <a:gd name="connsiteY125" fmla="*/ 500491 h 830952"/>
                    <a:gd name="connsiteX126" fmla="*/ 155837 w 666770"/>
                    <a:gd name="connsiteY126" fmla="*/ 510625 h 830952"/>
                    <a:gd name="connsiteX127" fmla="*/ 150186 w 666770"/>
                    <a:gd name="connsiteY127" fmla="*/ 503532 h 830952"/>
                    <a:gd name="connsiteX128" fmla="*/ 142275 w 666770"/>
                    <a:gd name="connsiteY128" fmla="*/ 517719 h 830952"/>
                    <a:gd name="connsiteX129" fmla="*/ 190871 w 666770"/>
                    <a:gd name="connsiteY129" fmla="*/ 522785 h 830952"/>
                    <a:gd name="connsiteX130" fmla="*/ 198781 w 666770"/>
                    <a:gd name="connsiteY130" fmla="*/ 510625 h 830952"/>
                    <a:gd name="connsiteX131" fmla="*/ 233816 w 666770"/>
                    <a:gd name="connsiteY131" fmla="*/ 508599 h 830952"/>
                    <a:gd name="connsiteX132" fmla="*/ 245117 w 666770"/>
                    <a:gd name="connsiteY132" fmla="*/ 501505 h 830952"/>
                    <a:gd name="connsiteX133" fmla="*/ 256418 w 666770"/>
                    <a:gd name="connsiteY133" fmla="*/ 503532 h 830952"/>
                    <a:gd name="connsiteX134" fmla="*/ 267719 w 666770"/>
                    <a:gd name="connsiteY134" fmla="*/ 496438 h 830952"/>
                    <a:gd name="connsiteX135" fmla="*/ 297102 w 666770"/>
                    <a:gd name="connsiteY135" fmla="*/ 501505 h 830952"/>
                    <a:gd name="connsiteX136" fmla="*/ 294842 w 666770"/>
                    <a:gd name="connsiteY136" fmla="*/ 508599 h 830952"/>
                    <a:gd name="connsiteX137" fmla="*/ 286931 w 666770"/>
                    <a:gd name="connsiteY137" fmla="*/ 525825 h 830952"/>
                    <a:gd name="connsiteX138" fmla="*/ 284671 w 666770"/>
                    <a:gd name="connsiteY138" fmla="*/ 527852 h 830952"/>
                    <a:gd name="connsiteX139" fmla="*/ 309534 w 666770"/>
                    <a:gd name="connsiteY139" fmla="*/ 547106 h 830952"/>
                    <a:gd name="connsiteX140" fmla="*/ 331006 w 666770"/>
                    <a:gd name="connsiteY140" fmla="*/ 527852 h 830952"/>
                    <a:gd name="connsiteX141" fmla="*/ 350218 w 666770"/>
                    <a:gd name="connsiteY141" fmla="*/ 517719 h 830952"/>
                    <a:gd name="connsiteX142" fmla="*/ 342307 w 666770"/>
                    <a:gd name="connsiteY142" fmla="*/ 505558 h 830952"/>
                    <a:gd name="connsiteX143" fmla="*/ 344567 w 666770"/>
                    <a:gd name="connsiteY143" fmla="*/ 498465 h 830952"/>
                    <a:gd name="connsiteX144" fmla="*/ 355868 w 666770"/>
                    <a:gd name="connsiteY144" fmla="*/ 498465 h 830952"/>
                    <a:gd name="connsiteX145" fmla="*/ 371690 w 666770"/>
                    <a:gd name="connsiteY145" fmla="*/ 498465 h 830952"/>
                    <a:gd name="connsiteX146" fmla="*/ 371690 w 666770"/>
                    <a:gd name="connsiteY146" fmla="*/ 503532 h 830952"/>
                    <a:gd name="connsiteX147" fmla="*/ 366040 w 666770"/>
                    <a:gd name="connsiteY147" fmla="*/ 510625 h 830952"/>
                    <a:gd name="connsiteX148" fmla="*/ 377341 w 666770"/>
                    <a:gd name="connsiteY148" fmla="*/ 510625 h 830952"/>
                    <a:gd name="connsiteX149" fmla="*/ 382991 w 666770"/>
                    <a:gd name="connsiteY149" fmla="*/ 500491 h 830952"/>
                    <a:gd name="connsiteX150" fmla="*/ 404463 w 666770"/>
                    <a:gd name="connsiteY150" fmla="*/ 505558 h 830952"/>
                    <a:gd name="connsiteX151" fmla="*/ 406724 w 666770"/>
                    <a:gd name="connsiteY151" fmla="*/ 498465 h 830952"/>
                    <a:gd name="connsiteX152" fmla="*/ 414635 w 666770"/>
                    <a:gd name="connsiteY152" fmla="*/ 498465 h 830952"/>
                    <a:gd name="connsiteX153" fmla="*/ 425936 w 666770"/>
                    <a:gd name="connsiteY153" fmla="*/ 491371 h 830952"/>
                    <a:gd name="connsiteX154" fmla="*/ 425936 w 666770"/>
                    <a:gd name="connsiteY154" fmla="*/ 508599 h 830952"/>
                    <a:gd name="connsiteX155" fmla="*/ 433847 w 666770"/>
                    <a:gd name="connsiteY155" fmla="*/ 510625 h 830952"/>
                    <a:gd name="connsiteX156" fmla="*/ 439497 w 666770"/>
                    <a:gd name="connsiteY156" fmla="*/ 484278 h 830952"/>
                    <a:gd name="connsiteX157" fmla="*/ 450799 w 666770"/>
                    <a:gd name="connsiteY157" fmla="*/ 482251 h 830952"/>
                    <a:gd name="connsiteX158" fmla="*/ 456449 w 666770"/>
                    <a:gd name="connsiteY158" fmla="*/ 487318 h 830952"/>
                    <a:gd name="connsiteX159" fmla="*/ 456449 w 666770"/>
                    <a:gd name="connsiteY159" fmla="*/ 480224 h 830952"/>
                    <a:gd name="connsiteX160" fmla="*/ 462100 w 666770"/>
                    <a:gd name="connsiteY160" fmla="*/ 455904 h 830952"/>
                    <a:gd name="connsiteX161" fmla="*/ 473401 w 666770"/>
                    <a:gd name="connsiteY161" fmla="*/ 453877 h 830952"/>
                    <a:gd name="connsiteX162" fmla="*/ 475661 w 666770"/>
                    <a:gd name="connsiteY162" fmla="*/ 464011 h 830952"/>
                    <a:gd name="connsiteX163" fmla="*/ 467750 w 666770"/>
                    <a:gd name="connsiteY163" fmla="*/ 469077 h 830952"/>
                    <a:gd name="connsiteX164" fmla="*/ 465490 w 666770"/>
                    <a:gd name="connsiteY164" fmla="*/ 488331 h 830952"/>
                    <a:gd name="connsiteX165" fmla="*/ 473401 w 666770"/>
                    <a:gd name="connsiteY165" fmla="*/ 493398 h 830952"/>
                    <a:gd name="connsiteX166" fmla="*/ 498263 w 666770"/>
                    <a:gd name="connsiteY166" fmla="*/ 458944 h 830952"/>
                    <a:gd name="connsiteX167" fmla="*/ 496003 w 666770"/>
                    <a:gd name="connsiteY167" fmla="*/ 451850 h 830952"/>
                    <a:gd name="connsiteX168" fmla="*/ 480181 w 666770"/>
                    <a:gd name="connsiteY168" fmla="*/ 446784 h 830952"/>
                    <a:gd name="connsiteX169" fmla="*/ 491483 w 666770"/>
                    <a:gd name="connsiteY169" fmla="*/ 441717 h 830952"/>
                    <a:gd name="connsiteX170" fmla="*/ 485832 w 666770"/>
                    <a:gd name="connsiteY170" fmla="*/ 415370 h 830952"/>
                    <a:gd name="connsiteX171" fmla="*/ 499393 w 666770"/>
                    <a:gd name="connsiteY171" fmla="*/ 383955 h 830952"/>
                    <a:gd name="connsiteX172" fmla="*/ 499393 w 666770"/>
                    <a:gd name="connsiteY172" fmla="*/ 333288 h 830952"/>
                    <a:gd name="connsiteX173" fmla="*/ 515215 w 666770"/>
                    <a:gd name="connsiteY173" fmla="*/ 333288 h 830952"/>
                    <a:gd name="connsiteX174" fmla="*/ 515215 w 666770"/>
                    <a:gd name="connsiteY174" fmla="*/ 323154 h 830952"/>
                    <a:gd name="connsiteX175" fmla="*/ 515215 w 666770"/>
                    <a:gd name="connsiteY175" fmla="*/ 318087 h 830952"/>
                    <a:gd name="connsiteX176" fmla="*/ 523127 w 666770"/>
                    <a:gd name="connsiteY176" fmla="*/ 316061 h 830952"/>
                    <a:gd name="connsiteX177" fmla="*/ 523127 w 666770"/>
                    <a:gd name="connsiteY177" fmla="*/ 305927 h 830952"/>
                    <a:gd name="connsiteX178" fmla="*/ 534428 w 666770"/>
                    <a:gd name="connsiteY178" fmla="*/ 293767 h 830952"/>
                    <a:gd name="connsiteX179" fmla="*/ 532167 w 666770"/>
                    <a:gd name="connsiteY179" fmla="*/ 255259 h 830952"/>
                    <a:gd name="connsiteX180" fmla="*/ 526516 w 666770"/>
                    <a:gd name="connsiteY180" fmla="*/ 253232 h 830952"/>
                    <a:gd name="connsiteX181" fmla="*/ 512955 w 666770"/>
                    <a:gd name="connsiteY181" fmla="*/ 223845 h 830952"/>
                    <a:gd name="connsiteX182" fmla="*/ 491483 w 666770"/>
                    <a:gd name="connsiteY182" fmla="*/ 218778 h 830952"/>
                    <a:gd name="connsiteX183" fmla="*/ 493742 w 666770"/>
                    <a:gd name="connsiteY183" fmla="*/ 211685 h 830952"/>
                    <a:gd name="connsiteX184" fmla="*/ 479052 w 666770"/>
                    <a:gd name="connsiteY184" fmla="*/ 203578 h 830952"/>
                    <a:gd name="connsiteX185" fmla="*/ 501654 w 666770"/>
                    <a:gd name="connsiteY185" fmla="*/ 193444 h 830952"/>
                    <a:gd name="connsiteX186" fmla="*/ 499393 w 666770"/>
                    <a:gd name="connsiteY186" fmla="*/ 200538 h 830952"/>
                    <a:gd name="connsiteX187" fmla="*/ 512955 w 666770"/>
                    <a:gd name="connsiteY187" fmla="*/ 202565 h 830952"/>
                    <a:gd name="connsiteX188" fmla="*/ 512955 w 666770"/>
                    <a:gd name="connsiteY188" fmla="*/ 192431 h 830952"/>
                    <a:gd name="connsiteX189" fmla="*/ 501654 w 666770"/>
                    <a:gd name="connsiteY189" fmla="*/ 193444 h 830952"/>
                    <a:gd name="connsiteX190" fmla="*/ 523127 w 666770"/>
                    <a:gd name="connsiteY190" fmla="*/ 9013 h 830952"/>
                    <a:gd name="connsiteX191" fmla="*/ 520866 w 666770"/>
                    <a:gd name="connsiteY191" fmla="*/ 40428 h 830952"/>
                    <a:gd name="connsiteX192" fmla="*/ 528777 w 666770"/>
                    <a:gd name="connsiteY192" fmla="*/ 45494 h 830952"/>
                    <a:gd name="connsiteX193" fmla="*/ 520866 w 666770"/>
                    <a:gd name="connsiteY193" fmla="*/ 64748 h 830952"/>
                    <a:gd name="connsiteX194" fmla="*/ 520866 w 666770"/>
                    <a:gd name="connsiteY194" fmla="*/ 84002 h 830952"/>
                    <a:gd name="connsiteX195" fmla="*/ 509564 w 666770"/>
                    <a:gd name="connsiteY195" fmla="*/ 91095 h 830952"/>
                    <a:gd name="connsiteX196" fmla="*/ 493742 w 666770"/>
                    <a:gd name="connsiteY196" fmla="*/ 120483 h 830952"/>
                    <a:gd name="connsiteX197" fmla="*/ 474531 w 666770"/>
                    <a:gd name="connsiteY197" fmla="*/ 113389 h 830952"/>
                    <a:gd name="connsiteX198" fmla="*/ 476791 w 666770"/>
                    <a:gd name="connsiteY198" fmla="*/ 118456 h 830952"/>
                    <a:gd name="connsiteX199" fmla="*/ 455319 w 666770"/>
                    <a:gd name="connsiteY199" fmla="*/ 140750 h 830952"/>
                    <a:gd name="connsiteX200" fmla="*/ 455319 w 666770"/>
                    <a:gd name="connsiteY200" fmla="*/ 152910 h 830952"/>
                    <a:gd name="connsiteX201" fmla="*/ 466620 w 666770"/>
                    <a:gd name="connsiteY201" fmla="*/ 165070 h 830952"/>
                    <a:gd name="connsiteX202" fmla="*/ 466620 w 666770"/>
                    <a:gd name="connsiteY202" fmla="*/ 187364 h 830952"/>
                    <a:gd name="connsiteX203" fmla="*/ 474531 w 666770"/>
                    <a:gd name="connsiteY203" fmla="*/ 189391 h 830952"/>
                    <a:gd name="connsiteX204" fmla="*/ 488092 w 666770"/>
                    <a:gd name="connsiteY204" fmla="*/ 179257 h 830952"/>
                    <a:gd name="connsiteX205" fmla="*/ 507305 w 666770"/>
                    <a:gd name="connsiteY205" fmla="*/ 177231 h 830952"/>
                    <a:gd name="connsiteX206" fmla="*/ 480181 w 666770"/>
                    <a:gd name="connsiteY206" fmla="*/ 163044 h 830952"/>
                    <a:gd name="connsiteX207" fmla="*/ 480181 w 666770"/>
                    <a:gd name="connsiteY207" fmla="*/ 150883 h 830952"/>
                    <a:gd name="connsiteX208" fmla="*/ 499393 w 666770"/>
                    <a:gd name="connsiteY208" fmla="*/ 145817 h 830952"/>
                    <a:gd name="connsiteX209" fmla="*/ 507305 w 666770"/>
                    <a:gd name="connsiteY209" fmla="*/ 150883 h 830952"/>
                    <a:gd name="connsiteX210" fmla="*/ 515215 w 666770"/>
                    <a:gd name="connsiteY210" fmla="*/ 143790 h 830952"/>
                    <a:gd name="connsiteX211" fmla="*/ 523127 w 666770"/>
                    <a:gd name="connsiteY211" fmla="*/ 145817 h 830952"/>
                    <a:gd name="connsiteX212" fmla="*/ 528777 w 666770"/>
                    <a:gd name="connsiteY212" fmla="*/ 145817 h 830952"/>
                    <a:gd name="connsiteX213" fmla="*/ 534428 w 666770"/>
                    <a:gd name="connsiteY213" fmla="*/ 155950 h 830952"/>
                    <a:gd name="connsiteX214" fmla="*/ 536687 w 666770"/>
                    <a:gd name="connsiteY214" fmla="*/ 163044 h 830952"/>
                    <a:gd name="connsiteX215" fmla="*/ 577372 w 666770"/>
                    <a:gd name="connsiteY215" fmla="*/ 163044 h 830952"/>
                    <a:gd name="connsiteX216" fmla="*/ 618056 w 666770"/>
                    <a:gd name="connsiteY216" fmla="*/ 126563 h 830952"/>
                    <a:gd name="connsiteX217" fmla="*/ 625967 w 666770"/>
                    <a:gd name="connsiteY217" fmla="*/ 133656 h 830952"/>
                    <a:gd name="connsiteX218" fmla="*/ 631618 w 666770"/>
                    <a:gd name="connsiteY218" fmla="*/ 126563 h 830952"/>
                    <a:gd name="connsiteX219" fmla="*/ 647440 w 666770"/>
                    <a:gd name="connsiteY219" fmla="*/ 126563 h 830952"/>
                    <a:gd name="connsiteX220" fmla="*/ 653090 w 666770"/>
                    <a:gd name="connsiteY220" fmla="*/ 114403 h 830952"/>
                    <a:gd name="connsiteX221" fmla="*/ 653090 w 666770"/>
                    <a:gd name="connsiteY221" fmla="*/ 107309 h 830952"/>
                    <a:gd name="connsiteX222" fmla="*/ 650829 w 666770"/>
                    <a:gd name="connsiteY222" fmla="*/ 90082 h 830952"/>
                    <a:gd name="connsiteX223" fmla="*/ 615796 w 666770"/>
                    <a:gd name="connsiteY223" fmla="*/ 75895 h 830952"/>
                    <a:gd name="connsiteX224" fmla="*/ 580762 w 666770"/>
                    <a:gd name="connsiteY224" fmla="*/ 80962 h 830952"/>
                    <a:gd name="connsiteX225" fmla="*/ 575112 w 666770"/>
                    <a:gd name="connsiteY225" fmla="*/ 78935 h 830952"/>
                    <a:gd name="connsiteX226" fmla="*/ 553639 w 666770"/>
                    <a:gd name="connsiteY226" fmla="*/ 37387 h 830952"/>
                    <a:gd name="connsiteX227" fmla="*/ 542338 w 666770"/>
                    <a:gd name="connsiteY227" fmla="*/ 32321 h 830952"/>
                    <a:gd name="connsiteX228" fmla="*/ 536687 w 666770"/>
                    <a:gd name="connsiteY228" fmla="*/ 18134 h 830952"/>
                    <a:gd name="connsiteX229" fmla="*/ 523127 w 666770"/>
                    <a:gd name="connsiteY229" fmla="*/ 9013 h 830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666770" h="830952">
                      <a:moveTo>
                        <a:pt x="45085" y="815646"/>
                      </a:moveTo>
                      <a:cubicBezTo>
                        <a:pt x="36045" y="819699"/>
                        <a:pt x="39435" y="823752"/>
                        <a:pt x="33784" y="827806"/>
                      </a:cubicBezTo>
                      <a:cubicBezTo>
                        <a:pt x="36045" y="828819"/>
                        <a:pt x="30394" y="832873"/>
                        <a:pt x="36045" y="829832"/>
                      </a:cubicBezTo>
                      <a:cubicBezTo>
                        <a:pt x="41695" y="827806"/>
                        <a:pt x="45085" y="818685"/>
                        <a:pt x="49606" y="815646"/>
                      </a:cubicBezTo>
                      <a:lnTo>
                        <a:pt x="45085" y="815646"/>
                      </a:lnTo>
                      <a:close/>
                      <a:moveTo>
                        <a:pt x="10052" y="808552"/>
                      </a:moveTo>
                      <a:cubicBezTo>
                        <a:pt x="10052" y="808552"/>
                        <a:pt x="10052" y="815646"/>
                        <a:pt x="10052" y="815646"/>
                      </a:cubicBezTo>
                      <a:cubicBezTo>
                        <a:pt x="11182" y="815646"/>
                        <a:pt x="15703" y="817672"/>
                        <a:pt x="15703" y="817672"/>
                      </a:cubicBezTo>
                      <a:cubicBezTo>
                        <a:pt x="13442" y="811592"/>
                        <a:pt x="19093" y="809565"/>
                        <a:pt x="10052" y="808552"/>
                      </a:cubicBezTo>
                      <a:close/>
                      <a:moveTo>
                        <a:pt x="145666" y="665669"/>
                      </a:moveTo>
                      <a:cubicBezTo>
                        <a:pt x="144536" y="666682"/>
                        <a:pt x="135495" y="679856"/>
                        <a:pt x="145666" y="675802"/>
                      </a:cubicBezTo>
                      <a:cubicBezTo>
                        <a:pt x="146796" y="673776"/>
                        <a:pt x="154707" y="660602"/>
                        <a:pt x="145666" y="665669"/>
                      </a:cubicBezTo>
                      <a:close/>
                      <a:moveTo>
                        <a:pt x="132105" y="521772"/>
                      </a:moveTo>
                      <a:cubicBezTo>
                        <a:pt x="126454" y="522785"/>
                        <a:pt x="132105" y="531906"/>
                        <a:pt x="129844" y="533932"/>
                      </a:cubicBezTo>
                      <a:cubicBezTo>
                        <a:pt x="124194" y="536972"/>
                        <a:pt x="125324" y="528866"/>
                        <a:pt x="118543" y="531906"/>
                      </a:cubicBezTo>
                      <a:cubicBezTo>
                        <a:pt x="117413" y="531906"/>
                        <a:pt x="116283" y="540012"/>
                        <a:pt x="116283" y="542039"/>
                      </a:cubicBezTo>
                      <a:cubicBezTo>
                        <a:pt x="109502" y="541026"/>
                        <a:pt x="112893" y="545079"/>
                        <a:pt x="108372" y="544066"/>
                      </a:cubicBezTo>
                      <a:cubicBezTo>
                        <a:pt x="106112" y="544066"/>
                        <a:pt x="107242" y="536972"/>
                        <a:pt x="100462" y="538999"/>
                      </a:cubicBezTo>
                      <a:cubicBezTo>
                        <a:pt x="99331" y="538999"/>
                        <a:pt x="95941" y="552173"/>
                        <a:pt x="100462" y="558253"/>
                      </a:cubicBezTo>
                      <a:cubicBezTo>
                        <a:pt x="102721" y="562306"/>
                        <a:pt x="111763" y="562306"/>
                        <a:pt x="114022" y="568387"/>
                      </a:cubicBezTo>
                      <a:cubicBezTo>
                        <a:pt x="116283" y="574467"/>
                        <a:pt x="109502" y="582573"/>
                        <a:pt x="108372" y="575480"/>
                      </a:cubicBezTo>
                      <a:lnTo>
                        <a:pt x="108372" y="570413"/>
                      </a:lnTo>
                      <a:cubicBezTo>
                        <a:pt x="100462" y="573453"/>
                        <a:pt x="98201" y="570413"/>
                        <a:pt x="102721" y="577507"/>
                      </a:cubicBezTo>
                      <a:lnTo>
                        <a:pt x="108372" y="582573"/>
                      </a:lnTo>
                      <a:cubicBezTo>
                        <a:pt x="110632" y="582573"/>
                        <a:pt x="110632" y="587640"/>
                        <a:pt x="110632" y="589667"/>
                      </a:cubicBezTo>
                      <a:cubicBezTo>
                        <a:pt x="118543" y="589667"/>
                        <a:pt x="115153" y="586627"/>
                        <a:pt x="118543" y="584600"/>
                      </a:cubicBezTo>
                      <a:cubicBezTo>
                        <a:pt x="121933" y="586627"/>
                        <a:pt x="120804" y="590680"/>
                        <a:pt x="126454" y="589667"/>
                      </a:cubicBezTo>
                      <a:cubicBezTo>
                        <a:pt x="127584" y="589667"/>
                        <a:pt x="128715" y="584600"/>
                        <a:pt x="132105" y="584600"/>
                      </a:cubicBezTo>
                      <a:cubicBezTo>
                        <a:pt x="128715" y="577507"/>
                        <a:pt x="126454" y="570413"/>
                        <a:pt x="124194" y="562306"/>
                      </a:cubicBezTo>
                      <a:cubicBezTo>
                        <a:pt x="126454" y="562306"/>
                        <a:pt x="129844" y="563320"/>
                        <a:pt x="132105" y="562306"/>
                      </a:cubicBezTo>
                      <a:cubicBezTo>
                        <a:pt x="133235" y="567373"/>
                        <a:pt x="134365" y="574467"/>
                        <a:pt x="137755" y="576493"/>
                      </a:cubicBezTo>
                      <a:cubicBezTo>
                        <a:pt x="141146" y="579534"/>
                        <a:pt x="135495" y="583587"/>
                        <a:pt x="135495" y="583587"/>
                      </a:cubicBezTo>
                      <a:cubicBezTo>
                        <a:pt x="130974" y="594734"/>
                        <a:pt x="127584" y="593720"/>
                        <a:pt x="116283" y="597774"/>
                      </a:cubicBezTo>
                      <a:cubicBezTo>
                        <a:pt x="116283" y="603854"/>
                        <a:pt x="114022" y="611961"/>
                        <a:pt x="114022" y="615001"/>
                      </a:cubicBezTo>
                      <a:cubicBezTo>
                        <a:pt x="112893" y="618041"/>
                        <a:pt x="116283" y="621081"/>
                        <a:pt x="116283" y="620068"/>
                      </a:cubicBezTo>
                      <a:cubicBezTo>
                        <a:pt x="116283" y="620068"/>
                        <a:pt x="114022" y="623108"/>
                        <a:pt x="110632" y="625135"/>
                      </a:cubicBezTo>
                      <a:lnTo>
                        <a:pt x="110632" y="630201"/>
                      </a:lnTo>
                      <a:cubicBezTo>
                        <a:pt x="121933" y="632228"/>
                        <a:pt x="124194" y="635268"/>
                        <a:pt x="124194" y="634255"/>
                      </a:cubicBezTo>
                      <a:cubicBezTo>
                        <a:pt x="124194" y="634255"/>
                        <a:pt x="123064" y="631214"/>
                        <a:pt x="126454" y="620068"/>
                      </a:cubicBezTo>
                      <a:cubicBezTo>
                        <a:pt x="129844" y="611961"/>
                        <a:pt x="134365" y="622094"/>
                        <a:pt x="134365" y="622094"/>
                      </a:cubicBezTo>
                      <a:cubicBezTo>
                        <a:pt x="129844" y="621081"/>
                        <a:pt x="132105" y="640335"/>
                        <a:pt x="132105" y="644388"/>
                      </a:cubicBezTo>
                      <a:cubicBezTo>
                        <a:pt x="132105" y="644388"/>
                        <a:pt x="140016" y="644388"/>
                        <a:pt x="140016" y="644388"/>
                      </a:cubicBezTo>
                      <a:cubicBezTo>
                        <a:pt x="142275" y="642361"/>
                        <a:pt x="150186" y="633241"/>
                        <a:pt x="151317" y="632228"/>
                      </a:cubicBezTo>
                      <a:cubicBezTo>
                        <a:pt x="150186" y="631214"/>
                        <a:pt x="146796" y="633241"/>
                        <a:pt x="149057" y="630201"/>
                      </a:cubicBezTo>
                      <a:cubicBezTo>
                        <a:pt x="150186" y="628175"/>
                        <a:pt x="159227" y="625135"/>
                        <a:pt x="160358" y="623108"/>
                      </a:cubicBezTo>
                      <a:cubicBezTo>
                        <a:pt x="163748" y="613988"/>
                        <a:pt x="160358" y="606894"/>
                        <a:pt x="162618" y="596760"/>
                      </a:cubicBezTo>
                      <a:cubicBezTo>
                        <a:pt x="164878" y="586627"/>
                        <a:pt x="175049" y="575480"/>
                        <a:pt x="181830" y="567373"/>
                      </a:cubicBezTo>
                      <a:cubicBezTo>
                        <a:pt x="181830" y="566360"/>
                        <a:pt x="173919" y="565346"/>
                        <a:pt x="173919" y="565346"/>
                      </a:cubicBezTo>
                      <a:cubicBezTo>
                        <a:pt x="171659" y="563320"/>
                        <a:pt x="171659" y="559266"/>
                        <a:pt x="171659" y="555213"/>
                      </a:cubicBezTo>
                      <a:cubicBezTo>
                        <a:pt x="161488" y="556226"/>
                        <a:pt x="166008" y="545079"/>
                        <a:pt x="169399" y="535959"/>
                      </a:cubicBezTo>
                      <a:cubicBezTo>
                        <a:pt x="164878" y="535959"/>
                        <a:pt x="153577" y="537986"/>
                        <a:pt x="150186" y="535959"/>
                      </a:cubicBezTo>
                      <a:cubicBezTo>
                        <a:pt x="147926" y="534946"/>
                        <a:pt x="152447" y="524812"/>
                        <a:pt x="152447" y="523799"/>
                      </a:cubicBezTo>
                      <a:cubicBezTo>
                        <a:pt x="145666" y="522785"/>
                        <a:pt x="135495" y="520759"/>
                        <a:pt x="132105" y="521772"/>
                      </a:cubicBezTo>
                      <a:close/>
                      <a:moveTo>
                        <a:pt x="267719" y="509612"/>
                      </a:moveTo>
                      <a:lnTo>
                        <a:pt x="267719" y="514678"/>
                      </a:lnTo>
                      <a:lnTo>
                        <a:pt x="273370" y="514678"/>
                      </a:lnTo>
                      <a:cubicBezTo>
                        <a:pt x="269980" y="512652"/>
                        <a:pt x="276760" y="509612"/>
                        <a:pt x="267719" y="509612"/>
                      </a:cubicBezTo>
                      <a:close/>
                      <a:moveTo>
                        <a:pt x="251897" y="507585"/>
                      </a:moveTo>
                      <a:cubicBezTo>
                        <a:pt x="248507" y="508599"/>
                        <a:pt x="245117" y="509612"/>
                        <a:pt x="238336" y="509612"/>
                      </a:cubicBezTo>
                      <a:cubicBezTo>
                        <a:pt x="237206" y="513665"/>
                        <a:pt x="239466" y="517719"/>
                        <a:pt x="236076" y="519745"/>
                      </a:cubicBezTo>
                      <a:cubicBezTo>
                        <a:pt x="230425" y="521772"/>
                        <a:pt x="214603" y="519745"/>
                        <a:pt x="214603" y="519745"/>
                      </a:cubicBezTo>
                      <a:cubicBezTo>
                        <a:pt x="213474" y="522785"/>
                        <a:pt x="208953" y="527852"/>
                        <a:pt x="206692" y="531906"/>
                      </a:cubicBezTo>
                      <a:cubicBezTo>
                        <a:pt x="203302" y="535959"/>
                        <a:pt x="198781" y="540012"/>
                        <a:pt x="195391" y="544066"/>
                      </a:cubicBezTo>
                      <a:cubicBezTo>
                        <a:pt x="190871" y="541026"/>
                        <a:pt x="194261" y="546093"/>
                        <a:pt x="193131" y="546093"/>
                      </a:cubicBezTo>
                      <a:cubicBezTo>
                        <a:pt x="182960" y="537986"/>
                        <a:pt x="201042" y="558253"/>
                        <a:pt x="201042" y="558253"/>
                      </a:cubicBezTo>
                      <a:lnTo>
                        <a:pt x="203302" y="558253"/>
                      </a:lnTo>
                      <a:cubicBezTo>
                        <a:pt x="204432" y="559266"/>
                        <a:pt x="201042" y="566360"/>
                        <a:pt x="205563" y="572440"/>
                      </a:cubicBezTo>
                      <a:cubicBezTo>
                        <a:pt x="206692" y="573453"/>
                        <a:pt x="212343" y="576493"/>
                        <a:pt x="213474" y="577507"/>
                      </a:cubicBezTo>
                      <a:cubicBezTo>
                        <a:pt x="213474" y="577507"/>
                        <a:pt x="211213" y="585613"/>
                        <a:pt x="219124" y="582573"/>
                      </a:cubicBezTo>
                      <a:cubicBezTo>
                        <a:pt x="220254" y="581560"/>
                        <a:pt x="224775" y="573453"/>
                        <a:pt x="224775" y="572440"/>
                      </a:cubicBezTo>
                      <a:cubicBezTo>
                        <a:pt x="225905" y="569400"/>
                        <a:pt x="224775" y="556226"/>
                        <a:pt x="227034" y="553186"/>
                      </a:cubicBezTo>
                      <a:cubicBezTo>
                        <a:pt x="228165" y="552173"/>
                        <a:pt x="238336" y="554200"/>
                        <a:pt x="240596" y="553186"/>
                      </a:cubicBezTo>
                      <a:cubicBezTo>
                        <a:pt x="240596" y="553186"/>
                        <a:pt x="245117" y="546093"/>
                        <a:pt x="248507" y="546093"/>
                      </a:cubicBezTo>
                      <a:cubicBezTo>
                        <a:pt x="250767" y="546093"/>
                        <a:pt x="250767" y="551159"/>
                        <a:pt x="250767" y="553186"/>
                      </a:cubicBezTo>
                      <a:cubicBezTo>
                        <a:pt x="254158" y="552173"/>
                        <a:pt x="260938" y="551159"/>
                        <a:pt x="262069" y="551159"/>
                      </a:cubicBezTo>
                      <a:cubicBezTo>
                        <a:pt x="262069" y="550146"/>
                        <a:pt x="260938" y="545079"/>
                        <a:pt x="262069" y="544066"/>
                      </a:cubicBezTo>
                      <a:cubicBezTo>
                        <a:pt x="263198" y="542039"/>
                        <a:pt x="269980" y="538999"/>
                        <a:pt x="269980" y="536972"/>
                      </a:cubicBezTo>
                      <a:cubicBezTo>
                        <a:pt x="274500" y="520759"/>
                        <a:pt x="266589" y="526839"/>
                        <a:pt x="262069" y="519745"/>
                      </a:cubicBezTo>
                      <a:cubicBezTo>
                        <a:pt x="258678" y="515692"/>
                        <a:pt x="262069" y="512652"/>
                        <a:pt x="259808" y="507585"/>
                      </a:cubicBezTo>
                      <a:cubicBezTo>
                        <a:pt x="258678" y="507585"/>
                        <a:pt x="251897" y="507585"/>
                        <a:pt x="251897" y="507585"/>
                      </a:cubicBezTo>
                      <a:close/>
                      <a:moveTo>
                        <a:pt x="227034" y="478198"/>
                      </a:moveTo>
                      <a:cubicBezTo>
                        <a:pt x="227034" y="478198"/>
                        <a:pt x="242856" y="480224"/>
                        <a:pt x="232685" y="490358"/>
                      </a:cubicBezTo>
                      <a:cubicBezTo>
                        <a:pt x="231555" y="489345"/>
                        <a:pt x="222514" y="488331"/>
                        <a:pt x="221384" y="488331"/>
                      </a:cubicBezTo>
                      <a:cubicBezTo>
                        <a:pt x="221384" y="487318"/>
                        <a:pt x="219124" y="478198"/>
                        <a:pt x="223644" y="481238"/>
                      </a:cubicBezTo>
                      <a:lnTo>
                        <a:pt x="227034" y="478198"/>
                      </a:lnTo>
                      <a:close/>
                      <a:moveTo>
                        <a:pt x="479052" y="203578"/>
                      </a:moveTo>
                      <a:cubicBezTo>
                        <a:pt x="476791" y="204591"/>
                        <a:pt x="475661" y="205605"/>
                        <a:pt x="471141" y="205605"/>
                      </a:cubicBezTo>
                      <a:cubicBezTo>
                        <a:pt x="470010" y="224858"/>
                        <a:pt x="473401" y="222832"/>
                        <a:pt x="455319" y="234992"/>
                      </a:cubicBezTo>
                      <a:cubicBezTo>
                        <a:pt x="457579" y="242085"/>
                        <a:pt x="455319" y="237019"/>
                        <a:pt x="460969" y="240059"/>
                      </a:cubicBezTo>
                      <a:cubicBezTo>
                        <a:pt x="459839" y="259313"/>
                        <a:pt x="459839" y="263366"/>
                        <a:pt x="447408" y="271473"/>
                      </a:cubicBezTo>
                      <a:cubicBezTo>
                        <a:pt x="450799" y="270460"/>
                        <a:pt x="449668" y="272486"/>
                        <a:pt x="453058" y="273500"/>
                      </a:cubicBezTo>
                      <a:cubicBezTo>
                        <a:pt x="450799" y="273500"/>
                        <a:pt x="462100" y="269446"/>
                        <a:pt x="464360" y="268433"/>
                      </a:cubicBezTo>
                      <a:cubicBezTo>
                        <a:pt x="463230" y="277553"/>
                        <a:pt x="465490" y="284647"/>
                        <a:pt x="462100" y="290727"/>
                      </a:cubicBezTo>
                      <a:cubicBezTo>
                        <a:pt x="460969" y="291740"/>
                        <a:pt x="454189" y="295793"/>
                        <a:pt x="454189" y="297820"/>
                      </a:cubicBezTo>
                      <a:cubicBezTo>
                        <a:pt x="450799" y="304914"/>
                        <a:pt x="454189" y="310994"/>
                        <a:pt x="451928" y="317074"/>
                      </a:cubicBezTo>
                      <a:cubicBezTo>
                        <a:pt x="450799" y="319101"/>
                        <a:pt x="445148" y="320114"/>
                        <a:pt x="444018" y="322141"/>
                      </a:cubicBezTo>
                      <a:cubicBezTo>
                        <a:pt x="440627" y="328221"/>
                        <a:pt x="441757" y="334301"/>
                        <a:pt x="438367" y="339368"/>
                      </a:cubicBezTo>
                      <a:cubicBezTo>
                        <a:pt x="436107" y="342408"/>
                        <a:pt x="420285" y="358622"/>
                        <a:pt x="416895" y="361662"/>
                      </a:cubicBezTo>
                      <a:cubicBezTo>
                        <a:pt x="413504" y="364702"/>
                        <a:pt x="405594" y="364702"/>
                        <a:pt x="403333" y="368755"/>
                      </a:cubicBezTo>
                      <a:cubicBezTo>
                        <a:pt x="397683" y="376862"/>
                        <a:pt x="403333" y="385982"/>
                        <a:pt x="392032" y="391049"/>
                      </a:cubicBezTo>
                      <a:lnTo>
                        <a:pt x="392032" y="393076"/>
                      </a:lnTo>
                      <a:cubicBezTo>
                        <a:pt x="389772" y="394089"/>
                        <a:pt x="384121" y="392062"/>
                        <a:pt x="380731" y="393076"/>
                      </a:cubicBezTo>
                      <a:cubicBezTo>
                        <a:pt x="372820" y="395102"/>
                        <a:pt x="364909" y="405236"/>
                        <a:pt x="359259" y="410303"/>
                      </a:cubicBezTo>
                      <a:cubicBezTo>
                        <a:pt x="354738" y="408276"/>
                        <a:pt x="349088" y="406249"/>
                        <a:pt x="345697" y="405236"/>
                      </a:cubicBezTo>
                      <a:cubicBezTo>
                        <a:pt x="345697" y="405236"/>
                        <a:pt x="345697" y="398143"/>
                        <a:pt x="345697" y="398143"/>
                      </a:cubicBezTo>
                      <a:cubicBezTo>
                        <a:pt x="342307" y="401183"/>
                        <a:pt x="343437" y="392062"/>
                        <a:pt x="343437" y="391049"/>
                      </a:cubicBezTo>
                      <a:cubicBezTo>
                        <a:pt x="350218" y="385982"/>
                        <a:pt x="353608" y="388009"/>
                        <a:pt x="356998" y="378889"/>
                      </a:cubicBezTo>
                      <a:cubicBezTo>
                        <a:pt x="356998" y="378889"/>
                        <a:pt x="359259" y="377875"/>
                        <a:pt x="359259" y="376862"/>
                      </a:cubicBezTo>
                      <a:cubicBezTo>
                        <a:pt x="362649" y="367742"/>
                        <a:pt x="358129" y="374835"/>
                        <a:pt x="353608" y="376862"/>
                      </a:cubicBezTo>
                      <a:cubicBezTo>
                        <a:pt x="347957" y="379902"/>
                        <a:pt x="336656" y="383955"/>
                        <a:pt x="334396" y="389022"/>
                      </a:cubicBezTo>
                      <a:cubicBezTo>
                        <a:pt x="332136" y="396116"/>
                        <a:pt x="335526" y="404223"/>
                        <a:pt x="334396" y="411316"/>
                      </a:cubicBezTo>
                      <a:cubicBezTo>
                        <a:pt x="333266" y="415370"/>
                        <a:pt x="318575" y="433610"/>
                        <a:pt x="318575" y="435637"/>
                      </a:cubicBezTo>
                      <a:cubicBezTo>
                        <a:pt x="317444" y="440703"/>
                        <a:pt x="319704" y="445770"/>
                        <a:pt x="318575" y="449824"/>
                      </a:cubicBezTo>
                      <a:cubicBezTo>
                        <a:pt x="320835" y="447797"/>
                        <a:pt x="319704" y="452864"/>
                        <a:pt x="318575" y="454890"/>
                      </a:cubicBezTo>
                      <a:cubicBezTo>
                        <a:pt x="309534" y="467051"/>
                        <a:pt x="305013" y="466037"/>
                        <a:pt x="289191" y="461984"/>
                      </a:cubicBezTo>
                      <a:lnTo>
                        <a:pt x="289191" y="456917"/>
                      </a:lnTo>
                      <a:cubicBezTo>
                        <a:pt x="268849" y="450837"/>
                        <a:pt x="266589" y="465024"/>
                        <a:pt x="259808" y="467051"/>
                      </a:cubicBezTo>
                      <a:cubicBezTo>
                        <a:pt x="246247" y="470091"/>
                        <a:pt x="241727" y="465024"/>
                        <a:pt x="232685" y="461984"/>
                      </a:cubicBezTo>
                      <a:cubicBezTo>
                        <a:pt x="232685" y="461984"/>
                        <a:pt x="227034" y="471104"/>
                        <a:pt x="238336" y="469077"/>
                      </a:cubicBezTo>
                      <a:cubicBezTo>
                        <a:pt x="234945" y="471104"/>
                        <a:pt x="234945" y="478198"/>
                        <a:pt x="227034" y="476171"/>
                      </a:cubicBezTo>
                      <a:cubicBezTo>
                        <a:pt x="225905" y="476171"/>
                        <a:pt x="227034" y="465024"/>
                        <a:pt x="227034" y="464011"/>
                      </a:cubicBezTo>
                      <a:lnTo>
                        <a:pt x="221384" y="464011"/>
                      </a:lnTo>
                      <a:cubicBezTo>
                        <a:pt x="219124" y="467051"/>
                        <a:pt x="214603" y="467051"/>
                        <a:pt x="213474" y="469077"/>
                      </a:cubicBezTo>
                      <a:cubicBezTo>
                        <a:pt x="210083" y="474144"/>
                        <a:pt x="212343" y="478198"/>
                        <a:pt x="207823" y="481238"/>
                      </a:cubicBezTo>
                      <a:cubicBezTo>
                        <a:pt x="203302" y="484278"/>
                        <a:pt x="197652" y="482251"/>
                        <a:pt x="194261" y="486305"/>
                      </a:cubicBezTo>
                      <a:cubicBezTo>
                        <a:pt x="192001" y="489345"/>
                        <a:pt x="192001" y="498465"/>
                        <a:pt x="188611" y="500491"/>
                      </a:cubicBezTo>
                      <a:cubicBezTo>
                        <a:pt x="180700" y="505558"/>
                        <a:pt x="164878" y="506572"/>
                        <a:pt x="155837" y="510625"/>
                      </a:cubicBezTo>
                      <a:cubicBezTo>
                        <a:pt x="153577" y="507585"/>
                        <a:pt x="153577" y="504545"/>
                        <a:pt x="150186" y="503532"/>
                      </a:cubicBezTo>
                      <a:cubicBezTo>
                        <a:pt x="147926" y="507585"/>
                        <a:pt x="145666" y="513665"/>
                        <a:pt x="142275" y="517719"/>
                      </a:cubicBezTo>
                      <a:cubicBezTo>
                        <a:pt x="152447" y="518732"/>
                        <a:pt x="181830" y="524812"/>
                        <a:pt x="190871" y="522785"/>
                      </a:cubicBezTo>
                      <a:cubicBezTo>
                        <a:pt x="194261" y="521772"/>
                        <a:pt x="197652" y="513665"/>
                        <a:pt x="198781" y="510625"/>
                      </a:cubicBezTo>
                      <a:cubicBezTo>
                        <a:pt x="213474" y="510625"/>
                        <a:pt x="219124" y="512652"/>
                        <a:pt x="233816" y="508599"/>
                      </a:cubicBezTo>
                      <a:cubicBezTo>
                        <a:pt x="234945" y="508599"/>
                        <a:pt x="242856" y="501505"/>
                        <a:pt x="245117" y="501505"/>
                      </a:cubicBezTo>
                      <a:cubicBezTo>
                        <a:pt x="248507" y="501505"/>
                        <a:pt x="249637" y="505558"/>
                        <a:pt x="256418" y="503532"/>
                      </a:cubicBezTo>
                      <a:cubicBezTo>
                        <a:pt x="257548" y="503532"/>
                        <a:pt x="266589" y="496438"/>
                        <a:pt x="267719" y="496438"/>
                      </a:cubicBezTo>
                      <a:cubicBezTo>
                        <a:pt x="272239" y="496438"/>
                        <a:pt x="285801" y="500491"/>
                        <a:pt x="297102" y="501505"/>
                      </a:cubicBezTo>
                      <a:cubicBezTo>
                        <a:pt x="295972" y="502518"/>
                        <a:pt x="295972" y="507585"/>
                        <a:pt x="294842" y="508599"/>
                      </a:cubicBezTo>
                      <a:cubicBezTo>
                        <a:pt x="283540" y="516705"/>
                        <a:pt x="288061" y="509612"/>
                        <a:pt x="286931" y="525825"/>
                      </a:cubicBezTo>
                      <a:cubicBezTo>
                        <a:pt x="284671" y="522785"/>
                        <a:pt x="284671" y="527852"/>
                        <a:pt x="284671" y="527852"/>
                      </a:cubicBezTo>
                      <a:cubicBezTo>
                        <a:pt x="290322" y="535959"/>
                        <a:pt x="292582" y="549133"/>
                        <a:pt x="309534" y="547106"/>
                      </a:cubicBezTo>
                      <a:cubicBezTo>
                        <a:pt x="320835" y="546093"/>
                        <a:pt x="324225" y="532919"/>
                        <a:pt x="331006" y="527852"/>
                      </a:cubicBezTo>
                      <a:cubicBezTo>
                        <a:pt x="336656" y="522785"/>
                        <a:pt x="343437" y="522785"/>
                        <a:pt x="350218" y="517719"/>
                      </a:cubicBezTo>
                      <a:cubicBezTo>
                        <a:pt x="349088" y="515692"/>
                        <a:pt x="342307" y="505558"/>
                        <a:pt x="342307" y="505558"/>
                      </a:cubicBezTo>
                      <a:cubicBezTo>
                        <a:pt x="341177" y="500491"/>
                        <a:pt x="346828" y="504545"/>
                        <a:pt x="344567" y="498465"/>
                      </a:cubicBezTo>
                      <a:cubicBezTo>
                        <a:pt x="347957" y="498465"/>
                        <a:pt x="352478" y="498465"/>
                        <a:pt x="355868" y="498465"/>
                      </a:cubicBezTo>
                      <a:cubicBezTo>
                        <a:pt x="355868" y="498465"/>
                        <a:pt x="366040" y="497452"/>
                        <a:pt x="371690" y="498465"/>
                      </a:cubicBezTo>
                      <a:lnTo>
                        <a:pt x="371690" y="503532"/>
                      </a:lnTo>
                      <a:cubicBezTo>
                        <a:pt x="363779" y="502518"/>
                        <a:pt x="366040" y="510625"/>
                        <a:pt x="366040" y="510625"/>
                      </a:cubicBezTo>
                      <a:cubicBezTo>
                        <a:pt x="368299" y="509612"/>
                        <a:pt x="373950" y="511638"/>
                        <a:pt x="377341" y="510625"/>
                      </a:cubicBezTo>
                      <a:cubicBezTo>
                        <a:pt x="378471" y="509612"/>
                        <a:pt x="381861" y="502518"/>
                        <a:pt x="382991" y="500491"/>
                      </a:cubicBezTo>
                      <a:cubicBezTo>
                        <a:pt x="388642" y="501505"/>
                        <a:pt x="393162" y="507585"/>
                        <a:pt x="404463" y="505558"/>
                      </a:cubicBezTo>
                      <a:cubicBezTo>
                        <a:pt x="406724" y="504545"/>
                        <a:pt x="405594" y="499478"/>
                        <a:pt x="406724" y="498465"/>
                      </a:cubicBezTo>
                      <a:cubicBezTo>
                        <a:pt x="408984" y="496438"/>
                        <a:pt x="412374" y="499478"/>
                        <a:pt x="414635" y="498465"/>
                      </a:cubicBezTo>
                      <a:cubicBezTo>
                        <a:pt x="416895" y="497452"/>
                        <a:pt x="421415" y="493398"/>
                        <a:pt x="425936" y="491371"/>
                      </a:cubicBezTo>
                      <a:cubicBezTo>
                        <a:pt x="427066" y="497452"/>
                        <a:pt x="425936" y="502518"/>
                        <a:pt x="425936" y="508599"/>
                      </a:cubicBezTo>
                      <a:lnTo>
                        <a:pt x="433847" y="510625"/>
                      </a:lnTo>
                      <a:cubicBezTo>
                        <a:pt x="436107" y="502518"/>
                        <a:pt x="437237" y="496438"/>
                        <a:pt x="439497" y="484278"/>
                      </a:cubicBezTo>
                      <a:lnTo>
                        <a:pt x="450799" y="482251"/>
                      </a:lnTo>
                      <a:cubicBezTo>
                        <a:pt x="453058" y="484278"/>
                        <a:pt x="451928" y="486305"/>
                        <a:pt x="456449" y="487318"/>
                      </a:cubicBezTo>
                      <a:cubicBezTo>
                        <a:pt x="457579" y="484278"/>
                        <a:pt x="460969" y="479211"/>
                        <a:pt x="456449" y="480224"/>
                      </a:cubicBezTo>
                      <a:cubicBezTo>
                        <a:pt x="457579" y="476171"/>
                        <a:pt x="460969" y="456917"/>
                        <a:pt x="462100" y="455904"/>
                      </a:cubicBezTo>
                      <a:cubicBezTo>
                        <a:pt x="464360" y="453877"/>
                        <a:pt x="471141" y="454890"/>
                        <a:pt x="473401" y="453877"/>
                      </a:cubicBezTo>
                      <a:cubicBezTo>
                        <a:pt x="472271" y="455904"/>
                        <a:pt x="477921" y="457931"/>
                        <a:pt x="475661" y="464011"/>
                      </a:cubicBezTo>
                      <a:cubicBezTo>
                        <a:pt x="475661" y="465024"/>
                        <a:pt x="467750" y="468064"/>
                        <a:pt x="467750" y="469077"/>
                      </a:cubicBezTo>
                      <a:cubicBezTo>
                        <a:pt x="464360" y="474144"/>
                        <a:pt x="466620" y="481238"/>
                        <a:pt x="465490" y="488331"/>
                      </a:cubicBezTo>
                      <a:lnTo>
                        <a:pt x="473401" y="493398"/>
                      </a:lnTo>
                      <a:cubicBezTo>
                        <a:pt x="481311" y="482251"/>
                        <a:pt x="490353" y="470091"/>
                        <a:pt x="498263" y="458944"/>
                      </a:cubicBezTo>
                      <a:cubicBezTo>
                        <a:pt x="497133" y="457931"/>
                        <a:pt x="497133" y="452864"/>
                        <a:pt x="496003" y="451850"/>
                      </a:cubicBezTo>
                      <a:cubicBezTo>
                        <a:pt x="490353" y="448810"/>
                        <a:pt x="485832" y="449824"/>
                        <a:pt x="480181" y="446784"/>
                      </a:cubicBezTo>
                      <a:cubicBezTo>
                        <a:pt x="484702" y="443743"/>
                        <a:pt x="484702" y="443743"/>
                        <a:pt x="491483" y="441717"/>
                      </a:cubicBezTo>
                      <a:cubicBezTo>
                        <a:pt x="490353" y="431583"/>
                        <a:pt x="485832" y="421450"/>
                        <a:pt x="485832" y="415370"/>
                      </a:cubicBezTo>
                      <a:cubicBezTo>
                        <a:pt x="485832" y="411316"/>
                        <a:pt x="498263" y="391049"/>
                        <a:pt x="499393" y="383955"/>
                      </a:cubicBezTo>
                      <a:cubicBezTo>
                        <a:pt x="500524" y="370782"/>
                        <a:pt x="497133" y="347475"/>
                        <a:pt x="499393" y="333288"/>
                      </a:cubicBezTo>
                      <a:cubicBezTo>
                        <a:pt x="503914" y="332274"/>
                        <a:pt x="510694" y="333288"/>
                        <a:pt x="515215" y="333288"/>
                      </a:cubicBezTo>
                      <a:cubicBezTo>
                        <a:pt x="515215" y="329234"/>
                        <a:pt x="515215" y="323154"/>
                        <a:pt x="515215" y="323154"/>
                      </a:cubicBezTo>
                      <a:lnTo>
                        <a:pt x="515215" y="318087"/>
                      </a:lnTo>
                      <a:cubicBezTo>
                        <a:pt x="516345" y="317074"/>
                        <a:pt x="523127" y="316061"/>
                        <a:pt x="523127" y="316061"/>
                      </a:cubicBezTo>
                      <a:cubicBezTo>
                        <a:pt x="524256" y="313020"/>
                        <a:pt x="521995" y="308967"/>
                        <a:pt x="523127" y="305927"/>
                      </a:cubicBezTo>
                      <a:cubicBezTo>
                        <a:pt x="524256" y="302887"/>
                        <a:pt x="533297" y="297820"/>
                        <a:pt x="534428" y="293767"/>
                      </a:cubicBezTo>
                      <a:cubicBezTo>
                        <a:pt x="535558" y="287687"/>
                        <a:pt x="533297" y="262353"/>
                        <a:pt x="532167" y="255259"/>
                      </a:cubicBezTo>
                      <a:lnTo>
                        <a:pt x="526516" y="253232"/>
                      </a:lnTo>
                      <a:cubicBezTo>
                        <a:pt x="520866" y="245126"/>
                        <a:pt x="520866" y="228912"/>
                        <a:pt x="512955" y="223845"/>
                      </a:cubicBezTo>
                      <a:cubicBezTo>
                        <a:pt x="508434" y="220805"/>
                        <a:pt x="496003" y="219792"/>
                        <a:pt x="491483" y="218778"/>
                      </a:cubicBezTo>
                      <a:cubicBezTo>
                        <a:pt x="492613" y="215738"/>
                        <a:pt x="496003" y="215738"/>
                        <a:pt x="493742" y="211685"/>
                      </a:cubicBezTo>
                      <a:cubicBezTo>
                        <a:pt x="486962" y="205605"/>
                        <a:pt x="480181" y="205605"/>
                        <a:pt x="479052" y="203578"/>
                      </a:cubicBezTo>
                      <a:close/>
                      <a:moveTo>
                        <a:pt x="501654" y="193444"/>
                      </a:moveTo>
                      <a:lnTo>
                        <a:pt x="499393" y="200538"/>
                      </a:lnTo>
                      <a:cubicBezTo>
                        <a:pt x="506175" y="199525"/>
                        <a:pt x="507305" y="201551"/>
                        <a:pt x="512955" y="202565"/>
                      </a:cubicBezTo>
                      <a:cubicBezTo>
                        <a:pt x="512955" y="201551"/>
                        <a:pt x="512955" y="192431"/>
                        <a:pt x="512955" y="192431"/>
                      </a:cubicBezTo>
                      <a:cubicBezTo>
                        <a:pt x="509564" y="193444"/>
                        <a:pt x="503914" y="194458"/>
                        <a:pt x="501654" y="193444"/>
                      </a:cubicBezTo>
                      <a:close/>
                      <a:moveTo>
                        <a:pt x="523127" y="9013"/>
                      </a:moveTo>
                      <a:cubicBezTo>
                        <a:pt x="510694" y="19147"/>
                        <a:pt x="508434" y="26241"/>
                        <a:pt x="520866" y="40428"/>
                      </a:cubicBezTo>
                      <a:cubicBezTo>
                        <a:pt x="521995" y="41441"/>
                        <a:pt x="528777" y="44481"/>
                        <a:pt x="528777" y="45494"/>
                      </a:cubicBezTo>
                      <a:cubicBezTo>
                        <a:pt x="531037" y="53601"/>
                        <a:pt x="521995" y="59681"/>
                        <a:pt x="520866" y="64748"/>
                      </a:cubicBezTo>
                      <a:cubicBezTo>
                        <a:pt x="519736" y="70828"/>
                        <a:pt x="523127" y="78935"/>
                        <a:pt x="520866" y="84002"/>
                      </a:cubicBezTo>
                      <a:cubicBezTo>
                        <a:pt x="519736" y="87042"/>
                        <a:pt x="511825" y="88055"/>
                        <a:pt x="509564" y="91095"/>
                      </a:cubicBezTo>
                      <a:cubicBezTo>
                        <a:pt x="503914" y="106296"/>
                        <a:pt x="528777" y="129603"/>
                        <a:pt x="493742" y="120483"/>
                      </a:cubicBezTo>
                      <a:cubicBezTo>
                        <a:pt x="486962" y="118456"/>
                        <a:pt x="485832" y="114403"/>
                        <a:pt x="474531" y="113389"/>
                      </a:cubicBezTo>
                      <a:cubicBezTo>
                        <a:pt x="468880" y="112376"/>
                        <a:pt x="466620" y="115416"/>
                        <a:pt x="476791" y="118456"/>
                      </a:cubicBezTo>
                      <a:cubicBezTo>
                        <a:pt x="468880" y="131630"/>
                        <a:pt x="470010" y="132643"/>
                        <a:pt x="455319" y="140750"/>
                      </a:cubicBezTo>
                      <a:cubicBezTo>
                        <a:pt x="456449" y="144803"/>
                        <a:pt x="454189" y="148857"/>
                        <a:pt x="455319" y="152910"/>
                      </a:cubicBezTo>
                      <a:cubicBezTo>
                        <a:pt x="456449" y="155950"/>
                        <a:pt x="465490" y="162030"/>
                        <a:pt x="466620" y="165070"/>
                      </a:cubicBezTo>
                      <a:cubicBezTo>
                        <a:pt x="467750" y="171151"/>
                        <a:pt x="466620" y="180271"/>
                        <a:pt x="466620" y="187364"/>
                      </a:cubicBezTo>
                      <a:cubicBezTo>
                        <a:pt x="472271" y="186351"/>
                        <a:pt x="470010" y="190404"/>
                        <a:pt x="474531" y="189391"/>
                      </a:cubicBezTo>
                      <a:cubicBezTo>
                        <a:pt x="477921" y="189391"/>
                        <a:pt x="485832" y="180271"/>
                        <a:pt x="488092" y="179257"/>
                      </a:cubicBezTo>
                      <a:cubicBezTo>
                        <a:pt x="493742" y="177231"/>
                        <a:pt x="503914" y="177231"/>
                        <a:pt x="507305" y="177231"/>
                      </a:cubicBezTo>
                      <a:cubicBezTo>
                        <a:pt x="498263" y="170137"/>
                        <a:pt x="492613" y="168111"/>
                        <a:pt x="480181" y="163044"/>
                      </a:cubicBezTo>
                      <a:cubicBezTo>
                        <a:pt x="481311" y="160004"/>
                        <a:pt x="480181" y="153923"/>
                        <a:pt x="480181" y="150883"/>
                      </a:cubicBezTo>
                      <a:cubicBezTo>
                        <a:pt x="486962" y="148857"/>
                        <a:pt x="491483" y="144803"/>
                        <a:pt x="499393" y="145817"/>
                      </a:cubicBezTo>
                      <a:cubicBezTo>
                        <a:pt x="501654" y="145817"/>
                        <a:pt x="501654" y="150883"/>
                        <a:pt x="507305" y="150883"/>
                      </a:cubicBezTo>
                      <a:cubicBezTo>
                        <a:pt x="507305" y="150883"/>
                        <a:pt x="514085" y="143790"/>
                        <a:pt x="515215" y="143790"/>
                      </a:cubicBezTo>
                      <a:cubicBezTo>
                        <a:pt x="516345" y="143790"/>
                        <a:pt x="527646" y="144803"/>
                        <a:pt x="523127" y="145817"/>
                      </a:cubicBezTo>
                      <a:lnTo>
                        <a:pt x="528777" y="145817"/>
                      </a:lnTo>
                      <a:cubicBezTo>
                        <a:pt x="531037" y="150883"/>
                        <a:pt x="531037" y="151897"/>
                        <a:pt x="534428" y="155950"/>
                      </a:cubicBezTo>
                      <a:cubicBezTo>
                        <a:pt x="536687" y="157977"/>
                        <a:pt x="535558" y="160004"/>
                        <a:pt x="536687" y="163044"/>
                      </a:cubicBezTo>
                      <a:cubicBezTo>
                        <a:pt x="547989" y="164057"/>
                        <a:pt x="566070" y="164057"/>
                        <a:pt x="577372" y="163044"/>
                      </a:cubicBezTo>
                      <a:cubicBezTo>
                        <a:pt x="585283" y="144803"/>
                        <a:pt x="589803" y="124536"/>
                        <a:pt x="618056" y="126563"/>
                      </a:cubicBezTo>
                      <a:cubicBezTo>
                        <a:pt x="618056" y="126563"/>
                        <a:pt x="625967" y="133656"/>
                        <a:pt x="625967" y="133656"/>
                      </a:cubicBezTo>
                      <a:cubicBezTo>
                        <a:pt x="631618" y="133656"/>
                        <a:pt x="629357" y="129603"/>
                        <a:pt x="631618" y="126563"/>
                      </a:cubicBezTo>
                      <a:cubicBezTo>
                        <a:pt x="636139" y="126563"/>
                        <a:pt x="644049" y="127576"/>
                        <a:pt x="647440" y="126563"/>
                      </a:cubicBezTo>
                      <a:cubicBezTo>
                        <a:pt x="649699" y="125549"/>
                        <a:pt x="673432" y="112376"/>
                        <a:pt x="653090" y="114403"/>
                      </a:cubicBezTo>
                      <a:cubicBezTo>
                        <a:pt x="653090" y="113389"/>
                        <a:pt x="654220" y="108322"/>
                        <a:pt x="653090" y="107309"/>
                      </a:cubicBezTo>
                      <a:cubicBezTo>
                        <a:pt x="640658" y="107309"/>
                        <a:pt x="648570" y="98189"/>
                        <a:pt x="650829" y="90082"/>
                      </a:cubicBezTo>
                      <a:cubicBezTo>
                        <a:pt x="625967" y="92109"/>
                        <a:pt x="624837" y="91095"/>
                        <a:pt x="615796" y="75895"/>
                      </a:cubicBezTo>
                      <a:cubicBezTo>
                        <a:pt x="602235" y="79948"/>
                        <a:pt x="596584" y="84002"/>
                        <a:pt x="580762" y="80962"/>
                      </a:cubicBezTo>
                      <a:lnTo>
                        <a:pt x="575112" y="78935"/>
                      </a:lnTo>
                      <a:cubicBezTo>
                        <a:pt x="569461" y="74882"/>
                        <a:pt x="559290" y="44481"/>
                        <a:pt x="553639" y="37387"/>
                      </a:cubicBezTo>
                      <a:cubicBezTo>
                        <a:pt x="551380" y="34347"/>
                        <a:pt x="544598" y="35361"/>
                        <a:pt x="542338" y="32321"/>
                      </a:cubicBezTo>
                      <a:cubicBezTo>
                        <a:pt x="538947" y="29281"/>
                        <a:pt x="540078" y="21174"/>
                        <a:pt x="536687" y="18134"/>
                      </a:cubicBezTo>
                      <a:cubicBezTo>
                        <a:pt x="534428" y="13067"/>
                        <a:pt x="525386" y="11040"/>
                        <a:pt x="523127"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7" name="Freeform: Shape 366">
                  <a:extLst>
                    <a:ext uri="{FF2B5EF4-FFF2-40B4-BE49-F238E27FC236}">
                      <a16:creationId xmlns:a16="http://schemas.microsoft.com/office/drawing/2014/main" id="{35993250-B091-4E6A-BEF2-4CDDE35D02F9}"/>
                    </a:ext>
                  </a:extLst>
                </p:cNvPr>
                <p:cNvSpPr/>
                <p:nvPr/>
              </p:nvSpPr>
              <p:spPr>
                <a:xfrm>
                  <a:off x="3125631" y="3514732"/>
                  <a:ext cx="90410" cy="50668"/>
                </a:xfrm>
                <a:custGeom>
                  <a:avLst/>
                  <a:gdLst>
                    <a:gd name="connsiteX0" fmla="*/ 31524 w 90409"/>
                    <a:gd name="connsiteY0" fmla="*/ 9101 h 50667"/>
                    <a:gd name="connsiteX1" fmla="*/ 10052 w 90409"/>
                    <a:gd name="connsiteY1" fmla="*/ 21261 h 50667"/>
                    <a:gd name="connsiteX2" fmla="*/ 12312 w 90409"/>
                    <a:gd name="connsiteY2" fmla="*/ 26328 h 50667"/>
                    <a:gd name="connsiteX3" fmla="*/ 25874 w 90409"/>
                    <a:gd name="connsiteY3" fmla="*/ 26328 h 50667"/>
                    <a:gd name="connsiteX4" fmla="*/ 28134 w 90409"/>
                    <a:gd name="connsiteY4" fmla="*/ 33421 h 50667"/>
                    <a:gd name="connsiteX5" fmla="*/ 66558 w 90409"/>
                    <a:gd name="connsiteY5" fmla="*/ 45582 h 50667"/>
                    <a:gd name="connsiteX6" fmla="*/ 68818 w 90409"/>
                    <a:gd name="connsiteY6" fmla="*/ 38488 h 50667"/>
                    <a:gd name="connsiteX7" fmla="*/ 88030 w 90409"/>
                    <a:gd name="connsiteY7" fmla="*/ 38488 h 50667"/>
                    <a:gd name="connsiteX8" fmla="*/ 90291 w 90409"/>
                    <a:gd name="connsiteY8" fmla="*/ 31395 h 50667"/>
                    <a:gd name="connsiteX9" fmla="*/ 71078 w 90409"/>
                    <a:gd name="connsiteY9" fmla="*/ 17208 h 50667"/>
                    <a:gd name="connsiteX10" fmla="*/ 46216 w 90409"/>
                    <a:gd name="connsiteY10" fmla="*/ 17208 h 50667"/>
                    <a:gd name="connsiteX11" fmla="*/ 31524 w 90409"/>
                    <a:gd name="connsiteY11" fmla="*/ 9101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409" h="50667">
                      <a:moveTo>
                        <a:pt x="31524" y="9101"/>
                      </a:moveTo>
                      <a:cubicBezTo>
                        <a:pt x="22483" y="9101"/>
                        <a:pt x="15703" y="17208"/>
                        <a:pt x="10052" y="21261"/>
                      </a:cubicBezTo>
                      <a:cubicBezTo>
                        <a:pt x="11182" y="22274"/>
                        <a:pt x="13443" y="24301"/>
                        <a:pt x="12312" y="26328"/>
                      </a:cubicBezTo>
                      <a:cubicBezTo>
                        <a:pt x="15703" y="26328"/>
                        <a:pt x="23614" y="25315"/>
                        <a:pt x="25874" y="26328"/>
                      </a:cubicBezTo>
                      <a:cubicBezTo>
                        <a:pt x="29264" y="28355"/>
                        <a:pt x="27004" y="30381"/>
                        <a:pt x="28134" y="33421"/>
                      </a:cubicBezTo>
                      <a:cubicBezTo>
                        <a:pt x="32654" y="39502"/>
                        <a:pt x="52997" y="47608"/>
                        <a:pt x="66558" y="45582"/>
                      </a:cubicBezTo>
                      <a:cubicBezTo>
                        <a:pt x="68818" y="45582"/>
                        <a:pt x="68818" y="40515"/>
                        <a:pt x="68818" y="38488"/>
                      </a:cubicBezTo>
                      <a:cubicBezTo>
                        <a:pt x="75599" y="37475"/>
                        <a:pt x="81250" y="38488"/>
                        <a:pt x="88030" y="38488"/>
                      </a:cubicBezTo>
                      <a:cubicBezTo>
                        <a:pt x="88030" y="37475"/>
                        <a:pt x="90291" y="33421"/>
                        <a:pt x="90291" y="31395"/>
                      </a:cubicBezTo>
                      <a:cubicBezTo>
                        <a:pt x="88030" y="29368"/>
                        <a:pt x="72209" y="17208"/>
                        <a:pt x="71078" y="17208"/>
                      </a:cubicBezTo>
                      <a:cubicBezTo>
                        <a:pt x="64298" y="15181"/>
                        <a:pt x="54127" y="19234"/>
                        <a:pt x="46216" y="17208"/>
                      </a:cubicBezTo>
                      <a:cubicBezTo>
                        <a:pt x="47346" y="16195"/>
                        <a:pt x="43956" y="8087"/>
                        <a:pt x="31524" y="910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8" name="Freeform: Shape 367">
                  <a:extLst>
                    <a:ext uri="{FF2B5EF4-FFF2-40B4-BE49-F238E27FC236}">
                      <a16:creationId xmlns:a16="http://schemas.microsoft.com/office/drawing/2014/main" id="{1E351189-75BF-4106-A6BF-8B24426E9357}"/>
                    </a:ext>
                  </a:extLst>
                </p:cNvPr>
                <p:cNvSpPr/>
                <p:nvPr/>
              </p:nvSpPr>
              <p:spPr>
                <a:xfrm>
                  <a:off x="5570080" y="3840107"/>
                  <a:ext cx="248626" cy="273606"/>
                </a:xfrm>
                <a:custGeom>
                  <a:avLst/>
                  <a:gdLst>
                    <a:gd name="connsiteX0" fmla="*/ 54126 w 248626"/>
                    <a:gd name="connsiteY0" fmla="*/ 266406 h 273606"/>
                    <a:gd name="connsiteX1" fmla="*/ 101591 w 248626"/>
                    <a:gd name="connsiteY1" fmla="*/ 245125 h 273606"/>
                    <a:gd name="connsiteX2" fmla="*/ 112893 w 248626"/>
                    <a:gd name="connsiteY2" fmla="*/ 232965 h 273606"/>
                    <a:gd name="connsiteX3" fmla="*/ 169399 w 248626"/>
                    <a:gd name="connsiteY3" fmla="*/ 232965 h 273606"/>
                    <a:gd name="connsiteX4" fmla="*/ 195391 w 248626"/>
                    <a:gd name="connsiteY4" fmla="*/ 244112 h 273606"/>
                    <a:gd name="connsiteX5" fmla="*/ 203302 w 248626"/>
                    <a:gd name="connsiteY5" fmla="*/ 227899 h 273606"/>
                    <a:gd name="connsiteX6" fmla="*/ 202172 w 248626"/>
                    <a:gd name="connsiteY6" fmla="*/ 210671 h 273606"/>
                    <a:gd name="connsiteX7" fmla="*/ 198782 w 248626"/>
                    <a:gd name="connsiteY7" fmla="*/ 186351 h 273606"/>
                    <a:gd name="connsiteX8" fmla="*/ 205563 w 248626"/>
                    <a:gd name="connsiteY8" fmla="*/ 165070 h 273606"/>
                    <a:gd name="connsiteX9" fmla="*/ 216864 w 248626"/>
                    <a:gd name="connsiteY9" fmla="*/ 140750 h 273606"/>
                    <a:gd name="connsiteX10" fmla="*/ 227035 w 248626"/>
                    <a:gd name="connsiteY10" fmla="*/ 115416 h 273606"/>
                    <a:gd name="connsiteX11" fmla="*/ 237206 w 248626"/>
                    <a:gd name="connsiteY11" fmla="*/ 97175 h 273606"/>
                    <a:gd name="connsiteX12" fmla="*/ 240596 w 248626"/>
                    <a:gd name="connsiteY12" fmla="*/ 70828 h 273606"/>
                    <a:gd name="connsiteX13" fmla="*/ 233816 w 248626"/>
                    <a:gd name="connsiteY13" fmla="*/ 49548 h 273606"/>
                    <a:gd name="connsiteX14" fmla="*/ 230425 w 248626"/>
                    <a:gd name="connsiteY14" fmla="*/ 29281 h 273606"/>
                    <a:gd name="connsiteX15" fmla="*/ 204433 w 248626"/>
                    <a:gd name="connsiteY15" fmla="*/ 30294 h 273606"/>
                    <a:gd name="connsiteX16" fmla="*/ 198782 w 248626"/>
                    <a:gd name="connsiteY16" fmla="*/ 15094 h 273606"/>
                    <a:gd name="connsiteX17" fmla="*/ 184090 w 248626"/>
                    <a:gd name="connsiteY17" fmla="*/ 14080 h 273606"/>
                    <a:gd name="connsiteX18" fmla="*/ 172789 w 248626"/>
                    <a:gd name="connsiteY18" fmla="*/ 22187 h 273606"/>
                    <a:gd name="connsiteX19" fmla="*/ 158097 w 248626"/>
                    <a:gd name="connsiteY19" fmla="*/ 21174 h 273606"/>
                    <a:gd name="connsiteX20" fmla="*/ 153577 w 248626"/>
                    <a:gd name="connsiteY20" fmla="*/ 10027 h 273606"/>
                    <a:gd name="connsiteX21" fmla="*/ 125324 w 248626"/>
                    <a:gd name="connsiteY21" fmla="*/ 9013 h 273606"/>
                    <a:gd name="connsiteX22" fmla="*/ 118543 w 248626"/>
                    <a:gd name="connsiteY22" fmla="*/ 19147 h 273606"/>
                    <a:gd name="connsiteX23" fmla="*/ 109502 w 248626"/>
                    <a:gd name="connsiteY23" fmla="*/ 33334 h 273606"/>
                    <a:gd name="connsiteX24" fmla="*/ 93680 w 248626"/>
                    <a:gd name="connsiteY24" fmla="*/ 23200 h 273606"/>
                    <a:gd name="connsiteX25" fmla="*/ 84640 w 248626"/>
                    <a:gd name="connsiteY25" fmla="*/ 28267 h 273606"/>
                    <a:gd name="connsiteX26" fmla="*/ 78989 w 248626"/>
                    <a:gd name="connsiteY26" fmla="*/ 47521 h 273606"/>
                    <a:gd name="connsiteX27" fmla="*/ 68818 w 248626"/>
                    <a:gd name="connsiteY27" fmla="*/ 42454 h 273606"/>
                    <a:gd name="connsiteX28" fmla="*/ 54126 w 248626"/>
                    <a:gd name="connsiteY28" fmla="*/ 55628 h 273606"/>
                    <a:gd name="connsiteX29" fmla="*/ 43956 w 248626"/>
                    <a:gd name="connsiteY29" fmla="*/ 71841 h 273606"/>
                    <a:gd name="connsiteX30" fmla="*/ 52996 w 248626"/>
                    <a:gd name="connsiteY30" fmla="*/ 92109 h 273606"/>
                    <a:gd name="connsiteX31" fmla="*/ 30394 w 248626"/>
                    <a:gd name="connsiteY31" fmla="*/ 105282 h 273606"/>
                    <a:gd name="connsiteX32" fmla="*/ 34915 w 248626"/>
                    <a:gd name="connsiteY32" fmla="*/ 115416 h 273606"/>
                    <a:gd name="connsiteX33" fmla="*/ 23614 w 248626"/>
                    <a:gd name="connsiteY33" fmla="*/ 123523 h 273606"/>
                    <a:gd name="connsiteX34" fmla="*/ 27004 w 248626"/>
                    <a:gd name="connsiteY34" fmla="*/ 147843 h 273606"/>
                    <a:gd name="connsiteX35" fmla="*/ 10052 w 248626"/>
                    <a:gd name="connsiteY35" fmla="*/ 171151 h 273606"/>
                    <a:gd name="connsiteX36" fmla="*/ 32654 w 248626"/>
                    <a:gd name="connsiteY36" fmla="*/ 179257 h 273606"/>
                    <a:gd name="connsiteX37" fmla="*/ 45085 w 248626"/>
                    <a:gd name="connsiteY37" fmla="*/ 198511 h 273606"/>
                    <a:gd name="connsiteX38" fmla="*/ 59777 w 248626"/>
                    <a:gd name="connsiteY38" fmla="*/ 216752 h 273606"/>
                    <a:gd name="connsiteX39" fmla="*/ 60907 w 248626"/>
                    <a:gd name="connsiteY39" fmla="*/ 226885 h 273606"/>
                    <a:gd name="connsiteX40" fmla="*/ 51867 w 248626"/>
                    <a:gd name="connsiteY40" fmla="*/ 245125 h 273606"/>
                    <a:gd name="connsiteX41" fmla="*/ 51867 w 248626"/>
                    <a:gd name="connsiteY41" fmla="*/ 261339 h 273606"/>
                    <a:gd name="connsiteX42" fmla="*/ 50736 w 248626"/>
                    <a:gd name="connsiteY42" fmla="*/ 272486 h 273606"/>
                    <a:gd name="connsiteX43" fmla="*/ 54126 w 248626"/>
                    <a:gd name="connsiteY43" fmla="*/ 266406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48626" h="273606">
                      <a:moveTo>
                        <a:pt x="54126" y="266406"/>
                      </a:moveTo>
                      <a:cubicBezTo>
                        <a:pt x="72209" y="263366"/>
                        <a:pt x="93680" y="250192"/>
                        <a:pt x="101591" y="245125"/>
                      </a:cubicBezTo>
                      <a:cubicBezTo>
                        <a:pt x="104982" y="243099"/>
                        <a:pt x="109502" y="233978"/>
                        <a:pt x="112893" y="232965"/>
                      </a:cubicBezTo>
                      <a:cubicBezTo>
                        <a:pt x="125324" y="228912"/>
                        <a:pt x="156968" y="230939"/>
                        <a:pt x="169399" y="232965"/>
                      </a:cubicBezTo>
                      <a:cubicBezTo>
                        <a:pt x="178439" y="234992"/>
                        <a:pt x="185221" y="241072"/>
                        <a:pt x="195391" y="244112"/>
                      </a:cubicBezTo>
                      <a:cubicBezTo>
                        <a:pt x="195391" y="244112"/>
                        <a:pt x="199912" y="233978"/>
                        <a:pt x="203302" y="227899"/>
                      </a:cubicBezTo>
                      <a:cubicBezTo>
                        <a:pt x="206692" y="221818"/>
                        <a:pt x="202172" y="210671"/>
                        <a:pt x="202172" y="210671"/>
                      </a:cubicBezTo>
                      <a:lnTo>
                        <a:pt x="198782" y="186351"/>
                      </a:lnTo>
                      <a:lnTo>
                        <a:pt x="205563" y="165070"/>
                      </a:lnTo>
                      <a:cubicBezTo>
                        <a:pt x="205563" y="165070"/>
                        <a:pt x="214603" y="150883"/>
                        <a:pt x="216864" y="140750"/>
                      </a:cubicBezTo>
                      <a:cubicBezTo>
                        <a:pt x="220254" y="130616"/>
                        <a:pt x="223644" y="125549"/>
                        <a:pt x="227035" y="115416"/>
                      </a:cubicBezTo>
                      <a:cubicBezTo>
                        <a:pt x="230425" y="105282"/>
                        <a:pt x="237206" y="97175"/>
                        <a:pt x="237206" y="97175"/>
                      </a:cubicBezTo>
                      <a:cubicBezTo>
                        <a:pt x="237206" y="97175"/>
                        <a:pt x="240596" y="81975"/>
                        <a:pt x="240596" y="70828"/>
                      </a:cubicBezTo>
                      <a:cubicBezTo>
                        <a:pt x="240596" y="59681"/>
                        <a:pt x="230425" y="55628"/>
                        <a:pt x="233816" y="49548"/>
                      </a:cubicBezTo>
                      <a:cubicBezTo>
                        <a:pt x="237206" y="43468"/>
                        <a:pt x="230425" y="29281"/>
                        <a:pt x="230425" y="29281"/>
                      </a:cubicBezTo>
                      <a:cubicBezTo>
                        <a:pt x="230425" y="29281"/>
                        <a:pt x="212343" y="32321"/>
                        <a:pt x="204433" y="30294"/>
                      </a:cubicBezTo>
                      <a:cubicBezTo>
                        <a:pt x="196522" y="28267"/>
                        <a:pt x="198782" y="15094"/>
                        <a:pt x="198782" y="15094"/>
                      </a:cubicBezTo>
                      <a:lnTo>
                        <a:pt x="184090" y="14080"/>
                      </a:lnTo>
                      <a:lnTo>
                        <a:pt x="172789" y="22187"/>
                      </a:lnTo>
                      <a:lnTo>
                        <a:pt x="158097" y="21174"/>
                      </a:lnTo>
                      <a:lnTo>
                        <a:pt x="153577" y="10027"/>
                      </a:lnTo>
                      <a:lnTo>
                        <a:pt x="125324" y="9013"/>
                      </a:lnTo>
                      <a:lnTo>
                        <a:pt x="118543" y="19147"/>
                      </a:lnTo>
                      <a:cubicBezTo>
                        <a:pt x="118543" y="19147"/>
                        <a:pt x="119674" y="30294"/>
                        <a:pt x="109502" y="33334"/>
                      </a:cubicBezTo>
                      <a:cubicBezTo>
                        <a:pt x="99331" y="36374"/>
                        <a:pt x="93680" y="23200"/>
                        <a:pt x="93680" y="23200"/>
                      </a:cubicBezTo>
                      <a:lnTo>
                        <a:pt x="84640" y="28267"/>
                      </a:lnTo>
                      <a:lnTo>
                        <a:pt x="78989" y="47521"/>
                      </a:lnTo>
                      <a:cubicBezTo>
                        <a:pt x="78989" y="47521"/>
                        <a:pt x="80120" y="37387"/>
                        <a:pt x="68818" y="42454"/>
                      </a:cubicBezTo>
                      <a:cubicBezTo>
                        <a:pt x="57517" y="47521"/>
                        <a:pt x="54126" y="55628"/>
                        <a:pt x="54126" y="55628"/>
                      </a:cubicBezTo>
                      <a:cubicBezTo>
                        <a:pt x="54126" y="55628"/>
                        <a:pt x="38305" y="64748"/>
                        <a:pt x="43956" y="71841"/>
                      </a:cubicBezTo>
                      <a:cubicBezTo>
                        <a:pt x="49606" y="78935"/>
                        <a:pt x="58647" y="81975"/>
                        <a:pt x="52996" y="92109"/>
                      </a:cubicBezTo>
                      <a:cubicBezTo>
                        <a:pt x="47346" y="102242"/>
                        <a:pt x="29264" y="100216"/>
                        <a:pt x="30394" y="105282"/>
                      </a:cubicBezTo>
                      <a:cubicBezTo>
                        <a:pt x="31524" y="110349"/>
                        <a:pt x="34915" y="115416"/>
                        <a:pt x="34915" y="115416"/>
                      </a:cubicBezTo>
                      <a:lnTo>
                        <a:pt x="23614" y="123523"/>
                      </a:lnTo>
                      <a:cubicBezTo>
                        <a:pt x="23614" y="123523"/>
                        <a:pt x="34915" y="141763"/>
                        <a:pt x="27004" y="147843"/>
                      </a:cubicBezTo>
                      <a:cubicBezTo>
                        <a:pt x="17963" y="153923"/>
                        <a:pt x="10052" y="171151"/>
                        <a:pt x="10052" y="171151"/>
                      </a:cubicBezTo>
                      <a:cubicBezTo>
                        <a:pt x="10052" y="171151"/>
                        <a:pt x="27004" y="177231"/>
                        <a:pt x="32654" y="179257"/>
                      </a:cubicBezTo>
                      <a:cubicBezTo>
                        <a:pt x="38305" y="180271"/>
                        <a:pt x="41695" y="190404"/>
                        <a:pt x="45085" y="198511"/>
                      </a:cubicBezTo>
                      <a:cubicBezTo>
                        <a:pt x="48476" y="206618"/>
                        <a:pt x="51867" y="216752"/>
                        <a:pt x="59777" y="216752"/>
                      </a:cubicBezTo>
                      <a:cubicBezTo>
                        <a:pt x="67688" y="216752"/>
                        <a:pt x="64298" y="219792"/>
                        <a:pt x="60907" y="226885"/>
                      </a:cubicBezTo>
                      <a:cubicBezTo>
                        <a:pt x="57517" y="233978"/>
                        <a:pt x="60907" y="240059"/>
                        <a:pt x="51867" y="245125"/>
                      </a:cubicBezTo>
                      <a:cubicBezTo>
                        <a:pt x="42825" y="250192"/>
                        <a:pt x="51867" y="254246"/>
                        <a:pt x="51867" y="261339"/>
                      </a:cubicBezTo>
                      <a:cubicBezTo>
                        <a:pt x="51867" y="268433"/>
                        <a:pt x="50736" y="272486"/>
                        <a:pt x="50736" y="272486"/>
                      </a:cubicBezTo>
                      <a:lnTo>
                        <a:pt x="54126" y="266406"/>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9" name="Freeform: Shape 368">
                  <a:extLst>
                    <a:ext uri="{FF2B5EF4-FFF2-40B4-BE49-F238E27FC236}">
                      <a16:creationId xmlns:a16="http://schemas.microsoft.com/office/drawing/2014/main" id="{24038FBD-160E-47AE-867F-1A139A6F5A4F}"/>
                    </a:ext>
                  </a:extLst>
                </p:cNvPr>
                <p:cNvSpPr/>
                <p:nvPr/>
              </p:nvSpPr>
              <p:spPr>
                <a:xfrm>
                  <a:off x="6118888" y="2322470"/>
                  <a:ext cx="418144" cy="476278"/>
                </a:xfrm>
                <a:custGeom>
                  <a:avLst/>
                  <a:gdLst>
                    <a:gd name="connsiteX0" fmla="*/ 222944 w 418144"/>
                    <a:gd name="connsiteY0" fmla="*/ 410945 h 476277"/>
                    <a:gd name="connsiteX1" fmla="*/ 217294 w 418144"/>
                    <a:gd name="connsiteY1" fmla="*/ 412971 h 476277"/>
                    <a:gd name="connsiteX2" fmla="*/ 217294 w 418144"/>
                    <a:gd name="connsiteY2" fmla="*/ 425132 h 476277"/>
                    <a:gd name="connsiteX3" fmla="*/ 233116 w 418144"/>
                    <a:gd name="connsiteY3" fmla="*/ 437292 h 476277"/>
                    <a:gd name="connsiteX4" fmla="*/ 248938 w 418144"/>
                    <a:gd name="connsiteY4" fmla="*/ 442359 h 476277"/>
                    <a:gd name="connsiteX5" fmla="*/ 254588 w 418144"/>
                    <a:gd name="connsiteY5" fmla="*/ 452492 h 476277"/>
                    <a:gd name="connsiteX6" fmla="*/ 268149 w 418144"/>
                    <a:gd name="connsiteY6" fmla="*/ 452492 h 476277"/>
                    <a:gd name="connsiteX7" fmla="*/ 289622 w 418144"/>
                    <a:gd name="connsiteY7" fmla="*/ 464653 h 476277"/>
                    <a:gd name="connsiteX8" fmla="*/ 291882 w 418144"/>
                    <a:gd name="connsiteY8" fmla="*/ 469719 h 476277"/>
                    <a:gd name="connsiteX9" fmla="*/ 305444 w 418144"/>
                    <a:gd name="connsiteY9" fmla="*/ 469719 h 476277"/>
                    <a:gd name="connsiteX10" fmla="*/ 303183 w 418144"/>
                    <a:gd name="connsiteY10" fmla="*/ 457559 h 476277"/>
                    <a:gd name="connsiteX11" fmla="*/ 311094 w 418144"/>
                    <a:gd name="connsiteY11" fmla="*/ 452492 h 476277"/>
                    <a:gd name="connsiteX12" fmla="*/ 313354 w 418144"/>
                    <a:gd name="connsiteY12" fmla="*/ 433239 h 476277"/>
                    <a:gd name="connsiteX13" fmla="*/ 311094 w 418144"/>
                    <a:gd name="connsiteY13" fmla="*/ 428172 h 476277"/>
                    <a:gd name="connsiteX14" fmla="*/ 316745 w 418144"/>
                    <a:gd name="connsiteY14" fmla="*/ 418038 h 476277"/>
                    <a:gd name="connsiteX15" fmla="*/ 316745 w 418144"/>
                    <a:gd name="connsiteY15" fmla="*/ 410945 h 476277"/>
                    <a:gd name="connsiteX16" fmla="*/ 254588 w 418144"/>
                    <a:gd name="connsiteY16" fmla="*/ 421078 h 476277"/>
                    <a:gd name="connsiteX17" fmla="*/ 246677 w 418144"/>
                    <a:gd name="connsiteY17" fmla="*/ 413985 h 476277"/>
                    <a:gd name="connsiteX18" fmla="*/ 230855 w 418144"/>
                    <a:gd name="connsiteY18" fmla="*/ 416012 h 476277"/>
                    <a:gd name="connsiteX19" fmla="*/ 222944 w 418144"/>
                    <a:gd name="connsiteY19" fmla="*/ 410945 h 476277"/>
                    <a:gd name="connsiteX20" fmla="*/ 34215 w 418144"/>
                    <a:gd name="connsiteY20" fmla="*/ 162672 h 476277"/>
                    <a:gd name="connsiteX21" fmla="*/ 46646 w 418144"/>
                    <a:gd name="connsiteY21" fmla="*/ 157606 h 476277"/>
                    <a:gd name="connsiteX22" fmla="*/ 60207 w 418144"/>
                    <a:gd name="connsiteY22" fmla="*/ 157606 h 476277"/>
                    <a:gd name="connsiteX23" fmla="*/ 62468 w 418144"/>
                    <a:gd name="connsiteY23" fmla="*/ 150512 h 476277"/>
                    <a:gd name="connsiteX24" fmla="*/ 73769 w 418144"/>
                    <a:gd name="connsiteY24" fmla="*/ 143419 h 476277"/>
                    <a:gd name="connsiteX25" fmla="*/ 73769 w 418144"/>
                    <a:gd name="connsiteY25" fmla="*/ 133285 h 476277"/>
                    <a:gd name="connsiteX26" fmla="*/ 95241 w 418144"/>
                    <a:gd name="connsiteY26" fmla="*/ 128218 h 476277"/>
                    <a:gd name="connsiteX27" fmla="*/ 108802 w 418144"/>
                    <a:gd name="connsiteY27" fmla="*/ 138352 h 476277"/>
                    <a:gd name="connsiteX28" fmla="*/ 116713 w 418144"/>
                    <a:gd name="connsiteY28" fmla="*/ 138352 h 476277"/>
                    <a:gd name="connsiteX29" fmla="*/ 132535 w 418144"/>
                    <a:gd name="connsiteY29" fmla="*/ 150512 h 476277"/>
                    <a:gd name="connsiteX30" fmla="*/ 132535 w 418144"/>
                    <a:gd name="connsiteY30" fmla="*/ 152539 h 476277"/>
                    <a:gd name="connsiteX31" fmla="*/ 138185 w 418144"/>
                    <a:gd name="connsiteY31" fmla="*/ 152539 h 476277"/>
                    <a:gd name="connsiteX32" fmla="*/ 140446 w 418144"/>
                    <a:gd name="connsiteY32" fmla="*/ 169766 h 476277"/>
                    <a:gd name="connsiteX33" fmla="*/ 151747 w 418144"/>
                    <a:gd name="connsiteY33" fmla="*/ 179899 h 476277"/>
                    <a:gd name="connsiteX34" fmla="*/ 151747 w 418144"/>
                    <a:gd name="connsiteY34" fmla="*/ 192060 h 476277"/>
                    <a:gd name="connsiteX35" fmla="*/ 159658 w 418144"/>
                    <a:gd name="connsiteY35" fmla="*/ 197126 h 476277"/>
                    <a:gd name="connsiteX36" fmla="*/ 165308 w 418144"/>
                    <a:gd name="connsiteY36" fmla="*/ 219420 h 476277"/>
                    <a:gd name="connsiteX37" fmla="*/ 200342 w 418144"/>
                    <a:gd name="connsiteY37" fmla="*/ 248808 h 476277"/>
                    <a:gd name="connsiteX38" fmla="*/ 213903 w 418144"/>
                    <a:gd name="connsiteY38" fmla="*/ 268061 h 476277"/>
                    <a:gd name="connsiteX39" fmla="*/ 241027 w 418144"/>
                    <a:gd name="connsiteY39" fmla="*/ 278195 h 476277"/>
                    <a:gd name="connsiteX40" fmla="*/ 241027 w 418144"/>
                    <a:gd name="connsiteY40" fmla="*/ 280222 h 476277"/>
                    <a:gd name="connsiteX41" fmla="*/ 256848 w 418144"/>
                    <a:gd name="connsiteY41" fmla="*/ 278195 h 476277"/>
                    <a:gd name="connsiteX42" fmla="*/ 272670 w 418144"/>
                    <a:gd name="connsiteY42" fmla="*/ 295422 h 476277"/>
                    <a:gd name="connsiteX43" fmla="*/ 278320 w 418144"/>
                    <a:gd name="connsiteY43" fmla="*/ 295422 h 476277"/>
                    <a:gd name="connsiteX44" fmla="*/ 280581 w 418144"/>
                    <a:gd name="connsiteY44" fmla="*/ 305556 h 476277"/>
                    <a:gd name="connsiteX45" fmla="*/ 294142 w 418144"/>
                    <a:gd name="connsiteY45" fmla="*/ 307582 h 476277"/>
                    <a:gd name="connsiteX46" fmla="*/ 299793 w 418144"/>
                    <a:gd name="connsiteY46" fmla="*/ 324809 h 476277"/>
                    <a:gd name="connsiteX47" fmla="*/ 324655 w 418144"/>
                    <a:gd name="connsiteY47" fmla="*/ 334943 h 476277"/>
                    <a:gd name="connsiteX48" fmla="*/ 338217 w 418144"/>
                    <a:gd name="connsiteY48" fmla="*/ 385611 h 476277"/>
                    <a:gd name="connsiteX49" fmla="*/ 330306 w 418144"/>
                    <a:gd name="connsiteY49" fmla="*/ 387638 h 476277"/>
                    <a:gd name="connsiteX50" fmla="*/ 330306 w 418144"/>
                    <a:gd name="connsiteY50" fmla="*/ 404865 h 476277"/>
                    <a:gd name="connsiteX51" fmla="*/ 322395 w 418144"/>
                    <a:gd name="connsiteY51" fmla="*/ 414998 h 476277"/>
                    <a:gd name="connsiteX52" fmla="*/ 328046 w 418144"/>
                    <a:gd name="connsiteY52" fmla="*/ 429185 h 476277"/>
                    <a:gd name="connsiteX53" fmla="*/ 341607 w 418144"/>
                    <a:gd name="connsiteY53" fmla="*/ 427159 h 476277"/>
                    <a:gd name="connsiteX54" fmla="*/ 343867 w 418144"/>
                    <a:gd name="connsiteY54" fmla="*/ 414998 h 476277"/>
                    <a:gd name="connsiteX55" fmla="*/ 357429 w 418144"/>
                    <a:gd name="connsiteY55" fmla="*/ 407905 h 476277"/>
                    <a:gd name="connsiteX56" fmla="*/ 359689 w 418144"/>
                    <a:gd name="connsiteY56" fmla="*/ 388651 h 476277"/>
                    <a:gd name="connsiteX57" fmla="*/ 373251 w 418144"/>
                    <a:gd name="connsiteY57" fmla="*/ 381557 h 476277"/>
                    <a:gd name="connsiteX58" fmla="*/ 370990 w 418144"/>
                    <a:gd name="connsiteY58" fmla="*/ 362304 h 476277"/>
                    <a:gd name="connsiteX59" fmla="*/ 365340 w 418144"/>
                    <a:gd name="connsiteY59" fmla="*/ 357237 h 476277"/>
                    <a:gd name="connsiteX60" fmla="*/ 359689 w 418144"/>
                    <a:gd name="connsiteY60" fmla="*/ 345077 h 476277"/>
                    <a:gd name="connsiteX61" fmla="*/ 348388 w 418144"/>
                    <a:gd name="connsiteY61" fmla="*/ 340010 h 476277"/>
                    <a:gd name="connsiteX62" fmla="*/ 375510 w 418144"/>
                    <a:gd name="connsiteY62" fmla="*/ 310622 h 476277"/>
                    <a:gd name="connsiteX63" fmla="*/ 375510 w 418144"/>
                    <a:gd name="connsiteY63" fmla="*/ 315689 h 476277"/>
                    <a:gd name="connsiteX64" fmla="*/ 400373 w 418144"/>
                    <a:gd name="connsiteY64" fmla="*/ 320756 h 476277"/>
                    <a:gd name="connsiteX65" fmla="*/ 402634 w 418144"/>
                    <a:gd name="connsiteY65" fmla="*/ 334943 h 476277"/>
                    <a:gd name="connsiteX66" fmla="*/ 410545 w 418144"/>
                    <a:gd name="connsiteY66" fmla="*/ 334943 h 476277"/>
                    <a:gd name="connsiteX67" fmla="*/ 416195 w 418144"/>
                    <a:gd name="connsiteY67" fmla="*/ 327850 h 476277"/>
                    <a:gd name="connsiteX68" fmla="*/ 413935 w 418144"/>
                    <a:gd name="connsiteY68" fmla="*/ 322783 h 476277"/>
                    <a:gd name="connsiteX69" fmla="*/ 413935 w 418144"/>
                    <a:gd name="connsiteY69" fmla="*/ 312649 h 476277"/>
                    <a:gd name="connsiteX70" fmla="*/ 402634 w 418144"/>
                    <a:gd name="connsiteY70" fmla="*/ 307582 h 476277"/>
                    <a:gd name="connsiteX71" fmla="*/ 386812 w 418144"/>
                    <a:gd name="connsiteY71" fmla="*/ 290355 h 476277"/>
                    <a:gd name="connsiteX72" fmla="*/ 338217 w 418144"/>
                    <a:gd name="connsiteY72" fmla="*/ 266035 h 476277"/>
                    <a:gd name="connsiteX73" fmla="*/ 340477 w 418144"/>
                    <a:gd name="connsiteY73" fmla="*/ 248808 h 476277"/>
                    <a:gd name="connsiteX74" fmla="*/ 294142 w 418144"/>
                    <a:gd name="connsiteY74" fmla="*/ 241714 h 476277"/>
                    <a:gd name="connsiteX75" fmla="*/ 261369 w 418144"/>
                    <a:gd name="connsiteY75" fmla="*/ 203207 h 476277"/>
                    <a:gd name="connsiteX76" fmla="*/ 255718 w 418144"/>
                    <a:gd name="connsiteY76" fmla="*/ 183953 h 476277"/>
                    <a:gd name="connsiteX77" fmla="*/ 247807 w 418144"/>
                    <a:gd name="connsiteY77" fmla="*/ 181926 h 476277"/>
                    <a:gd name="connsiteX78" fmla="*/ 239896 w 418144"/>
                    <a:gd name="connsiteY78" fmla="*/ 167739 h 476277"/>
                    <a:gd name="connsiteX79" fmla="*/ 238766 w 418144"/>
                    <a:gd name="connsiteY79" fmla="*/ 167739 h 476277"/>
                    <a:gd name="connsiteX80" fmla="*/ 238766 w 418144"/>
                    <a:gd name="connsiteY80" fmla="*/ 162672 h 476277"/>
                    <a:gd name="connsiteX81" fmla="*/ 205992 w 418144"/>
                    <a:gd name="connsiteY81" fmla="*/ 145445 h 476277"/>
                    <a:gd name="connsiteX82" fmla="*/ 200342 w 418144"/>
                    <a:gd name="connsiteY82" fmla="*/ 143419 h 476277"/>
                    <a:gd name="connsiteX83" fmla="*/ 213903 w 418144"/>
                    <a:gd name="connsiteY83" fmla="*/ 108964 h 476277"/>
                    <a:gd name="connsiteX84" fmla="*/ 205992 w 418144"/>
                    <a:gd name="connsiteY84" fmla="*/ 91737 h 476277"/>
                    <a:gd name="connsiteX85" fmla="*/ 208253 w 418144"/>
                    <a:gd name="connsiteY85" fmla="*/ 81604 h 476277"/>
                    <a:gd name="connsiteX86" fmla="*/ 213903 w 418144"/>
                    <a:gd name="connsiteY86" fmla="*/ 86671 h 476277"/>
                    <a:gd name="connsiteX87" fmla="*/ 254588 w 418144"/>
                    <a:gd name="connsiteY87" fmla="*/ 72484 h 476277"/>
                    <a:gd name="connsiteX88" fmla="*/ 252328 w 418144"/>
                    <a:gd name="connsiteY88" fmla="*/ 55256 h 476277"/>
                    <a:gd name="connsiteX89" fmla="*/ 242156 w 418144"/>
                    <a:gd name="connsiteY89" fmla="*/ 42083 h 476277"/>
                    <a:gd name="connsiteX90" fmla="*/ 246677 w 418144"/>
                    <a:gd name="connsiteY90" fmla="*/ 21816 h 476277"/>
                    <a:gd name="connsiteX91" fmla="*/ 220685 w 418144"/>
                    <a:gd name="connsiteY91" fmla="*/ 21816 h 476277"/>
                    <a:gd name="connsiteX92" fmla="*/ 204863 w 418144"/>
                    <a:gd name="connsiteY92" fmla="*/ 24856 h 476277"/>
                    <a:gd name="connsiteX93" fmla="*/ 190171 w 418144"/>
                    <a:gd name="connsiteY93" fmla="*/ 16749 h 476277"/>
                    <a:gd name="connsiteX94" fmla="*/ 174349 w 418144"/>
                    <a:gd name="connsiteY94" fmla="*/ 12695 h 476277"/>
                    <a:gd name="connsiteX95" fmla="*/ 165308 w 418144"/>
                    <a:gd name="connsiteY95" fmla="*/ 13709 h 476277"/>
                    <a:gd name="connsiteX96" fmla="*/ 146096 w 418144"/>
                    <a:gd name="connsiteY96" fmla="*/ 10669 h 476277"/>
                    <a:gd name="connsiteX97" fmla="*/ 140446 w 418144"/>
                    <a:gd name="connsiteY97" fmla="*/ 21816 h 476277"/>
                    <a:gd name="connsiteX98" fmla="*/ 144966 w 418144"/>
                    <a:gd name="connsiteY98" fmla="*/ 31949 h 476277"/>
                    <a:gd name="connsiteX99" fmla="*/ 133665 w 418144"/>
                    <a:gd name="connsiteY99" fmla="*/ 32963 h 476277"/>
                    <a:gd name="connsiteX100" fmla="*/ 116713 w 418144"/>
                    <a:gd name="connsiteY100" fmla="*/ 41070 h 476277"/>
                    <a:gd name="connsiteX101" fmla="*/ 102022 w 418144"/>
                    <a:gd name="connsiteY101" fmla="*/ 52217 h 476277"/>
                    <a:gd name="connsiteX102" fmla="*/ 100891 w 418144"/>
                    <a:gd name="connsiteY102" fmla="*/ 63363 h 476277"/>
                    <a:gd name="connsiteX103" fmla="*/ 83940 w 418144"/>
                    <a:gd name="connsiteY103" fmla="*/ 59310 h 476277"/>
                    <a:gd name="connsiteX104" fmla="*/ 69248 w 418144"/>
                    <a:gd name="connsiteY104" fmla="*/ 49176 h 476277"/>
                    <a:gd name="connsiteX105" fmla="*/ 62468 w 418144"/>
                    <a:gd name="connsiteY105" fmla="*/ 58297 h 476277"/>
                    <a:gd name="connsiteX106" fmla="*/ 38735 w 418144"/>
                    <a:gd name="connsiteY106" fmla="*/ 72484 h 476277"/>
                    <a:gd name="connsiteX107" fmla="*/ 29694 w 418144"/>
                    <a:gd name="connsiteY107" fmla="*/ 85657 h 476277"/>
                    <a:gd name="connsiteX108" fmla="*/ 17263 w 418144"/>
                    <a:gd name="connsiteY108" fmla="*/ 96804 h 476277"/>
                    <a:gd name="connsiteX109" fmla="*/ 17263 w 418144"/>
                    <a:gd name="connsiteY109" fmla="*/ 115045 h 476277"/>
                    <a:gd name="connsiteX110" fmla="*/ 18393 w 418144"/>
                    <a:gd name="connsiteY110" fmla="*/ 141392 h 476277"/>
                    <a:gd name="connsiteX111" fmla="*/ 35345 w 418144"/>
                    <a:gd name="connsiteY111" fmla="*/ 145445 h 476277"/>
                    <a:gd name="connsiteX112" fmla="*/ 26304 w 418144"/>
                    <a:gd name="connsiteY112" fmla="*/ 154565 h 476277"/>
                    <a:gd name="connsiteX113" fmla="*/ 34215 w 418144"/>
                    <a:gd name="connsiteY113" fmla="*/ 162672 h 476277"/>
                    <a:gd name="connsiteX114" fmla="*/ 103152 w 418144"/>
                    <a:gd name="connsiteY114" fmla="*/ 272115 h 476277"/>
                    <a:gd name="connsiteX115" fmla="*/ 78289 w 418144"/>
                    <a:gd name="connsiteY115" fmla="*/ 291369 h 476277"/>
                    <a:gd name="connsiteX116" fmla="*/ 70378 w 418144"/>
                    <a:gd name="connsiteY116" fmla="*/ 291369 h 476277"/>
                    <a:gd name="connsiteX117" fmla="*/ 76029 w 418144"/>
                    <a:gd name="connsiteY117" fmla="*/ 310622 h 476277"/>
                    <a:gd name="connsiteX118" fmla="*/ 83940 w 418144"/>
                    <a:gd name="connsiteY118" fmla="*/ 361290 h 476277"/>
                    <a:gd name="connsiteX119" fmla="*/ 97501 w 418144"/>
                    <a:gd name="connsiteY119" fmla="*/ 368384 h 476277"/>
                    <a:gd name="connsiteX120" fmla="*/ 105412 w 418144"/>
                    <a:gd name="connsiteY120" fmla="*/ 370410 h 476277"/>
                    <a:gd name="connsiteX121" fmla="*/ 116713 w 418144"/>
                    <a:gd name="connsiteY121" fmla="*/ 360277 h 476277"/>
                    <a:gd name="connsiteX122" fmla="*/ 118974 w 418144"/>
                    <a:gd name="connsiteY122" fmla="*/ 360277 h 476277"/>
                    <a:gd name="connsiteX123" fmla="*/ 130275 w 418144"/>
                    <a:gd name="connsiteY123" fmla="*/ 297449 h 476277"/>
                    <a:gd name="connsiteX124" fmla="*/ 118974 w 418144"/>
                    <a:gd name="connsiteY124" fmla="*/ 287315 h 476277"/>
                    <a:gd name="connsiteX125" fmla="*/ 113323 w 418144"/>
                    <a:gd name="connsiteY125" fmla="*/ 273128 h 476277"/>
                    <a:gd name="connsiteX126" fmla="*/ 103152 w 418144"/>
                    <a:gd name="connsiteY126" fmla="*/ 272115 h 47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18144" h="476277">
                      <a:moveTo>
                        <a:pt x="222944" y="410945"/>
                      </a:moveTo>
                      <a:cubicBezTo>
                        <a:pt x="221814" y="416012"/>
                        <a:pt x="221814" y="411958"/>
                        <a:pt x="217294" y="412971"/>
                      </a:cubicBezTo>
                      <a:cubicBezTo>
                        <a:pt x="217294" y="417025"/>
                        <a:pt x="218424" y="421078"/>
                        <a:pt x="217294" y="425132"/>
                      </a:cubicBezTo>
                      <a:cubicBezTo>
                        <a:pt x="221814" y="427159"/>
                        <a:pt x="229725" y="435265"/>
                        <a:pt x="233116" y="437292"/>
                      </a:cubicBezTo>
                      <a:cubicBezTo>
                        <a:pt x="238766" y="440332"/>
                        <a:pt x="244417" y="439319"/>
                        <a:pt x="248938" y="442359"/>
                      </a:cubicBezTo>
                      <a:cubicBezTo>
                        <a:pt x="250067" y="443372"/>
                        <a:pt x="253458" y="451479"/>
                        <a:pt x="254588" y="452492"/>
                      </a:cubicBezTo>
                      <a:cubicBezTo>
                        <a:pt x="259108" y="454519"/>
                        <a:pt x="264759" y="450466"/>
                        <a:pt x="268149" y="452492"/>
                      </a:cubicBezTo>
                      <a:cubicBezTo>
                        <a:pt x="277191" y="456546"/>
                        <a:pt x="277191" y="460599"/>
                        <a:pt x="289622" y="464653"/>
                      </a:cubicBezTo>
                      <a:lnTo>
                        <a:pt x="291882" y="469719"/>
                      </a:lnTo>
                      <a:cubicBezTo>
                        <a:pt x="296402" y="470733"/>
                        <a:pt x="300923" y="468706"/>
                        <a:pt x="305444" y="469719"/>
                      </a:cubicBezTo>
                      <a:cubicBezTo>
                        <a:pt x="305444" y="464653"/>
                        <a:pt x="302053" y="459586"/>
                        <a:pt x="303183" y="457559"/>
                      </a:cubicBezTo>
                      <a:cubicBezTo>
                        <a:pt x="303183" y="456546"/>
                        <a:pt x="311094" y="453506"/>
                        <a:pt x="311094" y="452492"/>
                      </a:cubicBezTo>
                      <a:cubicBezTo>
                        <a:pt x="314484" y="445399"/>
                        <a:pt x="312224" y="440332"/>
                        <a:pt x="313354" y="433239"/>
                      </a:cubicBezTo>
                      <a:cubicBezTo>
                        <a:pt x="307703" y="434252"/>
                        <a:pt x="311094" y="431212"/>
                        <a:pt x="311094" y="428172"/>
                      </a:cubicBezTo>
                      <a:cubicBezTo>
                        <a:pt x="307703" y="420065"/>
                        <a:pt x="313354" y="424118"/>
                        <a:pt x="316745" y="418038"/>
                      </a:cubicBezTo>
                      <a:cubicBezTo>
                        <a:pt x="317875" y="414998"/>
                        <a:pt x="315614" y="412971"/>
                        <a:pt x="316745" y="410945"/>
                      </a:cubicBezTo>
                      <a:cubicBezTo>
                        <a:pt x="303183" y="416012"/>
                        <a:pt x="276060" y="424118"/>
                        <a:pt x="254588" y="421078"/>
                      </a:cubicBezTo>
                      <a:cubicBezTo>
                        <a:pt x="253458" y="421078"/>
                        <a:pt x="247807" y="413985"/>
                        <a:pt x="246677" y="413985"/>
                      </a:cubicBezTo>
                      <a:cubicBezTo>
                        <a:pt x="237636" y="411958"/>
                        <a:pt x="236506" y="417025"/>
                        <a:pt x="230855" y="416012"/>
                      </a:cubicBezTo>
                      <a:cubicBezTo>
                        <a:pt x="228595" y="414998"/>
                        <a:pt x="227465" y="411958"/>
                        <a:pt x="222944" y="410945"/>
                      </a:cubicBezTo>
                      <a:close/>
                      <a:moveTo>
                        <a:pt x="34215" y="162672"/>
                      </a:moveTo>
                      <a:cubicBezTo>
                        <a:pt x="38735" y="160646"/>
                        <a:pt x="44385" y="158619"/>
                        <a:pt x="46646" y="157606"/>
                      </a:cubicBezTo>
                      <a:cubicBezTo>
                        <a:pt x="50036" y="156592"/>
                        <a:pt x="56817" y="159632"/>
                        <a:pt x="60207" y="157606"/>
                      </a:cubicBezTo>
                      <a:cubicBezTo>
                        <a:pt x="62468" y="156592"/>
                        <a:pt x="61337" y="152539"/>
                        <a:pt x="62468" y="150512"/>
                      </a:cubicBezTo>
                      <a:cubicBezTo>
                        <a:pt x="64728" y="147472"/>
                        <a:pt x="71509" y="146459"/>
                        <a:pt x="73769" y="143419"/>
                      </a:cubicBezTo>
                      <a:cubicBezTo>
                        <a:pt x="74899" y="141392"/>
                        <a:pt x="73769" y="135312"/>
                        <a:pt x="73769" y="133285"/>
                      </a:cubicBezTo>
                      <a:cubicBezTo>
                        <a:pt x="80549" y="131258"/>
                        <a:pt x="83940" y="126191"/>
                        <a:pt x="95241" y="128218"/>
                      </a:cubicBezTo>
                      <a:cubicBezTo>
                        <a:pt x="98631" y="129232"/>
                        <a:pt x="105412" y="136325"/>
                        <a:pt x="108802" y="138352"/>
                      </a:cubicBezTo>
                      <a:cubicBezTo>
                        <a:pt x="112193" y="139365"/>
                        <a:pt x="113323" y="137338"/>
                        <a:pt x="116713" y="138352"/>
                      </a:cubicBezTo>
                      <a:cubicBezTo>
                        <a:pt x="121233" y="140379"/>
                        <a:pt x="128015" y="148485"/>
                        <a:pt x="132535" y="150512"/>
                      </a:cubicBezTo>
                      <a:lnTo>
                        <a:pt x="132535" y="152539"/>
                      </a:lnTo>
                      <a:lnTo>
                        <a:pt x="138185" y="152539"/>
                      </a:lnTo>
                      <a:cubicBezTo>
                        <a:pt x="141576" y="157606"/>
                        <a:pt x="138185" y="163686"/>
                        <a:pt x="140446" y="169766"/>
                      </a:cubicBezTo>
                      <a:cubicBezTo>
                        <a:pt x="141576" y="171792"/>
                        <a:pt x="149486" y="175846"/>
                        <a:pt x="151747" y="179899"/>
                      </a:cubicBezTo>
                      <a:cubicBezTo>
                        <a:pt x="154007" y="183953"/>
                        <a:pt x="150617" y="188006"/>
                        <a:pt x="151747" y="192060"/>
                      </a:cubicBezTo>
                      <a:cubicBezTo>
                        <a:pt x="151747" y="193073"/>
                        <a:pt x="158528" y="195100"/>
                        <a:pt x="159658" y="197126"/>
                      </a:cubicBezTo>
                      <a:cubicBezTo>
                        <a:pt x="164179" y="204220"/>
                        <a:pt x="160788" y="211313"/>
                        <a:pt x="165308" y="219420"/>
                      </a:cubicBezTo>
                      <a:cubicBezTo>
                        <a:pt x="172089" y="231581"/>
                        <a:pt x="191301" y="238674"/>
                        <a:pt x="200342" y="248808"/>
                      </a:cubicBezTo>
                      <a:cubicBezTo>
                        <a:pt x="205992" y="254888"/>
                        <a:pt x="205992" y="264008"/>
                        <a:pt x="213903" y="268061"/>
                      </a:cubicBezTo>
                      <a:cubicBezTo>
                        <a:pt x="222944" y="273128"/>
                        <a:pt x="231986" y="274142"/>
                        <a:pt x="241027" y="278195"/>
                      </a:cubicBezTo>
                      <a:lnTo>
                        <a:pt x="241027" y="280222"/>
                      </a:lnTo>
                      <a:cubicBezTo>
                        <a:pt x="250067" y="281235"/>
                        <a:pt x="248938" y="275155"/>
                        <a:pt x="256848" y="278195"/>
                      </a:cubicBezTo>
                      <a:cubicBezTo>
                        <a:pt x="262498" y="280222"/>
                        <a:pt x="268149" y="293395"/>
                        <a:pt x="272670" y="295422"/>
                      </a:cubicBezTo>
                      <a:lnTo>
                        <a:pt x="278320" y="295422"/>
                      </a:lnTo>
                      <a:cubicBezTo>
                        <a:pt x="280581" y="298462"/>
                        <a:pt x="277191" y="303529"/>
                        <a:pt x="280581" y="305556"/>
                      </a:cubicBezTo>
                      <a:cubicBezTo>
                        <a:pt x="285101" y="308596"/>
                        <a:pt x="290751" y="304542"/>
                        <a:pt x="294142" y="307582"/>
                      </a:cubicBezTo>
                      <a:cubicBezTo>
                        <a:pt x="297533" y="310622"/>
                        <a:pt x="296402" y="320756"/>
                        <a:pt x="299793" y="324809"/>
                      </a:cubicBezTo>
                      <a:cubicBezTo>
                        <a:pt x="304313" y="330890"/>
                        <a:pt x="317875" y="328863"/>
                        <a:pt x="324655" y="334943"/>
                      </a:cubicBezTo>
                      <a:cubicBezTo>
                        <a:pt x="326915" y="336970"/>
                        <a:pt x="339347" y="380544"/>
                        <a:pt x="338217" y="385611"/>
                      </a:cubicBezTo>
                      <a:lnTo>
                        <a:pt x="330306" y="387638"/>
                      </a:lnTo>
                      <a:cubicBezTo>
                        <a:pt x="329176" y="393718"/>
                        <a:pt x="331436" y="398785"/>
                        <a:pt x="330306" y="404865"/>
                      </a:cubicBezTo>
                      <a:cubicBezTo>
                        <a:pt x="329176" y="406891"/>
                        <a:pt x="322395" y="412971"/>
                        <a:pt x="322395" y="414998"/>
                      </a:cubicBezTo>
                      <a:cubicBezTo>
                        <a:pt x="320135" y="426145"/>
                        <a:pt x="326915" y="426145"/>
                        <a:pt x="328046" y="429185"/>
                      </a:cubicBezTo>
                      <a:cubicBezTo>
                        <a:pt x="332566" y="426145"/>
                        <a:pt x="338217" y="429185"/>
                        <a:pt x="341607" y="427159"/>
                      </a:cubicBezTo>
                      <a:cubicBezTo>
                        <a:pt x="343867" y="426145"/>
                        <a:pt x="342737" y="417025"/>
                        <a:pt x="343867" y="414998"/>
                      </a:cubicBezTo>
                      <a:cubicBezTo>
                        <a:pt x="344998" y="413985"/>
                        <a:pt x="357429" y="407905"/>
                        <a:pt x="357429" y="407905"/>
                      </a:cubicBezTo>
                      <a:cubicBezTo>
                        <a:pt x="360819" y="401825"/>
                        <a:pt x="357429" y="393718"/>
                        <a:pt x="359689" y="388651"/>
                      </a:cubicBezTo>
                      <a:cubicBezTo>
                        <a:pt x="361950" y="384597"/>
                        <a:pt x="370990" y="385611"/>
                        <a:pt x="373251" y="381557"/>
                      </a:cubicBezTo>
                      <a:cubicBezTo>
                        <a:pt x="375510" y="376491"/>
                        <a:pt x="372120" y="364330"/>
                        <a:pt x="370990" y="362304"/>
                      </a:cubicBezTo>
                      <a:cubicBezTo>
                        <a:pt x="369860" y="359263"/>
                        <a:pt x="367600" y="359263"/>
                        <a:pt x="365340" y="357237"/>
                      </a:cubicBezTo>
                      <a:cubicBezTo>
                        <a:pt x="361950" y="353183"/>
                        <a:pt x="363079" y="349130"/>
                        <a:pt x="359689" y="345077"/>
                      </a:cubicBezTo>
                      <a:cubicBezTo>
                        <a:pt x="357429" y="342036"/>
                        <a:pt x="350648" y="342036"/>
                        <a:pt x="348388" y="340010"/>
                      </a:cubicBezTo>
                      <a:cubicBezTo>
                        <a:pt x="355168" y="327850"/>
                        <a:pt x="359689" y="306569"/>
                        <a:pt x="375510" y="310622"/>
                      </a:cubicBezTo>
                      <a:lnTo>
                        <a:pt x="375510" y="315689"/>
                      </a:lnTo>
                      <a:cubicBezTo>
                        <a:pt x="384552" y="317716"/>
                        <a:pt x="389072" y="317716"/>
                        <a:pt x="400373" y="320756"/>
                      </a:cubicBezTo>
                      <a:cubicBezTo>
                        <a:pt x="401504" y="324809"/>
                        <a:pt x="400373" y="330890"/>
                        <a:pt x="402634" y="334943"/>
                      </a:cubicBezTo>
                      <a:cubicBezTo>
                        <a:pt x="403763" y="333930"/>
                        <a:pt x="409414" y="334943"/>
                        <a:pt x="410545" y="334943"/>
                      </a:cubicBezTo>
                      <a:cubicBezTo>
                        <a:pt x="412805" y="329876"/>
                        <a:pt x="409414" y="329876"/>
                        <a:pt x="416195" y="327850"/>
                      </a:cubicBezTo>
                      <a:cubicBezTo>
                        <a:pt x="416195" y="326836"/>
                        <a:pt x="413935" y="322783"/>
                        <a:pt x="413935" y="322783"/>
                      </a:cubicBezTo>
                      <a:cubicBezTo>
                        <a:pt x="412805" y="319743"/>
                        <a:pt x="415065" y="315689"/>
                        <a:pt x="413935" y="312649"/>
                      </a:cubicBezTo>
                      <a:cubicBezTo>
                        <a:pt x="412805" y="309609"/>
                        <a:pt x="406024" y="309609"/>
                        <a:pt x="402634" y="307582"/>
                      </a:cubicBezTo>
                      <a:cubicBezTo>
                        <a:pt x="396983" y="303529"/>
                        <a:pt x="392462" y="294409"/>
                        <a:pt x="386812" y="290355"/>
                      </a:cubicBezTo>
                      <a:cubicBezTo>
                        <a:pt x="370990" y="280222"/>
                        <a:pt x="352908" y="276168"/>
                        <a:pt x="338217" y="266035"/>
                      </a:cubicBezTo>
                      <a:cubicBezTo>
                        <a:pt x="339347" y="259955"/>
                        <a:pt x="340477" y="250834"/>
                        <a:pt x="340477" y="248808"/>
                      </a:cubicBezTo>
                      <a:cubicBezTo>
                        <a:pt x="323525" y="247794"/>
                        <a:pt x="307703" y="249821"/>
                        <a:pt x="294142" y="241714"/>
                      </a:cubicBezTo>
                      <a:cubicBezTo>
                        <a:pt x="286231" y="237661"/>
                        <a:pt x="265889" y="211313"/>
                        <a:pt x="261369" y="203207"/>
                      </a:cubicBezTo>
                      <a:cubicBezTo>
                        <a:pt x="257978" y="196113"/>
                        <a:pt x="260239" y="190033"/>
                        <a:pt x="255718" y="183953"/>
                      </a:cubicBezTo>
                      <a:cubicBezTo>
                        <a:pt x="253458" y="180913"/>
                        <a:pt x="250067" y="182939"/>
                        <a:pt x="247807" y="181926"/>
                      </a:cubicBezTo>
                      <a:cubicBezTo>
                        <a:pt x="244417" y="179899"/>
                        <a:pt x="242156" y="170779"/>
                        <a:pt x="239896" y="167739"/>
                      </a:cubicBezTo>
                      <a:lnTo>
                        <a:pt x="238766" y="167739"/>
                      </a:lnTo>
                      <a:lnTo>
                        <a:pt x="238766" y="162672"/>
                      </a:lnTo>
                      <a:cubicBezTo>
                        <a:pt x="225205" y="153552"/>
                        <a:pt x="216164" y="159632"/>
                        <a:pt x="205992" y="145445"/>
                      </a:cubicBezTo>
                      <a:cubicBezTo>
                        <a:pt x="205992" y="145445"/>
                        <a:pt x="200342" y="143419"/>
                        <a:pt x="200342" y="143419"/>
                      </a:cubicBezTo>
                      <a:cubicBezTo>
                        <a:pt x="196952" y="130245"/>
                        <a:pt x="212774" y="113018"/>
                        <a:pt x="213903" y="108964"/>
                      </a:cubicBezTo>
                      <a:cubicBezTo>
                        <a:pt x="216164" y="96804"/>
                        <a:pt x="207123" y="96804"/>
                        <a:pt x="205992" y="91737"/>
                      </a:cubicBezTo>
                      <a:cubicBezTo>
                        <a:pt x="203733" y="86671"/>
                        <a:pt x="209383" y="84644"/>
                        <a:pt x="208253" y="81604"/>
                      </a:cubicBezTo>
                      <a:cubicBezTo>
                        <a:pt x="212774" y="81604"/>
                        <a:pt x="211643" y="84644"/>
                        <a:pt x="213903" y="86671"/>
                      </a:cubicBezTo>
                      <a:cubicBezTo>
                        <a:pt x="226335" y="80590"/>
                        <a:pt x="238766" y="75524"/>
                        <a:pt x="254588" y="72484"/>
                      </a:cubicBezTo>
                      <a:cubicBezTo>
                        <a:pt x="245547" y="64377"/>
                        <a:pt x="252328" y="63363"/>
                        <a:pt x="252328" y="55256"/>
                      </a:cubicBezTo>
                      <a:cubicBezTo>
                        <a:pt x="252328" y="47150"/>
                        <a:pt x="254588" y="42083"/>
                        <a:pt x="242156" y="42083"/>
                      </a:cubicBezTo>
                      <a:cubicBezTo>
                        <a:pt x="229725" y="42083"/>
                        <a:pt x="246677" y="21816"/>
                        <a:pt x="246677" y="21816"/>
                      </a:cubicBezTo>
                      <a:cubicBezTo>
                        <a:pt x="246677" y="21816"/>
                        <a:pt x="229725" y="20802"/>
                        <a:pt x="220685" y="21816"/>
                      </a:cubicBezTo>
                      <a:cubicBezTo>
                        <a:pt x="211643" y="22829"/>
                        <a:pt x="211643" y="25869"/>
                        <a:pt x="204863" y="24856"/>
                      </a:cubicBezTo>
                      <a:cubicBezTo>
                        <a:pt x="198082" y="23842"/>
                        <a:pt x="204863" y="16749"/>
                        <a:pt x="190171" y="16749"/>
                      </a:cubicBezTo>
                      <a:cubicBezTo>
                        <a:pt x="175480" y="16749"/>
                        <a:pt x="185650" y="17762"/>
                        <a:pt x="174349" y="12695"/>
                      </a:cubicBezTo>
                      <a:cubicBezTo>
                        <a:pt x="163048" y="7629"/>
                        <a:pt x="166438" y="7629"/>
                        <a:pt x="165308" y="13709"/>
                      </a:cubicBezTo>
                      <a:cubicBezTo>
                        <a:pt x="165308" y="19789"/>
                        <a:pt x="146096" y="10669"/>
                        <a:pt x="146096" y="10669"/>
                      </a:cubicBezTo>
                      <a:cubicBezTo>
                        <a:pt x="146096" y="10669"/>
                        <a:pt x="149486" y="15736"/>
                        <a:pt x="140446" y="21816"/>
                      </a:cubicBezTo>
                      <a:cubicBezTo>
                        <a:pt x="131405" y="27896"/>
                        <a:pt x="151747" y="24856"/>
                        <a:pt x="144966" y="31949"/>
                      </a:cubicBezTo>
                      <a:cubicBezTo>
                        <a:pt x="138185" y="39043"/>
                        <a:pt x="140446" y="37016"/>
                        <a:pt x="133665" y="32963"/>
                      </a:cubicBezTo>
                      <a:cubicBezTo>
                        <a:pt x="126884" y="28909"/>
                        <a:pt x="118974" y="33976"/>
                        <a:pt x="116713" y="41070"/>
                      </a:cubicBezTo>
                      <a:cubicBezTo>
                        <a:pt x="115583" y="50190"/>
                        <a:pt x="102022" y="41070"/>
                        <a:pt x="102022" y="52217"/>
                      </a:cubicBezTo>
                      <a:cubicBezTo>
                        <a:pt x="102022" y="63363"/>
                        <a:pt x="106542" y="60323"/>
                        <a:pt x="100891" y="63363"/>
                      </a:cubicBezTo>
                      <a:cubicBezTo>
                        <a:pt x="95241" y="66403"/>
                        <a:pt x="95241" y="62350"/>
                        <a:pt x="83940" y="59310"/>
                      </a:cubicBezTo>
                      <a:cubicBezTo>
                        <a:pt x="72638" y="56270"/>
                        <a:pt x="77159" y="58297"/>
                        <a:pt x="69248" y="49176"/>
                      </a:cubicBezTo>
                      <a:cubicBezTo>
                        <a:pt x="61337" y="40056"/>
                        <a:pt x="62468" y="50190"/>
                        <a:pt x="62468" y="58297"/>
                      </a:cubicBezTo>
                      <a:cubicBezTo>
                        <a:pt x="62468" y="66403"/>
                        <a:pt x="44385" y="64377"/>
                        <a:pt x="38735" y="72484"/>
                      </a:cubicBezTo>
                      <a:lnTo>
                        <a:pt x="29694" y="85657"/>
                      </a:lnTo>
                      <a:cubicBezTo>
                        <a:pt x="29694" y="85657"/>
                        <a:pt x="26304" y="96804"/>
                        <a:pt x="17263" y="96804"/>
                      </a:cubicBezTo>
                      <a:cubicBezTo>
                        <a:pt x="7092" y="96804"/>
                        <a:pt x="8222" y="115045"/>
                        <a:pt x="17263" y="115045"/>
                      </a:cubicBezTo>
                      <a:cubicBezTo>
                        <a:pt x="26304" y="115045"/>
                        <a:pt x="12742" y="136325"/>
                        <a:pt x="18393" y="141392"/>
                      </a:cubicBezTo>
                      <a:cubicBezTo>
                        <a:pt x="24043" y="146459"/>
                        <a:pt x="40995" y="137338"/>
                        <a:pt x="35345" y="145445"/>
                      </a:cubicBezTo>
                      <a:cubicBezTo>
                        <a:pt x="29694" y="153552"/>
                        <a:pt x="34215" y="146459"/>
                        <a:pt x="26304" y="154565"/>
                      </a:cubicBezTo>
                      <a:cubicBezTo>
                        <a:pt x="24043" y="160646"/>
                        <a:pt x="34215" y="162672"/>
                        <a:pt x="34215" y="162672"/>
                      </a:cubicBezTo>
                      <a:close/>
                      <a:moveTo>
                        <a:pt x="103152" y="272115"/>
                      </a:moveTo>
                      <a:cubicBezTo>
                        <a:pt x="97501" y="276168"/>
                        <a:pt x="83940" y="289342"/>
                        <a:pt x="78289" y="291369"/>
                      </a:cubicBezTo>
                      <a:cubicBezTo>
                        <a:pt x="74899" y="292382"/>
                        <a:pt x="72638" y="290355"/>
                        <a:pt x="70378" y="291369"/>
                      </a:cubicBezTo>
                      <a:cubicBezTo>
                        <a:pt x="72638" y="300489"/>
                        <a:pt x="73769" y="301502"/>
                        <a:pt x="76029" y="310622"/>
                      </a:cubicBezTo>
                      <a:cubicBezTo>
                        <a:pt x="79420" y="324809"/>
                        <a:pt x="77159" y="349130"/>
                        <a:pt x="83940" y="361290"/>
                      </a:cubicBezTo>
                      <a:cubicBezTo>
                        <a:pt x="87330" y="367370"/>
                        <a:pt x="91851" y="365344"/>
                        <a:pt x="97501" y="368384"/>
                      </a:cubicBezTo>
                      <a:cubicBezTo>
                        <a:pt x="94111" y="369397"/>
                        <a:pt x="104282" y="371424"/>
                        <a:pt x="105412" y="370410"/>
                      </a:cubicBezTo>
                      <a:cubicBezTo>
                        <a:pt x="105412" y="370410"/>
                        <a:pt x="113323" y="361290"/>
                        <a:pt x="116713" y="360277"/>
                      </a:cubicBezTo>
                      <a:lnTo>
                        <a:pt x="118974" y="360277"/>
                      </a:lnTo>
                      <a:cubicBezTo>
                        <a:pt x="120104" y="358250"/>
                        <a:pt x="130275" y="298462"/>
                        <a:pt x="130275" y="297449"/>
                      </a:cubicBezTo>
                      <a:cubicBezTo>
                        <a:pt x="130275" y="295422"/>
                        <a:pt x="120104" y="289342"/>
                        <a:pt x="118974" y="287315"/>
                      </a:cubicBezTo>
                      <a:cubicBezTo>
                        <a:pt x="115583" y="281235"/>
                        <a:pt x="118974" y="276168"/>
                        <a:pt x="113323" y="273128"/>
                      </a:cubicBezTo>
                      <a:cubicBezTo>
                        <a:pt x="109932" y="272115"/>
                        <a:pt x="106542" y="274142"/>
                        <a:pt x="103152" y="27211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1" name="Freeform: Shape 370">
                  <a:extLst>
                    <a:ext uri="{FF2B5EF4-FFF2-40B4-BE49-F238E27FC236}">
                      <a16:creationId xmlns:a16="http://schemas.microsoft.com/office/drawing/2014/main" id="{35327FC3-30BC-4956-8E40-C26F226C843E}"/>
                    </a:ext>
                  </a:extLst>
                </p:cNvPr>
                <p:cNvSpPr/>
                <p:nvPr/>
              </p:nvSpPr>
              <p:spPr>
                <a:xfrm>
                  <a:off x="7101392" y="2955307"/>
                  <a:ext cx="67807" cy="152004"/>
                </a:xfrm>
                <a:custGeom>
                  <a:avLst/>
                  <a:gdLst>
                    <a:gd name="connsiteX0" fmla="*/ 60907 w 67807"/>
                    <a:gd name="connsiteY0" fmla="*/ 60834 h 152003"/>
                    <a:gd name="connsiteX1" fmla="*/ 60907 w 67807"/>
                    <a:gd name="connsiteY1" fmla="*/ 62861 h 152003"/>
                    <a:gd name="connsiteX2" fmla="*/ 62037 w 67807"/>
                    <a:gd name="connsiteY2" fmla="*/ 78061 h 152003"/>
                    <a:gd name="connsiteX3" fmla="*/ 49606 w 67807"/>
                    <a:gd name="connsiteY3" fmla="*/ 78061 h 152003"/>
                    <a:gd name="connsiteX4" fmla="*/ 48476 w 67807"/>
                    <a:gd name="connsiteY4" fmla="*/ 57794 h 152003"/>
                    <a:gd name="connsiteX5" fmla="*/ 51867 w 67807"/>
                    <a:gd name="connsiteY5" fmla="*/ 37527 h 152003"/>
                    <a:gd name="connsiteX6" fmla="*/ 62037 w 67807"/>
                    <a:gd name="connsiteY6" fmla="*/ 38541 h 152003"/>
                    <a:gd name="connsiteX7" fmla="*/ 60907 w 67807"/>
                    <a:gd name="connsiteY7" fmla="*/ 44620 h 152003"/>
                    <a:gd name="connsiteX8" fmla="*/ 55257 w 67807"/>
                    <a:gd name="connsiteY8" fmla="*/ 46647 h 152003"/>
                    <a:gd name="connsiteX9" fmla="*/ 55257 w 67807"/>
                    <a:gd name="connsiteY9" fmla="*/ 60834 h 152003"/>
                    <a:gd name="connsiteX10" fmla="*/ 60907 w 67807"/>
                    <a:gd name="connsiteY10" fmla="*/ 60834 h 152003"/>
                    <a:gd name="connsiteX11" fmla="*/ 20223 w 67807"/>
                    <a:gd name="connsiteY11" fmla="*/ 60834 h 152003"/>
                    <a:gd name="connsiteX12" fmla="*/ 10052 w 67807"/>
                    <a:gd name="connsiteY12" fmla="*/ 69954 h 152003"/>
                    <a:gd name="connsiteX13" fmla="*/ 14572 w 67807"/>
                    <a:gd name="connsiteY13" fmla="*/ 75021 h 152003"/>
                    <a:gd name="connsiteX14" fmla="*/ 24743 w 67807"/>
                    <a:gd name="connsiteY14" fmla="*/ 66914 h 152003"/>
                    <a:gd name="connsiteX15" fmla="*/ 20223 w 67807"/>
                    <a:gd name="connsiteY15" fmla="*/ 60834 h 152003"/>
                    <a:gd name="connsiteX16" fmla="*/ 28134 w 67807"/>
                    <a:gd name="connsiteY16" fmla="*/ 151023 h 152003"/>
                    <a:gd name="connsiteX17" fmla="*/ 52996 w 67807"/>
                    <a:gd name="connsiteY17" fmla="*/ 115555 h 152003"/>
                    <a:gd name="connsiteX18" fmla="*/ 60907 w 67807"/>
                    <a:gd name="connsiteY18" fmla="*/ 77048 h 152003"/>
                    <a:gd name="connsiteX19" fmla="*/ 48476 w 67807"/>
                    <a:gd name="connsiteY19" fmla="*/ 77048 h 152003"/>
                    <a:gd name="connsiteX20" fmla="*/ 47346 w 67807"/>
                    <a:gd name="connsiteY20" fmla="*/ 56781 h 152003"/>
                    <a:gd name="connsiteX21" fmla="*/ 50736 w 67807"/>
                    <a:gd name="connsiteY21" fmla="*/ 36514 h 152003"/>
                    <a:gd name="connsiteX22" fmla="*/ 60907 w 67807"/>
                    <a:gd name="connsiteY22" fmla="*/ 37527 h 152003"/>
                    <a:gd name="connsiteX23" fmla="*/ 66558 w 67807"/>
                    <a:gd name="connsiteY23" fmla="*/ 23340 h 152003"/>
                    <a:gd name="connsiteX24" fmla="*/ 65427 w 67807"/>
                    <a:gd name="connsiteY24" fmla="*/ 10166 h 152003"/>
                    <a:gd name="connsiteX25" fmla="*/ 54126 w 67807"/>
                    <a:gd name="connsiteY25" fmla="*/ 13207 h 152003"/>
                    <a:gd name="connsiteX26" fmla="*/ 38305 w 67807"/>
                    <a:gd name="connsiteY26" fmla="*/ 15233 h 152003"/>
                    <a:gd name="connsiteX27" fmla="*/ 38305 w 67807"/>
                    <a:gd name="connsiteY27" fmla="*/ 26380 h 152003"/>
                    <a:gd name="connsiteX28" fmla="*/ 27004 w 67807"/>
                    <a:gd name="connsiteY28" fmla="*/ 36514 h 152003"/>
                    <a:gd name="connsiteX29" fmla="*/ 24743 w 67807"/>
                    <a:gd name="connsiteY29" fmla="*/ 55767 h 152003"/>
                    <a:gd name="connsiteX30" fmla="*/ 21353 w 67807"/>
                    <a:gd name="connsiteY30" fmla="*/ 58808 h 152003"/>
                    <a:gd name="connsiteX31" fmla="*/ 25873 w 67807"/>
                    <a:gd name="connsiteY31" fmla="*/ 64888 h 152003"/>
                    <a:gd name="connsiteX32" fmla="*/ 14572 w 67807"/>
                    <a:gd name="connsiteY32" fmla="*/ 74008 h 152003"/>
                    <a:gd name="connsiteX33" fmla="*/ 20223 w 67807"/>
                    <a:gd name="connsiteY33" fmla="*/ 90221 h 152003"/>
                    <a:gd name="connsiteX34" fmla="*/ 28134 w 67807"/>
                    <a:gd name="connsiteY34" fmla="*/ 151023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807" h="152003">
                      <a:moveTo>
                        <a:pt x="60907" y="60834"/>
                      </a:moveTo>
                      <a:cubicBezTo>
                        <a:pt x="60907" y="61848"/>
                        <a:pt x="60907" y="61848"/>
                        <a:pt x="60907" y="62861"/>
                      </a:cubicBezTo>
                      <a:cubicBezTo>
                        <a:pt x="60907" y="68941"/>
                        <a:pt x="62037" y="78061"/>
                        <a:pt x="62037" y="78061"/>
                      </a:cubicBezTo>
                      <a:cubicBezTo>
                        <a:pt x="62037" y="78061"/>
                        <a:pt x="50736" y="83128"/>
                        <a:pt x="49606" y="78061"/>
                      </a:cubicBezTo>
                      <a:cubicBezTo>
                        <a:pt x="48476" y="72995"/>
                        <a:pt x="48476" y="64888"/>
                        <a:pt x="48476" y="57794"/>
                      </a:cubicBezTo>
                      <a:cubicBezTo>
                        <a:pt x="48476" y="50701"/>
                        <a:pt x="43956" y="37527"/>
                        <a:pt x="51867" y="37527"/>
                      </a:cubicBezTo>
                      <a:cubicBezTo>
                        <a:pt x="59777" y="37527"/>
                        <a:pt x="60907" y="31447"/>
                        <a:pt x="62037" y="38541"/>
                      </a:cubicBezTo>
                      <a:cubicBezTo>
                        <a:pt x="60907" y="41580"/>
                        <a:pt x="60907" y="42594"/>
                        <a:pt x="60907" y="44620"/>
                      </a:cubicBezTo>
                      <a:lnTo>
                        <a:pt x="55257" y="46647"/>
                      </a:lnTo>
                      <a:cubicBezTo>
                        <a:pt x="56387" y="47661"/>
                        <a:pt x="55257" y="58808"/>
                        <a:pt x="55257" y="60834"/>
                      </a:cubicBezTo>
                      <a:cubicBezTo>
                        <a:pt x="54126" y="61848"/>
                        <a:pt x="58647" y="60834"/>
                        <a:pt x="60907" y="60834"/>
                      </a:cubicBezTo>
                      <a:close/>
                      <a:moveTo>
                        <a:pt x="20223" y="60834"/>
                      </a:moveTo>
                      <a:cubicBezTo>
                        <a:pt x="16832" y="63874"/>
                        <a:pt x="11182" y="68941"/>
                        <a:pt x="10052" y="69954"/>
                      </a:cubicBezTo>
                      <a:lnTo>
                        <a:pt x="14572" y="75021"/>
                      </a:lnTo>
                      <a:lnTo>
                        <a:pt x="24743" y="66914"/>
                      </a:lnTo>
                      <a:lnTo>
                        <a:pt x="20223" y="60834"/>
                      </a:lnTo>
                      <a:close/>
                      <a:moveTo>
                        <a:pt x="28134" y="151023"/>
                      </a:moveTo>
                      <a:cubicBezTo>
                        <a:pt x="28134" y="151023"/>
                        <a:pt x="55257" y="124676"/>
                        <a:pt x="52996" y="115555"/>
                      </a:cubicBezTo>
                      <a:cubicBezTo>
                        <a:pt x="48476" y="97315"/>
                        <a:pt x="60907" y="77048"/>
                        <a:pt x="60907" y="77048"/>
                      </a:cubicBezTo>
                      <a:cubicBezTo>
                        <a:pt x="60907" y="77048"/>
                        <a:pt x="49606" y="82115"/>
                        <a:pt x="48476" y="77048"/>
                      </a:cubicBezTo>
                      <a:cubicBezTo>
                        <a:pt x="47346" y="71981"/>
                        <a:pt x="47346" y="63874"/>
                        <a:pt x="47346" y="56781"/>
                      </a:cubicBezTo>
                      <a:cubicBezTo>
                        <a:pt x="47346" y="49687"/>
                        <a:pt x="42825" y="36514"/>
                        <a:pt x="50736" y="36514"/>
                      </a:cubicBezTo>
                      <a:cubicBezTo>
                        <a:pt x="58647" y="36514"/>
                        <a:pt x="59777" y="30433"/>
                        <a:pt x="60907" y="37527"/>
                      </a:cubicBezTo>
                      <a:cubicBezTo>
                        <a:pt x="62037" y="44620"/>
                        <a:pt x="66558" y="23340"/>
                        <a:pt x="66558" y="23340"/>
                      </a:cubicBezTo>
                      <a:lnTo>
                        <a:pt x="65427" y="10166"/>
                      </a:lnTo>
                      <a:cubicBezTo>
                        <a:pt x="60907" y="10166"/>
                        <a:pt x="56387" y="6113"/>
                        <a:pt x="54126" y="13207"/>
                      </a:cubicBezTo>
                      <a:cubicBezTo>
                        <a:pt x="50736" y="21313"/>
                        <a:pt x="38305" y="15233"/>
                        <a:pt x="38305" y="15233"/>
                      </a:cubicBezTo>
                      <a:cubicBezTo>
                        <a:pt x="38305" y="19287"/>
                        <a:pt x="39435" y="23340"/>
                        <a:pt x="38305" y="26380"/>
                      </a:cubicBezTo>
                      <a:cubicBezTo>
                        <a:pt x="37174" y="28407"/>
                        <a:pt x="28134" y="34487"/>
                        <a:pt x="27004" y="36514"/>
                      </a:cubicBezTo>
                      <a:cubicBezTo>
                        <a:pt x="23614" y="43607"/>
                        <a:pt x="27004" y="50701"/>
                        <a:pt x="24743" y="55767"/>
                      </a:cubicBezTo>
                      <a:cubicBezTo>
                        <a:pt x="24743" y="55767"/>
                        <a:pt x="23614" y="57794"/>
                        <a:pt x="21353" y="58808"/>
                      </a:cubicBezTo>
                      <a:lnTo>
                        <a:pt x="25873" y="64888"/>
                      </a:lnTo>
                      <a:lnTo>
                        <a:pt x="14572" y="74008"/>
                      </a:lnTo>
                      <a:lnTo>
                        <a:pt x="20223" y="90221"/>
                      </a:lnTo>
                      <a:lnTo>
                        <a:pt x="28134" y="15102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3" name="Freeform: Shape 372">
                  <a:extLst>
                    <a:ext uri="{FF2B5EF4-FFF2-40B4-BE49-F238E27FC236}">
                      <a16:creationId xmlns:a16="http://schemas.microsoft.com/office/drawing/2014/main" id="{12A0279C-6F4D-4E02-A48E-4DA832CF28F2}"/>
                    </a:ext>
                  </a:extLst>
                </p:cNvPr>
                <p:cNvSpPr/>
                <p:nvPr/>
              </p:nvSpPr>
              <p:spPr>
                <a:xfrm>
                  <a:off x="5526005" y="1916756"/>
                  <a:ext cx="158217" cy="212805"/>
                </a:xfrm>
                <a:custGeom>
                  <a:avLst/>
                  <a:gdLst>
                    <a:gd name="connsiteX0" fmla="*/ 130975 w 158216"/>
                    <a:gd name="connsiteY0" fmla="*/ 23200 h 212804"/>
                    <a:gd name="connsiteX1" fmla="*/ 130975 w 158216"/>
                    <a:gd name="connsiteY1" fmla="*/ 16107 h 212804"/>
                    <a:gd name="connsiteX2" fmla="*/ 123064 w 158216"/>
                    <a:gd name="connsiteY2" fmla="*/ 9013 h 212804"/>
                    <a:gd name="connsiteX3" fmla="*/ 120804 w 158216"/>
                    <a:gd name="connsiteY3" fmla="*/ 9013 h 212804"/>
                    <a:gd name="connsiteX4" fmla="*/ 120804 w 158216"/>
                    <a:gd name="connsiteY4" fmla="*/ 19147 h 212804"/>
                    <a:gd name="connsiteX5" fmla="*/ 109502 w 158216"/>
                    <a:gd name="connsiteY5" fmla="*/ 21174 h 212804"/>
                    <a:gd name="connsiteX6" fmla="*/ 109502 w 158216"/>
                    <a:gd name="connsiteY6" fmla="*/ 16107 h 212804"/>
                    <a:gd name="connsiteX7" fmla="*/ 88031 w 158216"/>
                    <a:gd name="connsiteY7" fmla="*/ 18134 h 212804"/>
                    <a:gd name="connsiteX8" fmla="*/ 88031 w 158216"/>
                    <a:gd name="connsiteY8" fmla="*/ 28267 h 212804"/>
                    <a:gd name="connsiteX9" fmla="*/ 88031 w 158216"/>
                    <a:gd name="connsiteY9" fmla="*/ 35361 h 212804"/>
                    <a:gd name="connsiteX10" fmla="*/ 90291 w 158216"/>
                    <a:gd name="connsiteY10" fmla="*/ 42454 h 212804"/>
                    <a:gd name="connsiteX11" fmla="*/ 74469 w 158216"/>
                    <a:gd name="connsiteY11" fmla="*/ 49548 h 212804"/>
                    <a:gd name="connsiteX12" fmla="*/ 74469 w 158216"/>
                    <a:gd name="connsiteY12" fmla="*/ 61708 h 212804"/>
                    <a:gd name="connsiteX13" fmla="*/ 68818 w 158216"/>
                    <a:gd name="connsiteY13" fmla="*/ 61708 h 212804"/>
                    <a:gd name="connsiteX14" fmla="*/ 52996 w 158216"/>
                    <a:gd name="connsiteY14" fmla="*/ 56641 h 212804"/>
                    <a:gd name="connsiteX15" fmla="*/ 47346 w 158216"/>
                    <a:gd name="connsiteY15" fmla="*/ 63735 h 212804"/>
                    <a:gd name="connsiteX16" fmla="*/ 41695 w 158216"/>
                    <a:gd name="connsiteY16" fmla="*/ 61708 h 212804"/>
                    <a:gd name="connsiteX17" fmla="*/ 39436 w 158216"/>
                    <a:gd name="connsiteY17" fmla="*/ 54614 h 212804"/>
                    <a:gd name="connsiteX18" fmla="*/ 33785 w 158216"/>
                    <a:gd name="connsiteY18" fmla="*/ 54614 h 212804"/>
                    <a:gd name="connsiteX19" fmla="*/ 45086 w 158216"/>
                    <a:gd name="connsiteY19" fmla="*/ 78935 h 212804"/>
                    <a:gd name="connsiteX20" fmla="*/ 42826 w 158216"/>
                    <a:gd name="connsiteY20" fmla="*/ 86028 h 212804"/>
                    <a:gd name="connsiteX21" fmla="*/ 23614 w 158216"/>
                    <a:gd name="connsiteY21" fmla="*/ 88055 h 212804"/>
                    <a:gd name="connsiteX22" fmla="*/ 25874 w 158216"/>
                    <a:gd name="connsiteY22" fmla="*/ 95149 h 212804"/>
                    <a:gd name="connsiteX23" fmla="*/ 14573 w 158216"/>
                    <a:gd name="connsiteY23" fmla="*/ 97175 h 212804"/>
                    <a:gd name="connsiteX24" fmla="*/ 14573 w 158216"/>
                    <a:gd name="connsiteY24" fmla="*/ 107309 h 212804"/>
                    <a:gd name="connsiteX25" fmla="*/ 55257 w 158216"/>
                    <a:gd name="connsiteY25" fmla="*/ 112376 h 212804"/>
                    <a:gd name="connsiteX26" fmla="*/ 57517 w 158216"/>
                    <a:gd name="connsiteY26" fmla="*/ 102242 h 212804"/>
                    <a:gd name="connsiteX27" fmla="*/ 57517 w 158216"/>
                    <a:gd name="connsiteY27" fmla="*/ 114402 h 212804"/>
                    <a:gd name="connsiteX28" fmla="*/ 43956 w 158216"/>
                    <a:gd name="connsiteY28" fmla="*/ 121496 h 212804"/>
                    <a:gd name="connsiteX29" fmla="*/ 43956 w 158216"/>
                    <a:gd name="connsiteY29" fmla="*/ 133656 h 212804"/>
                    <a:gd name="connsiteX30" fmla="*/ 41695 w 158216"/>
                    <a:gd name="connsiteY30" fmla="*/ 150883 h 212804"/>
                    <a:gd name="connsiteX31" fmla="*/ 25874 w 158216"/>
                    <a:gd name="connsiteY31" fmla="*/ 157977 h 212804"/>
                    <a:gd name="connsiteX32" fmla="*/ 31525 w 158216"/>
                    <a:gd name="connsiteY32" fmla="*/ 168110 h 212804"/>
                    <a:gd name="connsiteX33" fmla="*/ 12312 w 158216"/>
                    <a:gd name="connsiteY33" fmla="*/ 166084 h 212804"/>
                    <a:gd name="connsiteX34" fmla="*/ 10052 w 158216"/>
                    <a:gd name="connsiteY34" fmla="*/ 176217 h 212804"/>
                    <a:gd name="connsiteX35" fmla="*/ 21353 w 158216"/>
                    <a:gd name="connsiteY35" fmla="*/ 178244 h 212804"/>
                    <a:gd name="connsiteX36" fmla="*/ 19093 w 158216"/>
                    <a:gd name="connsiteY36" fmla="*/ 183311 h 212804"/>
                    <a:gd name="connsiteX37" fmla="*/ 13442 w 158216"/>
                    <a:gd name="connsiteY37" fmla="*/ 193444 h 212804"/>
                    <a:gd name="connsiteX38" fmla="*/ 24743 w 158216"/>
                    <a:gd name="connsiteY38" fmla="*/ 188378 h 212804"/>
                    <a:gd name="connsiteX39" fmla="*/ 32654 w 158216"/>
                    <a:gd name="connsiteY39" fmla="*/ 193444 h 212804"/>
                    <a:gd name="connsiteX40" fmla="*/ 32654 w 158216"/>
                    <a:gd name="connsiteY40" fmla="*/ 203578 h 212804"/>
                    <a:gd name="connsiteX41" fmla="*/ 54127 w 158216"/>
                    <a:gd name="connsiteY41" fmla="*/ 191418 h 212804"/>
                    <a:gd name="connsiteX42" fmla="*/ 54127 w 158216"/>
                    <a:gd name="connsiteY42" fmla="*/ 198511 h 212804"/>
                    <a:gd name="connsiteX43" fmla="*/ 62038 w 158216"/>
                    <a:gd name="connsiteY43" fmla="*/ 203578 h 212804"/>
                    <a:gd name="connsiteX44" fmla="*/ 73339 w 158216"/>
                    <a:gd name="connsiteY44" fmla="*/ 193444 h 212804"/>
                    <a:gd name="connsiteX45" fmla="*/ 81249 w 158216"/>
                    <a:gd name="connsiteY45" fmla="*/ 193444 h 212804"/>
                    <a:gd name="connsiteX46" fmla="*/ 86900 w 158216"/>
                    <a:gd name="connsiteY46" fmla="*/ 183311 h 212804"/>
                    <a:gd name="connsiteX47" fmla="*/ 86900 w 158216"/>
                    <a:gd name="connsiteY47" fmla="*/ 181284 h 212804"/>
                    <a:gd name="connsiteX48" fmla="*/ 102722 w 158216"/>
                    <a:gd name="connsiteY48" fmla="*/ 183311 h 212804"/>
                    <a:gd name="connsiteX49" fmla="*/ 104982 w 158216"/>
                    <a:gd name="connsiteY49" fmla="*/ 178244 h 212804"/>
                    <a:gd name="connsiteX50" fmla="*/ 110633 w 158216"/>
                    <a:gd name="connsiteY50" fmla="*/ 178244 h 212804"/>
                    <a:gd name="connsiteX51" fmla="*/ 112893 w 158216"/>
                    <a:gd name="connsiteY51" fmla="*/ 166084 h 212804"/>
                    <a:gd name="connsiteX52" fmla="*/ 126454 w 158216"/>
                    <a:gd name="connsiteY52" fmla="*/ 166084 h 212804"/>
                    <a:gd name="connsiteX53" fmla="*/ 128715 w 158216"/>
                    <a:gd name="connsiteY53" fmla="*/ 155950 h 212804"/>
                    <a:gd name="connsiteX54" fmla="*/ 140016 w 158216"/>
                    <a:gd name="connsiteY54" fmla="*/ 161017 h 212804"/>
                    <a:gd name="connsiteX55" fmla="*/ 134365 w 158216"/>
                    <a:gd name="connsiteY55" fmla="*/ 150883 h 212804"/>
                    <a:gd name="connsiteX56" fmla="*/ 134365 w 158216"/>
                    <a:gd name="connsiteY56" fmla="*/ 148857 h 212804"/>
                    <a:gd name="connsiteX57" fmla="*/ 147927 w 158216"/>
                    <a:gd name="connsiteY57" fmla="*/ 146830 h 212804"/>
                    <a:gd name="connsiteX58" fmla="*/ 147927 w 158216"/>
                    <a:gd name="connsiteY58" fmla="*/ 120483 h 212804"/>
                    <a:gd name="connsiteX59" fmla="*/ 142276 w 158216"/>
                    <a:gd name="connsiteY59" fmla="*/ 118456 h 212804"/>
                    <a:gd name="connsiteX60" fmla="*/ 142276 w 158216"/>
                    <a:gd name="connsiteY60" fmla="*/ 108322 h 212804"/>
                    <a:gd name="connsiteX61" fmla="*/ 136626 w 158216"/>
                    <a:gd name="connsiteY61" fmla="*/ 108322 h 212804"/>
                    <a:gd name="connsiteX62" fmla="*/ 142276 w 158216"/>
                    <a:gd name="connsiteY62" fmla="*/ 94135 h 212804"/>
                    <a:gd name="connsiteX63" fmla="*/ 140016 w 158216"/>
                    <a:gd name="connsiteY63" fmla="*/ 87042 h 212804"/>
                    <a:gd name="connsiteX64" fmla="*/ 140016 w 158216"/>
                    <a:gd name="connsiteY64" fmla="*/ 79948 h 212804"/>
                    <a:gd name="connsiteX65" fmla="*/ 151317 w 158216"/>
                    <a:gd name="connsiteY65" fmla="*/ 74882 h 212804"/>
                    <a:gd name="connsiteX66" fmla="*/ 150187 w 158216"/>
                    <a:gd name="connsiteY66" fmla="*/ 72855 h 212804"/>
                    <a:gd name="connsiteX67" fmla="*/ 135496 w 158216"/>
                    <a:gd name="connsiteY67" fmla="*/ 75895 h 212804"/>
                    <a:gd name="connsiteX68" fmla="*/ 128715 w 158216"/>
                    <a:gd name="connsiteY68" fmla="*/ 67788 h 212804"/>
                    <a:gd name="connsiteX69" fmla="*/ 118544 w 158216"/>
                    <a:gd name="connsiteY69" fmla="*/ 72855 h 212804"/>
                    <a:gd name="connsiteX70" fmla="*/ 106112 w 158216"/>
                    <a:gd name="connsiteY70" fmla="*/ 61708 h 212804"/>
                    <a:gd name="connsiteX71" fmla="*/ 99332 w 158216"/>
                    <a:gd name="connsiteY71" fmla="*/ 52588 h 212804"/>
                    <a:gd name="connsiteX72" fmla="*/ 114023 w 158216"/>
                    <a:gd name="connsiteY72" fmla="*/ 39414 h 212804"/>
                    <a:gd name="connsiteX73" fmla="*/ 130975 w 158216"/>
                    <a:gd name="connsiteY73" fmla="*/ 23200 h 212804"/>
                    <a:gd name="connsiteX74" fmla="*/ 56387 w 158216"/>
                    <a:gd name="connsiteY74" fmla="*/ 140750 h 212804"/>
                    <a:gd name="connsiteX75" fmla="*/ 54127 w 158216"/>
                    <a:gd name="connsiteY75" fmla="*/ 150883 h 212804"/>
                    <a:gd name="connsiteX76" fmla="*/ 56387 w 158216"/>
                    <a:gd name="connsiteY76" fmla="*/ 140750 h 21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58216" h="212804">
                      <a:moveTo>
                        <a:pt x="130975" y="23200"/>
                      </a:moveTo>
                      <a:cubicBezTo>
                        <a:pt x="130975" y="21174"/>
                        <a:pt x="129845" y="18134"/>
                        <a:pt x="130975" y="16107"/>
                      </a:cubicBezTo>
                      <a:cubicBezTo>
                        <a:pt x="128715" y="14080"/>
                        <a:pt x="126454" y="9013"/>
                        <a:pt x="123064" y="9013"/>
                      </a:cubicBezTo>
                      <a:lnTo>
                        <a:pt x="120804" y="9013"/>
                      </a:lnTo>
                      <a:cubicBezTo>
                        <a:pt x="119674" y="9013"/>
                        <a:pt x="120804" y="18134"/>
                        <a:pt x="120804" y="19147"/>
                      </a:cubicBezTo>
                      <a:cubicBezTo>
                        <a:pt x="115153" y="18134"/>
                        <a:pt x="112893" y="22187"/>
                        <a:pt x="109502" y="21174"/>
                      </a:cubicBezTo>
                      <a:lnTo>
                        <a:pt x="109502" y="16107"/>
                      </a:lnTo>
                      <a:cubicBezTo>
                        <a:pt x="100462" y="17120"/>
                        <a:pt x="93681" y="16107"/>
                        <a:pt x="88031" y="18134"/>
                      </a:cubicBezTo>
                      <a:cubicBezTo>
                        <a:pt x="86900" y="18134"/>
                        <a:pt x="88031" y="27254"/>
                        <a:pt x="88031" y="28267"/>
                      </a:cubicBezTo>
                      <a:cubicBezTo>
                        <a:pt x="76729" y="31307"/>
                        <a:pt x="72209" y="34347"/>
                        <a:pt x="88031" y="35361"/>
                      </a:cubicBezTo>
                      <a:lnTo>
                        <a:pt x="90291" y="42454"/>
                      </a:lnTo>
                      <a:cubicBezTo>
                        <a:pt x="84640" y="44481"/>
                        <a:pt x="76729" y="45494"/>
                        <a:pt x="74469" y="49548"/>
                      </a:cubicBezTo>
                      <a:cubicBezTo>
                        <a:pt x="73339" y="51574"/>
                        <a:pt x="69948" y="59681"/>
                        <a:pt x="74469" y="61708"/>
                      </a:cubicBezTo>
                      <a:cubicBezTo>
                        <a:pt x="74469" y="61708"/>
                        <a:pt x="65428" y="64748"/>
                        <a:pt x="68818" y="61708"/>
                      </a:cubicBezTo>
                      <a:cubicBezTo>
                        <a:pt x="63168" y="59681"/>
                        <a:pt x="58647" y="56641"/>
                        <a:pt x="52996" y="56641"/>
                      </a:cubicBezTo>
                      <a:cubicBezTo>
                        <a:pt x="52996" y="56641"/>
                        <a:pt x="48476" y="62721"/>
                        <a:pt x="47346" y="63735"/>
                      </a:cubicBezTo>
                      <a:cubicBezTo>
                        <a:pt x="46216" y="62721"/>
                        <a:pt x="43956" y="60695"/>
                        <a:pt x="41695" y="61708"/>
                      </a:cubicBezTo>
                      <a:cubicBezTo>
                        <a:pt x="39436" y="59681"/>
                        <a:pt x="40565" y="57655"/>
                        <a:pt x="39436" y="54614"/>
                      </a:cubicBezTo>
                      <a:lnTo>
                        <a:pt x="33785" y="54614"/>
                      </a:lnTo>
                      <a:cubicBezTo>
                        <a:pt x="32654" y="71842"/>
                        <a:pt x="31525" y="70828"/>
                        <a:pt x="45086" y="78935"/>
                      </a:cubicBezTo>
                      <a:cubicBezTo>
                        <a:pt x="45086" y="79948"/>
                        <a:pt x="39436" y="84002"/>
                        <a:pt x="42826" y="86028"/>
                      </a:cubicBezTo>
                      <a:cubicBezTo>
                        <a:pt x="34915" y="87042"/>
                        <a:pt x="28134" y="86028"/>
                        <a:pt x="23614" y="88055"/>
                      </a:cubicBezTo>
                      <a:cubicBezTo>
                        <a:pt x="23614" y="88055"/>
                        <a:pt x="25874" y="94135"/>
                        <a:pt x="25874" y="95149"/>
                      </a:cubicBezTo>
                      <a:cubicBezTo>
                        <a:pt x="21353" y="98189"/>
                        <a:pt x="21353" y="96162"/>
                        <a:pt x="14573" y="97175"/>
                      </a:cubicBezTo>
                      <a:cubicBezTo>
                        <a:pt x="14573" y="98189"/>
                        <a:pt x="15703" y="106296"/>
                        <a:pt x="14573" y="107309"/>
                      </a:cubicBezTo>
                      <a:cubicBezTo>
                        <a:pt x="34915" y="112376"/>
                        <a:pt x="33785" y="112376"/>
                        <a:pt x="55257" y="112376"/>
                      </a:cubicBezTo>
                      <a:cubicBezTo>
                        <a:pt x="56387" y="107309"/>
                        <a:pt x="54127" y="105282"/>
                        <a:pt x="57517" y="102242"/>
                      </a:cubicBezTo>
                      <a:cubicBezTo>
                        <a:pt x="63168" y="105282"/>
                        <a:pt x="57517" y="112376"/>
                        <a:pt x="57517" y="114402"/>
                      </a:cubicBezTo>
                      <a:cubicBezTo>
                        <a:pt x="55257" y="115416"/>
                        <a:pt x="45086" y="119469"/>
                        <a:pt x="43956" y="121496"/>
                      </a:cubicBezTo>
                      <a:cubicBezTo>
                        <a:pt x="41695" y="124536"/>
                        <a:pt x="45086" y="129603"/>
                        <a:pt x="43956" y="133656"/>
                      </a:cubicBezTo>
                      <a:cubicBezTo>
                        <a:pt x="40565" y="143790"/>
                        <a:pt x="16833" y="142777"/>
                        <a:pt x="41695" y="150883"/>
                      </a:cubicBezTo>
                      <a:cubicBezTo>
                        <a:pt x="36045" y="153923"/>
                        <a:pt x="31525" y="154937"/>
                        <a:pt x="25874" y="157977"/>
                      </a:cubicBezTo>
                      <a:cubicBezTo>
                        <a:pt x="27004" y="158990"/>
                        <a:pt x="32654" y="167097"/>
                        <a:pt x="31525" y="168110"/>
                      </a:cubicBezTo>
                      <a:cubicBezTo>
                        <a:pt x="23614" y="170137"/>
                        <a:pt x="17963" y="166084"/>
                        <a:pt x="12312" y="166084"/>
                      </a:cubicBezTo>
                      <a:lnTo>
                        <a:pt x="10052" y="176217"/>
                      </a:lnTo>
                      <a:cubicBezTo>
                        <a:pt x="11183" y="176217"/>
                        <a:pt x="19093" y="177231"/>
                        <a:pt x="21353" y="178244"/>
                      </a:cubicBezTo>
                      <a:cubicBezTo>
                        <a:pt x="21353" y="179257"/>
                        <a:pt x="16833" y="182297"/>
                        <a:pt x="19093" y="183311"/>
                      </a:cubicBezTo>
                      <a:cubicBezTo>
                        <a:pt x="16833" y="183311"/>
                        <a:pt x="14573" y="191418"/>
                        <a:pt x="13442" y="193444"/>
                      </a:cubicBezTo>
                      <a:cubicBezTo>
                        <a:pt x="17963" y="192431"/>
                        <a:pt x="22484" y="189391"/>
                        <a:pt x="24743" y="188378"/>
                      </a:cubicBezTo>
                      <a:cubicBezTo>
                        <a:pt x="33785" y="186351"/>
                        <a:pt x="43956" y="191418"/>
                        <a:pt x="32654" y="193444"/>
                      </a:cubicBezTo>
                      <a:cubicBezTo>
                        <a:pt x="29264" y="194458"/>
                        <a:pt x="22484" y="205605"/>
                        <a:pt x="32654" y="203578"/>
                      </a:cubicBezTo>
                      <a:cubicBezTo>
                        <a:pt x="33785" y="203578"/>
                        <a:pt x="48476" y="193444"/>
                        <a:pt x="54127" y="191418"/>
                      </a:cubicBezTo>
                      <a:cubicBezTo>
                        <a:pt x="55257" y="192431"/>
                        <a:pt x="54127" y="197498"/>
                        <a:pt x="54127" y="198511"/>
                      </a:cubicBezTo>
                      <a:cubicBezTo>
                        <a:pt x="57517" y="200538"/>
                        <a:pt x="59778" y="200538"/>
                        <a:pt x="62038" y="203578"/>
                      </a:cubicBezTo>
                      <a:cubicBezTo>
                        <a:pt x="64298" y="201551"/>
                        <a:pt x="71079" y="194458"/>
                        <a:pt x="73339" y="193444"/>
                      </a:cubicBezTo>
                      <a:cubicBezTo>
                        <a:pt x="75599" y="192431"/>
                        <a:pt x="80120" y="194458"/>
                        <a:pt x="81249" y="193444"/>
                      </a:cubicBezTo>
                      <a:cubicBezTo>
                        <a:pt x="83510" y="191418"/>
                        <a:pt x="86900" y="188378"/>
                        <a:pt x="86900" y="183311"/>
                      </a:cubicBezTo>
                      <a:lnTo>
                        <a:pt x="86900" y="181284"/>
                      </a:lnTo>
                      <a:cubicBezTo>
                        <a:pt x="91421" y="179257"/>
                        <a:pt x="98201" y="182297"/>
                        <a:pt x="102722" y="183311"/>
                      </a:cubicBezTo>
                      <a:cubicBezTo>
                        <a:pt x="102722" y="183311"/>
                        <a:pt x="104982" y="178244"/>
                        <a:pt x="104982" y="178244"/>
                      </a:cubicBezTo>
                      <a:lnTo>
                        <a:pt x="110633" y="178244"/>
                      </a:lnTo>
                      <a:cubicBezTo>
                        <a:pt x="111763" y="172164"/>
                        <a:pt x="110633" y="170137"/>
                        <a:pt x="112893" y="166084"/>
                      </a:cubicBezTo>
                      <a:cubicBezTo>
                        <a:pt x="116284" y="166084"/>
                        <a:pt x="124194" y="167097"/>
                        <a:pt x="126454" y="166084"/>
                      </a:cubicBezTo>
                      <a:cubicBezTo>
                        <a:pt x="128715" y="165070"/>
                        <a:pt x="125324" y="156963"/>
                        <a:pt x="128715" y="155950"/>
                      </a:cubicBezTo>
                      <a:cubicBezTo>
                        <a:pt x="132105" y="154937"/>
                        <a:pt x="133235" y="161017"/>
                        <a:pt x="140016" y="161017"/>
                      </a:cubicBezTo>
                      <a:cubicBezTo>
                        <a:pt x="140016" y="161017"/>
                        <a:pt x="138886" y="152910"/>
                        <a:pt x="134365" y="150883"/>
                      </a:cubicBezTo>
                      <a:lnTo>
                        <a:pt x="134365" y="148857"/>
                      </a:lnTo>
                      <a:cubicBezTo>
                        <a:pt x="136626" y="147843"/>
                        <a:pt x="146797" y="146830"/>
                        <a:pt x="147927" y="146830"/>
                      </a:cubicBezTo>
                      <a:cubicBezTo>
                        <a:pt x="146797" y="136696"/>
                        <a:pt x="149057" y="129603"/>
                        <a:pt x="147927" y="120483"/>
                      </a:cubicBezTo>
                      <a:lnTo>
                        <a:pt x="142276" y="118456"/>
                      </a:lnTo>
                      <a:cubicBezTo>
                        <a:pt x="142276" y="115416"/>
                        <a:pt x="143406" y="111362"/>
                        <a:pt x="142276" y="108322"/>
                      </a:cubicBezTo>
                      <a:lnTo>
                        <a:pt x="136626" y="108322"/>
                      </a:lnTo>
                      <a:cubicBezTo>
                        <a:pt x="136626" y="108322"/>
                        <a:pt x="141146" y="96162"/>
                        <a:pt x="142276" y="94135"/>
                      </a:cubicBezTo>
                      <a:cubicBezTo>
                        <a:pt x="142276" y="92109"/>
                        <a:pt x="144537" y="85015"/>
                        <a:pt x="140016" y="87042"/>
                      </a:cubicBezTo>
                      <a:cubicBezTo>
                        <a:pt x="140016" y="86028"/>
                        <a:pt x="140016" y="79948"/>
                        <a:pt x="140016" y="79948"/>
                      </a:cubicBezTo>
                      <a:cubicBezTo>
                        <a:pt x="143406" y="78935"/>
                        <a:pt x="147927" y="77922"/>
                        <a:pt x="151317" y="74882"/>
                      </a:cubicBezTo>
                      <a:lnTo>
                        <a:pt x="150187" y="72855"/>
                      </a:lnTo>
                      <a:lnTo>
                        <a:pt x="135496" y="75895"/>
                      </a:lnTo>
                      <a:lnTo>
                        <a:pt x="128715" y="67788"/>
                      </a:lnTo>
                      <a:cubicBezTo>
                        <a:pt x="128715" y="67788"/>
                        <a:pt x="128715" y="65761"/>
                        <a:pt x="118544" y="72855"/>
                      </a:cubicBezTo>
                      <a:cubicBezTo>
                        <a:pt x="108373" y="79948"/>
                        <a:pt x="118544" y="61708"/>
                        <a:pt x="106112" y="61708"/>
                      </a:cubicBezTo>
                      <a:cubicBezTo>
                        <a:pt x="93681" y="61708"/>
                        <a:pt x="102722" y="60695"/>
                        <a:pt x="99332" y="52588"/>
                      </a:cubicBezTo>
                      <a:cubicBezTo>
                        <a:pt x="94811" y="44481"/>
                        <a:pt x="116284" y="51574"/>
                        <a:pt x="114023" y="39414"/>
                      </a:cubicBezTo>
                      <a:cubicBezTo>
                        <a:pt x="111763" y="27254"/>
                        <a:pt x="130975" y="23200"/>
                        <a:pt x="130975" y="23200"/>
                      </a:cubicBezTo>
                      <a:close/>
                      <a:moveTo>
                        <a:pt x="56387" y="140750"/>
                      </a:moveTo>
                      <a:cubicBezTo>
                        <a:pt x="67689" y="136696"/>
                        <a:pt x="56387" y="149870"/>
                        <a:pt x="54127" y="150883"/>
                      </a:cubicBezTo>
                      <a:cubicBezTo>
                        <a:pt x="43956" y="152910"/>
                        <a:pt x="51867" y="141763"/>
                        <a:pt x="56387" y="14075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5" name="Freeform: Shape 374">
                  <a:extLst>
                    <a:ext uri="{FF2B5EF4-FFF2-40B4-BE49-F238E27FC236}">
                      <a16:creationId xmlns:a16="http://schemas.microsoft.com/office/drawing/2014/main" id="{B042575C-AA1E-4844-835C-CB2E0D8C14FC}"/>
                    </a:ext>
                  </a:extLst>
                </p:cNvPr>
                <p:cNvSpPr/>
                <p:nvPr/>
              </p:nvSpPr>
              <p:spPr>
                <a:xfrm>
                  <a:off x="7261869" y="2753789"/>
                  <a:ext cx="372939" cy="354675"/>
                </a:xfrm>
                <a:custGeom>
                  <a:avLst/>
                  <a:gdLst>
                    <a:gd name="connsiteX0" fmla="*/ 370560 w 372939"/>
                    <a:gd name="connsiteY0" fmla="*/ 316061 h 354674"/>
                    <a:gd name="connsiteX1" fmla="*/ 367170 w 372939"/>
                    <a:gd name="connsiteY1" fmla="*/ 312007 h 354674"/>
                    <a:gd name="connsiteX2" fmla="*/ 361519 w 372939"/>
                    <a:gd name="connsiteY2" fmla="*/ 302887 h 354674"/>
                    <a:gd name="connsiteX3" fmla="*/ 349088 w 372939"/>
                    <a:gd name="connsiteY3" fmla="*/ 293767 h 354674"/>
                    <a:gd name="connsiteX4" fmla="*/ 349088 w 372939"/>
                    <a:gd name="connsiteY4" fmla="*/ 278566 h 354674"/>
                    <a:gd name="connsiteX5" fmla="*/ 338917 w 372939"/>
                    <a:gd name="connsiteY5" fmla="*/ 278566 h 354674"/>
                    <a:gd name="connsiteX6" fmla="*/ 335526 w 372939"/>
                    <a:gd name="connsiteY6" fmla="*/ 253232 h 354674"/>
                    <a:gd name="connsiteX7" fmla="*/ 325355 w 372939"/>
                    <a:gd name="connsiteY7" fmla="*/ 232965 h 354674"/>
                    <a:gd name="connsiteX8" fmla="*/ 312924 w 372939"/>
                    <a:gd name="connsiteY8" fmla="*/ 213712 h 354674"/>
                    <a:gd name="connsiteX9" fmla="*/ 294842 w 372939"/>
                    <a:gd name="connsiteY9" fmla="*/ 209658 h 354674"/>
                    <a:gd name="connsiteX10" fmla="*/ 295972 w 372939"/>
                    <a:gd name="connsiteY10" fmla="*/ 199525 h 354674"/>
                    <a:gd name="connsiteX11" fmla="*/ 267719 w 372939"/>
                    <a:gd name="connsiteY11" fmla="*/ 176217 h 354674"/>
                    <a:gd name="connsiteX12" fmla="*/ 249637 w 372939"/>
                    <a:gd name="connsiteY12" fmla="*/ 147843 h 354674"/>
                    <a:gd name="connsiteX13" fmla="*/ 240596 w 372939"/>
                    <a:gd name="connsiteY13" fmla="*/ 132643 h 354674"/>
                    <a:gd name="connsiteX14" fmla="*/ 245117 w 372939"/>
                    <a:gd name="connsiteY14" fmla="*/ 116429 h 354674"/>
                    <a:gd name="connsiteX15" fmla="*/ 257548 w 372939"/>
                    <a:gd name="connsiteY15" fmla="*/ 113389 h 354674"/>
                    <a:gd name="connsiteX16" fmla="*/ 256418 w 372939"/>
                    <a:gd name="connsiteY16" fmla="*/ 94135 h 354674"/>
                    <a:gd name="connsiteX17" fmla="*/ 272239 w 372939"/>
                    <a:gd name="connsiteY17" fmla="*/ 88055 h 354674"/>
                    <a:gd name="connsiteX18" fmla="*/ 268849 w 372939"/>
                    <a:gd name="connsiteY18" fmla="*/ 78935 h 354674"/>
                    <a:gd name="connsiteX19" fmla="*/ 253028 w 372939"/>
                    <a:gd name="connsiteY19" fmla="*/ 78935 h 354674"/>
                    <a:gd name="connsiteX20" fmla="*/ 238336 w 372939"/>
                    <a:gd name="connsiteY20" fmla="*/ 74882 h 354674"/>
                    <a:gd name="connsiteX21" fmla="*/ 225905 w 372939"/>
                    <a:gd name="connsiteY21" fmla="*/ 68801 h 354674"/>
                    <a:gd name="connsiteX22" fmla="*/ 216864 w 372939"/>
                    <a:gd name="connsiteY22" fmla="*/ 57655 h 354674"/>
                    <a:gd name="connsiteX23" fmla="*/ 212343 w 372939"/>
                    <a:gd name="connsiteY23" fmla="*/ 47521 h 354674"/>
                    <a:gd name="connsiteX24" fmla="*/ 211213 w 372939"/>
                    <a:gd name="connsiteY24" fmla="*/ 33334 h 354674"/>
                    <a:gd name="connsiteX25" fmla="*/ 204432 w 372939"/>
                    <a:gd name="connsiteY25" fmla="*/ 18134 h 354674"/>
                    <a:gd name="connsiteX26" fmla="*/ 193131 w 372939"/>
                    <a:gd name="connsiteY26" fmla="*/ 14080 h 354674"/>
                    <a:gd name="connsiteX27" fmla="*/ 179570 w 372939"/>
                    <a:gd name="connsiteY27" fmla="*/ 21174 h 354674"/>
                    <a:gd name="connsiteX28" fmla="*/ 175049 w 372939"/>
                    <a:gd name="connsiteY28" fmla="*/ 12054 h 354674"/>
                    <a:gd name="connsiteX29" fmla="*/ 168269 w 372939"/>
                    <a:gd name="connsiteY29" fmla="*/ 9013 h 354674"/>
                    <a:gd name="connsiteX30" fmla="*/ 159227 w 372939"/>
                    <a:gd name="connsiteY30" fmla="*/ 18134 h 354674"/>
                    <a:gd name="connsiteX31" fmla="*/ 136625 w 372939"/>
                    <a:gd name="connsiteY31" fmla="*/ 15094 h 354674"/>
                    <a:gd name="connsiteX32" fmla="*/ 127584 w 372939"/>
                    <a:gd name="connsiteY32" fmla="*/ 18134 h 354674"/>
                    <a:gd name="connsiteX33" fmla="*/ 119673 w 372939"/>
                    <a:gd name="connsiteY33" fmla="*/ 38401 h 354674"/>
                    <a:gd name="connsiteX34" fmla="*/ 102721 w 372939"/>
                    <a:gd name="connsiteY34" fmla="*/ 56641 h 354674"/>
                    <a:gd name="connsiteX35" fmla="*/ 104982 w 372939"/>
                    <a:gd name="connsiteY35" fmla="*/ 72855 h 354674"/>
                    <a:gd name="connsiteX36" fmla="*/ 98201 w 372939"/>
                    <a:gd name="connsiteY36" fmla="*/ 93122 h 354674"/>
                    <a:gd name="connsiteX37" fmla="*/ 98201 w 372939"/>
                    <a:gd name="connsiteY37" fmla="*/ 109336 h 354674"/>
                    <a:gd name="connsiteX38" fmla="*/ 90290 w 372939"/>
                    <a:gd name="connsiteY38" fmla="*/ 127576 h 354674"/>
                    <a:gd name="connsiteX39" fmla="*/ 83510 w 372939"/>
                    <a:gd name="connsiteY39" fmla="*/ 137710 h 354674"/>
                    <a:gd name="connsiteX40" fmla="*/ 10052 w 372939"/>
                    <a:gd name="connsiteY40" fmla="*/ 189391 h 354674"/>
                    <a:gd name="connsiteX41" fmla="*/ 29263 w 372939"/>
                    <a:gd name="connsiteY41" fmla="*/ 244112 h 354674"/>
                    <a:gd name="connsiteX42" fmla="*/ 126454 w 372939"/>
                    <a:gd name="connsiteY42" fmla="*/ 294780 h 354674"/>
                    <a:gd name="connsiteX43" fmla="*/ 129844 w 372939"/>
                    <a:gd name="connsiteY43" fmla="*/ 304914 h 354674"/>
                    <a:gd name="connsiteX44" fmla="*/ 155837 w 372939"/>
                    <a:gd name="connsiteY44" fmla="*/ 304914 h 354674"/>
                    <a:gd name="connsiteX45" fmla="*/ 160358 w 372939"/>
                    <a:gd name="connsiteY45" fmla="*/ 326194 h 354674"/>
                    <a:gd name="connsiteX46" fmla="*/ 187480 w 372939"/>
                    <a:gd name="connsiteY46" fmla="*/ 339368 h 354674"/>
                    <a:gd name="connsiteX47" fmla="*/ 250767 w 372939"/>
                    <a:gd name="connsiteY47" fmla="*/ 347475 h 354674"/>
                    <a:gd name="connsiteX48" fmla="*/ 282411 w 372939"/>
                    <a:gd name="connsiteY48" fmla="*/ 323154 h 354674"/>
                    <a:gd name="connsiteX49" fmla="*/ 309534 w 372939"/>
                    <a:gd name="connsiteY49" fmla="*/ 298834 h 354674"/>
                    <a:gd name="connsiteX50" fmla="*/ 327615 w 372939"/>
                    <a:gd name="connsiteY50" fmla="*/ 301873 h 354674"/>
                    <a:gd name="connsiteX51" fmla="*/ 335526 w 372939"/>
                    <a:gd name="connsiteY51" fmla="*/ 301873 h 354674"/>
                    <a:gd name="connsiteX52" fmla="*/ 341177 w 372939"/>
                    <a:gd name="connsiteY52" fmla="*/ 312007 h 354674"/>
                    <a:gd name="connsiteX53" fmla="*/ 354738 w 372939"/>
                    <a:gd name="connsiteY53" fmla="*/ 314034 h 354674"/>
                    <a:gd name="connsiteX54" fmla="*/ 360389 w 372939"/>
                    <a:gd name="connsiteY54" fmla="*/ 306940 h 354674"/>
                    <a:gd name="connsiteX55" fmla="*/ 368299 w 372939"/>
                    <a:gd name="connsiteY55" fmla="*/ 314034 h 354674"/>
                    <a:gd name="connsiteX56" fmla="*/ 370560 w 372939"/>
                    <a:gd name="connsiteY56" fmla="*/ 316061 h 35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72939" h="354674">
                      <a:moveTo>
                        <a:pt x="370560" y="316061"/>
                      </a:moveTo>
                      <a:lnTo>
                        <a:pt x="367170" y="312007"/>
                      </a:lnTo>
                      <a:cubicBezTo>
                        <a:pt x="367170" y="312007"/>
                        <a:pt x="366040" y="310994"/>
                        <a:pt x="361519" y="302887"/>
                      </a:cubicBezTo>
                      <a:cubicBezTo>
                        <a:pt x="356998" y="294780"/>
                        <a:pt x="349088" y="293767"/>
                        <a:pt x="349088" y="293767"/>
                      </a:cubicBezTo>
                      <a:lnTo>
                        <a:pt x="349088" y="278566"/>
                      </a:lnTo>
                      <a:lnTo>
                        <a:pt x="338917" y="278566"/>
                      </a:lnTo>
                      <a:cubicBezTo>
                        <a:pt x="334396" y="268433"/>
                        <a:pt x="334396" y="263366"/>
                        <a:pt x="335526" y="253232"/>
                      </a:cubicBezTo>
                      <a:cubicBezTo>
                        <a:pt x="336656" y="243099"/>
                        <a:pt x="334396" y="243099"/>
                        <a:pt x="325355" y="232965"/>
                      </a:cubicBezTo>
                      <a:cubicBezTo>
                        <a:pt x="316314" y="222832"/>
                        <a:pt x="316314" y="221818"/>
                        <a:pt x="312924" y="213712"/>
                      </a:cubicBezTo>
                      <a:cubicBezTo>
                        <a:pt x="308403" y="205605"/>
                        <a:pt x="306143" y="209658"/>
                        <a:pt x="294842" y="209658"/>
                      </a:cubicBezTo>
                      <a:cubicBezTo>
                        <a:pt x="283540" y="209658"/>
                        <a:pt x="299362" y="206618"/>
                        <a:pt x="295972" y="199525"/>
                      </a:cubicBezTo>
                      <a:cubicBezTo>
                        <a:pt x="292582" y="192431"/>
                        <a:pt x="277890" y="179258"/>
                        <a:pt x="267719" y="176217"/>
                      </a:cubicBezTo>
                      <a:cubicBezTo>
                        <a:pt x="257548" y="173177"/>
                        <a:pt x="256418" y="151897"/>
                        <a:pt x="249637" y="147843"/>
                      </a:cubicBezTo>
                      <a:cubicBezTo>
                        <a:pt x="242856" y="143790"/>
                        <a:pt x="246247" y="137710"/>
                        <a:pt x="240596" y="132643"/>
                      </a:cubicBezTo>
                      <a:cubicBezTo>
                        <a:pt x="234945" y="127576"/>
                        <a:pt x="251897" y="132643"/>
                        <a:pt x="245117" y="116429"/>
                      </a:cubicBezTo>
                      <a:cubicBezTo>
                        <a:pt x="241727" y="109336"/>
                        <a:pt x="254158" y="119469"/>
                        <a:pt x="257548" y="113389"/>
                      </a:cubicBezTo>
                      <a:cubicBezTo>
                        <a:pt x="262069" y="108323"/>
                        <a:pt x="260938" y="103256"/>
                        <a:pt x="256418" y="94135"/>
                      </a:cubicBezTo>
                      <a:cubicBezTo>
                        <a:pt x="251897" y="85015"/>
                        <a:pt x="265459" y="93122"/>
                        <a:pt x="272239" y="88055"/>
                      </a:cubicBezTo>
                      <a:cubicBezTo>
                        <a:pt x="279020" y="82989"/>
                        <a:pt x="268849" y="78935"/>
                        <a:pt x="268849" y="78935"/>
                      </a:cubicBezTo>
                      <a:cubicBezTo>
                        <a:pt x="268849" y="78935"/>
                        <a:pt x="260938" y="81975"/>
                        <a:pt x="253028" y="78935"/>
                      </a:cubicBezTo>
                      <a:cubicBezTo>
                        <a:pt x="246247" y="75895"/>
                        <a:pt x="245117" y="73868"/>
                        <a:pt x="238336" y="74882"/>
                      </a:cubicBezTo>
                      <a:cubicBezTo>
                        <a:pt x="231555" y="75895"/>
                        <a:pt x="232685" y="68801"/>
                        <a:pt x="225905" y="68801"/>
                      </a:cubicBezTo>
                      <a:cubicBezTo>
                        <a:pt x="219124" y="68801"/>
                        <a:pt x="224775" y="58668"/>
                        <a:pt x="216864" y="57655"/>
                      </a:cubicBezTo>
                      <a:cubicBezTo>
                        <a:pt x="208953" y="56641"/>
                        <a:pt x="221384" y="47521"/>
                        <a:pt x="212343" y="47521"/>
                      </a:cubicBezTo>
                      <a:cubicBezTo>
                        <a:pt x="203302" y="47521"/>
                        <a:pt x="215733" y="38401"/>
                        <a:pt x="211213" y="33334"/>
                      </a:cubicBezTo>
                      <a:cubicBezTo>
                        <a:pt x="206692" y="28267"/>
                        <a:pt x="204432" y="18134"/>
                        <a:pt x="204432" y="18134"/>
                      </a:cubicBezTo>
                      <a:lnTo>
                        <a:pt x="193131" y="14080"/>
                      </a:lnTo>
                      <a:lnTo>
                        <a:pt x="179570" y="21174"/>
                      </a:lnTo>
                      <a:lnTo>
                        <a:pt x="175049" y="12054"/>
                      </a:lnTo>
                      <a:lnTo>
                        <a:pt x="168269" y="9013"/>
                      </a:lnTo>
                      <a:cubicBezTo>
                        <a:pt x="168269" y="9013"/>
                        <a:pt x="164878" y="11040"/>
                        <a:pt x="159227" y="18134"/>
                      </a:cubicBezTo>
                      <a:cubicBezTo>
                        <a:pt x="153577" y="24214"/>
                        <a:pt x="143406" y="10027"/>
                        <a:pt x="136625" y="15094"/>
                      </a:cubicBezTo>
                      <a:cubicBezTo>
                        <a:pt x="134365" y="17120"/>
                        <a:pt x="130974" y="18134"/>
                        <a:pt x="127584" y="18134"/>
                      </a:cubicBezTo>
                      <a:cubicBezTo>
                        <a:pt x="127584" y="18134"/>
                        <a:pt x="127584" y="33334"/>
                        <a:pt x="119673" y="38401"/>
                      </a:cubicBezTo>
                      <a:cubicBezTo>
                        <a:pt x="111763" y="44481"/>
                        <a:pt x="102721" y="46508"/>
                        <a:pt x="102721" y="56641"/>
                      </a:cubicBezTo>
                      <a:cubicBezTo>
                        <a:pt x="102721" y="66775"/>
                        <a:pt x="107242" y="64748"/>
                        <a:pt x="104982" y="72855"/>
                      </a:cubicBezTo>
                      <a:cubicBezTo>
                        <a:pt x="103852" y="80962"/>
                        <a:pt x="93680" y="80962"/>
                        <a:pt x="98201" y="93122"/>
                      </a:cubicBezTo>
                      <a:cubicBezTo>
                        <a:pt x="102721" y="104269"/>
                        <a:pt x="103852" y="100216"/>
                        <a:pt x="98201" y="109336"/>
                      </a:cubicBezTo>
                      <a:cubicBezTo>
                        <a:pt x="92551" y="118456"/>
                        <a:pt x="92551" y="120483"/>
                        <a:pt x="90290" y="127576"/>
                      </a:cubicBezTo>
                      <a:cubicBezTo>
                        <a:pt x="88030" y="134670"/>
                        <a:pt x="83510" y="137710"/>
                        <a:pt x="83510" y="137710"/>
                      </a:cubicBezTo>
                      <a:lnTo>
                        <a:pt x="10052" y="189391"/>
                      </a:lnTo>
                      <a:lnTo>
                        <a:pt x="29263" y="244112"/>
                      </a:lnTo>
                      <a:lnTo>
                        <a:pt x="126454" y="294780"/>
                      </a:lnTo>
                      <a:lnTo>
                        <a:pt x="129844" y="304914"/>
                      </a:lnTo>
                      <a:lnTo>
                        <a:pt x="155837" y="304914"/>
                      </a:lnTo>
                      <a:lnTo>
                        <a:pt x="160358" y="326194"/>
                      </a:lnTo>
                      <a:lnTo>
                        <a:pt x="187480" y="339368"/>
                      </a:lnTo>
                      <a:lnTo>
                        <a:pt x="250767" y="347475"/>
                      </a:lnTo>
                      <a:cubicBezTo>
                        <a:pt x="250767" y="347475"/>
                        <a:pt x="275630" y="332274"/>
                        <a:pt x="282411" y="323154"/>
                      </a:cubicBezTo>
                      <a:cubicBezTo>
                        <a:pt x="289191" y="314034"/>
                        <a:pt x="300492" y="296807"/>
                        <a:pt x="309534" y="298834"/>
                      </a:cubicBezTo>
                      <a:cubicBezTo>
                        <a:pt x="318575" y="300860"/>
                        <a:pt x="327615" y="301873"/>
                        <a:pt x="327615" y="301873"/>
                      </a:cubicBezTo>
                      <a:cubicBezTo>
                        <a:pt x="329876" y="302887"/>
                        <a:pt x="333266" y="300860"/>
                        <a:pt x="335526" y="301873"/>
                      </a:cubicBezTo>
                      <a:cubicBezTo>
                        <a:pt x="336656" y="301873"/>
                        <a:pt x="338917" y="310994"/>
                        <a:pt x="341177" y="312007"/>
                      </a:cubicBezTo>
                      <a:cubicBezTo>
                        <a:pt x="345697" y="314034"/>
                        <a:pt x="349088" y="312007"/>
                        <a:pt x="354738" y="314034"/>
                      </a:cubicBezTo>
                      <a:cubicBezTo>
                        <a:pt x="355868" y="312007"/>
                        <a:pt x="356998" y="306940"/>
                        <a:pt x="360389" y="306940"/>
                      </a:cubicBezTo>
                      <a:cubicBezTo>
                        <a:pt x="362649" y="306940"/>
                        <a:pt x="367170" y="313020"/>
                        <a:pt x="368299" y="314034"/>
                      </a:cubicBezTo>
                      <a:cubicBezTo>
                        <a:pt x="367170" y="315047"/>
                        <a:pt x="368299" y="316061"/>
                        <a:pt x="370560" y="31606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6" name="Freeform: Shape 375">
                  <a:extLst>
                    <a:ext uri="{FF2B5EF4-FFF2-40B4-BE49-F238E27FC236}">
                      <a16:creationId xmlns:a16="http://schemas.microsoft.com/office/drawing/2014/main" id="{974AD2ED-83C3-4BBA-9B96-0BC450B17E2A}"/>
                    </a:ext>
                  </a:extLst>
                </p:cNvPr>
                <p:cNvSpPr/>
                <p:nvPr/>
              </p:nvSpPr>
              <p:spPr>
                <a:xfrm>
                  <a:off x="7438073" y="2647339"/>
                  <a:ext cx="700674" cy="638415"/>
                </a:xfrm>
                <a:custGeom>
                  <a:avLst/>
                  <a:gdLst>
                    <a:gd name="connsiteX0" fmla="*/ 615890 w 700674"/>
                    <a:gd name="connsiteY0" fmla="*/ 636329 h 638414"/>
                    <a:gd name="connsiteX1" fmla="*/ 621541 w 700674"/>
                    <a:gd name="connsiteY1" fmla="*/ 599848 h 638414"/>
                    <a:gd name="connsiteX2" fmla="*/ 644143 w 700674"/>
                    <a:gd name="connsiteY2" fmla="*/ 571474 h 638414"/>
                    <a:gd name="connsiteX3" fmla="*/ 664486 w 700674"/>
                    <a:gd name="connsiteY3" fmla="*/ 565394 h 638414"/>
                    <a:gd name="connsiteX4" fmla="*/ 687088 w 700674"/>
                    <a:gd name="connsiteY4" fmla="*/ 560327 h 638414"/>
                    <a:gd name="connsiteX5" fmla="*/ 701780 w 700674"/>
                    <a:gd name="connsiteY5" fmla="*/ 550194 h 638414"/>
                    <a:gd name="connsiteX6" fmla="*/ 701780 w 700674"/>
                    <a:gd name="connsiteY6" fmla="*/ 539047 h 638414"/>
                    <a:gd name="connsiteX7" fmla="*/ 684828 w 700674"/>
                    <a:gd name="connsiteY7" fmla="*/ 530940 h 638414"/>
                    <a:gd name="connsiteX8" fmla="*/ 683697 w 700674"/>
                    <a:gd name="connsiteY8" fmla="*/ 511686 h 638414"/>
                    <a:gd name="connsiteX9" fmla="*/ 672396 w 700674"/>
                    <a:gd name="connsiteY9" fmla="*/ 496486 h 638414"/>
                    <a:gd name="connsiteX10" fmla="*/ 657705 w 700674"/>
                    <a:gd name="connsiteY10" fmla="*/ 492432 h 638414"/>
                    <a:gd name="connsiteX11" fmla="*/ 641883 w 700674"/>
                    <a:gd name="connsiteY11" fmla="*/ 472165 h 638414"/>
                    <a:gd name="connsiteX12" fmla="*/ 636233 w 700674"/>
                    <a:gd name="connsiteY12" fmla="*/ 461018 h 638414"/>
                    <a:gd name="connsiteX13" fmla="*/ 640753 w 700674"/>
                    <a:gd name="connsiteY13" fmla="*/ 452912 h 638414"/>
                    <a:gd name="connsiteX14" fmla="*/ 626061 w 700674"/>
                    <a:gd name="connsiteY14" fmla="*/ 418457 h 638414"/>
                    <a:gd name="connsiteX15" fmla="*/ 664486 w 700674"/>
                    <a:gd name="connsiteY15" fmla="*/ 378936 h 638414"/>
                    <a:gd name="connsiteX16" fmla="*/ 664486 w 700674"/>
                    <a:gd name="connsiteY16" fmla="*/ 368803 h 638414"/>
                    <a:gd name="connsiteX17" fmla="*/ 657705 w 700674"/>
                    <a:gd name="connsiteY17" fmla="*/ 360696 h 638414"/>
                    <a:gd name="connsiteX18" fmla="*/ 624932 w 700674"/>
                    <a:gd name="connsiteY18" fmla="*/ 356643 h 638414"/>
                    <a:gd name="connsiteX19" fmla="*/ 623801 w 700674"/>
                    <a:gd name="connsiteY19" fmla="*/ 348536 h 638414"/>
                    <a:gd name="connsiteX20" fmla="*/ 621541 w 700674"/>
                    <a:gd name="connsiteY20" fmla="*/ 331309 h 638414"/>
                    <a:gd name="connsiteX21" fmla="*/ 614760 w 700674"/>
                    <a:gd name="connsiteY21" fmla="*/ 312055 h 638414"/>
                    <a:gd name="connsiteX22" fmla="*/ 601199 w 700674"/>
                    <a:gd name="connsiteY22" fmla="*/ 297868 h 638414"/>
                    <a:gd name="connsiteX23" fmla="*/ 597808 w 700674"/>
                    <a:gd name="connsiteY23" fmla="*/ 282668 h 638414"/>
                    <a:gd name="connsiteX24" fmla="*/ 612500 w 700674"/>
                    <a:gd name="connsiteY24" fmla="*/ 273547 h 638414"/>
                    <a:gd name="connsiteX25" fmla="*/ 601199 w 700674"/>
                    <a:gd name="connsiteY25" fmla="*/ 267467 h 638414"/>
                    <a:gd name="connsiteX26" fmla="*/ 598938 w 700674"/>
                    <a:gd name="connsiteY26" fmla="*/ 259360 h 638414"/>
                    <a:gd name="connsiteX27" fmla="*/ 603459 w 700674"/>
                    <a:gd name="connsiteY27" fmla="*/ 235040 h 638414"/>
                    <a:gd name="connsiteX28" fmla="*/ 610239 w 700674"/>
                    <a:gd name="connsiteY28" fmla="*/ 220853 h 638414"/>
                    <a:gd name="connsiteX29" fmla="*/ 619281 w 700674"/>
                    <a:gd name="connsiteY29" fmla="*/ 216799 h 638414"/>
                    <a:gd name="connsiteX30" fmla="*/ 635102 w 700674"/>
                    <a:gd name="connsiteY30" fmla="*/ 213759 h 638414"/>
                    <a:gd name="connsiteX31" fmla="*/ 636233 w 700674"/>
                    <a:gd name="connsiteY31" fmla="*/ 203626 h 638414"/>
                    <a:gd name="connsiteX32" fmla="*/ 645274 w 700674"/>
                    <a:gd name="connsiteY32" fmla="*/ 189439 h 638414"/>
                    <a:gd name="connsiteX33" fmla="*/ 652054 w 700674"/>
                    <a:gd name="connsiteY33" fmla="*/ 174239 h 638414"/>
                    <a:gd name="connsiteX34" fmla="*/ 647534 w 700674"/>
                    <a:gd name="connsiteY34" fmla="*/ 160051 h 638414"/>
                    <a:gd name="connsiteX35" fmla="*/ 647534 w 700674"/>
                    <a:gd name="connsiteY35" fmla="*/ 144851 h 638414"/>
                    <a:gd name="connsiteX36" fmla="*/ 627191 w 700674"/>
                    <a:gd name="connsiteY36" fmla="*/ 140798 h 638414"/>
                    <a:gd name="connsiteX37" fmla="*/ 620411 w 700674"/>
                    <a:gd name="connsiteY37" fmla="*/ 126611 h 638414"/>
                    <a:gd name="connsiteX38" fmla="*/ 612500 w 700674"/>
                    <a:gd name="connsiteY38" fmla="*/ 116477 h 638414"/>
                    <a:gd name="connsiteX39" fmla="*/ 601199 w 700674"/>
                    <a:gd name="connsiteY39" fmla="*/ 109384 h 638414"/>
                    <a:gd name="connsiteX40" fmla="*/ 580857 w 700674"/>
                    <a:gd name="connsiteY40" fmla="*/ 98237 h 638414"/>
                    <a:gd name="connsiteX41" fmla="*/ 557124 w 700674"/>
                    <a:gd name="connsiteY41" fmla="*/ 89116 h 638414"/>
                    <a:gd name="connsiteX42" fmla="*/ 531131 w 700674"/>
                    <a:gd name="connsiteY42" fmla="*/ 77969 h 638414"/>
                    <a:gd name="connsiteX43" fmla="*/ 522090 w 700674"/>
                    <a:gd name="connsiteY43" fmla="*/ 74929 h 638414"/>
                    <a:gd name="connsiteX44" fmla="*/ 498358 w 700674"/>
                    <a:gd name="connsiteY44" fmla="*/ 70876 h 638414"/>
                    <a:gd name="connsiteX45" fmla="*/ 459934 w 700674"/>
                    <a:gd name="connsiteY45" fmla="*/ 63783 h 638414"/>
                    <a:gd name="connsiteX46" fmla="*/ 441852 w 700674"/>
                    <a:gd name="connsiteY46" fmla="*/ 69863 h 638414"/>
                    <a:gd name="connsiteX47" fmla="*/ 427161 w 700674"/>
                    <a:gd name="connsiteY47" fmla="*/ 73916 h 638414"/>
                    <a:gd name="connsiteX48" fmla="*/ 406818 w 700674"/>
                    <a:gd name="connsiteY48" fmla="*/ 72903 h 638414"/>
                    <a:gd name="connsiteX49" fmla="*/ 397777 w 700674"/>
                    <a:gd name="connsiteY49" fmla="*/ 79996 h 638414"/>
                    <a:gd name="connsiteX50" fmla="*/ 390997 w 700674"/>
                    <a:gd name="connsiteY50" fmla="*/ 88103 h 638414"/>
                    <a:gd name="connsiteX51" fmla="*/ 387606 w 700674"/>
                    <a:gd name="connsiteY51" fmla="*/ 94183 h 638414"/>
                    <a:gd name="connsiteX52" fmla="*/ 380825 w 700674"/>
                    <a:gd name="connsiteY52" fmla="*/ 107357 h 638414"/>
                    <a:gd name="connsiteX53" fmla="*/ 355963 w 700674"/>
                    <a:gd name="connsiteY53" fmla="*/ 106343 h 638414"/>
                    <a:gd name="connsiteX54" fmla="*/ 355963 w 700674"/>
                    <a:gd name="connsiteY54" fmla="*/ 129651 h 638414"/>
                    <a:gd name="connsiteX55" fmla="*/ 350312 w 700674"/>
                    <a:gd name="connsiteY55" fmla="*/ 134718 h 638414"/>
                    <a:gd name="connsiteX56" fmla="*/ 336751 w 700674"/>
                    <a:gd name="connsiteY56" fmla="*/ 132691 h 638414"/>
                    <a:gd name="connsiteX57" fmla="*/ 325450 w 700674"/>
                    <a:gd name="connsiteY57" fmla="*/ 127624 h 638414"/>
                    <a:gd name="connsiteX58" fmla="*/ 287026 w 700674"/>
                    <a:gd name="connsiteY58" fmla="*/ 144851 h 638414"/>
                    <a:gd name="connsiteX59" fmla="*/ 235040 w 700674"/>
                    <a:gd name="connsiteY59" fmla="*/ 120530 h 638414"/>
                    <a:gd name="connsiteX60" fmla="*/ 223739 w 700674"/>
                    <a:gd name="connsiteY60" fmla="*/ 108370 h 638414"/>
                    <a:gd name="connsiteX61" fmla="*/ 212438 w 700674"/>
                    <a:gd name="connsiteY61" fmla="*/ 108370 h 638414"/>
                    <a:gd name="connsiteX62" fmla="*/ 210178 w 700674"/>
                    <a:gd name="connsiteY62" fmla="*/ 103303 h 638414"/>
                    <a:gd name="connsiteX63" fmla="*/ 185315 w 700674"/>
                    <a:gd name="connsiteY63" fmla="*/ 103303 h 638414"/>
                    <a:gd name="connsiteX64" fmla="*/ 183054 w 700674"/>
                    <a:gd name="connsiteY64" fmla="*/ 98237 h 638414"/>
                    <a:gd name="connsiteX65" fmla="*/ 171753 w 700674"/>
                    <a:gd name="connsiteY65" fmla="*/ 54662 h 638414"/>
                    <a:gd name="connsiteX66" fmla="*/ 159322 w 700674"/>
                    <a:gd name="connsiteY66" fmla="*/ 47569 h 638414"/>
                    <a:gd name="connsiteX67" fmla="*/ 150281 w 700674"/>
                    <a:gd name="connsiteY67" fmla="*/ 37435 h 638414"/>
                    <a:gd name="connsiteX68" fmla="*/ 153672 w 700674"/>
                    <a:gd name="connsiteY68" fmla="*/ 25275 h 638414"/>
                    <a:gd name="connsiteX69" fmla="*/ 145761 w 700674"/>
                    <a:gd name="connsiteY69" fmla="*/ 11088 h 638414"/>
                    <a:gd name="connsiteX70" fmla="*/ 135589 w 700674"/>
                    <a:gd name="connsiteY70" fmla="*/ 15141 h 638414"/>
                    <a:gd name="connsiteX71" fmla="*/ 117508 w 700674"/>
                    <a:gd name="connsiteY71" fmla="*/ 30342 h 638414"/>
                    <a:gd name="connsiteX72" fmla="*/ 110727 w 700674"/>
                    <a:gd name="connsiteY72" fmla="*/ 36422 h 638414"/>
                    <a:gd name="connsiteX73" fmla="*/ 98295 w 700674"/>
                    <a:gd name="connsiteY73" fmla="*/ 42502 h 638414"/>
                    <a:gd name="connsiteX74" fmla="*/ 82474 w 700674"/>
                    <a:gd name="connsiteY74" fmla="*/ 45542 h 638414"/>
                    <a:gd name="connsiteX75" fmla="*/ 70042 w 700674"/>
                    <a:gd name="connsiteY75" fmla="*/ 39462 h 638414"/>
                    <a:gd name="connsiteX76" fmla="*/ 57611 w 700674"/>
                    <a:gd name="connsiteY76" fmla="*/ 25275 h 638414"/>
                    <a:gd name="connsiteX77" fmla="*/ 49700 w 700674"/>
                    <a:gd name="connsiteY77" fmla="*/ 14128 h 638414"/>
                    <a:gd name="connsiteX78" fmla="*/ 46310 w 700674"/>
                    <a:gd name="connsiteY78" fmla="*/ 15141 h 638414"/>
                    <a:gd name="connsiteX79" fmla="*/ 41789 w 700674"/>
                    <a:gd name="connsiteY79" fmla="*/ 25275 h 638414"/>
                    <a:gd name="connsiteX80" fmla="*/ 29358 w 700674"/>
                    <a:gd name="connsiteY80" fmla="*/ 20208 h 638414"/>
                    <a:gd name="connsiteX81" fmla="*/ 19187 w 700674"/>
                    <a:gd name="connsiteY81" fmla="*/ 28315 h 638414"/>
                    <a:gd name="connsiteX82" fmla="*/ 19187 w 700674"/>
                    <a:gd name="connsiteY82" fmla="*/ 43515 h 638414"/>
                    <a:gd name="connsiteX83" fmla="*/ 20318 w 700674"/>
                    <a:gd name="connsiteY83" fmla="*/ 52636 h 638414"/>
                    <a:gd name="connsiteX84" fmla="*/ 11276 w 700674"/>
                    <a:gd name="connsiteY84" fmla="*/ 67836 h 638414"/>
                    <a:gd name="connsiteX85" fmla="*/ 21447 w 700674"/>
                    <a:gd name="connsiteY85" fmla="*/ 91143 h 638414"/>
                    <a:gd name="connsiteX86" fmla="*/ 29358 w 700674"/>
                    <a:gd name="connsiteY86" fmla="*/ 110397 h 638414"/>
                    <a:gd name="connsiteX87" fmla="*/ 27098 w 700674"/>
                    <a:gd name="connsiteY87" fmla="*/ 123571 h 638414"/>
                    <a:gd name="connsiteX88" fmla="*/ 33878 w 700674"/>
                    <a:gd name="connsiteY88" fmla="*/ 138771 h 638414"/>
                    <a:gd name="connsiteX89" fmla="*/ 35009 w 700674"/>
                    <a:gd name="connsiteY89" fmla="*/ 152958 h 638414"/>
                    <a:gd name="connsiteX90" fmla="*/ 39529 w 700674"/>
                    <a:gd name="connsiteY90" fmla="*/ 163092 h 638414"/>
                    <a:gd name="connsiteX91" fmla="*/ 48571 w 700674"/>
                    <a:gd name="connsiteY91" fmla="*/ 174239 h 638414"/>
                    <a:gd name="connsiteX92" fmla="*/ 61002 w 700674"/>
                    <a:gd name="connsiteY92" fmla="*/ 180318 h 638414"/>
                    <a:gd name="connsiteX93" fmla="*/ 75693 w 700674"/>
                    <a:gd name="connsiteY93" fmla="*/ 184372 h 638414"/>
                    <a:gd name="connsiteX94" fmla="*/ 91515 w 700674"/>
                    <a:gd name="connsiteY94" fmla="*/ 184372 h 638414"/>
                    <a:gd name="connsiteX95" fmla="*/ 94905 w 700674"/>
                    <a:gd name="connsiteY95" fmla="*/ 193492 h 638414"/>
                    <a:gd name="connsiteX96" fmla="*/ 79083 w 700674"/>
                    <a:gd name="connsiteY96" fmla="*/ 199572 h 638414"/>
                    <a:gd name="connsiteX97" fmla="*/ 80214 w 700674"/>
                    <a:gd name="connsiteY97" fmla="*/ 218826 h 638414"/>
                    <a:gd name="connsiteX98" fmla="*/ 67782 w 700674"/>
                    <a:gd name="connsiteY98" fmla="*/ 221866 h 638414"/>
                    <a:gd name="connsiteX99" fmla="*/ 63262 w 700674"/>
                    <a:gd name="connsiteY99" fmla="*/ 238080 h 638414"/>
                    <a:gd name="connsiteX100" fmla="*/ 72303 w 700674"/>
                    <a:gd name="connsiteY100" fmla="*/ 253280 h 638414"/>
                    <a:gd name="connsiteX101" fmla="*/ 90384 w 700674"/>
                    <a:gd name="connsiteY101" fmla="*/ 281654 h 638414"/>
                    <a:gd name="connsiteX102" fmla="*/ 118637 w 700674"/>
                    <a:gd name="connsiteY102" fmla="*/ 304961 h 638414"/>
                    <a:gd name="connsiteX103" fmla="*/ 117508 w 700674"/>
                    <a:gd name="connsiteY103" fmla="*/ 315095 h 638414"/>
                    <a:gd name="connsiteX104" fmla="*/ 135589 w 700674"/>
                    <a:gd name="connsiteY104" fmla="*/ 319148 h 638414"/>
                    <a:gd name="connsiteX105" fmla="*/ 148021 w 700674"/>
                    <a:gd name="connsiteY105" fmla="*/ 338402 h 638414"/>
                    <a:gd name="connsiteX106" fmla="*/ 158192 w 700674"/>
                    <a:gd name="connsiteY106" fmla="*/ 358669 h 638414"/>
                    <a:gd name="connsiteX107" fmla="*/ 161583 w 700674"/>
                    <a:gd name="connsiteY107" fmla="*/ 384003 h 638414"/>
                    <a:gd name="connsiteX108" fmla="*/ 171753 w 700674"/>
                    <a:gd name="connsiteY108" fmla="*/ 384003 h 638414"/>
                    <a:gd name="connsiteX109" fmla="*/ 171753 w 700674"/>
                    <a:gd name="connsiteY109" fmla="*/ 400217 h 638414"/>
                    <a:gd name="connsiteX110" fmla="*/ 184185 w 700674"/>
                    <a:gd name="connsiteY110" fmla="*/ 409337 h 638414"/>
                    <a:gd name="connsiteX111" fmla="*/ 189836 w 700674"/>
                    <a:gd name="connsiteY111" fmla="*/ 418457 h 638414"/>
                    <a:gd name="connsiteX112" fmla="*/ 189836 w 700674"/>
                    <a:gd name="connsiteY112" fmla="*/ 421498 h 638414"/>
                    <a:gd name="connsiteX113" fmla="*/ 224869 w 700674"/>
                    <a:gd name="connsiteY113" fmla="*/ 421498 h 638414"/>
                    <a:gd name="connsiteX114" fmla="*/ 238431 w 700674"/>
                    <a:gd name="connsiteY114" fmla="*/ 445818 h 638414"/>
                    <a:gd name="connsiteX115" fmla="*/ 240691 w 700674"/>
                    <a:gd name="connsiteY115" fmla="*/ 463045 h 638414"/>
                    <a:gd name="connsiteX116" fmla="*/ 251992 w 700674"/>
                    <a:gd name="connsiteY116" fmla="*/ 468112 h 638414"/>
                    <a:gd name="connsiteX117" fmla="*/ 249732 w 700674"/>
                    <a:gd name="connsiteY117" fmla="*/ 478246 h 638414"/>
                    <a:gd name="connsiteX118" fmla="*/ 263293 w 700674"/>
                    <a:gd name="connsiteY118" fmla="*/ 490406 h 638414"/>
                    <a:gd name="connsiteX119" fmla="*/ 263293 w 700674"/>
                    <a:gd name="connsiteY119" fmla="*/ 502566 h 638414"/>
                    <a:gd name="connsiteX120" fmla="*/ 276854 w 700674"/>
                    <a:gd name="connsiteY120" fmla="*/ 507633 h 638414"/>
                    <a:gd name="connsiteX121" fmla="*/ 279115 w 700674"/>
                    <a:gd name="connsiteY121" fmla="*/ 521820 h 638414"/>
                    <a:gd name="connsiteX122" fmla="*/ 294937 w 700674"/>
                    <a:gd name="connsiteY122" fmla="*/ 539047 h 638414"/>
                    <a:gd name="connsiteX123" fmla="*/ 300587 w 700674"/>
                    <a:gd name="connsiteY123" fmla="*/ 539047 h 638414"/>
                    <a:gd name="connsiteX124" fmla="*/ 300587 w 700674"/>
                    <a:gd name="connsiteY124" fmla="*/ 549181 h 638414"/>
                    <a:gd name="connsiteX125" fmla="*/ 325450 w 700674"/>
                    <a:gd name="connsiteY125" fmla="*/ 568434 h 638414"/>
                    <a:gd name="connsiteX126" fmla="*/ 336751 w 700674"/>
                    <a:gd name="connsiteY126" fmla="*/ 568434 h 638414"/>
                    <a:gd name="connsiteX127" fmla="*/ 344661 w 700674"/>
                    <a:gd name="connsiteY127" fmla="*/ 575528 h 638414"/>
                    <a:gd name="connsiteX128" fmla="*/ 355963 w 700674"/>
                    <a:gd name="connsiteY128" fmla="*/ 575528 h 638414"/>
                    <a:gd name="connsiteX129" fmla="*/ 385346 w 700674"/>
                    <a:gd name="connsiteY129" fmla="*/ 582621 h 638414"/>
                    <a:gd name="connsiteX130" fmla="*/ 387606 w 700674"/>
                    <a:gd name="connsiteY130" fmla="*/ 577554 h 638414"/>
                    <a:gd name="connsiteX131" fmla="*/ 447503 w 700674"/>
                    <a:gd name="connsiteY131" fmla="*/ 551207 h 638414"/>
                    <a:gd name="connsiteX132" fmla="*/ 472365 w 700674"/>
                    <a:gd name="connsiteY132" fmla="*/ 575528 h 638414"/>
                    <a:gd name="connsiteX133" fmla="*/ 493837 w 700674"/>
                    <a:gd name="connsiteY133" fmla="*/ 617075 h 638414"/>
                    <a:gd name="connsiteX134" fmla="*/ 540173 w 700674"/>
                    <a:gd name="connsiteY134" fmla="*/ 622142 h 638414"/>
                    <a:gd name="connsiteX135" fmla="*/ 542432 w 700674"/>
                    <a:gd name="connsiteY135" fmla="*/ 627209 h 638414"/>
                    <a:gd name="connsiteX136" fmla="*/ 585377 w 700674"/>
                    <a:gd name="connsiteY136" fmla="*/ 625182 h 638414"/>
                    <a:gd name="connsiteX137" fmla="*/ 601199 w 700674"/>
                    <a:gd name="connsiteY137" fmla="*/ 632276 h 638414"/>
                    <a:gd name="connsiteX138" fmla="*/ 601199 w 700674"/>
                    <a:gd name="connsiteY138" fmla="*/ 637342 h 638414"/>
                    <a:gd name="connsiteX139" fmla="*/ 615890 w 700674"/>
                    <a:gd name="connsiteY139" fmla="*/ 636329 h 638414"/>
                    <a:gd name="connsiteX140" fmla="*/ 31619 w 700674"/>
                    <a:gd name="connsiteY140" fmla="*/ 73916 h 638414"/>
                    <a:gd name="connsiteX141" fmla="*/ 61002 w 700674"/>
                    <a:gd name="connsiteY141" fmla="*/ 98237 h 638414"/>
                    <a:gd name="connsiteX142" fmla="*/ 74563 w 700674"/>
                    <a:gd name="connsiteY142" fmla="*/ 105330 h 638414"/>
                    <a:gd name="connsiteX143" fmla="*/ 72303 w 700674"/>
                    <a:gd name="connsiteY143" fmla="*/ 119517 h 638414"/>
                    <a:gd name="connsiteX144" fmla="*/ 83604 w 700674"/>
                    <a:gd name="connsiteY144" fmla="*/ 136744 h 638414"/>
                    <a:gd name="connsiteX145" fmla="*/ 62131 w 700674"/>
                    <a:gd name="connsiteY145" fmla="*/ 143838 h 638414"/>
                    <a:gd name="connsiteX146" fmla="*/ 50830 w 700674"/>
                    <a:gd name="connsiteY146" fmla="*/ 124584 h 638414"/>
                    <a:gd name="connsiteX147" fmla="*/ 50830 w 700674"/>
                    <a:gd name="connsiteY147" fmla="*/ 114450 h 638414"/>
                    <a:gd name="connsiteX148" fmla="*/ 39529 w 700674"/>
                    <a:gd name="connsiteY148" fmla="*/ 107357 h 638414"/>
                    <a:gd name="connsiteX149" fmla="*/ 41789 w 700674"/>
                    <a:gd name="connsiteY149" fmla="*/ 93170 h 638414"/>
                    <a:gd name="connsiteX150" fmla="*/ 30488 w 700674"/>
                    <a:gd name="connsiteY150" fmla="*/ 81010 h 638414"/>
                    <a:gd name="connsiteX151" fmla="*/ 31619 w 700674"/>
                    <a:gd name="connsiteY151" fmla="*/ 73916 h 63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700674" h="638414">
                      <a:moveTo>
                        <a:pt x="615890" y="636329"/>
                      </a:moveTo>
                      <a:lnTo>
                        <a:pt x="621541" y="599848"/>
                      </a:lnTo>
                      <a:lnTo>
                        <a:pt x="644143" y="571474"/>
                      </a:lnTo>
                      <a:lnTo>
                        <a:pt x="664486" y="565394"/>
                      </a:lnTo>
                      <a:lnTo>
                        <a:pt x="687088" y="560327"/>
                      </a:lnTo>
                      <a:lnTo>
                        <a:pt x="701780" y="550194"/>
                      </a:lnTo>
                      <a:lnTo>
                        <a:pt x="701780" y="539047"/>
                      </a:lnTo>
                      <a:lnTo>
                        <a:pt x="684828" y="530940"/>
                      </a:lnTo>
                      <a:lnTo>
                        <a:pt x="683697" y="511686"/>
                      </a:lnTo>
                      <a:lnTo>
                        <a:pt x="672396" y="496486"/>
                      </a:lnTo>
                      <a:lnTo>
                        <a:pt x="657705" y="492432"/>
                      </a:lnTo>
                      <a:lnTo>
                        <a:pt x="641883" y="472165"/>
                      </a:lnTo>
                      <a:lnTo>
                        <a:pt x="636233" y="461018"/>
                      </a:lnTo>
                      <a:lnTo>
                        <a:pt x="640753" y="452912"/>
                      </a:lnTo>
                      <a:lnTo>
                        <a:pt x="626061" y="418457"/>
                      </a:lnTo>
                      <a:lnTo>
                        <a:pt x="664486" y="378936"/>
                      </a:lnTo>
                      <a:lnTo>
                        <a:pt x="664486" y="368803"/>
                      </a:lnTo>
                      <a:lnTo>
                        <a:pt x="657705" y="360696"/>
                      </a:lnTo>
                      <a:lnTo>
                        <a:pt x="624932" y="356643"/>
                      </a:lnTo>
                      <a:lnTo>
                        <a:pt x="623801" y="348536"/>
                      </a:lnTo>
                      <a:lnTo>
                        <a:pt x="621541" y="331309"/>
                      </a:lnTo>
                      <a:lnTo>
                        <a:pt x="614760" y="312055"/>
                      </a:lnTo>
                      <a:lnTo>
                        <a:pt x="601199" y="297868"/>
                      </a:lnTo>
                      <a:lnTo>
                        <a:pt x="597808" y="282668"/>
                      </a:lnTo>
                      <a:lnTo>
                        <a:pt x="612500" y="273547"/>
                      </a:lnTo>
                      <a:lnTo>
                        <a:pt x="601199" y="267467"/>
                      </a:lnTo>
                      <a:lnTo>
                        <a:pt x="598938" y="259360"/>
                      </a:lnTo>
                      <a:lnTo>
                        <a:pt x="603459" y="235040"/>
                      </a:lnTo>
                      <a:lnTo>
                        <a:pt x="610239" y="220853"/>
                      </a:lnTo>
                      <a:lnTo>
                        <a:pt x="619281" y="216799"/>
                      </a:lnTo>
                      <a:lnTo>
                        <a:pt x="635102" y="213759"/>
                      </a:lnTo>
                      <a:lnTo>
                        <a:pt x="636233" y="203626"/>
                      </a:lnTo>
                      <a:lnTo>
                        <a:pt x="645274" y="189439"/>
                      </a:lnTo>
                      <a:lnTo>
                        <a:pt x="652054" y="174239"/>
                      </a:lnTo>
                      <a:lnTo>
                        <a:pt x="647534" y="160051"/>
                      </a:lnTo>
                      <a:lnTo>
                        <a:pt x="647534" y="144851"/>
                      </a:lnTo>
                      <a:lnTo>
                        <a:pt x="627191" y="140798"/>
                      </a:lnTo>
                      <a:lnTo>
                        <a:pt x="620411" y="126611"/>
                      </a:lnTo>
                      <a:lnTo>
                        <a:pt x="612500" y="116477"/>
                      </a:lnTo>
                      <a:lnTo>
                        <a:pt x="601199" y="109384"/>
                      </a:lnTo>
                      <a:lnTo>
                        <a:pt x="580857" y="98237"/>
                      </a:lnTo>
                      <a:lnTo>
                        <a:pt x="557124" y="89116"/>
                      </a:lnTo>
                      <a:lnTo>
                        <a:pt x="531131" y="77969"/>
                      </a:lnTo>
                      <a:lnTo>
                        <a:pt x="522090" y="74929"/>
                      </a:lnTo>
                      <a:lnTo>
                        <a:pt x="498358" y="70876"/>
                      </a:lnTo>
                      <a:lnTo>
                        <a:pt x="459934" y="63783"/>
                      </a:lnTo>
                      <a:lnTo>
                        <a:pt x="441852" y="69863"/>
                      </a:lnTo>
                      <a:lnTo>
                        <a:pt x="427161" y="73916"/>
                      </a:lnTo>
                      <a:lnTo>
                        <a:pt x="406818" y="72903"/>
                      </a:lnTo>
                      <a:lnTo>
                        <a:pt x="397777" y="79996"/>
                      </a:lnTo>
                      <a:lnTo>
                        <a:pt x="390997" y="88103"/>
                      </a:lnTo>
                      <a:lnTo>
                        <a:pt x="387606" y="94183"/>
                      </a:lnTo>
                      <a:lnTo>
                        <a:pt x="380825" y="107357"/>
                      </a:lnTo>
                      <a:lnTo>
                        <a:pt x="355963" y="106343"/>
                      </a:lnTo>
                      <a:cubicBezTo>
                        <a:pt x="355963" y="113437"/>
                        <a:pt x="355963" y="121544"/>
                        <a:pt x="355963" y="129651"/>
                      </a:cubicBezTo>
                      <a:cubicBezTo>
                        <a:pt x="352572" y="129651"/>
                        <a:pt x="351443" y="133704"/>
                        <a:pt x="350312" y="134718"/>
                      </a:cubicBezTo>
                      <a:cubicBezTo>
                        <a:pt x="343532" y="136744"/>
                        <a:pt x="336751" y="132691"/>
                        <a:pt x="336751" y="132691"/>
                      </a:cubicBezTo>
                      <a:cubicBezTo>
                        <a:pt x="344661" y="134718"/>
                        <a:pt x="339011" y="126611"/>
                        <a:pt x="325450" y="127624"/>
                      </a:cubicBezTo>
                      <a:cubicBezTo>
                        <a:pt x="316408" y="128637"/>
                        <a:pt x="293806" y="143838"/>
                        <a:pt x="287026" y="144851"/>
                      </a:cubicBezTo>
                      <a:cubicBezTo>
                        <a:pt x="279115" y="144851"/>
                        <a:pt x="240691" y="124584"/>
                        <a:pt x="235040" y="120530"/>
                      </a:cubicBezTo>
                      <a:cubicBezTo>
                        <a:pt x="232780" y="118504"/>
                        <a:pt x="227129" y="109384"/>
                        <a:pt x="223739" y="108370"/>
                      </a:cubicBezTo>
                      <a:cubicBezTo>
                        <a:pt x="220348" y="107357"/>
                        <a:pt x="215828" y="109384"/>
                        <a:pt x="212438" y="108370"/>
                      </a:cubicBezTo>
                      <a:lnTo>
                        <a:pt x="210178" y="103303"/>
                      </a:lnTo>
                      <a:cubicBezTo>
                        <a:pt x="201137" y="103303"/>
                        <a:pt x="198876" y="120530"/>
                        <a:pt x="185315" y="103303"/>
                      </a:cubicBezTo>
                      <a:lnTo>
                        <a:pt x="183054" y="98237"/>
                      </a:lnTo>
                      <a:cubicBezTo>
                        <a:pt x="177404" y="85063"/>
                        <a:pt x="172884" y="68849"/>
                        <a:pt x="171753" y="54662"/>
                      </a:cubicBezTo>
                      <a:cubicBezTo>
                        <a:pt x="171753" y="54662"/>
                        <a:pt x="166103" y="50609"/>
                        <a:pt x="159322" y="47569"/>
                      </a:cubicBezTo>
                      <a:cubicBezTo>
                        <a:pt x="152541" y="43515"/>
                        <a:pt x="154801" y="43515"/>
                        <a:pt x="150281" y="37435"/>
                      </a:cubicBezTo>
                      <a:cubicBezTo>
                        <a:pt x="153672" y="28315"/>
                        <a:pt x="138980" y="26288"/>
                        <a:pt x="153672" y="25275"/>
                      </a:cubicBezTo>
                      <a:cubicBezTo>
                        <a:pt x="157062" y="25275"/>
                        <a:pt x="151411" y="17168"/>
                        <a:pt x="145761" y="11088"/>
                      </a:cubicBezTo>
                      <a:cubicBezTo>
                        <a:pt x="141240" y="5008"/>
                        <a:pt x="143500" y="14128"/>
                        <a:pt x="135589" y="15141"/>
                      </a:cubicBezTo>
                      <a:cubicBezTo>
                        <a:pt x="127679" y="16155"/>
                        <a:pt x="117508" y="30342"/>
                        <a:pt x="117508" y="30342"/>
                      </a:cubicBezTo>
                      <a:cubicBezTo>
                        <a:pt x="116378" y="29328"/>
                        <a:pt x="117508" y="32368"/>
                        <a:pt x="110727" y="36422"/>
                      </a:cubicBezTo>
                      <a:cubicBezTo>
                        <a:pt x="103946" y="40475"/>
                        <a:pt x="105077" y="40475"/>
                        <a:pt x="98295" y="42502"/>
                      </a:cubicBezTo>
                      <a:cubicBezTo>
                        <a:pt x="98295" y="42502"/>
                        <a:pt x="88125" y="45542"/>
                        <a:pt x="82474" y="45542"/>
                      </a:cubicBezTo>
                      <a:cubicBezTo>
                        <a:pt x="76824" y="45542"/>
                        <a:pt x="76824" y="42502"/>
                        <a:pt x="70042" y="39462"/>
                      </a:cubicBezTo>
                      <a:cubicBezTo>
                        <a:pt x="63262" y="36422"/>
                        <a:pt x="66652" y="31355"/>
                        <a:pt x="57611" y="25275"/>
                      </a:cubicBezTo>
                      <a:cubicBezTo>
                        <a:pt x="48571" y="19195"/>
                        <a:pt x="49700" y="14128"/>
                        <a:pt x="49700" y="14128"/>
                      </a:cubicBezTo>
                      <a:lnTo>
                        <a:pt x="46310" y="15141"/>
                      </a:lnTo>
                      <a:lnTo>
                        <a:pt x="41789" y="25275"/>
                      </a:lnTo>
                      <a:cubicBezTo>
                        <a:pt x="41789" y="25275"/>
                        <a:pt x="35009" y="25275"/>
                        <a:pt x="29358" y="20208"/>
                      </a:cubicBezTo>
                      <a:cubicBezTo>
                        <a:pt x="23708" y="15141"/>
                        <a:pt x="28228" y="23248"/>
                        <a:pt x="19187" y="28315"/>
                      </a:cubicBezTo>
                      <a:cubicBezTo>
                        <a:pt x="10146" y="33382"/>
                        <a:pt x="14667" y="37435"/>
                        <a:pt x="19187" y="43515"/>
                      </a:cubicBezTo>
                      <a:cubicBezTo>
                        <a:pt x="23708" y="49595"/>
                        <a:pt x="18057" y="46555"/>
                        <a:pt x="20318" y="52636"/>
                      </a:cubicBezTo>
                      <a:cubicBezTo>
                        <a:pt x="22577" y="58716"/>
                        <a:pt x="15797" y="61756"/>
                        <a:pt x="11276" y="67836"/>
                      </a:cubicBezTo>
                      <a:cubicBezTo>
                        <a:pt x="6756" y="73916"/>
                        <a:pt x="15797" y="86076"/>
                        <a:pt x="21447" y="91143"/>
                      </a:cubicBezTo>
                      <a:cubicBezTo>
                        <a:pt x="27098" y="96210"/>
                        <a:pt x="24838" y="103303"/>
                        <a:pt x="29358" y="110397"/>
                      </a:cubicBezTo>
                      <a:cubicBezTo>
                        <a:pt x="33878" y="117490"/>
                        <a:pt x="27098" y="123571"/>
                        <a:pt x="27098" y="123571"/>
                      </a:cubicBezTo>
                      <a:cubicBezTo>
                        <a:pt x="27098" y="123571"/>
                        <a:pt x="29358" y="133704"/>
                        <a:pt x="33878" y="138771"/>
                      </a:cubicBezTo>
                      <a:cubicBezTo>
                        <a:pt x="38399" y="143838"/>
                        <a:pt x="27098" y="152958"/>
                        <a:pt x="35009" y="152958"/>
                      </a:cubicBezTo>
                      <a:cubicBezTo>
                        <a:pt x="42920" y="152958"/>
                        <a:pt x="31619" y="162078"/>
                        <a:pt x="39529" y="163092"/>
                      </a:cubicBezTo>
                      <a:cubicBezTo>
                        <a:pt x="47440" y="164105"/>
                        <a:pt x="40660" y="174239"/>
                        <a:pt x="48571" y="174239"/>
                      </a:cubicBezTo>
                      <a:cubicBezTo>
                        <a:pt x="56481" y="174239"/>
                        <a:pt x="54221" y="182345"/>
                        <a:pt x="61002" y="180318"/>
                      </a:cubicBezTo>
                      <a:cubicBezTo>
                        <a:pt x="67782" y="178292"/>
                        <a:pt x="68913" y="181332"/>
                        <a:pt x="75693" y="184372"/>
                      </a:cubicBezTo>
                      <a:cubicBezTo>
                        <a:pt x="83604" y="187412"/>
                        <a:pt x="91515" y="184372"/>
                        <a:pt x="91515" y="184372"/>
                      </a:cubicBezTo>
                      <a:cubicBezTo>
                        <a:pt x="91515" y="184372"/>
                        <a:pt x="101686" y="188425"/>
                        <a:pt x="94905" y="193492"/>
                      </a:cubicBezTo>
                      <a:cubicBezTo>
                        <a:pt x="88125" y="198559"/>
                        <a:pt x="74563" y="190452"/>
                        <a:pt x="79083" y="199572"/>
                      </a:cubicBezTo>
                      <a:cubicBezTo>
                        <a:pt x="83604" y="208693"/>
                        <a:pt x="84734" y="213759"/>
                        <a:pt x="80214" y="218826"/>
                      </a:cubicBezTo>
                      <a:cubicBezTo>
                        <a:pt x="75693" y="223893"/>
                        <a:pt x="64392" y="213759"/>
                        <a:pt x="67782" y="221866"/>
                      </a:cubicBezTo>
                      <a:cubicBezTo>
                        <a:pt x="74563" y="238080"/>
                        <a:pt x="57611" y="233013"/>
                        <a:pt x="63262" y="238080"/>
                      </a:cubicBezTo>
                      <a:cubicBezTo>
                        <a:pt x="68913" y="243147"/>
                        <a:pt x="64392" y="249227"/>
                        <a:pt x="72303" y="253280"/>
                      </a:cubicBezTo>
                      <a:cubicBezTo>
                        <a:pt x="79083" y="257334"/>
                        <a:pt x="81344" y="278614"/>
                        <a:pt x="90384" y="281654"/>
                      </a:cubicBezTo>
                      <a:cubicBezTo>
                        <a:pt x="99426" y="284694"/>
                        <a:pt x="116378" y="296854"/>
                        <a:pt x="118637" y="304961"/>
                      </a:cubicBezTo>
                      <a:cubicBezTo>
                        <a:pt x="120898" y="313068"/>
                        <a:pt x="106206" y="315095"/>
                        <a:pt x="117508" y="315095"/>
                      </a:cubicBezTo>
                      <a:cubicBezTo>
                        <a:pt x="128809" y="315095"/>
                        <a:pt x="132199" y="311042"/>
                        <a:pt x="135589" y="319148"/>
                      </a:cubicBezTo>
                      <a:cubicBezTo>
                        <a:pt x="140110" y="327255"/>
                        <a:pt x="140110" y="328269"/>
                        <a:pt x="148021" y="338402"/>
                      </a:cubicBezTo>
                      <a:cubicBezTo>
                        <a:pt x="155932" y="348536"/>
                        <a:pt x="159322" y="348536"/>
                        <a:pt x="158192" y="358669"/>
                      </a:cubicBezTo>
                      <a:cubicBezTo>
                        <a:pt x="157062" y="368803"/>
                        <a:pt x="157062" y="373870"/>
                        <a:pt x="161583" y="384003"/>
                      </a:cubicBezTo>
                      <a:lnTo>
                        <a:pt x="171753" y="384003"/>
                      </a:lnTo>
                      <a:lnTo>
                        <a:pt x="171753" y="400217"/>
                      </a:lnTo>
                      <a:cubicBezTo>
                        <a:pt x="171753" y="400217"/>
                        <a:pt x="180794" y="401230"/>
                        <a:pt x="184185" y="409337"/>
                      </a:cubicBezTo>
                      <a:cubicBezTo>
                        <a:pt x="186445" y="413390"/>
                        <a:pt x="188705" y="416431"/>
                        <a:pt x="189836" y="418457"/>
                      </a:cubicBezTo>
                      <a:cubicBezTo>
                        <a:pt x="190965" y="419471"/>
                        <a:pt x="189836" y="421498"/>
                        <a:pt x="189836" y="421498"/>
                      </a:cubicBezTo>
                      <a:cubicBezTo>
                        <a:pt x="201137" y="427578"/>
                        <a:pt x="211307" y="425551"/>
                        <a:pt x="224869" y="421498"/>
                      </a:cubicBezTo>
                      <a:cubicBezTo>
                        <a:pt x="229390" y="429604"/>
                        <a:pt x="236170" y="438724"/>
                        <a:pt x="238431" y="445818"/>
                      </a:cubicBezTo>
                      <a:cubicBezTo>
                        <a:pt x="240691" y="452912"/>
                        <a:pt x="237300" y="457978"/>
                        <a:pt x="240691" y="463045"/>
                      </a:cubicBezTo>
                      <a:cubicBezTo>
                        <a:pt x="242951" y="465072"/>
                        <a:pt x="248601" y="466085"/>
                        <a:pt x="251992" y="468112"/>
                      </a:cubicBezTo>
                      <a:lnTo>
                        <a:pt x="249732" y="478246"/>
                      </a:lnTo>
                      <a:cubicBezTo>
                        <a:pt x="251992" y="482299"/>
                        <a:pt x="262163" y="485339"/>
                        <a:pt x="263293" y="490406"/>
                      </a:cubicBezTo>
                      <a:cubicBezTo>
                        <a:pt x="264423" y="493446"/>
                        <a:pt x="261033" y="499526"/>
                        <a:pt x="263293" y="502566"/>
                      </a:cubicBezTo>
                      <a:cubicBezTo>
                        <a:pt x="265553" y="505606"/>
                        <a:pt x="274595" y="504593"/>
                        <a:pt x="276854" y="507633"/>
                      </a:cubicBezTo>
                      <a:cubicBezTo>
                        <a:pt x="280245" y="512700"/>
                        <a:pt x="276854" y="516753"/>
                        <a:pt x="279115" y="521820"/>
                      </a:cubicBezTo>
                      <a:cubicBezTo>
                        <a:pt x="280245" y="523847"/>
                        <a:pt x="293806" y="538034"/>
                        <a:pt x="294937" y="539047"/>
                      </a:cubicBezTo>
                      <a:lnTo>
                        <a:pt x="300587" y="539047"/>
                      </a:lnTo>
                      <a:cubicBezTo>
                        <a:pt x="301717" y="541074"/>
                        <a:pt x="299457" y="546140"/>
                        <a:pt x="300587" y="549181"/>
                      </a:cubicBezTo>
                      <a:lnTo>
                        <a:pt x="325450" y="568434"/>
                      </a:lnTo>
                      <a:cubicBezTo>
                        <a:pt x="327710" y="569448"/>
                        <a:pt x="333360" y="567421"/>
                        <a:pt x="336751" y="568434"/>
                      </a:cubicBezTo>
                      <a:cubicBezTo>
                        <a:pt x="337881" y="568434"/>
                        <a:pt x="343532" y="575528"/>
                        <a:pt x="344661" y="575528"/>
                      </a:cubicBezTo>
                      <a:cubicBezTo>
                        <a:pt x="348052" y="576541"/>
                        <a:pt x="352572" y="574514"/>
                        <a:pt x="355963" y="575528"/>
                      </a:cubicBezTo>
                      <a:cubicBezTo>
                        <a:pt x="363874" y="578568"/>
                        <a:pt x="371785" y="585661"/>
                        <a:pt x="385346" y="582621"/>
                      </a:cubicBezTo>
                      <a:lnTo>
                        <a:pt x="387606" y="577554"/>
                      </a:lnTo>
                      <a:cubicBezTo>
                        <a:pt x="406818" y="566407"/>
                        <a:pt x="427161" y="560327"/>
                        <a:pt x="447503" y="551207"/>
                      </a:cubicBezTo>
                      <a:cubicBezTo>
                        <a:pt x="455414" y="556274"/>
                        <a:pt x="467845" y="566407"/>
                        <a:pt x="472365" y="575528"/>
                      </a:cubicBezTo>
                      <a:cubicBezTo>
                        <a:pt x="480276" y="593768"/>
                        <a:pt x="474625" y="608969"/>
                        <a:pt x="493837" y="617075"/>
                      </a:cubicBezTo>
                      <a:cubicBezTo>
                        <a:pt x="506269" y="622142"/>
                        <a:pt x="522090" y="622142"/>
                        <a:pt x="540173" y="622142"/>
                      </a:cubicBezTo>
                      <a:lnTo>
                        <a:pt x="542432" y="627209"/>
                      </a:lnTo>
                      <a:cubicBezTo>
                        <a:pt x="557124" y="629236"/>
                        <a:pt x="575206" y="623155"/>
                        <a:pt x="585377" y="625182"/>
                      </a:cubicBezTo>
                      <a:cubicBezTo>
                        <a:pt x="587637" y="625182"/>
                        <a:pt x="597808" y="630249"/>
                        <a:pt x="601199" y="632276"/>
                      </a:cubicBezTo>
                      <a:lnTo>
                        <a:pt x="601199" y="637342"/>
                      </a:lnTo>
                      <a:cubicBezTo>
                        <a:pt x="606849" y="636329"/>
                        <a:pt x="611370" y="636329"/>
                        <a:pt x="615890" y="636329"/>
                      </a:cubicBezTo>
                      <a:close/>
                      <a:moveTo>
                        <a:pt x="31619" y="73916"/>
                      </a:moveTo>
                      <a:cubicBezTo>
                        <a:pt x="53091" y="73916"/>
                        <a:pt x="51961" y="87090"/>
                        <a:pt x="61002" y="98237"/>
                      </a:cubicBezTo>
                      <a:cubicBezTo>
                        <a:pt x="63262" y="101277"/>
                        <a:pt x="71173" y="103303"/>
                        <a:pt x="74563" y="105330"/>
                      </a:cubicBezTo>
                      <a:cubicBezTo>
                        <a:pt x="73433" y="109384"/>
                        <a:pt x="71173" y="118504"/>
                        <a:pt x="72303" y="119517"/>
                      </a:cubicBezTo>
                      <a:cubicBezTo>
                        <a:pt x="74563" y="123571"/>
                        <a:pt x="102816" y="120530"/>
                        <a:pt x="83604" y="136744"/>
                      </a:cubicBezTo>
                      <a:cubicBezTo>
                        <a:pt x="72303" y="145864"/>
                        <a:pt x="79083" y="140798"/>
                        <a:pt x="62131" y="143838"/>
                      </a:cubicBezTo>
                      <a:cubicBezTo>
                        <a:pt x="59872" y="138771"/>
                        <a:pt x="51961" y="129651"/>
                        <a:pt x="50830" y="124584"/>
                      </a:cubicBezTo>
                      <a:cubicBezTo>
                        <a:pt x="49700" y="121544"/>
                        <a:pt x="51961" y="117490"/>
                        <a:pt x="50830" y="114450"/>
                      </a:cubicBezTo>
                      <a:cubicBezTo>
                        <a:pt x="49700" y="112424"/>
                        <a:pt x="40660" y="109384"/>
                        <a:pt x="39529" y="107357"/>
                      </a:cubicBezTo>
                      <a:cubicBezTo>
                        <a:pt x="37269" y="101277"/>
                        <a:pt x="42920" y="95197"/>
                        <a:pt x="41789" y="93170"/>
                      </a:cubicBezTo>
                      <a:cubicBezTo>
                        <a:pt x="40660" y="88103"/>
                        <a:pt x="32749" y="86076"/>
                        <a:pt x="30488" y="81010"/>
                      </a:cubicBezTo>
                      <a:cubicBezTo>
                        <a:pt x="31619" y="81010"/>
                        <a:pt x="23708" y="73916"/>
                        <a:pt x="31619" y="73916"/>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7" name="Freeform: Shape 376">
                  <a:extLst>
                    <a:ext uri="{FF2B5EF4-FFF2-40B4-BE49-F238E27FC236}">
                      <a16:creationId xmlns:a16="http://schemas.microsoft.com/office/drawing/2014/main" id="{260507E4-4181-42B6-927B-F47769E95922}"/>
                    </a:ext>
                  </a:extLst>
                </p:cNvPr>
                <p:cNvSpPr/>
                <p:nvPr/>
              </p:nvSpPr>
              <p:spPr>
                <a:xfrm>
                  <a:off x="9229532" y="4037550"/>
                  <a:ext cx="1604770" cy="689083"/>
                </a:xfrm>
                <a:custGeom>
                  <a:avLst/>
                  <a:gdLst>
                    <a:gd name="connsiteX0" fmla="*/ 54001 w 1604769"/>
                    <a:gd name="connsiteY0" fmla="*/ 23363 h 689082"/>
                    <a:gd name="connsiteX1" fmla="*/ 40440 w 1604769"/>
                    <a:gd name="connsiteY1" fmla="*/ 11202 h 689082"/>
                    <a:gd name="connsiteX2" fmla="*/ 11056 w 1604769"/>
                    <a:gd name="connsiteY2" fmla="*/ 9176 h 689082"/>
                    <a:gd name="connsiteX3" fmla="*/ 11056 w 1604769"/>
                    <a:gd name="connsiteY3" fmla="*/ 33496 h 689082"/>
                    <a:gd name="connsiteX4" fmla="*/ 16707 w 1604769"/>
                    <a:gd name="connsiteY4" fmla="*/ 35523 h 689082"/>
                    <a:gd name="connsiteX5" fmla="*/ 38179 w 1604769"/>
                    <a:gd name="connsiteY5" fmla="*/ 69977 h 689082"/>
                    <a:gd name="connsiteX6" fmla="*/ 46090 w 1604769"/>
                    <a:gd name="connsiteY6" fmla="*/ 72004 h 689082"/>
                    <a:gd name="connsiteX7" fmla="*/ 57392 w 1604769"/>
                    <a:gd name="connsiteY7" fmla="*/ 89231 h 689082"/>
                    <a:gd name="connsiteX8" fmla="*/ 73213 w 1604769"/>
                    <a:gd name="connsiteY8" fmla="*/ 96324 h 689082"/>
                    <a:gd name="connsiteX9" fmla="*/ 75473 w 1604769"/>
                    <a:gd name="connsiteY9" fmla="*/ 106458 h 689082"/>
                    <a:gd name="connsiteX10" fmla="*/ 91295 w 1604769"/>
                    <a:gd name="connsiteY10" fmla="*/ 118618 h 689082"/>
                    <a:gd name="connsiteX11" fmla="*/ 93556 w 1604769"/>
                    <a:gd name="connsiteY11" fmla="*/ 128752 h 689082"/>
                    <a:gd name="connsiteX12" fmla="*/ 101466 w 1604769"/>
                    <a:gd name="connsiteY12" fmla="*/ 133818 h 689082"/>
                    <a:gd name="connsiteX13" fmla="*/ 103726 w 1604769"/>
                    <a:gd name="connsiteY13" fmla="*/ 153072 h 689082"/>
                    <a:gd name="connsiteX14" fmla="*/ 125199 w 1604769"/>
                    <a:gd name="connsiteY14" fmla="*/ 158139 h 689082"/>
                    <a:gd name="connsiteX15" fmla="*/ 133110 w 1604769"/>
                    <a:gd name="connsiteY15" fmla="*/ 168272 h 689082"/>
                    <a:gd name="connsiteX16" fmla="*/ 141020 w 1604769"/>
                    <a:gd name="connsiteY16" fmla="*/ 170299 h 689082"/>
                    <a:gd name="connsiteX17" fmla="*/ 141020 w 1604769"/>
                    <a:gd name="connsiteY17" fmla="*/ 196647 h 689082"/>
                    <a:gd name="connsiteX18" fmla="*/ 152321 w 1604769"/>
                    <a:gd name="connsiteY18" fmla="*/ 215900 h 689082"/>
                    <a:gd name="connsiteX19" fmla="*/ 152321 w 1604769"/>
                    <a:gd name="connsiteY19" fmla="*/ 226034 h 689082"/>
                    <a:gd name="connsiteX20" fmla="*/ 165883 w 1604769"/>
                    <a:gd name="connsiteY20" fmla="*/ 233128 h 689082"/>
                    <a:gd name="connsiteX21" fmla="*/ 177184 w 1604769"/>
                    <a:gd name="connsiteY21" fmla="*/ 252381 h 689082"/>
                    <a:gd name="connsiteX22" fmla="*/ 196396 w 1604769"/>
                    <a:gd name="connsiteY22" fmla="*/ 264541 h 689082"/>
                    <a:gd name="connsiteX23" fmla="*/ 221259 w 1604769"/>
                    <a:gd name="connsiteY23" fmla="*/ 308116 h 689082"/>
                    <a:gd name="connsiteX24" fmla="*/ 223519 w 1604769"/>
                    <a:gd name="connsiteY24" fmla="*/ 308116 h 689082"/>
                    <a:gd name="connsiteX25" fmla="*/ 223519 w 1604769"/>
                    <a:gd name="connsiteY25" fmla="*/ 327370 h 689082"/>
                    <a:gd name="connsiteX26" fmla="*/ 231430 w 1604769"/>
                    <a:gd name="connsiteY26" fmla="*/ 332436 h 689082"/>
                    <a:gd name="connsiteX27" fmla="*/ 247252 w 1604769"/>
                    <a:gd name="connsiteY27" fmla="*/ 366890 h 689082"/>
                    <a:gd name="connsiteX28" fmla="*/ 255163 w 1604769"/>
                    <a:gd name="connsiteY28" fmla="*/ 368917 h 689082"/>
                    <a:gd name="connsiteX29" fmla="*/ 266464 w 1604769"/>
                    <a:gd name="connsiteY29" fmla="*/ 403371 h 689082"/>
                    <a:gd name="connsiteX30" fmla="*/ 277765 w 1604769"/>
                    <a:gd name="connsiteY30" fmla="*/ 417558 h 689082"/>
                    <a:gd name="connsiteX31" fmla="*/ 277765 w 1604769"/>
                    <a:gd name="connsiteY31" fmla="*/ 422625 h 689082"/>
                    <a:gd name="connsiteX32" fmla="*/ 302628 w 1604769"/>
                    <a:gd name="connsiteY32" fmla="*/ 432759 h 689082"/>
                    <a:gd name="connsiteX33" fmla="*/ 313929 w 1604769"/>
                    <a:gd name="connsiteY33" fmla="*/ 434785 h 689082"/>
                    <a:gd name="connsiteX34" fmla="*/ 333140 w 1604769"/>
                    <a:gd name="connsiteY34" fmla="*/ 454039 h 689082"/>
                    <a:gd name="connsiteX35" fmla="*/ 352353 w 1604769"/>
                    <a:gd name="connsiteY35" fmla="*/ 459106 h 689082"/>
                    <a:gd name="connsiteX36" fmla="*/ 344442 w 1604769"/>
                    <a:gd name="connsiteY36" fmla="*/ 446946 h 689082"/>
                    <a:gd name="connsiteX37" fmla="*/ 352353 w 1604769"/>
                    <a:gd name="connsiteY37" fmla="*/ 444919 h 689082"/>
                    <a:gd name="connsiteX38" fmla="*/ 371565 w 1604769"/>
                    <a:gd name="connsiteY38" fmla="*/ 449986 h 689082"/>
                    <a:gd name="connsiteX39" fmla="*/ 377215 w 1604769"/>
                    <a:gd name="connsiteY39" fmla="*/ 444919 h 689082"/>
                    <a:gd name="connsiteX40" fmla="*/ 377215 w 1604769"/>
                    <a:gd name="connsiteY40" fmla="*/ 446946 h 689082"/>
                    <a:gd name="connsiteX41" fmla="*/ 390777 w 1604769"/>
                    <a:gd name="connsiteY41" fmla="*/ 446946 h 689082"/>
                    <a:gd name="connsiteX42" fmla="*/ 398688 w 1604769"/>
                    <a:gd name="connsiteY42" fmla="*/ 366890 h 689082"/>
                    <a:gd name="connsiteX43" fmla="*/ 387387 w 1604769"/>
                    <a:gd name="connsiteY43" fmla="*/ 361824 h 689082"/>
                    <a:gd name="connsiteX44" fmla="*/ 379476 w 1604769"/>
                    <a:gd name="connsiteY44" fmla="*/ 335476 h 689082"/>
                    <a:gd name="connsiteX45" fmla="*/ 360264 w 1604769"/>
                    <a:gd name="connsiteY45" fmla="*/ 335476 h 689082"/>
                    <a:gd name="connsiteX46" fmla="*/ 352353 w 1604769"/>
                    <a:gd name="connsiteY46" fmla="*/ 330410 h 689082"/>
                    <a:gd name="connsiteX47" fmla="*/ 354613 w 1604769"/>
                    <a:gd name="connsiteY47" fmla="*/ 320276 h 689082"/>
                    <a:gd name="connsiteX48" fmla="*/ 341051 w 1604769"/>
                    <a:gd name="connsiteY48" fmla="*/ 313183 h 689082"/>
                    <a:gd name="connsiteX49" fmla="*/ 343312 w 1604769"/>
                    <a:gd name="connsiteY49" fmla="*/ 286835 h 689082"/>
                    <a:gd name="connsiteX50" fmla="*/ 327490 w 1604769"/>
                    <a:gd name="connsiteY50" fmla="*/ 286835 h 689082"/>
                    <a:gd name="connsiteX51" fmla="*/ 327490 w 1604769"/>
                    <a:gd name="connsiteY51" fmla="*/ 281769 h 689082"/>
                    <a:gd name="connsiteX52" fmla="*/ 321839 w 1604769"/>
                    <a:gd name="connsiteY52" fmla="*/ 281769 h 689082"/>
                    <a:gd name="connsiteX53" fmla="*/ 316189 w 1604769"/>
                    <a:gd name="connsiteY53" fmla="*/ 286835 h 689082"/>
                    <a:gd name="connsiteX54" fmla="*/ 304887 w 1604769"/>
                    <a:gd name="connsiteY54" fmla="*/ 279742 h 689082"/>
                    <a:gd name="connsiteX55" fmla="*/ 304887 w 1604769"/>
                    <a:gd name="connsiteY55" fmla="*/ 260488 h 689082"/>
                    <a:gd name="connsiteX56" fmla="*/ 316189 w 1604769"/>
                    <a:gd name="connsiteY56" fmla="*/ 250354 h 689082"/>
                    <a:gd name="connsiteX57" fmla="*/ 316189 w 1604769"/>
                    <a:gd name="connsiteY57" fmla="*/ 243261 h 689082"/>
                    <a:gd name="connsiteX58" fmla="*/ 302628 w 1604769"/>
                    <a:gd name="connsiteY58" fmla="*/ 224007 h 689082"/>
                    <a:gd name="connsiteX59" fmla="*/ 302628 w 1604769"/>
                    <a:gd name="connsiteY59" fmla="*/ 213873 h 689082"/>
                    <a:gd name="connsiteX60" fmla="*/ 286806 w 1604769"/>
                    <a:gd name="connsiteY60" fmla="*/ 211847 h 689082"/>
                    <a:gd name="connsiteX61" fmla="*/ 292456 w 1604769"/>
                    <a:gd name="connsiteY61" fmla="*/ 197660 h 689082"/>
                    <a:gd name="connsiteX62" fmla="*/ 286806 w 1604769"/>
                    <a:gd name="connsiteY62" fmla="*/ 195633 h 689082"/>
                    <a:gd name="connsiteX63" fmla="*/ 281155 w 1604769"/>
                    <a:gd name="connsiteY63" fmla="*/ 209820 h 689082"/>
                    <a:gd name="connsiteX64" fmla="*/ 273244 w 1604769"/>
                    <a:gd name="connsiteY64" fmla="*/ 209820 h 689082"/>
                    <a:gd name="connsiteX65" fmla="*/ 270984 w 1604769"/>
                    <a:gd name="connsiteY65" fmla="*/ 204753 h 689082"/>
                    <a:gd name="connsiteX66" fmla="*/ 263074 w 1604769"/>
                    <a:gd name="connsiteY66" fmla="*/ 204753 h 689082"/>
                    <a:gd name="connsiteX67" fmla="*/ 257423 w 1604769"/>
                    <a:gd name="connsiteY67" fmla="*/ 185500 h 689082"/>
                    <a:gd name="connsiteX68" fmla="*/ 238211 w 1604769"/>
                    <a:gd name="connsiteY68" fmla="*/ 173339 h 689082"/>
                    <a:gd name="connsiteX69" fmla="*/ 230300 w 1604769"/>
                    <a:gd name="connsiteY69" fmla="*/ 154086 h 689082"/>
                    <a:gd name="connsiteX70" fmla="*/ 218999 w 1604769"/>
                    <a:gd name="connsiteY70" fmla="*/ 154086 h 689082"/>
                    <a:gd name="connsiteX71" fmla="*/ 218999 w 1604769"/>
                    <a:gd name="connsiteY71" fmla="*/ 156112 h 689082"/>
                    <a:gd name="connsiteX72" fmla="*/ 216738 w 1604769"/>
                    <a:gd name="connsiteY72" fmla="*/ 158139 h 689082"/>
                    <a:gd name="connsiteX73" fmla="*/ 211088 w 1604769"/>
                    <a:gd name="connsiteY73" fmla="*/ 156112 h 689082"/>
                    <a:gd name="connsiteX74" fmla="*/ 199786 w 1604769"/>
                    <a:gd name="connsiteY74" fmla="*/ 141925 h 689082"/>
                    <a:gd name="connsiteX75" fmla="*/ 197526 w 1604769"/>
                    <a:gd name="connsiteY75" fmla="*/ 141925 h 689082"/>
                    <a:gd name="connsiteX76" fmla="*/ 197526 w 1604769"/>
                    <a:gd name="connsiteY76" fmla="*/ 122671 h 689082"/>
                    <a:gd name="connsiteX77" fmla="*/ 183965 w 1604769"/>
                    <a:gd name="connsiteY77" fmla="*/ 120645 h 689082"/>
                    <a:gd name="connsiteX78" fmla="*/ 183965 w 1604769"/>
                    <a:gd name="connsiteY78" fmla="*/ 108484 h 689082"/>
                    <a:gd name="connsiteX79" fmla="*/ 148931 w 1604769"/>
                    <a:gd name="connsiteY79" fmla="*/ 89231 h 689082"/>
                    <a:gd name="connsiteX80" fmla="*/ 146671 w 1604769"/>
                    <a:gd name="connsiteY80" fmla="*/ 77070 h 689082"/>
                    <a:gd name="connsiteX81" fmla="*/ 135369 w 1604769"/>
                    <a:gd name="connsiteY81" fmla="*/ 72004 h 689082"/>
                    <a:gd name="connsiteX82" fmla="*/ 127459 w 1604769"/>
                    <a:gd name="connsiteY82" fmla="*/ 57817 h 689082"/>
                    <a:gd name="connsiteX83" fmla="*/ 116158 w 1604769"/>
                    <a:gd name="connsiteY83" fmla="*/ 57817 h 689082"/>
                    <a:gd name="connsiteX84" fmla="*/ 116158 w 1604769"/>
                    <a:gd name="connsiteY84" fmla="*/ 47683 h 689082"/>
                    <a:gd name="connsiteX85" fmla="*/ 100336 w 1604769"/>
                    <a:gd name="connsiteY85" fmla="*/ 25389 h 689082"/>
                    <a:gd name="connsiteX86" fmla="*/ 54001 w 1604769"/>
                    <a:gd name="connsiteY86" fmla="*/ 23363 h 689082"/>
                    <a:gd name="connsiteX87" fmla="*/ 34789 w 1604769"/>
                    <a:gd name="connsiteY87" fmla="*/ 125712 h 689082"/>
                    <a:gd name="connsiteX88" fmla="*/ 40440 w 1604769"/>
                    <a:gd name="connsiteY88" fmla="*/ 125712 h 689082"/>
                    <a:gd name="connsiteX89" fmla="*/ 34789 w 1604769"/>
                    <a:gd name="connsiteY89" fmla="*/ 125712 h 689082"/>
                    <a:gd name="connsiteX90" fmla="*/ 1168299 w 1604769"/>
                    <a:gd name="connsiteY90" fmla="*/ 135845 h 689082"/>
                    <a:gd name="connsiteX91" fmla="*/ 1173950 w 1604769"/>
                    <a:gd name="connsiteY91" fmla="*/ 162193 h 689082"/>
                    <a:gd name="connsiteX92" fmla="*/ 1185251 w 1604769"/>
                    <a:gd name="connsiteY92" fmla="*/ 162193 h 689082"/>
                    <a:gd name="connsiteX93" fmla="*/ 1185251 w 1604769"/>
                    <a:gd name="connsiteY93" fmla="*/ 157126 h 689082"/>
                    <a:gd name="connsiteX94" fmla="*/ 1185251 w 1604769"/>
                    <a:gd name="connsiteY94" fmla="*/ 144965 h 689082"/>
                    <a:gd name="connsiteX95" fmla="*/ 1168299 w 1604769"/>
                    <a:gd name="connsiteY95" fmla="*/ 135845 h 689082"/>
                    <a:gd name="connsiteX96" fmla="*/ 1150217 w 1604769"/>
                    <a:gd name="connsiteY96" fmla="*/ 150032 h 689082"/>
                    <a:gd name="connsiteX97" fmla="*/ 1131005 w 1604769"/>
                    <a:gd name="connsiteY97" fmla="*/ 198673 h 689082"/>
                    <a:gd name="connsiteX98" fmla="*/ 1144567 w 1604769"/>
                    <a:gd name="connsiteY98" fmla="*/ 208807 h 689082"/>
                    <a:gd name="connsiteX99" fmla="*/ 1138916 w 1604769"/>
                    <a:gd name="connsiteY99" fmla="*/ 215900 h 689082"/>
                    <a:gd name="connsiteX100" fmla="*/ 1138916 w 1604769"/>
                    <a:gd name="connsiteY100" fmla="*/ 220967 h 689082"/>
                    <a:gd name="connsiteX101" fmla="*/ 1136656 w 1604769"/>
                    <a:gd name="connsiteY101" fmla="*/ 238194 h 689082"/>
                    <a:gd name="connsiteX102" fmla="*/ 1136656 w 1604769"/>
                    <a:gd name="connsiteY102" fmla="*/ 240221 h 689082"/>
                    <a:gd name="connsiteX103" fmla="*/ 1150217 w 1604769"/>
                    <a:gd name="connsiteY103" fmla="*/ 257448 h 689082"/>
                    <a:gd name="connsiteX104" fmla="*/ 1161519 w 1604769"/>
                    <a:gd name="connsiteY104" fmla="*/ 264541 h 689082"/>
                    <a:gd name="connsiteX105" fmla="*/ 1147957 w 1604769"/>
                    <a:gd name="connsiteY105" fmla="*/ 247314 h 689082"/>
                    <a:gd name="connsiteX106" fmla="*/ 1147957 w 1604769"/>
                    <a:gd name="connsiteY106" fmla="*/ 230087 h 689082"/>
                    <a:gd name="connsiteX107" fmla="*/ 1159258 w 1604769"/>
                    <a:gd name="connsiteY107" fmla="*/ 222994 h 689082"/>
                    <a:gd name="connsiteX108" fmla="*/ 1167169 w 1604769"/>
                    <a:gd name="connsiteY108" fmla="*/ 222994 h 689082"/>
                    <a:gd name="connsiteX109" fmla="*/ 1175080 w 1604769"/>
                    <a:gd name="connsiteY109" fmla="*/ 233128 h 689082"/>
                    <a:gd name="connsiteX110" fmla="*/ 1182991 w 1604769"/>
                    <a:gd name="connsiteY110" fmla="*/ 233128 h 689082"/>
                    <a:gd name="connsiteX111" fmla="*/ 1177340 w 1604769"/>
                    <a:gd name="connsiteY111" fmla="*/ 213873 h 689082"/>
                    <a:gd name="connsiteX112" fmla="*/ 1163778 w 1604769"/>
                    <a:gd name="connsiteY112" fmla="*/ 213873 h 689082"/>
                    <a:gd name="connsiteX113" fmla="*/ 1182991 w 1604769"/>
                    <a:gd name="connsiteY113" fmla="*/ 199687 h 689082"/>
                    <a:gd name="connsiteX114" fmla="*/ 1175080 w 1604769"/>
                    <a:gd name="connsiteY114" fmla="*/ 189553 h 689082"/>
                    <a:gd name="connsiteX115" fmla="*/ 1175080 w 1604769"/>
                    <a:gd name="connsiteY115" fmla="*/ 187526 h 689082"/>
                    <a:gd name="connsiteX116" fmla="*/ 1161519 w 1604769"/>
                    <a:gd name="connsiteY116" fmla="*/ 197660 h 689082"/>
                    <a:gd name="connsiteX117" fmla="*/ 1161519 w 1604769"/>
                    <a:gd name="connsiteY117" fmla="*/ 204753 h 689082"/>
                    <a:gd name="connsiteX118" fmla="*/ 1155868 w 1604769"/>
                    <a:gd name="connsiteY118" fmla="*/ 204753 h 689082"/>
                    <a:gd name="connsiteX119" fmla="*/ 1155868 w 1604769"/>
                    <a:gd name="connsiteY119" fmla="*/ 173339 h 689082"/>
                    <a:gd name="connsiteX120" fmla="*/ 1158128 w 1604769"/>
                    <a:gd name="connsiteY120" fmla="*/ 166246 h 689082"/>
                    <a:gd name="connsiteX121" fmla="*/ 1160388 w 1604769"/>
                    <a:gd name="connsiteY121" fmla="*/ 164219 h 689082"/>
                    <a:gd name="connsiteX122" fmla="*/ 1158128 w 1604769"/>
                    <a:gd name="connsiteY122" fmla="*/ 154086 h 689082"/>
                    <a:gd name="connsiteX123" fmla="*/ 1150217 w 1604769"/>
                    <a:gd name="connsiteY123" fmla="*/ 150032 h 689082"/>
                    <a:gd name="connsiteX124" fmla="*/ 241601 w 1604769"/>
                    <a:gd name="connsiteY124" fmla="*/ 157126 h 689082"/>
                    <a:gd name="connsiteX125" fmla="*/ 241601 w 1604769"/>
                    <a:gd name="connsiteY125" fmla="*/ 164219 h 689082"/>
                    <a:gd name="connsiteX126" fmla="*/ 247252 w 1604769"/>
                    <a:gd name="connsiteY126" fmla="*/ 166246 h 689082"/>
                    <a:gd name="connsiteX127" fmla="*/ 241601 w 1604769"/>
                    <a:gd name="connsiteY127" fmla="*/ 157126 h 689082"/>
                    <a:gd name="connsiteX128" fmla="*/ 263074 w 1604769"/>
                    <a:gd name="connsiteY128" fmla="*/ 172326 h 689082"/>
                    <a:gd name="connsiteX129" fmla="*/ 263074 w 1604769"/>
                    <a:gd name="connsiteY129" fmla="*/ 179419 h 689082"/>
                    <a:gd name="connsiteX130" fmla="*/ 274375 w 1604769"/>
                    <a:gd name="connsiteY130" fmla="*/ 181446 h 689082"/>
                    <a:gd name="connsiteX131" fmla="*/ 263074 w 1604769"/>
                    <a:gd name="connsiteY131" fmla="*/ 172326 h 689082"/>
                    <a:gd name="connsiteX132" fmla="*/ 86774 w 1604769"/>
                    <a:gd name="connsiteY132" fmla="*/ 176379 h 689082"/>
                    <a:gd name="connsiteX133" fmla="*/ 84514 w 1604769"/>
                    <a:gd name="connsiteY133" fmla="*/ 183473 h 689082"/>
                    <a:gd name="connsiteX134" fmla="*/ 95815 w 1604769"/>
                    <a:gd name="connsiteY134" fmla="*/ 188540 h 689082"/>
                    <a:gd name="connsiteX135" fmla="*/ 109377 w 1604769"/>
                    <a:gd name="connsiteY135" fmla="*/ 207794 h 689082"/>
                    <a:gd name="connsiteX136" fmla="*/ 111637 w 1604769"/>
                    <a:gd name="connsiteY136" fmla="*/ 193606 h 689082"/>
                    <a:gd name="connsiteX137" fmla="*/ 105987 w 1604769"/>
                    <a:gd name="connsiteY137" fmla="*/ 193606 h 689082"/>
                    <a:gd name="connsiteX138" fmla="*/ 98076 w 1604769"/>
                    <a:gd name="connsiteY138" fmla="*/ 181446 h 689082"/>
                    <a:gd name="connsiteX139" fmla="*/ 95815 w 1604769"/>
                    <a:gd name="connsiteY139" fmla="*/ 181446 h 689082"/>
                    <a:gd name="connsiteX140" fmla="*/ 95815 w 1604769"/>
                    <a:gd name="connsiteY140" fmla="*/ 176379 h 689082"/>
                    <a:gd name="connsiteX141" fmla="*/ 86774 w 1604769"/>
                    <a:gd name="connsiteY141" fmla="*/ 176379 h 689082"/>
                    <a:gd name="connsiteX142" fmla="*/ 1043986 w 1604769"/>
                    <a:gd name="connsiteY142" fmla="*/ 179419 h 689082"/>
                    <a:gd name="connsiteX143" fmla="*/ 1041726 w 1604769"/>
                    <a:gd name="connsiteY143" fmla="*/ 189553 h 689082"/>
                    <a:gd name="connsiteX144" fmla="*/ 1030424 w 1604769"/>
                    <a:gd name="connsiteY144" fmla="*/ 191580 h 689082"/>
                    <a:gd name="connsiteX145" fmla="*/ 1030424 w 1604769"/>
                    <a:gd name="connsiteY145" fmla="*/ 198673 h 689082"/>
                    <a:gd name="connsiteX146" fmla="*/ 1008952 w 1604769"/>
                    <a:gd name="connsiteY146" fmla="*/ 208807 h 689082"/>
                    <a:gd name="connsiteX147" fmla="*/ 938885 w 1604769"/>
                    <a:gd name="connsiteY147" fmla="*/ 208807 h 689082"/>
                    <a:gd name="connsiteX148" fmla="*/ 936625 w 1604769"/>
                    <a:gd name="connsiteY148" fmla="*/ 203740 h 689082"/>
                    <a:gd name="connsiteX149" fmla="*/ 928714 w 1604769"/>
                    <a:gd name="connsiteY149" fmla="*/ 205767 h 689082"/>
                    <a:gd name="connsiteX150" fmla="*/ 926453 w 1604769"/>
                    <a:gd name="connsiteY150" fmla="*/ 195633 h 689082"/>
                    <a:gd name="connsiteX151" fmla="*/ 891420 w 1604769"/>
                    <a:gd name="connsiteY151" fmla="*/ 202727 h 689082"/>
                    <a:gd name="connsiteX152" fmla="*/ 891420 w 1604769"/>
                    <a:gd name="connsiteY152" fmla="*/ 207794 h 689082"/>
                    <a:gd name="connsiteX153" fmla="*/ 883509 w 1604769"/>
                    <a:gd name="connsiteY153" fmla="*/ 205767 h 689082"/>
                    <a:gd name="connsiteX154" fmla="*/ 869947 w 1604769"/>
                    <a:gd name="connsiteY154" fmla="*/ 219954 h 689082"/>
                    <a:gd name="connsiteX155" fmla="*/ 867688 w 1604769"/>
                    <a:gd name="connsiteY155" fmla="*/ 225020 h 689082"/>
                    <a:gd name="connsiteX156" fmla="*/ 869947 w 1604769"/>
                    <a:gd name="connsiteY156" fmla="*/ 235154 h 689082"/>
                    <a:gd name="connsiteX157" fmla="*/ 864297 w 1604769"/>
                    <a:gd name="connsiteY157" fmla="*/ 281769 h 689082"/>
                    <a:gd name="connsiteX158" fmla="*/ 858646 w 1604769"/>
                    <a:gd name="connsiteY158" fmla="*/ 281769 h 689082"/>
                    <a:gd name="connsiteX159" fmla="*/ 852995 w 1604769"/>
                    <a:gd name="connsiteY159" fmla="*/ 323316 h 689082"/>
                    <a:gd name="connsiteX160" fmla="*/ 847345 w 1604769"/>
                    <a:gd name="connsiteY160" fmla="*/ 342570 h 689082"/>
                    <a:gd name="connsiteX161" fmla="*/ 841694 w 1604769"/>
                    <a:gd name="connsiteY161" fmla="*/ 344597 h 689082"/>
                    <a:gd name="connsiteX162" fmla="*/ 841694 w 1604769"/>
                    <a:gd name="connsiteY162" fmla="*/ 383104 h 689082"/>
                    <a:gd name="connsiteX163" fmla="*/ 857516 w 1604769"/>
                    <a:gd name="connsiteY163" fmla="*/ 383104 h 689082"/>
                    <a:gd name="connsiteX164" fmla="*/ 859777 w 1604769"/>
                    <a:gd name="connsiteY164" fmla="*/ 390198 h 689082"/>
                    <a:gd name="connsiteX165" fmla="*/ 857516 w 1604769"/>
                    <a:gd name="connsiteY165" fmla="*/ 397291 h 689082"/>
                    <a:gd name="connsiteX166" fmla="*/ 863167 w 1604769"/>
                    <a:gd name="connsiteY166" fmla="*/ 404385 h 689082"/>
                    <a:gd name="connsiteX167" fmla="*/ 849605 w 1604769"/>
                    <a:gd name="connsiteY167" fmla="*/ 423638 h 689082"/>
                    <a:gd name="connsiteX168" fmla="*/ 849605 w 1604769"/>
                    <a:gd name="connsiteY168" fmla="*/ 458093 h 689082"/>
                    <a:gd name="connsiteX169" fmla="*/ 892550 w 1604769"/>
                    <a:gd name="connsiteY169" fmla="*/ 456066 h 689082"/>
                    <a:gd name="connsiteX170" fmla="*/ 892550 w 1604769"/>
                    <a:gd name="connsiteY170" fmla="*/ 443906 h 689082"/>
                    <a:gd name="connsiteX171" fmla="*/ 886899 w 1604769"/>
                    <a:gd name="connsiteY171" fmla="*/ 438839 h 689082"/>
                    <a:gd name="connsiteX172" fmla="*/ 894810 w 1604769"/>
                    <a:gd name="connsiteY172" fmla="*/ 426678 h 689082"/>
                    <a:gd name="connsiteX173" fmla="*/ 886899 w 1604769"/>
                    <a:gd name="connsiteY173" fmla="*/ 407425 h 689082"/>
                    <a:gd name="connsiteX174" fmla="*/ 898200 w 1604769"/>
                    <a:gd name="connsiteY174" fmla="*/ 400331 h 689082"/>
                    <a:gd name="connsiteX175" fmla="*/ 895941 w 1604769"/>
                    <a:gd name="connsiteY175" fmla="*/ 373984 h 689082"/>
                    <a:gd name="connsiteX176" fmla="*/ 920803 w 1604769"/>
                    <a:gd name="connsiteY176" fmla="*/ 371957 h 689082"/>
                    <a:gd name="connsiteX177" fmla="*/ 928714 w 1604769"/>
                    <a:gd name="connsiteY177" fmla="*/ 408438 h 689082"/>
                    <a:gd name="connsiteX178" fmla="*/ 934364 w 1604769"/>
                    <a:gd name="connsiteY178" fmla="*/ 439852 h 689082"/>
                    <a:gd name="connsiteX179" fmla="*/ 955837 w 1604769"/>
                    <a:gd name="connsiteY179" fmla="*/ 444919 h 689082"/>
                    <a:gd name="connsiteX180" fmla="*/ 955837 w 1604769"/>
                    <a:gd name="connsiteY180" fmla="*/ 442892 h 689082"/>
                    <a:gd name="connsiteX181" fmla="*/ 958097 w 1604769"/>
                    <a:gd name="connsiteY181" fmla="*/ 428705 h 689082"/>
                    <a:gd name="connsiteX182" fmla="*/ 958097 w 1604769"/>
                    <a:gd name="connsiteY182" fmla="*/ 426678 h 689082"/>
                    <a:gd name="connsiteX183" fmla="*/ 985220 w 1604769"/>
                    <a:gd name="connsiteY183" fmla="*/ 424652 h 689082"/>
                    <a:gd name="connsiteX184" fmla="*/ 987480 w 1604769"/>
                    <a:gd name="connsiteY184" fmla="*/ 414518 h 689082"/>
                    <a:gd name="connsiteX185" fmla="*/ 981829 w 1604769"/>
                    <a:gd name="connsiteY185" fmla="*/ 414518 h 689082"/>
                    <a:gd name="connsiteX186" fmla="*/ 970528 w 1604769"/>
                    <a:gd name="connsiteY186" fmla="*/ 400331 h 689082"/>
                    <a:gd name="connsiteX187" fmla="*/ 968268 w 1604769"/>
                    <a:gd name="connsiteY187" fmla="*/ 378037 h 689082"/>
                    <a:gd name="connsiteX188" fmla="*/ 962617 w 1604769"/>
                    <a:gd name="connsiteY188" fmla="*/ 378037 h 689082"/>
                    <a:gd name="connsiteX189" fmla="*/ 962617 w 1604769"/>
                    <a:gd name="connsiteY189" fmla="*/ 370944 h 689082"/>
                    <a:gd name="connsiteX190" fmla="*/ 946796 w 1604769"/>
                    <a:gd name="connsiteY190" fmla="*/ 365877 h 689082"/>
                    <a:gd name="connsiteX191" fmla="*/ 941145 w 1604769"/>
                    <a:gd name="connsiteY191" fmla="*/ 343583 h 689082"/>
                    <a:gd name="connsiteX192" fmla="*/ 916283 w 1604769"/>
                    <a:gd name="connsiteY192" fmla="*/ 333450 h 689082"/>
                    <a:gd name="connsiteX193" fmla="*/ 927584 w 1604769"/>
                    <a:gd name="connsiteY193" fmla="*/ 326356 h 689082"/>
                    <a:gd name="connsiteX194" fmla="*/ 941145 w 1604769"/>
                    <a:gd name="connsiteY194" fmla="*/ 326356 h 689082"/>
                    <a:gd name="connsiteX195" fmla="*/ 993131 w 1604769"/>
                    <a:gd name="connsiteY195" fmla="*/ 294942 h 689082"/>
                    <a:gd name="connsiteX196" fmla="*/ 995391 w 1604769"/>
                    <a:gd name="connsiteY196" fmla="*/ 282782 h 689082"/>
                    <a:gd name="connsiteX197" fmla="*/ 929844 w 1604769"/>
                    <a:gd name="connsiteY197" fmla="*/ 280755 h 689082"/>
                    <a:gd name="connsiteX198" fmla="*/ 927584 w 1604769"/>
                    <a:gd name="connsiteY198" fmla="*/ 290889 h 689082"/>
                    <a:gd name="connsiteX199" fmla="*/ 914022 w 1604769"/>
                    <a:gd name="connsiteY199" fmla="*/ 295955 h 689082"/>
                    <a:gd name="connsiteX200" fmla="*/ 908372 w 1604769"/>
                    <a:gd name="connsiteY200" fmla="*/ 283795 h 689082"/>
                    <a:gd name="connsiteX201" fmla="*/ 894810 w 1604769"/>
                    <a:gd name="connsiteY201" fmla="*/ 281769 h 689082"/>
                    <a:gd name="connsiteX202" fmla="*/ 889159 w 1604769"/>
                    <a:gd name="connsiteY202" fmla="*/ 274675 h 689082"/>
                    <a:gd name="connsiteX203" fmla="*/ 891420 w 1604769"/>
                    <a:gd name="connsiteY203" fmla="*/ 250354 h 689082"/>
                    <a:gd name="connsiteX204" fmla="*/ 893680 w 1604769"/>
                    <a:gd name="connsiteY204" fmla="*/ 231101 h 689082"/>
                    <a:gd name="connsiteX205" fmla="*/ 904981 w 1604769"/>
                    <a:gd name="connsiteY205" fmla="*/ 233128 h 689082"/>
                    <a:gd name="connsiteX206" fmla="*/ 926453 w 1604769"/>
                    <a:gd name="connsiteY206" fmla="*/ 228061 h 689082"/>
                    <a:gd name="connsiteX207" fmla="*/ 940015 w 1604769"/>
                    <a:gd name="connsiteY207" fmla="*/ 233128 h 689082"/>
                    <a:gd name="connsiteX208" fmla="*/ 975049 w 1604769"/>
                    <a:gd name="connsiteY208" fmla="*/ 231101 h 689082"/>
                    <a:gd name="connsiteX209" fmla="*/ 1017993 w 1604769"/>
                    <a:gd name="connsiteY209" fmla="*/ 238194 h 689082"/>
                    <a:gd name="connsiteX210" fmla="*/ 1017993 w 1604769"/>
                    <a:gd name="connsiteY210" fmla="*/ 233128 h 689082"/>
                    <a:gd name="connsiteX211" fmla="*/ 1031555 w 1604769"/>
                    <a:gd name="connsiteY211" fmla="*/ 231101 h 689082"/>
                    <a:gd name="connsiteX212" fmla="*/ 1039465 w 1604769"/>
                    <a:gd name="connsiteY212" fmla="*/ 211847 h 689082"/>
                    <a:gd name="connsiteX213" fmla="*/ 1047376 w 1604769"/>
                    <a:gd name="connsiteY213" fmla="*/ 206780 h 689082"/>
                    <a:gd name="connsiteX214" fmla="*/ 1053027 w 1604769"/>
                    <a:gd name="connsiteY214" fmla="*/ 204753 h 689082"/>
                    <a:gd name="connsiteX215" fmla="*/ 1055287 w 1604769"/>
                    <a:gd name="connsiteY215" fmla="*/ 187526 h 689082"/>
                    <a:gd name="connsiteX216" fmla="*/ 1049637 w 1604769"/>
                    <a:gd name="connsiteY216" fmla="*/ 182460 h 689082"/>
                    <a:gd name="connsiteX217" fmla="*/ 1043986 w 1604769"/>
                    <a:gd name="connsiteY217" fmla="*/ 179419 h 689082"/>
                    <a:gd name="connsiteX218" fmla="*/ 336531 w 1604769"/>
                    <a:gd name="connsiteY218" fmla="*/ 188540 h 689082"/>
                    <a:gd name="connsiteX219" fmla="*/ 336531 w 1604769"/>
                    <a:gd name="connsiteY219" fmla="*/ 193606 h 689082"/>
                    <a:gd name="connsiteX220" fmla="*/ 336531 w 1604769"/>
                    <a:gd name="connsiteY220" fmla="*/ 188540 h 689082"/>
                    <a:gd name="connsiteX221" fmla="*/ 1247407 w 1604769"/>
                    <a:gd name="connsiteY221" fmla="*/ 247314 h 689082"/>
                    <a:gd name="connsiteX222" fmla="*/ 1241757 w 1604769"/>
                    <a:gd name="connsiteY222" fmla="*/ 252381 h 689082"/>
                    <a:gd name="connsiteX223" fmla="*/ 1268880 w 1604769"/>
                    <a:gd name="connsiteY223" fmla="*/ 262515 h 689082"/>
                    <a:gd name="connsiteX224" fmla="*/ 1271140 w 1604769"/>
                    <a:gd name="connsiteY224" fmla="*/ 255421 h 689082"/>
                    <a:gd name="connsiteX225" fmla="*/ 1247407 w 1604769"/>
                    <a:gd name="connsiteY225" fmla="*/ 247314 h 689082"/>
                    <a:gd name="connsiteX226" fmla="*/ 1136656 w 1604769"/>
                    <a:gd name="connsiteY226" fmla="*/ 261501 h 689082"/>
                    <a:gd name="connsiteX227" fmla="*/ 1136656 w 1604769"/>
                    <a:gd name="connsiteY227" fmla="*/ 278729 h 689082"/>
                    <a:gd name="connsiteX228" fmla="*/ 1136656 w 1604769"/>
                    <a:gd name="connsiteY228" fmla="*/ 261501 h 689082"/>
                    <a:gd name="connsiteX229" fmla="*/ 141020 w 1604769"/>
                    <a:gd name="connsiteY229" fmla="*/ 283795 h 689082"/>
                    <a:gd name="connsiteX230" fmla="*/ 138760 w 1604769"/>
                    <a:gd name="connsiteY230" fmla="*/ 290889 h 689082"/>
                    <a:gd name="connsiteX231" fmla="*/ 146671 w 1604769"/>
                    <a:gd name="connsiteY231" fmla="*/ 313183 h 689082"/>
                    <a:gd name="connsiteX232" fmla="*/ 162493 w 1604769"/>
                    <a:gd name="connsiteY232" fmla="*/ 315209 h 689082"/>
                    <a:gd name="connsiteX233" fmla="*/ 160232 w 1604769"/>
                    <a:gd name="connsiteY233" fmla="*/ 310142 h 689082"/>
                    <a:gd name="connsiteX234" fmla="*/ 152321 w 1604769"/>
                    <a:gd name="connsiteY234" fmla="*/ 283795 h 689082"/>
                    <a:gd name="connsiteX235" fmla="*/ 141020 w 1604769"/>
                    <a:gd name="connsiteY235" fmla="*/ 283795 h 689082"/>
                    <a:gd name="connsiteX236" fmla="*/ 1236106 w 1604769"/>
                    <a:gd name="connsiteY236" fmla="*/ 283795 h 689082"/>
                    <a:gd name="connsiteX237" fmla="*/ 1238367 w 1604769"/>
                    <a:gd name="connsiteY237" fmla="*/ 288862 h 689082"/>
                    <a:gd name="connsiteX238" fmla="*/ 1236106 w 1604769"/>
                    <a:gd name="connsiteY238" fmla="*/ 283795 h 689082"/>
                    <a:gd name="connsiteX239" fmla="*/ 1253058 w 1604769"/>
                    <a:gd name="connsiteY239" fmla="*/ 290889 h 689082"/>
                    <a:gd name="connsiteX240" fmla="*/ 1247407 w 1604769"/>
                    <a:gd name="connsiteY240" fmla="*/ 292916 h 689082"/>
                    <a:gd name="connsiteX241" fmla="*/ 1247407 w 1604769"/>
                    <a:gd name="connsiteY241" fmla="*/ 300009 h 689082"/>
                    <a:gd name="connsiteX242" fmla="*/ 1258709 w 1604769"/>
                    <a:gd name="connsiteY242" fmla="*/ 302036 h 689082"/>
                    <a:gd name="connsiteX243" fmla="*/ 1253058 w 1604769"/>
                    <a:gd name="connsiteY243" fmla="*/ 290889 h 689082"/>
                    <a:gd name="connsiteX244" fmla="*/ 1146827 w 1604769"/>
                    <a:gd name="connsiteY244" fmla="*/ 295955 h 689082"/>
                    <a:gd name="connsiteX245" fmla="*/ 1152477 w 1604769"/>
                    <a:gd name="connsiteY245" fmla="*/ 301022 h 689082"/>
                    <a:gd name="connsiteX246" fmla="*/ 1146827 w 1604769"/>
                    <a:gd name="connsiteY246" fmla="*/ 295955 h 689082"/>
                    <a:gd name="connsiteX247" fmla="*/ 976179 w 1604769"/>
                    <a:gd name="connsiteY247" fmla="*/ 303049 h 689082"/>
                    <a:gd name="connsiteX248" fmla="*/ 973918 w 1604769"/>
                    <a:gd name="connsiteY248" fmla="*/ 308116 h 689082"/>
                    <a:gd name="connsiteX249" fmla="*/ 971658 w 1604769"/>
                    <a:gd name="connsiteY249" fmla="*/ 313183 h 689082"/>
                    <a:gd name="connsiteX250" fmla="*/ 973918 w 1604769"/>
                    <a:gd name="connsiteY250" fmla="*/ 318249 h 689082"/>
                    <a:gd name="connsiteX251" fmla="*/ 985220 w 1604769"/>
                    <a:gd name="connsiteY251" fmla="*/ 316223 h 689082"/>
                    <a:gd name="connsiteX252" fmla="*/ 993131 w 1604769"/>
                    <a:gd name="connsiteY252" fmla="*/ 318249 h 689082"/>
                    <a:gd name="connsiteX253" fmla="*/ 995391 w 1604769"/>
                    <a:gd name="connsiteY253" fmla="*/ 313183 h 689082"/>
                    <a:gd name="connsiteX254" fmla="*/ 1001042 w 1604769"/>
                    <a:gd name="connsiteY254" fmla="*/ 308116 h 689082"/>
                    <a:gd name="connsiteX255" fmla="*/ 976179 w 1604769"/>
                    <a:gd name="connsiteY255" fmla="*/ 303049 h 689082"/>
                    <a:gd name="connsiteX256" fmla="*/ 382866 w 1604769"/>
                    <a:gd name="connsiteY256" fmla="*/ 308116 h 689082"/>
                    <a:gd name="connsiteX257" fmla="*/ 374955 w 1604769"/>
                    <a:gd name="connsiteY257" fmla="*/ 327370 h 689082"/>
                    <a:gd name="connsiteX258" fmla="*/ 390777 w 1604769"/>
                    <a:gd name="connsiteY258" fmla="*/ 329396 h 689082"/>
                    <a:gd name="connsiteX259" fmla="*/ 390777 w 1604769"/>
                    <a:gd name="connsiteY259" fmla="*/ 346623 h 689082"/>
                    <a:gd name="connsiteX260" fmla="*/ 404338 w 1604769"/>
                    <a:gd name="connsiteY260" fmla="*/ 356757 h 689082"/>
                    <a:gd name="connsiteX261" fmla="*/ 409989 w 1604769"/>
                    <a:gd name="connsiteY261" fmla="*/ 363850 h 689082"/>
                    <a:gd name="connsiteX262" fmla="*/ 415640 w 1604769"/>
                    <a:gd name="connsiteY262" fmla="*/ 361824 h 689082"/>
                    <a:gd name="connsiteX263" fmla="*/ 402078 w 1604769"/>
                    <a:gd name="connsiteY263" fmla="*/ 323316 h 689082"/>
                    <a:gd name="connsiteX264" fmla="*/ 382866 w 1604769"/>
                    <a:gd name="connsiteY264" fmla="*/ 308116 h 689082"/>
                    <a:gd name="connsiteX265" fmla="*/ 1228195 w 1604769"/>
                    <a:gd name="connsiteY265" fmla="*/ 308116 h 689082"/>
                    <a:gd name="connsiteX266" fmla="*/ 1222545 w 1604769"/>
                    <a:gd name="connsiteY266" fmla="*/ 318249 h 689082"/>
                    <a:gd name="connsiteX267" fmla="*/ 1236106 w 1604769"/>
                    <a:gd name="connsiteY267" fmla="*/ 320276 h 689082"/>
                    <a:gd name="connsiteX268" fmla="*/ 1236106 w 1604769"/>
                    <a:gd name="connsiteY268" fmla="*/ 313183 h 689082"/>
                    <a:gd name="connsiteX269" fmla="*/ 1228195 w 1604769"/>
                    <a:gd name="connsiteY269" fmla="*/ 308116 h 689082"/>
                    <a:gd name="connsiteX270" fmla="*/ 1068849 w 1604769"/>
                    <a:gd name="connsiteY270" fmla="*/ 310142 h 689082"/>
                    <a:gd name="connsiteX271" fmla="*/ 1066588 w 1604769"/>
                    <a:gd name="connsiteY271" fmla="*/ 315209 h 689082"/>
                    <a:gd name="connsiteX272" fmla="*/ 1068849 w 1604769"/>
                    <a:gd name="connsiteY272" fmla="*/ 310142 h 689082"/>
                    <a:gd name="connsiteX273" fmla="*/ 1024774 w 1604769"/>
                    <a:gd name="connsiteY273" fmla="*/ 315209 h 689082"/>
                    <a:gd name="connsiteX274" fmla="*/ 1024774 w 1604769"/>
                    <a:gd name="connsiteY274" fmla="*/ 325343 h 689082"/>
                    <a:gd name="connsiteX275" fmla="*/ 1024774 w 1604769"/>
                    <a:gd name="connsiteY275" fmla="*/ 315209 h 689082"/>
                    <a:gd name="connsiteX276" fmla="*/ 183965 w 1604769"/>
                    <a:gd name="connsiteY276" fmla="*/ 342570 h 689082"/>
                    <a:gd name="connsiteX277" fmla="*/ 183965 w 1604769"/>
                    <a:gd name="connsiteY277" fmla="*/ 352704 h 689082"/>
                    <a:gd name="connsiteX278" fmla="*/ 183965 w 1604769"/>
                    <a:gd name="connsiteY278" fmla="*/ 342570 h 689082"/>
                    <a:gd name="connsiteX279" fmla="*/ 447283 w 1604769"/>
                    <a:gd name="connsiteY279" fmla="*/ 351690 h 689082"/>
                    <a:gd name="connsiteX280" fmla="*/ 472146 w 1604769"/>
                    <a:gd name="connsiteY280" fmla="*/ 365877 h 689082"/>
                    <a:gd name="connsiteX281" fmla="*/ 472146 w 1604769"/>
                    <a:gd name="connsiteY281" fmla="*/ 351690 h 689082"/>
                    <a:gd name="connsiteX282" fmla="*/ 447283 w 1604769"/>
                    <a:gd name="connsiteY282" fmla="*/ 351690 h 689082"/>
                    <a:gd name="connsiteX283" fmla="*/ 1168299 w 1604769"/>
                    <a:gd name="connsiteY283" fmla="*/ 361824 h 689082"/>
                    <a:gd name="connsiteX284" fmla="*/ 1166039 w 1604769"/>
                    <a:gd name="connsiteY284" fmla="*/ 366890 h 689082"/>
                    <a:gd name="connsiteX285" fmla="*/ 1158128 w 1604769"/>
                    <a:gd name="connsiteY285" fmla="*/ 366890 h 689082"/>
                    <a:gd name="connsiteX286" fmla="*/ 1155868 w 1604769"/>
                    <a:gd name="connsiteY286" fmla="*/ 373984 h 689082"/>
                    <a:gd name="connsiteX287" fmla="*/ 1167169 w 1604769"/>
                    <a:gd name="connsiteY287" fmla="*/ 373984 h 689082"/>
                    <a:gd name="connsiteX288" fmla="*/ 1172820 w 1604769"/>
                    <a:gd name="connsiteY288" fmla="*/ 381077 h 689082"/>
                    <a:gd name="connsiteX289" fmla="*/ 1184121 w 1604769"/>
                    <a:gd name="connsiteY289" fmla="*/ 373984 h 689082"/>
                    <a:gd name="connsiteX290" fmla="*/ 1205593 w 1604769"/>
                    <a:gd name="connsiteY290" fmla="*/ 381077 h 689082"/>
                    <a:gd name="connsiteX291" fmla="*/ 1216894 w 1604769"/>
                    <a:gd name="connsiteY291" fmla="*/ 376011 h 689082"/>
                    <a:gd name="connsiteX292" fmla="*/ 1249668 w 1604769"/>
                    <a:gd name="connsiteY292" fmla="*/ 386144 h 689082"/>
                    <a:gd name="connsiteX293" fmla="*/ 1251928 w 1604769"/>
                    <a:gd name="connsiteY293" fmla="*/ 376011 h 689082"/>
                    <a:gd name="connsiteX294" fmla="*/ 1246278 w 1604769"/>
                    <a:gd name="connsiteY294" fmla="*/ 368917 h 689082"/>
                    <a:gd name="connsiteX295" fmla="*/ 1203333 w 1604769"/>
                    <a:gd name="connsiteY295" fmla="*/ 366890 h 689082"/>
                    <a:gd name="connsiteX296" fmla="*/ 1197682 w 1604769"/>
                    <a:gd name="connsiteY296" fmla="*/ 361824 h 689082"/>
                    <a:gd name="connsiteX297" fmla="*/ 1168299 w 1604769"/>
                    <a:gd name="connsiteY297" fmla="*/ 361824 h 689082"/>
                    <a:gd name="connsiteX298" fmla="*/ 1119704 w 1604769"/>
                    <a:gd name="connsiteY298" fmla="*/ 363850 h 689082"/>
                    <a:gd name="connsiteX299" fmla="*/ 1081280 w 1604769"/>
                    <a:gd name="connsiteY299" fmla="*/ 368917 h 689082"/>
                    <a:gd name="connsiteX300" fmla="*/ 1081280 w 1604769"/>
                    <a:gd name="connsiteY300" fmla="*/ 376011 h 689082"/>
                    <a:gd name="connsiteX301" fmla="*/ 1100492 w 1604769"/>
                    <a:gd name="connsiteY301" fmla="*/ 381077 h 689082"/>
                    <a:gd name="connsiteX302" fmla="*/ 1102752 w 1604769"/>
                    <a:gd name="connsiteY302" fmla="*/ 388171 h 689082"/>
                    <a:gd name="connsiteX303" fmla="*/ 1132135 w 1604769"/>
                    <a:gd name="connsiteY303" fmla="*/ 383104 h 689082"/>
                    <a:gd name="connsiteX304" fmla="*/ 1134396 w 1604769"/>
                    <a:gd name="connsiteY304" fmla="*/ 372971 h 689082"/>
                    <a:gd name="connsiteX305" fmla="*/ 1126485 w 1604769"/>
                    <a:gd name="connsiteY305" fmla="*/ 372971 h 689082"/>
                    <a:gd name="connsiteX306" fmla="*/ 1119704 w 1604769"/>
                    <a:gd name="connsiteY306" fmla="*/ 363850 h 689082"/>
                    <a:gd name="connsiteX307" fmla="*/ 992001 w 1604769"/>
                    <a:gd name="connsiteY307" fmla="*/ 422625 h 689082"/>
                    <a:gd name="connsiteX308" fmla="*/ 986350 w 1604769"/>
                    <a:gd name="connsiteY308" fmla="*/ 424652 h 689082"/>
                    <a:gd name="connsiteX309" fmla="*/ 986350 w 1604769"/>
                    <a:gd name="connsiteY309" fmla="*/ 438839 h 689082"/>
                    <a:gd name="connsiteX310" fmla="*/ 980699 w 1604769"/>
                    <a:gd name="connsiteY310" fmla="*/ 438839 h 689082"/>
                    <a:gd name="connsiteX311" fmla="*/ 978439 w 1604769"/>
                    <a:gd name="connsiteY311" fmla="*/ 433772 h 689082"/>
                    <a:gd name="connsiteX312" fmla="*/ 970528 w 1604769"/>
                    <a:gd name="connsiteY312" fmla="*/ 435799 h 689082"/>
                    <a:gd name="connsiteX313" fmla="*/ 968268 w 1604769"/>
                    <a:gd name="connsiteY313" fmla="*/ 449986 h 689082"/>
                    <a:gd name="connsiteX314" fmla="*/ 981829 w 1604769"/>
                    <a:gd name="connsiteY314" fmla="*/ 464173 h 689082"/>
                    <a:gd name="connsiteX315" fmla="*/ 993131 w 1604769"/>
                    <a:gd name="connsiteY315" fmla="*/ 464173 h 689082"/>
                    <a:gd name="connsiteX316" fmla="*/ 1004432 w 1604769"/>
                    <a:gd name="connsiteY316" fmla="*/ 452012 h 689082"/>
                    <a:gd name="connsiteX317" fmla="*/ 996521 w 1604769"/>
                    <a:gd name="connsiteY317" fmla="*/ 441879 h 689082"/>
                    <a:gd name="connsiteX318" fmla="*/ 992001 w 1604769"/>
                    <a:gd name="connsiteY318" fmla="*/ 422625 h 689082"/>
                    <a:gd name="connsiteX319" fmla="*/ 423550 w 1604769"/>
                    <a:gd name="connsiteY319" fmla="*/ 459106 h 689082"/>
                    <a:gd name="connsiteX320" fmla="*/ 421290 w 1604769"/>
                    <a:gd name="connsiteY320" fmla="*/ 464173 h 689082"/>
                    <a:gd name="connsiteX321" fmla="*/ 380606 w 1604769"/>
                    <a:gd name="connsiteY321" fmla="*/ 462146 h 689082"/>
                    <a:gd name="connsiteX322" fmla="*/ 361393 w 1604769"/>
                    <a:gd name="connsiteY322" fmla="*/ 498627 h 689082"/>
                    <a:gd name="connsiteX323" fmla="*/ 363654 w 1604769"/>
                    <a:gd name="connsiteY323" fmla="*/ 503694 h 689082"/>
                    <a:gd name="connsiteX324" fmla="*/ 398688 w 1604769"/>
                    <a:gd name="connsiteY324" fmla="*/ 503694 h 689082"/>
                    <a:gd name="connsiteX325" fmla="*/ 393037 w 1604769"/>
                    <a:gd name="connsiteY325" fmla="*/ 510787 h 689082"/>
                    <a:gd name="connsiteX326" fmla="*/ 395297 w 1604769"/>
                    <a:gd name="connsiteY326" fmla="*/ 520921 h 689082"/>
                    <a:gd name="connsiteX327" fmla="*/ 441632 w 1604769"/>
                    <a:gd name="connsiteY327" fmla="*/ 525988 h 689082"/>
                    <a:gd name="connsiteX328" fmla="*/ 449543 w 1604769"/>
                    <a:gd name="connsiteY328" fmla="*/ 538148 h 689082"/>
                    <a:gd name="connsiteX329" fmla="*/ 501528 w 1604769"/>
                    <a:gd name="connsiteY329" fmla="*/ 538148 h 689082"/>
                    <a:gd name="connsiteX330" fmla="*/ 509439 w 1604769"/>
                    <a:gd name="connsiteY330" fmla="*/ 533081 h 689082"/>
                    <a:gd name="connsiteX331" fmla="*/ 517350 w 1604769"/>
                    <a:gd name="connsiteY331" fmla="*/ 538148 h 689082"/>
                    <a:gd name="connsiteX332" fmla="*/ 558034 w 1604769"/>
                    <a:gd name="connsiteY332" fmla="*/ 548281 h 689082"/>
                    <a:gd name="connsiteX333" fmla="*/ 573856 w 1604769"/>
                    <a:gd name="connsiteY333" fmla="*/ 555375 h 689082"/>
                    <a:gd name="connsiteX334" fmla="*/ 595328 w 1604769"/>
                    <a:gd name="connsiteY334" fmla="*/ 553348 h 689082"/>
                    <a:gd name="connsiteX335" fmla="*/ 630362 w 1604769"/>
                    <a:gd name="connsiteY335" fmla="*/ 563482 h 689082"/>
                    <a:gd name="connsiteX336" fmla="*/ 646184 w 1604769"/>
                    <a:gd name="connsiteY336" fmla="*/ 558415 h 689082"/>
                    <a:gd name="connsiteX337" fmla="*/ 657485 w 1604769"/>
                    <a:gd name="connsiteY337" fmla="*/ 570575 h 689082"/>
                    <a:gd name="connsiteX338" fmla="*/ 684608 w 1604769"/>
                    <a:gd name="connsiteY338" fmla="*/ 575642 h 689082"/>
                    <a:gd name="connsiteX339" fmla="*/ 695909 w 1604769"/>
                    <a:gd name="connsiteY339" fmla="*/ 582736 h 689082"/>
                    <a:gd name="connsiteX340" fmla="*/ 690259 w 1604769"/>
                    <a:gd name="connsiteY340" fmla="*/ 563482 h 689082"/>
                    <a:gd name="connsiteX341" fmla="*/ 682348 w 1604769"/>
                    <a:gd name="connsiteY341" fmla="*/ 558415 h 689082"/>
                    <a:gd name="connsiteX342" fmla="*/ 687998 w 1604769"/>
                    <a:gd name="connsiteY342" fmla="*/ 536121 h 689082"/>
                    <a:gd name="connsiteX343" fmla="*/ 631492 w 1604769"/>
                    <a:gd name="connsiteY343" fmla="*/ 529028 h 689082"/>
                    <a:gd name="connsiteX344" fmla="*/ 631492 w 1604769"/>
                    <a:gd name="connsiteY344" fmla="*/ 506734 h 689082"/>
                    <a:gd name="connsiteX345" fmla="*/ 625842 w 1604769"/>
                    <a:gd name="connsiteY345" fmla="*/ 504707 h 689082"/>
                    <a:gd name="connsiteX346" fmla="*/ 625842 w 1604769"/>
                    <a:gd name="connsiteY346" fmla="*/ 490520 h 689082"/>
                    <a:gd name="connsiteX347" fmla="*/ 604369 w 1604769"/>
                    <a:gd name="connsiteY347" fmla="*/ 495587 h 689082"/>
                    <a:gd name="connsiteX348" fmla="*/ 602109 w 1604769"/>
                    <a:gd name="connsiteY348" fmla="*/ 488493 h 689082"/>
                    <a:gd name="connsiteX349" fmla="*/ 590808 w 1604769"/>
                    <a:gd name="connsiteY349" fmla="*/ 488493 h 689082"/>
                    <a:gd name="connsiteX350" fmla="*/ 585158 w 1604769"/>
                    <a:gd name="connsiteY350" fmla="*/ 483426 h 689082"/>
                    <a:gd name="connsiteX351" fmla="*/ 555774 w 1604769"/>
                    <a:gd name="connsiteY351" fmla="*/ 478360 h 689082"/>
                    <a:gd name="connsiteX352" fmla="*/ 550124 w 1604769"/>
                    <a:gd name="connsiteY352" fmla="*/ 490520 h 689082"/>
                    <a:gd name="connsiteX353" fmla="*/ 511700 w 1604769"/>
                    <a:gd name="connsiteY353" fmla="*/ 490520 h 689082"/>
                    <a:gd name="connsiteX354" fmla="*/ 503789 w 1604769"/>
                    <a:gd name="connsiteY354" fmla="*/ 485453 h 689082"/>
                    <a:gd name="connsiteX355" fmla="*/ 474405 w 1604769"/>
                    <a:gd name="connsiteY355" fmla="*/ 466200 h 689082"/>
                    <a:gd name="connsiteX356" fmla="*/ 447283 w 1604769"/>
                    <a:gd name="connsiteY356" fmla="*/ 468226 h 689082"/>
                    <a:gd name="connsiteX357" fmla="*/ 445023 w 1604769"/>
                    <a:gd name="connsiteY357" fmla="*/ 463159 h 689082"/>
                    <a:gd name="connsiteX358" fmla="*/ 423550 w 1604769"/>
                    <a:gd name="connsiteY358" fmla="*/ 459106 h 689082"/>
                    <a:gd name="connsiteX359" fmla="*/ 943405 w 1604769"/>
                    <a:gd name="connsiteY359" fmla="*/ 461133 h 689082"/>
                    <a:gd name="connsiteX360" fmla="*/ 945665 w 1604769"/>
                    <a:gd name="connsiteY360" fmla="*/ 466200 h 689082"/>
                    <a:gd name="connsiteX361" fmla="*/ 943405 w 1604769"/>
                    <a:gd name="connsiteY361" fmla="*/ 461133 h 689082"/>
                    <a:gd name="connsiteX362" fmla="*/ 1375111 w 1604769"/>
                    <a:gd name="connsiteY362" fmla="*/ 473293 h 689082"/>
                    <a:gd name="connsiteX363" fmla="*/ 1372850 w 1604769"/>
                    <a:gd name="connsiteY363" fmla="*/ 478360 h 689082"/>
                    <a:gd name="connsiteX364" fmla="*/ 1378501 w 1604769"/>
                    <a:gd name="connsiteY364" fmla="*/ 507747 h 689082"/>
                    <a:gd name="connsiteX365" fmla="*/ 1367200 w 1604769"/>
                    <a:gd name="connsiteY365" fmla="*/ 512814 h 689082"/>
                    <a:gd name="connsiteX366" fmla="*/ 1375111 w 1604769"/>
                    <a:gd name="connsiteY366" fmla="*/ 522947 h 689082"/>
                    <a:gd name="connsiteX367" fmla="*/ 1380761 w 1604769"/>
                    <a:gd name="connsiteY367" fmla="*/ 530041 h 689082"/>
                    <a:gd name="connsiteX368" fmla="*/ 1396583 w 1604769"/>
                    <a:gd name="connsiteY368" fmla="*/ 505720 h 689082"/>
                    <a:gd name="connsiteX369" fmla="*/ 1396583 w 1604769"/>
                    <a:gd name="connsiteY369" fmla="*/ 498627 h 689082"/>
                    <a:gd name="connsiteX370" fmla="*/ 1390933 w 1604769"/>
                    <a:gd name="connsiteY370" fmla="*/ 479373 h 689082"/>
                    <a:gd name="connsiteX371" fmla="*/ 1375111 w 1604769"/>
                    <a:gd name="connsiteY371" fmla="*/ 473293 h 689082"/>
                    <a:gd name="connsiteX372" fmla="*/ 640533 w 1604769"/>
                    <a:gd name="connsiteY372" fmla="*/ 492547 h 689082"/>
                    <a:gd name="connsiteX373" fmla="*/ 642793 w 1604769"/>
                    <a:gd name="connsiteY373" fmla="*/ 504707 h 689082"/>
                    <a:gd name="connsiteX374" fmla="*/ 664266 w 1604769"/>
                    <a:gd name="connsiteY374" fmla="*/ 502680 h 689082"/>
                    <a:gd name="connsiteX375" fmla="*/ 669917 w 1604769"/>
                    <a:gd name="connsiteY375" fmla="*/ 495587 h 689082"/>
                    <a:gd name="connsiteX376" fmla="*/ 640533 w 1604769"/>
                    <a:gd name="connsiteY376" fmla="*/ 492547 h 689082"/>
                    <a:gd name="connsiteX377" fmla="*/ 1518636 w 1604769"/>
                    <a:gd name="connsiteY377" fmla="*/ 529028 h 689082"/>
                    <a:gd name="connsiteX378" fmla="*/ 1516376 w 1604769"/>
                    <a:gd name="connsiteY378" fmla="*/ 539161 h 689082"/>
                    <a:gd name="connsiteX379" fmla="*/ 1524287 w 1604769"/>
                    <a:gd name="connsiteY379" fmla="*/ 539161 h 689082"/>
                    <a:gd name="connsiteX380" fmla="*/ 1518636 w 1604769"/>
                    <a:gd name="connsiteY380" fmla="*/ 529028 h 689082"/>
                    <a:gd name="connsiteX381" fmla="*/ 1268880 w 1604769"/>
                    <a:gd name="connsiteY381" fmla="*/ 544228 h 689082"/>
                    <a:gd name="connsiteX382" fmla="*/ 1263229 w 1604769"/>
                    <a:gd name="connsiteY382" fmla="*/ 556388 h 689082"/>
                    <a:gd name="connsiteX383" fmla="*/ 1260969 w 1604769"/>
                    <a:gd name="connsiteY383" fmla="*/ 573615 h 689082"/>
                    <a:gd name="connsiteX384" fmla="*/ 1268880 w 1604769"/>
                    <a:gd name="connsiteY384" fmla="*/ 544228 h 689082"/>
                    <a:gd name="connsiteX385" fmla="*/ 697039 w 1604769"/>
                    <a:gd name="connsiteY385" fmla="*/ 553348 h 689082"/>
                    <a:gd name="connsiteX386" fmla="*/ 697039 w 1604769"/>
                    <a:gd name="connsiteY386" fmla="*/ 565508 h 689082"/>
                    <a:gd name="connsiteX387" fmla="*/ 704950 w 1604769"/>
                    <a:gd name="connsiteY387" fmla="*/ 567535 h 689082"/>
                    <a:gd name="connsiteX388" fmla="*/ 710601 w 1604769"/>
                    <a:gd name="connsiteY388" fmla="*/ 584762 h 689082"/>
                    <a:gd name="connsiteX389" fmla="*/ 716251 w 1604769"/>
                    <a:gd name="connsiteY389" fmla="*/ 579695 h 689082"/>
                    <a:gd name="connsiteX390" fmla="*/ 727552 w 1604769"/>
                    <a:gd name="connsiteY390" fmla="*/ 567535 h 689082"/>
                    <a:gd name="connsiteX391" fmla="*/ 725292 w 1604769"/>
                    <a:gd name="connsiteY391" fmla="*/ 557402 h 689082"/>
                    <a:gd name="connsiteX392" fmla="*/ 697039 w 1604769"/>
                    <a:gd name="connsiteY392" fmla="*/ 553348 h 689082"/>
                    <a:gd name="connsiteX393" fmla="*/ 1082410 w 1604769"/>
                    <a:gd name="connsiteY393" fmla="*/ 563482 h 689082"/>
                    <a:gd name="connsiteX394" fmla="*/ 1080150 w 1604769"/>
                    <a:gd name="connsiteY394" fmla="*/ 573615 h 689082"/>
                    <a:gd name="connsiteX395" fmla="*/ 1115183 w 1604769"/>
                    <a:gd name="connsiteY395" fmla="*/ 573615 h 689082"/>
                    <a:gd name="connsiteX396" fmla="*/ 1112923 w 1604769"/>
                    <a:gd name="connsiteY396" fmla="*/ 563482 h 689082"/>
                    <a:gd name="connsiteX397" fmla="*/ 1082410 w 1604769"/>
                    <a:gd name="connsiteY397" fmla="*/ 563482 h 689082"/>
                    <a:gd name="connsiteX398" fmla="*/ 751285 w 1604769"/>
                    <a:gd name="connsiteY398" fmla="*/ 570575 h 689082"/>
                    <a:gd name="connsiteX399" fmla="*/ 743374 w 1604769"/>
                    <a:gd name="connsiteY399" fmla="*/ 592869 h 689082"/>
                    <a:gd name="connsiteX400" fmla="*/ 764846 w 1604769"/>
                    <a:gd name="connsiteY400" fmla="*/ 573615 h 689082"/>
                    <a:gd name="connsiteX401" fmla="*/ 751285 w 1604769"/>
                    <a:gd name="connsiteY401" fmla="*/ 570575 h 689082"/>
                    <a:gd name="connsiteX402" fmla="*/ 799880 w 1604769"/>
                    <a:gd name="connsiteY402" fmla="*/ 573615 h 689082"/>
                    <a:gd name="connsiteX403" fmla="*/ 797620 w 1604769"/>
                    <a:gd name="connsiteY403" fmla="*/ 585776 h 689082"/>
                    <a:gd name="connsiteX404" fmla="*/ 808921 w 1604769"/>
                    <a:gd name="connsiteY404" fmla="*/ 585776 h 689082"/>
                    <a:gd name="connsiteX405" fmla="*/ 795360 w 1604769"/>
                    <a:gd name="connsiteY405" fmla="*/ 595909 h 689082"/>
                    <a:gd name="connsiteX406" fmla="*/ 779538 w 1604769"/>
                    <a:gd name="connsiteY406" fmla="*/ 585776 h 689082"/>
                    <a:gd name="connsiteX407" fmla="*/ 771627 w 1604769"/>
                    <a:gd name="connsiteY407" fmla="*/ 587802 h 689082"/>
                    <a:gd name="connsiteX408" fmla="*/ 765977 w 1604769"/>
                    <a:gd name="connsiteY408" fmla="*/ 610096 h 689082"/>
                    <a:gd name="connsiteX409" fmla="*/ 781798 w 1604769"/>
                    <a:gd name="connsiteY409" fmla="*/ 608070 h 689082"/>
                    <a:gd name="connsiteX410" fmla="*/ 793099 w 1604769"/>
                    <a:gd name="connsiteY410" fmla="*/ 613136 h 689082"/>
                    <a:gd name="connsiteX411" fmla="*/ 798750 w 1604769"/>
                    <a:gd name="connsiteY411" fmla="*/ 608070 h 689082"/>
                    <a:gd name="connsiteX412" fmla="*/ 847345 w 1604769"/>
                    <a:gd name="connsiteY412" fmla="*/ 603003 h 689082"/>
                    <a:gd name="connsiteX413" fmla="*/ 841694 w 1604769"/>
                    <a:gd name="connsiteY413" fmla="*/ 588816 h 689082"/>
                    <a:gd name="connsiteX414" fmla="*/ 799880 w 1604769"/>
                    <a:gd name="connsiteY414" fmla="*/ 573615 h 689082"/>
                    <a:gd name="connsiteX415" fmla="*/ 1158128 w 1604769"/>
                    <a:gd name="connsiteY415" fmla="*/ 577669 h 689082"/>
                    <a:gd name="connsiteX416" fmla="*/ 1158128 w 1604769"/>
                    <a:gd name="connsiteY416" fmla="*/ 582736 h 689082"/>
                    <a:gd name="connsiteX417" fmla="*/ 1163778 w 1604769"/>
                    <a:gd name="connsiteY417" fmla="*/ 582736 h 689082"/>
                    <a:gd name="connsiteX418" fmla="*/ 1158128 w 1604769"/>
                    <a:gd name="connsiteY418" fmla="*/ 577669 h 689082"/>
                    <a:gd name="connsiteX419" fmla="*/ 883509 w 1604769"/>
                    <a:gd name="connsiteY419" fmla="*/ 580709 h 689082"/>
                    <a:gd name="connsiteX420" fmla="*/ 867688 w 1604769"/>
                    <a:gd name="connsiteY420" fmla="*/ 585776 h 689082"/>
                    <a:gd name="connsiteX421" fmla="*/ 869947 w 1604769"/>
                    <a:gd name="connsiteY421" fmla="*/ 597936 h 689082"/>
                    <a:gd name="connsiteX422" fmla="*/ 924194 w 1604769"/>
                    <a:gd name="connsiteY422" fmla="*/ 603003 h 689082"/>
                    <a:gd name="connsiteX423" fmla="*/ 926453 w 1604769"/>
                    <a:gd name="connsiteY423" fmla="*/ 608070 h 689082"/>
                    <a:gd name="connsiteX424" fmla="*/ 969398 w 1604769"/>
                    <a:gd name="connsiteY424" fmla="*/ 595909 h 689082"/>
                    <a:gd name="connsiteX425" fmla="*/ 977309 w 1604769"/>
                    <a:gd name="connsiteY425" fmla="*/ 603003 h 689082"/>
                    <a:gd name="connsiteX426" fmla="*/ 979569 w 1604769"/>
                    <a:gd name="connsiteY426" fmla="*/ 590842 h 689082"/>
                    <a:gd name="connsiteX427" fmla="*/ 963748 w 1604769"/>
                    <a:gd name="connsiteY427" fmla="*/ 585776 h 689082"/>
                    <a:gd name="connsiteX428" fmla="*/ 947926 w 1604769"/>
                    <a:gd name="connsiteY428" fmla="*/ 590842 h 689082"/>
                    <a:gd name="connsiteX429" fmla="*/ 934364 w 1604769"/>
                    <a:gd name="connsiteY429" fmla="*/ 583749 h 689082"/>
                    <a:gd name="connsiteX430" fmla="*/ 912892 w 1604769"/>
                    <a:gd name="connsiteY430" fmla="*/ 585776 h 689082"/>
                    <a:gd name="connsiteX431" fmla="*/ 883509 w 1604769"/>
                    <a:gd name="connsiteY431" fmla="*/ 580709 h 689082"/>
                    <a:gd name="connsiteX432" fmla="*/ 1032685 w 1604769"/>
                    <a:gd name="connsiteY432" fmla="*/ 585776 h 689082"/>
                    <a:gd name="connsiteX433" fmla="*/ 1032685 w 1604769"/>
                    <a:gd name="connsiteY433" fmla="*/ 590842 h 689082"/>
                    <a:gd name="connsiteX434" fmla="*/ 1048507 w 1604769"/>
                    <a:gd name="connsiteY434" fmla="*/ 590842 h 689082"/>
                    <a:gd name="connsiteX435" fmla="*/ 1040596 w 1604769"/>
                    <a:gd name="connsiteY435" fmla="*/ 585776 h 689082"/>
                    <a:gd name="connsiteX436" fmla="*/ 1032685 w 1604769"/>
                    <a:gd name="connsiteY436" fmla="*/ 585776 h 689082"/>
                    <a:gd name="connsiteX437" fmla="*/ 1001042 w 1604769"/>
                    <a:gd name="connsiteY437" fmla="*/ 587802 h 689082"/>
                    <a:gd name="connsiteX438" fmla="*/ 1003302 w 1604769"/>
                    <a:gd name="connsiteY438" fmla="*/ 592869 h 689082"/>
                    <a:gd name="connsiteX439" fmla="*/ 1001042 w 1604769"/>
                    <a:gd name="connsiteY439" fmla="*/ 587802 h 689082"/>
                    <a:gd name="connsiteX440" fmla="*/ 1019123 w 1604769"/>
                    <a:gd name="connsiteY440" fmla="*/ 587802 h 689082"/>
                    <a:gd name="connsiteX441" fmla="*/ 1021384 w 1604769"/>
                    <a:gd name="connsiteY441" fmla="*/ 594896 h 689082"/>
                    <a:gd name="connsiteX442" fmla="*/ 1019123 w 1604769"/>
                    <a:gd name="connsiteY442" fmla="*/ 587802 h 689082"/>
                    <a:gd name="connsiteX443" fmla="*/ 1114053 w 1604769"/>
                    <a:gd name="connsiteY443" fmla="*/ 587802 h 689082"/>
                    <a:gd name="connsiteX444" fmla="*/ 1106143 w 1604769"/>
                    <a:gd name="connsiteY444" fmla="*/ 592869 h 689082"/>
                    <a:gd name="connsiteX445" fmla="*/ 1086930 w 1604769"/>
                    <a:gd name="connsiteY445" fmla="*/ 592869 h 689082"/>
                    <a:gd name="connsiteX446" fmla="*/ 1081280 w 1604769"/>
                    <a:gd name="connsiteY446" fmla="*/ 599963 h 689082"/>
                    <a:gd name="connsiteX447" fmla="*/ 1046246 w 1604769"/>
                    <a:gd name="connsiteY447" fmla="*/ 601989 h 689082"/>
                    <a:gd name="connsiteX448" fmla="*/ 1043986 w 1604769"/>
                    <a:gd name="connsiteY448" fmla="*/ 614149 h 689082"/>
                    <a:gd name="connsiteX449" fmla="*/ 1028164 w 1604769"/>
                    <a:gd name="connsiteY449" fmla="*/ 619216 h 689082"/>
                    <a:gd name="connsiteX450" fmla="*/ 1025904 w 1604769"/>
                    <a:gd name="connsiteY450" fmla="*/ 629350 h 689082"/>
                    <a:gd name="connsiteX451" fmla="*/ 996521 w 1604769"/>
                    <a:gd name="connsiteY451" fmla="*/ 643537 h 689082"/>
                    <a:gd name="connsiteX452" fmla="*/ 1002171 w 1604769"/>
                    <a:gd name="connsiteY452" fmla="*/ 655697 h 689082"/>
                    <a:gd name="connsiteX453" fmla="*/ 967138 w 1604769"/>
                    <a:gd name="connsiteY453" fmla="*/ 667858 h 689082"/>
                    <a:gd name="connsiteX454" fmla="*/ 964878 w 1604769"/>
                    <a:gd name="connsiteY454" fmla="*/ 677991 h 689082"/>
                    <a:gd name="connsiteX455" fmla="*/ 970528 w 1604769"/>
                    <a:gd name="connsiteY455" fmla="*/ 683058 h 689082"/>
                    <a:gd name="connsiteX456" fmla="*/ 995391 w 1604769"/>
                    <a:gd name="connsiteY456" fmla="*/ 677991 h 689082"/>
                    <a:gd name="connsiteX457" fmla="*/ 995391 w 1604769"/>
                    <a:gd name="connsiteY457" fmla="*/ 670897 h 689082"/>
                    <a:gd name="connsiteX458" fmla="*/ 1011212 w 1604769"/>
                    <a:gd name="connsiteY458" fmla="*/ 658737 h 689082"/>
                    <a:gd name="connsiteX459" fmla="*/ 1043986 w 1604769"/>
                    <a:gd name="connsiteY459" fmla="*/ 653671 h 689082"/>
                    <a:gd name="connsiteX460" fmla="*/ 1059808 w 1604769"/>
                    <a:gd name="connsiteY460" fmla="*/ 634417 h 689082"/>
                    <a:gd name="connsiteX461" fmla="*/ 1067718 w 1604769"/>
                    <a:gd name="connsiteY461" fmla="*/ 634417 h 689082"/>
                    <a:gd name="connsiteX462" fmla="*/ 1069979 w 1604769"/>
                    <a:gd name="connsiteY462" fmla="*/ 627323 h 689082"/>
                    <a:gd name="connsiteX463" fmla="*/ 1085801 w 1604769"/>
                    <a:gd name="connsiteY463" fmla="*/ 622256 h 689082"/>
                    <a:gd name="connsiteX464" fmla="*/ 1091451 w 1604769"/>
                    <a:gd name="connsiteY464" fmla="*/ 612123 h 689082"/>
                    <a:gd name="connsiteX465" fmla="*/ 1110663 w 1604769"/>
                    <a:gd name="connsiteY465" fmla="*/ 607056 h 689082"/>
                    <a:gd name="connsiteX466" fmla="*/ 1116314 w 1604769"/>
                    <a:gd name="connsiteY466" fmla="*/ 599963 h 689082"/>
                    <a:gd name="connsiteX467" fmla="*/ 1114053 w 1604769"/>
                    <a:gd name="connsiteY467" fmla="*/ 587802 h 689082"/>
                    <a:gd name="connsiteX468" fmla="*/ 854126 w 1604769"/>
                    <a:gd name="connsiteY468" fmla="*/ 631377 h 689082"/>
                    <a:gd name="connsiteX469" fmla="*/ 846215 w 1604769"/>
                    <a:gd name="connsiteY469" fmla="*/ 643537 h 689082"/>
                    <a:gd name="connsiteX470" fmla="*/ 906111 w 1604769"/>
                    <a:gd name="connsiteY470" fmla="*/ 660764 h 689082"/>
                    <a:gd name="connsiteX471" fmla="*/ 903851 w 1604769"/>
                    <a:gd name="connsiteY471" fmla="*/ 648604 h 689082"/>
                    <a:gd name="connsiteX472" fmla="*/ 901591 w 1604769"/>
                    <a:gd name="connsiteY472" fmla="*/ 643537 h 689082"/>
                    <a:gd name="connsiteX473" fmla="*/ 854126 w 1604769"/>
                    <a:gd name="connsiteY473" fmla="*/ 631377 h 689082"/>
                    <a:gd name="connsiteX474" fmla="*/ 265333 w 1604769"/>
                    <a:gd name="connsiteY474" fmla="*/ 188540 h 689082"/>
                    <a:gd name="connsiteX475" fmla="*/ 265333 w 1604769"/>
                    <a:gd name="connsiteY475" fmla="*/ 198673 h 689082"/>
                    <a:gd name="connsiteX476" fmla="*/ 276634 w 1604769"/>
                    <a:gd name="connsiteY476" fmla="*/ 200700 h 689082"/>
                    <a:gd name="connsiteX477" fmla="*/ 276634 w 1604769"/>
                    <a:gd name="connsiteY477" fmla="*/ 193606 h 689082"/>
                    <a:gd name="connsiteX478" fmla="*/ 265333 w 1604769"/>
                    <a:gd name="connsiteY478" fmla="*/ 188540 h 689082"/>
                    <a:gd name="connsiteX479" fmla="*/ 315059 w 1604769"/>
                    <a:gd name="connsiteY479" fmla="*/ 257448 h 689082"/>
                    <a:gd name="connsiteX480" fmla="*/ 315059 w 1604769"/>
                    <a:gd name="connsiteY480" fmla="*/ 264541 h 689082"/>
                    <a:gd name="connsiteX481" fmla="*/ 315059 w 1604769"/>
                    <a:gd name="connsiteY481" fmla="*/ 257448 h 689082"/>
                    <a:gd name="connsiteX482" fmla="*/ 526391 w 1604769"/>
                    <a:gd name="connsiteY482" fmla="*/ 161179 h 689082"/>
                    <a:gd name="connsiteX483" fmla="*/ 524131 w 1604769"/>
                    <a:gd name="connsiteY483" fmla="*/ 159152 h 689082"/>
                    <a:gd name="connsiteX484" fmla="*/ 516220 w 1604769"/>
                    <a:gd name="connsiteY484" fmla="*/ 159152 h 689082"/>
                    <a:gd name="connsiteX485" fmla="*/ 513960 w 1604769"/>
                    <a:gd name="connsiteY485" fmla="*/ 171313 h 689082"/>
                    <a:gd name="connsiteX486" fmla="*/ 506049 w 1604769"/>
                    <a:gd name="connsiteY486" fmla="*/ 173339 h 689082"/>
                    <a:gd name="connsiteX487" fmla="*/ 498138 w 1604769"/>
                    <a:gd name="connsiteY487" fmla="*/ 192593 h 689082"/>
                    <a:gd name="connsiteX488" fmla="*/ 492488 w 1604769"/>
                    <a:gd name="connsiteY488" fmla="*/ 197660 h 689082"/>
                    <a:gd name="connsiteX489" fmla="*/ 492488 w 1604769"/>
                    <a:gd name="connsiteY489" fmla="*/ 232114 h 689082"/>
                    <a:gd name="connsiteX490" fmla="*/ 503789 w 1604769"/>
                    <a:gd name="connsiteY490" fmla="*/ 244274 h 689082"/>
                    <a:gd name="connsiteX491" fmla="*/ 501528 w 1604769"/>
                    <a:gd name="connsiteY491" fmla="*/ 258461 h 689082"/>
                    <a:gd name="connsiteX492" fmla="*/ 509439 w 1604769"/>
                    <a:gd name="connsiteY492" fmla="*/ 265555 h 689082"/>
                    <a:gd name="connsiteX493" fmla="*/ 507179 w 1604769"/>
                    <a:gd name="connsiteY493" fmla="*/ 277715 h 689082"/>
                    <a:gd name="connsiteX494" fmla="*/ 515090 w 1604769"/>
                    <a:gd name="connsiteY494" fmla="*/ 279742 h 689082"/>
                    <a:gd name="connsiteX495" fmla="*/ 509439 w 1604769"/>
                    <a:gd name="connsiteY495" fmla="*/ 293929 h 689082"/>
                    <a:gd name="connsiteX496" fmla="*/ 517350 w 1604769"/>
                    <a:gd name="connsiteY496" fmla="*/ 293929 h 689082"/>
                    <a:gd name="connsiteX497" fmla="*/ 525261 w 1604769"/>
                    <a:gd name="connsiteY497" fmla="*/ 286835 h 689082"/>
                    <a:gd name="connsiteX498" fmla="*/ 533172 w 1604769"/>
                    <a:gd name="connsiteY498" fmla="*/ 288862 h 689082"/>
                    <a:gd name="connsiteX499" fmla="*/ 541083 w 1604769"/>
                    <a:gd name="connsiteY499" fmla="*/ 327370 h 689082"/>
                    <a:gd name="connsiteX500" fmla="*/ 548994 w 1604769"/>
                    <a:gd name="connsiteY500" fmla="*/ 337503 h 689082"/>
                    <a:gd name="connsiteX501" fmla="*/ 551254 w 1604769"/>
                    <a:gd name="connsiteY501" fmla="*/ 356757 h 689082"/>
                    <a:gd name="connsiteX502" fmla="*/ 578377 w 1604769"/>
                    <a:gd name="connsiteY502" fmla="*/ 361824 h 689082"/>
                    <a:gd name="connsiteX503" fmla="*/ 591938 w 1604769"/>
                    <a:gd name="connsiteY503" fmla="*/ 354730 h 689082"/>
                    <a:gd name="connsiteX504" fmla="*/ 591938 w 1604769"/>
                    <a:gd name="connsiteY504" fmla="*/ 356757 h 689082"/>
                    <a:gd name="connsiteX505" fmla="*/ 605500 w 1604769"/>
                    <a:gd name="connsiteY505" fmla="*/ 358784 h 689082"/>
                    <a:gd name="connsiteX506" fmla="*/ 605500 w 1604769"/>
                    <a:gd name="connsiteY506" fmla="*/ 370944 h 689082"/>
                    <a:gd name="connsiteX507" fmla="*/ 613411 w 1604769"/>
                    <a:gd name="connsiteY507" fmla="*/ 372971 h 689082"/>
                    <a:gd name="connsiteX508" fmla="*/ 642793 w 1604769"/>
                    <a:gd name="connsiteY508" fmla="*/ 370944 h 689082"/>
                    <a:gd name="connsiteX509" fmla="*/ 645054 w 1604769"/>
                    <a:gd name="connsiteY509" fmla="*/ 363850 h 689082"/>
                    <a:gd name="connsiteX510" fmla="*/ 652965 w 1604769"/>
                    <a:gd name="connsiteY510" fmla="*/ 363850 h 689082"/>
                    <a:gd name="connsiteX511" fmla="*/ 674437 w 1604769"/>
                    <a:gd name="connsiteY511" fmla="*/ 370944 h 689082"/>
                    <a:gd name="connsiteX512" fmla="*/ 680087 w 1604769"/>
                    <a:gd name="connsiteY512" fmla="*/ 365877 h 689082"/>
                    <a:gd name="connsiteX513" fmla="*/ 685738 w 1604769"/>
                    <a:gd name="connsiteY513" fmla="*/ 370944 h 689082"/>
                    <a:gd name="connsiteX514" fmla="*/ 701560 w 1604769"/>
                    <a:gd name="connsiteY514" fmla="*/ 378037 h 689082"/>
                    <a:gd name="connsiteX515" fmla="*/ 701560 w 1604769"/>
                    <a:gd name="connsiteY515" fmla="*/ 383104 h 689082"/>
                    <a:gd name="connsiteX516" fmla="*/ 709471 w 1604769"/>
                    <a:gd name="connsiteY516" fmla="*/ 383104 h 689082"/>
                    <a:gd name="connsiteX517" fmla="*/ 717381 w 1604769"/>
                    <a:gd name="connsiteY517" fmla="*/ 376011 h 689082"/>
                    <a:gd name="connsiteX518" fmla="*/ 746765 w 1604769"/>
                    <a:gd name="connsiteY518" fmla="*/ 368917 h 689082"/>
                    <a:gd name="connsiteX519" fmla="*/ 781798 w 1604769"/>
                    <a:gd name="connsiteY519" fmla="*/ 327370 h 689082"/>
                    <a:gd name="connsiteX520" fmla="*/ 768236 w 1604769"/>
                    <a:gd name="connsiteY520" fmla="*/ 310142 h 689082"/>
                    <a:gd name="connsiteX521" fmla="*/ 793099 w 1604769"/>
                    <a:gd name="connsiteY521" fmla="*/ 283795 h 689082"/>
                    <a:gd name="connsiteX522" fmla="*/ 793099 w 1604769"/>
                    <a:gd name="connsiteY522" fmla="*/ 273662 h 689082"/>
                    <a:gd name="connsiteX523" fmla="*/ 785188 w 1604769"/>
                    <a:gd name="connsiteY523" fmla="*/ 266568 h 689082"/>
                    <a:gd name="connsiteX524" fmla="*/ 793099 w 1604769"/>
                    <a:gd name="connsiteY524" fmla="*/ 264541 h 689082"/>
                    <a:gd name="connsiteX525" fmla="*/ 795360 w 1604769"/>
                    <a:gd name="connsiteY525" fmla="*/ 217927 h 689082"/>
                    <a:gd name="connsiteX526" fmla="*/ 838304 w 1604769"/>
                    <a:gd name="connsiteY526" fmla="*/ 203740 h 689082"/>
                    <a:gd name="connsiteX527" fmla="*/ 832653 w 1604769"/>
                    <a:gd name="connsiteY527" fmla="*/ 193606 h 689082"/>
                    <a:gd name="connsiteX528" fmla="*/ 799880 w 1604769"/>
                    <a:gd name="connsiteY528" fmla="*/ 171313 h 689082"/>
                    <a:gd name="connsiteX529" fmla="*/ 805531 w 1604769"/>
                    <a:gd name="connsiteY529" fmla="*/ 154086 h 689082"/>
                    <a:gd name="connsiteX530" fmla="*/ 786319 w 1604769"/>
                    <a:gd name="connsiteY530" fmla="*/ 115578 h 689082"/>
                    <a:gd name="connsiteX531" fmla="*/ 786319 w 1604769"/>
                    <a:gd name="connsiteY531" fmla="*/ 105444 h 689082"/>
                    <a:gd name="connsiteX532" fmla="*/ 791969 w 1604769"/>
                    <a:gd name="connsiteY532" fmla="*/ 100378 h 689082"/>
                    <a:gd name="connsiteX533" fmla="*/ 794230 w 1604769"/>
                    <a:gd name="connsiteY533" fmla="*/ 98351 h 689082"/>
                    <a:gd name="connsiteX534" fmla="*/ 796489 w 1604769"/>
                    <a:gd name="connsiteY534" fmla="*/ 91258 h 689082"/>
                    <a:gd name="connsiteX535" fmla="*/ 785188 w 1604769"/>
                    <a:gd name="connsiteY535" fmla="*/ 89231 h 689082"/>
                    <a:gd name="connsiteX536" fmla="*/ 784058 w 1604769"/>
                    <a:gd name="connsiteY536" fmla="*/ 85177 h 689082"/>
                    <a:gd name="connsiteX537" fmla="*/ 760326 w 1604769"/>
                    <a:gd name="connsiteY537" fmla="*/ 87204 h 689082"/>
                    <a:gd name="connsiteX538" fmla="*/ 737724 w 1604769"/>
                    <a:gd name="connsiteY538" fmla="*/ 82137 h 689082"/>
                    <a:gd name="connsiteX539" fmla="*/ 728682 w 1604769"/>
                    <a:gd name="connsiteY539" fmla="*/ 94298 h 689082"/>
                    <a:gd name="connsiteX540" fmla="*/ 724162 w 1604769"/>
                    <a:gd name="connsiteY540" fmla="*/ 116591 h 689082"/>
                    <a:gd name="connsiteX541" fmla="*/ 715121 w 1604769"/>
                    <a:gd name="connsiteY541" fmla="*/ 125712 h 689082"/>
                    <a:gd name="connsiteX542" fmla="*/ 706080 w 1604769"/>
                    <a:gd name="connsiteY542" fmla="*/ 134832 h 689082"/>
                    <a:gd name="connsiteX543" fmla="*/ 700429 w 1604769"/>
                    <a:gd name="connsiteY543" fmla="*/ 143952 h 689082"/>
                    <a:gd name="connsiteX544" fmla="*/ 689128 w 1604769"/>
                    <a:gd name="connsiteY544" fmla="*/ 149019 h 689082"/>
                    <a:gd name="connsiteX545" fmla="*/ 685738 w 1604769"/>
                    <a:gd name="connsiteY545" fmla="*/ 160166 h 689082"/>
                    <a:gd name="connsiteX546" fmla="*/ 680087 w 1604769"/>
                    <a:gd name="connsiteY546" fmla="*/ 176379 h 689082"/>
                    <a:gd name="connsiteX547" fmla="*/ 674437 w 1604769"/>
                    <a:gd name="connsiteY547" fmla="*/ 185500 h 689082"/>
                    <a:gd name="connsiteX548" fmla="*/ 658615 w 1604769"/>
                    <a:gd name="connsiteY548" fmla="*/ 193606 h 689082"/>
                    <a:gd name="connsiteX549" fmla="*/ 637143 w 1604769"/>
                    <a:gd name="connsiteY549" fmla="*/ 193606 h 689082"/>
                    <a:gd name="connsiteX550" fmla="*/ 626972 w 1604769"/>
                    <a:gd name="connsiteY550" fmla="*/ 189553 h 689082"/>
                    <a:gd name="connsiteX551" fmla="*/ 608890 w 1604769"/>
                    <a:gd name="connsiteY551" fmla="*/ 192593 h 689082"/>
                    <a:gd name="connsiteX552" fmla="*/ 602109 w 1604769"/>
                    <a:gd name="connsiteY552" fmla="*/ 201713 h 689082"/>
                    <a:gd name="connsiteX553" fmla="*/ 581767 w 1604769"/>
                    <a:gd name="connsiteY553" fmla="*/ 203740 h 689082"/>
                    <a:gd name="connsiteX554" fmla="*/ 563685 w 1604769"/>
                    <a:gd name="connsiteY554" fmla="*/ 206780 h 689082"/>
                    <a:gd name="connsiteX555" fmla="*/ 547863 w 1604769"/>
                    <a:gd name="connsiteY555" fmla="*/ 205767 h 689082"/>
                    <a:gd name="connsiteX556" fmla="*/ 536562 w 1604769"/>
                    <a:gd name="connsiteY556" fmla="*/ 199687 h 689082"/>
                    <a:gd name="connsiteX557" fmla="*/ 524131 w 1604769"/>
                    <a:gd name="connsiteY557" fmla="*/ 193606 h 689082"/>
                    <a:gd name="connsiteX558" fmla="*/ 518480 w 1604769"/>
                    <a:gd name="connsiteY558" fmla="*/ 179419 h 689082"/>
                    <a:gd name="connsiteX559" fmla="*/ 526391 w 1604769"/>
                    <a:gd name="connsiteY559" fmla="*/ 161179 h 689082"/>
                    <a:gd name="connsiteX560" fmla="*/ 1290352 w 1604769"/>
                    <a:gd name="connsiteY560" fmla="*/ 283795 h 689082"/>
                    <a:gd name="connsiteX561" fmla="*/ 1268880 w 1604769"/>
                    <a:gd name="connsiteY561" fmla="*/ 285822 h 689082"/>
                    <a:gd name="connsiteX562" fmla="*/ 1266620 w 1604769"/>
                    <a:gd name="connsiteY562" fmla="*/ 305076 h 689082"/>
                    <a:gd name="connsiteX563" fmla="*/ 1266620 w 1604769"/>
                    <a:gd name="connsiteY563" fmla="*/ 312169 h 689082"/>
                    <a:gd name="connsiteX564" fmla="*/ 1291482 w 1604769"/>
                    <a:gd name="connsiteY564" fmla="*/ 312169 h 689082"/>
                    <a:gd name="connsiteX565" fmla="*/ 1299393 w 1604769"/>
                    <a:gd name="connsiteY565" fmla="*/ 317236 h 689082"/>
                    <a:gd name="connsiteX566" fmla="*/ 1301653 w 1604769"/>
                    <a:gd name="connsiteY566" fmla="*/ 329396 h 689082"/>
                    <a:gd name="connsiteX567" fmla="*/ 1296002 w 1604769"/>
                    <a:gd name="connsiteY567" fmla="*/ 331423 h 689082"/>
                    <a:gd name="connsiteX568" fmla="*/ 1336687 w 1604769"/>
                    <a:gd name="connsiteY568" fmla="*/ 331423 h 689082"/>
                    <a:gd name="connsiteX569" fmla="*/ 1361549 w 1604769"/>
                    <a:gd name="connsiteY569" fmla="*/ 336490 h 689082"/>
                    <a:gd name="connsiteX570" fmla="*/ 1361549 w 1604769"/>
                    <a:gd name="connsiteY570" fmla="*/ 341557 h 689082"/>
                    <a:gd name="connsiteX571" fmla="*/ 1334427 w 1604769"/>
                    <a:gd name="connsiteY571" fmla="*/ 343583 h 689082"/>
                    <a:gd name="connsiteX572" fmla="*/ 1328776 w 1604769"/>
                    <a:gd name="connsiteY572" fmla="*/ 348650 h 689082"/>
                    <a:gd name="connsiteX573" fmla="*/ 1290352 w 1604769"/>
                    <a:gd name="connsiteY573" fmla="*/ 350677 h 689082"/>
                    <a:gd name="connsiteX574" fmla="*/ 1292612 w 1604769"/>
                    <a:gd name="connsiteY574" fmla="*/ 357770 h 689082"/>
                    <a:gd name="connsiteX575" fmla="*/ 1308434 w 1604769"/>
                    <a:gd name="connsiteY575" fmla="*/ 355743 h 689082"/>
                    <a:gd name="connsiteX576" fmla="*/ 1324255 w 1604769"/>
                    <a:gd name="connsiteY576" fmla="*/ 374997 h 689082"/>
                    <a:gd name="connsiteX577" fmla="*/ 1321995 w 1604769"/>
                    <a:gd name="connsiteY577" fmla="*/ 387158 h 689082"/>
                    <a:gd name="connsiteX578" fmla="*/ 1327646 w 1604769"/>
                    <a:gd name="connsiteY578" fmla="*/ 394251 h 689082"/>
                    <a:gd name="connsiteX579" fmla="*/ 1335557 w 1604769"/>
                    <a:gd name="connsiteY579" fmla="*/ 394251 h 689082"/>
                    <a:gd name="connsiteX580" fmla="*/ 1343468 w 1604769"/>
                    <a:gd name="connsiteY580" fmla="*/ 374997 h 689082"/>
                    <a:gd name="connsiteX581" fmla="*/ 1349118 w 1604769"/>
                    <a:gd name="connsiteY581" fmla="*/ 372971 h 689082"/>
                    <a:gd name="connsiteX582" fmla="*/ 1349118 w 1604769"/>
                    <a:gd name="connsiteY582" fmla="*/ 380064 h 689082"/>
                    <a:gd name="connsiteX583" fmla="*/ 1364940 w 1604769"/>
                    <a:gd name="connsiteY583" fmla="*/ 387158 h 689082"/>
                    <a:gd name="connsiteX584" fmla="*/ 1364940 w 1604769"/>
                    <a:gd name="connsiteY584" fmla="*/ 389184 h 689082"/>
                    <a:gd name="connsiteX585" fmla="*/ 1384152 w 1604769"/>
                    <a:gd name="connsiteY585" fmla="*/ 391211 h 689082"/>
                    <a:gd name="connsiteX586" fmla="*/ 1395453 w 1604769"/>
                    <a:gd name="connsiteY586" fmla="*/ 415532 h 689082"/>
                    <a:gd name="connsiteX587" fmla="*/ 1411275 w 1604769"/>
                    <a:gd name="connsiteY587" fmla="*/ 413505 h 689082"/>
                    <a:gd name="connsiteX588" fmla="*/ 1416925 w 1604769"/>
                    <a:gd name="connsiteY588" fmla="*/ 418572 h 689082"/>
                    <a:gd name="connsiteX589" fmla="*/ 1436138 w 1604769"/>
                    <a:gd name="connsiteY589" fmla="*/ 416545 h 689082"/>
                    <a:gd name="connsiteX590" fmla="*/ 1436138 w 1604769"/>
                    <a:gd name="connsiteY590" fmla="*/ 421612 h 689082"/>
                    <a:gd name="connsiteX591" fmla="*/ 1463260 w 1604769"/>
                    <a:gd name="connsiteY591" fmla="*/ 445932 h 689082"/>
                    <a:gd name="connsiteX592" fmla="*/ 1492644 w 1604769"/>
                    <a:gd name="connsiteY592" fmla="*/ 450999 h 689082"/>
                    <a:gd name="connsiteX593" fmla="*/ 1506205 w 1604769"/>
                    <a:gd name="connsiteY593" fmla="*/ 453026 h 689082"/>
                    <a:gd name="connsiteX594" fmla="*/ 1517506 w 1604769"/>
                    <a:gd name="connsiteY594" fmla="*/ 470253 h 689082"/>
                    <a:gd name="connsiteX595" fmla="*/ 1517506 w 1604769"/>
                    <a:gd name="connsiteY595" fmla="*/ 494573 h 689082"/>
                    <a:gd name="connsiteX596" fmla="*/ 1515246 w 1604769"/>
                    <a:gd name="connsiteY596" fmla="*/ 501667 h 689082"/>
                    <a:gd name="connsiteX597" fmla="*/ 1523157 w 1604769"/>
                    <a:gd name="connsiteY597" fmla="*/ 506734 h 689082"/>
                    <a:gd name="connsiteX598" fmla="*/ 1525417 w 1604769"/>
                    <a:gd name="connsiteY598" fmla="*/ 520921 h 689082"/>
                    <a:gd name="connsiteX599" fmla="*/ 1533328 w 1604769"/>
                    <a:gd name="connsiteY599" fmla="*/ 531054 h 689082"/>
                    <a:gd name="connsiteX600" fmla="*/ 1535588 w 1604769"/>
                    <a:gd name="connsiteY600" fmla="*/ 560442 h 689082"/>
                    <a:gd name="connsiteX601" fmla="*/ 1524287 w 1604769"/>
                    <a:gd name="connsiteY601" fmla="*/ 550308 h 689082"/>
                    <a:gd name="connsiteX602" fmla="*/ 1508465 w 1604769"/>
                    <a:gd name="connsiteY602" fmla="*/ 552335 h 689082"/>
                    <a:gd name="connsiteX603" fmla="*/ 1489253 w 1604769"/>
                    <a:gd name="connsiteY603" fmla="*/ 576655 h 689082"/>
                    <a:gd name="connsiteX604" fmla="*/ 1527677 w 1604769"/>
                    <a:gd name="connsiteY604" fmla="*/ 571589 h 689082"/>
                    <a:gd name="connsiteX605" fmla="*/ 1529937 w 1604769"/>
                    <a:gd name="connsiteY605" fmla="*/ 561455 h 689082"/>
                    <a:gd name="connsiteX606" fmla="*/ 1535588 w 1604769"/>
                    <a:gd name="connsiteY606" fmla="*/ 566522 h 689082"/>
                    <a:gd name="connsiteX607" fmla="*/ 1564971 w 1604769"/>
                    <a:gd name="connsiteY607" fmla="*/ 564495 h 689082"/>
                    <a:gd name="connsiteX608" fmla="*/ 1584183 w 1604769"/>
                    <a:gd name="connsiteY608" fmla="*/ 586789 h 689082"/>
                    <a:gd name="connsiteX609" fmla="*/ 1584183 w 1604769"/>
                    <a:gd name="connsiteY609" fmla="*/ 596923 h 689082"/>
                    <a:gd name="connsiteX610" fmla="*/ 1589834 w 1604769"/>
                    <a:gd name="connsiteY610" fmla="*/ 596923 h 689082"/>
                    <a:gd name="connsiteX611" fmla="*/ 1595484 w 1604769"/>
                    <a:gd name="connsiteY611" fmla="*/ 604016 h 689082"/>
                    <a:gd name="connsiteX612" fmla="*/ 1604525 w 1604769"/>
                    <a:gd name="connsiteY612" fmla="*/ 606043 h 689082"/>
                    <a:gd name="connsiteX613" fmla="*/ 1603395 w 1604769"/>
                    <a:gd name="connsiteY613" fmla="*/ 522947 h 689082"/>
                    <a:gd name="connsiteX614" fmla="*/ 1597745 w 1604769"/>
                    <a:gd name="connsiteY614" fmla="*/ 507747 h 689082"/>
                    <a:gd name="connsiteX615" fmla="*/ 1603395 w 1604769"/>
                    <a:gd name="connsiteY615" fmla="*/ 497613 h 689082"/>
                    <a:gd name="connsiteX616" fmla="*/ 1601135 w 1604769"/>
                    <a:gd name="connsiteY616" fmla="*/ 352704 h 689082"/>
                    <a:gd name="connsiteX617" fmla="*/ 1598874 w 1604769"/>
                    <a:gd name="connsiteY617" fmla="*/ 352704 h 689082"/>
                    <a:gd name="connsiteX618" fmla="*/ 1587573 w 1604769"/>
                    <a:gd name="connsiteY618" fmla="*/ 340543 h 689082"/>
                    <a:gd name="connsiteX619" fmla="*/ 1571752 w 1604769"/>
                    <a:gd name="connsiteY619" fmla="*/ 342570 h 689082"/>
                    <a:gd name="connsiteX620" fmla="*/ 1533328 w 1604769"/>
                    <a:gd name="connsiteY620" fmla="*/ 332436 h 689082"/>
                    <a:gd name="connsiteX621" fmla="*/ 1486993 w 1604769"/>
                    <a:gd name="connsiteY621" fmla="*/ 310142 h 689082"/>
                    <a:gd name="connsiteX622" fmla="*/ 1486993 w 1604769"/>
                    <a:gd name="connsiteY622" fmla="*/ 315209 h 689082"/>
                    <a:gd name="connsiteX623" fmla="*/ 1475692 w 1604769"/>
                    <a:gd name="connsiteY623" fmla="*/ 317236 h 689082"/>
                    <a:gd name="connsiteX624" fmla="*/ 1462130 w 1604769"/>
                    <a:gd name="connsiteY624" fmla="*/ 331423 h 689082"/>
                    <a:gd name="connsiteX625" fmla="*/ 1442918 w 1604769"/>
                    <a:gd name="connsiteY625" fmla="*/ 338517 h 689082"/>
                    <a:gd name="connsiteX626" fmla="*/ 1427097 w 1604769"/>
                    <a:gd name="connsiteY626" fmla="*/ 364864 h 689082"/>
                    <a:gd name="connsiteX627" fmla="*/ 1405624 w 1604769"/>
                    <a:gd name="connsiteY627" fmla="*/ 374997 h 689082"/>
                    <a:gd name="connsiteX628" fmla="*/ 1399974 w 1604769"/>
                    <a:gd name="connsiteY628" fmla="*/ 372971 h 689082"/>
                    <a:gd name="connsiteX629" fmla="*/ 1397713 w 1604769"/>
                    <a:gd name="connsiteY629" fmla="*/ 360810 h 689082"/>
                    <a:gd name="connsiteX630" fmla="*/ 1389802 w 1604769"/>
                    <a:gd name="connsiteY630" fmla="*/ 362837 h 689082"/>
                    <a:gd name="connsiteX631" fmla="*/ 1389802 w 1604769"/>
                    <a:gd name="connsiteY631" fmla="*/ 345610 h 689082"/>
                    <a:gd name="connsiteX632" fmla="*/ 1381892 w 1604769"/>
                    <a:gd name="connsiteY632" fmla="*/ 343583 h 689082"/>
                    <a:gd name="connsiteX633" fmla="*/ 1376241 w 1604769"/>
                    <a:gd name="connsiteY633" fmla="*/ 350677 h 689082"/>
                    <a:gd name="connsiteX634" fmla="*/ 1370591 w 1604769"/>
                    <a:gd name="connsiteY634" fmla="*/ 304062 h 689082"/>
                    <a:gd name="connsiteX635" fmla="*/ 1376241 w 1604769"/>
                    <a:gd name="connsiteY635" fmla="*/ 291902 h 689082"/>
                    <a:gd name="connsiteX636" fmla="*/ 1362680 w 1604769"/>
                    <a:gd name="connsiteY636" fmla="*/ 272648 h 689082"/>
                    <a:gd name="connsiteX637" fmla="*/ 1357029 w 1604769"/>
                    <a:gd name="connsiteY637" fmla="*/ 272648 h 689082"/>
                    <a:gd name="connsiteX638" fmla="*/ 1349118 w 1604769"/>
                    <a:gd name="connsiteY638" fmla="*/ 274675 h 689082"/>
                    <a:gd name="connsiteX639" fmla="*/ 1341207 w 1604769"/>
                    <a:gd name="connsiteY639" fmla="*/ 269608 h 689082"/>
                    <a:gd name="connsiteX640" fmla="*/ 1335557 w 1604769"/>
                    <a:gd name="connsiteY640" fmla="*/ 274675 h 689082"/>
                    <a:gd name="connsiteX641" fmla="*/ 1308434 w 1604769"/>
                    <a:gd name="connsiteY641" fmla="*/ 264541 h 689082"/>
                    <a:gd name="connsiteX642" fmla="*/ 1290352 w 1604769"/>
                    <a:gd name="connsiteY642" fmla="*/ 283795 h 689082"/>
                    <a:gd name="connsiteX643" fmla="*/ 458584 w 1604769"/>
                    <a:gd name="connsiteY643" fmla="*/ 77070 h 689082"/>
                    <a:gd name="connsiteX644" fmla="*/ 458584 w 1604769"/>
                    <a:gd name="connsiteY644" fmla="*/ 91258 h 689082"/>
                    <a:gd name="connsiteX645" fmla="*/ 469885 w 1604769"/>
                    <a:gd name="connsiteY645" fmla="*/ 86191 h 689082"/>
                    <a:gd name="connsiteX646" fmla="*/ 467625 w 1604769"/>
                    <a:gd name="connsiteY646" fmla="*/ 79097 h 689082"/>
                    <a:gd name="connsiteX647" fmla="*/ 458584 w 1604769"/>
                    <a:gd name="connsiteY647" fmla="*/ 77070 h 68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604769" h="689082">
                      <a:moveTo>
                        <a:pt x="54001" y="23363"/>
                      </a:moveTo>
                      <a:cubicBezTo>
                        <a:pt x="48351" y="21336"/>
                        <a:pt x="44960" y="13229"/>
                        <a:pt x="40440" y="11202"/>
                      </a:cubicBezTo>
                      <a:cubicBezTo>
                        <a:pt x="32529" y="8162"/>
                        <a:pt x="22357" y="9176"/>
                        <a:pt x="11056" y="9176"/>
                      </a:cubicBezTo>
                      <a:cubicBezTo>
                        <a:pt x="11056" y="16269"/>
                        <a:pt x="8797" y="26402"/>
                        <a:pt x="11056" y="33496"/>
                      </a:cubicBezTo>
                      <a:lnTo>
                        <a:pt x="16707" y="35523"/>
                      </a:lnTo>
                      <a:cubicBezTo>
                        <a:pt x="24618" y="46670"/>
                        <a:pt x="25748" y="62883"/>
                        <a:pt x="38179" y="69977"/>
                      </a:cubicBezTo>
                      <a:cubicBezTo>
                        <a:pt x="41570" y="72004"/>
                        <a:pt x="43830" y="69977"/>
                        <a:pt x="46090" y="72004"/>
                      </a:cubicBezTo>
                      <a:cubicBezTo>
                        <a:pt x="50610" y="76057"/>
                        <a:pt x="51741" y="85177"/>
                        <a:pt x="57392" y="89231"/>
                      </a:cubicBezTo>
                      <a:cubicBezTo>
                        <a:pt x="61912" y="92271"/>
                        <a:pt x="69823" y="92271"/>
                        <a:pt x="73213" y="96324"/>
                      </a:cubicBezTo>
                      <a:cubicBezTo>
                        <a:pt x="75473" y="98351"/>
                        <a:pt x="74343" y="103418"/>
                        <a:pt x="75473" y="106458"/>
                      </a:cubicBezTo>
                      <a:cubicBezTo>
                        <a:pt x="78863" y="111525"/>
                        <a:pt x="87905" y="113551"/>
                        <a:pt x="91295" y="118618"/>
                      </a:cubicBezTo>
                      <a:cubicBezTo>
                        <a:pt x="92425" y="120645"/>
                        <a:pt x="92425" y="125712"/>
                        <a:pt x="93556" y="128752"/>
                      </a:cubicBezTo>
                      <a:cubicBezTo>
                        <a:pt x="94685" y="130778"/>
                        <a:pt x="100336" y="131792"/>
                        <a:pt x="101466" y="133818"/>
                      </a:cubicBezTo>
                      <a:cubicBezTo>
                        <a:pt x="104857" y="140912"/>
                        <a:pt x="102596" y="144965"/>
                        <a:pt x="103726" y="153072"/>
                      </a:cubicBezTo>
                      <a:cubicBezTo>
                        <a:pt x="112767" y="155099"/>
                        <a:pt x="118418" y="154086"/>
                        <a:pt x="125199" y="158139"/>
                      </a:cubicBezTo>
                      <a:cubicBezTo>
                        <a:pt x="127459" y="159152"/>
                        <a:pt x="130849" y="166246"/>
                        <a:pt x="133110" y="168272"/>
                      </a:cubicBezTo>
                      <a:cubicBezTo>
                        <a:pt x="135369" y="169286"/>
                        <a:pt x="139890" y="168272"/>
                        <a:pt x="141020" y="170299"/>
                      </a:cubicBezTo>
                      <a:cubicBezTo>
                        <a:pt x="144411" y="177393"/>
                        <a:pt x="139890" y="189553"/>
                        <a:pt x="141020" y="196647"/>
                      </a:cubicBezTo>
                      <a:cubicBezTo>
                        <a:pt x="142151" y="201713"/>
                        <a:pt x="150062" y="210834"/>
                        <a:pt x="152321" y="215900"/>
                      </a:cubicBezTo>
                      <a:cubicBezTo>
                        <a:pt x="153452" y="217927"/>
                        <a:pt x="151191" y="222994"/>
                        <a:pt x="152321" y="226034"/>
                      </a:cubicBezTo>
                      <a:cubicBezTo>
                        <a:pt x="154582" y="230087"/>
                        <a:pt x="162493" y="230087"/>
                        <a:pt x="165883" y="233128"/>
                      </a:cubicBezTo>
                      <a:cubicBezTo>
                        <a:pt x="171533" y="239207"/>
                        <a:pt x="171533" y="247314"/>
                        <a:pt x="177184" y="252381"/>
                      </a:cubicBezTo>
                      <a:cubicBezTo>
                        <a:pt x="181705" y="257448"/>
                        <a:pt x="191875" y="259475"/>
                        <a:pt x="196396" y="264541"/>
                      </a:cubicBezTo>
                      <a:cubicBezTo>
                        <a:pt x="203177" y="271635"/>
                        <a:pt x="213348" y="305076"/>
                        <a:pt x="221259" y="308116"/>
                      </a:cubicBezTo>
                      <a:lnTo>
                        <a:pt x="223519" y="308116"/>
                      </a:lnTo>
                      <a:cubicBezTo>
                        <a:pt x="225779" y="314196"/>
                        <a:pt x="221259" y="321289"/>
                        <a:pt x="223519" y="327370"/>
                      </a:cubicBezTo>
                      <a:cubicBezTo>
                        <a:pt x="223519" y="328383"/>
                        <a:pt x="230300" y="330410"/>
                        <a:pt x="231430" y="332436"/>
                      </a:cubicBezTo>
                      <a:cubicBezTo>
                        <a:pt x="235950" y="340543"/>
                        <a:pt x="241601" y="360810"/>
                        <a:pt x="247252" y="366890"/>
                      </a:cubicBezTo>
                      <a:cubicBezTo>
                        <a:pt x="248381" y="367904"/>
                        <a:pt x="255163" y="368917"/>
                        <a:pt x="255163" y="368917"/>
                      </a:cubicBezTo>
                      <a:cubicBezTo>
                        <a:pt x="261943" y="380064"/>
                        <a:pt x="260813" y="390198"/>
                        <a:pt x="266464" y="403371"/>
                      </a:cubicBezTo>
                      <a:cubicBezTo>
                        <a:pt x="268724" y="407425"/>
                        <a:pt x="275505" y="413505"/>
                        <a:pt x="277765" y="417558"/>
                      </a:cubicBezTo>
                      <a:lnTo>
                        <a:pt x="277765" y="422625"/>
                      </a:lnTo>
                      <a:cubicBezTo>
                        <a:pt x="280025" y="424652"/>
                        <a:pt x="298107" y="430732"/>
                        <a:pt x="302628" y="432759"/>
                      </a:cubicBezTo>
                      <a:cubicBezTo>
                        <a:pt x="303758" y="432759"/>
                        <a:pt x="310538" y="433772"/>
                        <a:pt x="313929" y="434785"/>
                      </a:cubicBezTo>
                      <a:cubicBezTo>
                        <a:pt x="317319" y="435799"/>
                        <a:pt x="327490" y="450999"/>
                        <a:pt x="333140" y="454039"/>
                      </a:cubicBezTo>
                      <a:cubicBezTo>
                        <a:pt x="338791" y="457079"/>
                        <a:pt x="344442" y="456066"/>
                        <a:pt x="352353" y="459106"/>
                      </a:cubicBezTo>
                      <a:cubicBezTo>
                        <a:pt x="350092" y="455053"/>
                        <a:pt x="350092" y="446946"/>
                        <a:pt x="344442" y="446946"/>
                      </a:cubicBezTo>
                      <a:cubicBezTo>
                        <a:pt x="344442" y="446946"/>
                        <a:pt x="347833" y="442892"/>
                        <a:pt x="352353" y="444919"/>
                      </a:cubicBezTo>
                      <a:cubicBezTo>
                        <a:pt x="355743" y="445932"/>
                        <a:pt x="361393" y="453026"/>
                        <a:pt x="371565" y="449986"/>
                      </a:cubicBezTo>
                      <a:cubicBezTo>
                        <a:pt x="372695" y="448972"/>
                        <a:pt x="371565" y="445932"/>
                        <a:pt x="377215" y="444919"/>
                      </a:cubicBezTo>
                      <a:lnTo>
                        <a:pt x="377215" y="446946"/>
                      </a:lnTo>
                      <a:cubicBezTo>
                        <a:pt x="382866" y="446946"/>
                        <a:pt x="387387" y="445932"/>
                        <a:pt x="390777" y="446946"/>
                      </a:cubicBezTo>
                      <a:cubicBezTo>
                        <a:pt x="382866" y="441879"/>
                        <a:pt x="395297" y="379051"/>
                        <a:pt x="398688" y="366890"/>
                      </a:cubicBezTo>
                      <a:cubicBezTo>
                        <a:pt x="396428" y="364864"/>
                        <a:pt x="389646" y="364864"/>
                        <a:pt x="387387" y="361824"/>
                      </a:cubicBezTo>
                      <a:cubicBezTo>
                        <a:pt x="383996" y="357770"/>
                        <a:pt x="380606" y="339530"/>
                        <a:pt x="379476" y="335476"/>
                      </a:cubicBezTo>
                      <a:cubicBezTo>
                        <a:pt x="371565" y="335476"/>
                        <a:pt x="360264" y="335476"/>
                        <a:pt x="360264" y="335476"/>
                      </a:cubicBezTo>
                      <a:cubicBezTo>
                        <a:pt x="359134" y="334463"/>
                        <a:pt x="353483" y="331423"/>
                        <a:pt x="352353" y="330410"/>
                      </a:cubicBezTo>
                      <a:cubicBezTo>
                        <a:pt x="353483" y="328383"/>
                        <a:pt x="358003" y="325343"/>
                        <a:pt x="354613" y="320276"/>
                      </a:cubicBezTo>
                      <a:cubicBezTo>
                        <a:pt x="353483" y="318249"/>
                        <a:pt x="343312" y="314196"/>
                        <a:pt x="341051" y="313183"/>
                      </a:cubicBezTo>
                      <a:cubicBezTo>
                        <a:pt x="341051" y="306089"/>
                        <a:pt x="343312" y="289875"/>
                        <a:pt x="343312" y="286835"/>
                      </a:cubicBezTo>
                      <a:cubicBezTo>
                        <a:pt x="338791" y="285822"/>
                        <a:pt x="332011" y="286835"/>
                        <a:pt x="327490" y="286835"/>
                      </a:cubicBezTo>
                      <a:lnTo>
                        <a:pt x="327490" y="281769"/>
                      </a:lnTo>
                      <a:lnTo>
                        <a:pt x="321839" y="281769"/>
                      </a:lnTo>
                      <a:cubicBezTo>
                        <a:pt x="319580" y="281769"/>
                        <a:pt x="320709" y="286835"/>
                        <a:pt x="316189" y="286835"/>
                      </a:cubicBezTo>
                      <a:cubicBezTo>
                        <a:pt x="316189" y="286835"/>
                        <a:pt x="307148" y="280755"/>
                        <a:pt x="304887" y="279742"/>
                      </a:cubicBezTo>
                      <a:cubicBezTo>
                        <a:pt x="304887" y="273662"/>
                        <a:pt x="302628" y="265555"/>
                        <a:pt x="304887" y="260488"/>
                      </a:cubicBezTo>
                      <a:cubicBezTo>
                        <a:pt x="306018" y="257448"/>
                        <a:pt x="315059" y="254408"/>
                        <a:pt x="316189" y="250354"/>
                      </a:cubicBezTo>
                      <a:cubicBezTo>
                        <a:pt x="316189" y="249341"/>
                        <a:pt x="316189" y="243261"/>
                        <a:pt x="316189" y="243261"/>
                      </a:cubicBezTo>
                      <a:cubicBezTo>
                        <a:pt x="315059" y="242248"/>
                        <a:pt x="302628" y="224007"/>
                        <a:pt x="302628" y="224007"/>
                      </a:cubicBezTo>
                      <a:cubicBezTo>
                        <a:pt x="301497" y="221981"/>
                        <a:pt x="303758" y="215900"/>
                        <a:pt x="302628" y="213873"/>
                      </a:cubicBezTo>
                      <a:cubicBezTo>
                        <a:pt x="298107" y="209820"/>
                        <a:pt x="292456" y="212860"/>
                        <a:pt x="286806" y="211847"/>
                      </a:cubicBezTo>
                      <a:cubicBezTo>
                        <a:pt x="289066" y="206780"/>
                        <a:pt x="290196" y="205767"/>
                        <a:pt x="292456" y="197660"/>
                      </a:cubicBezTo>
                      <a:cubicBezTo>
                        <a:pt x="291327" y="198673"/>
                        <a:pt x="287936" y="195633"/>
                        <a:pt x="286806" y="195633"/>
                      </a:cubicBezTo>
                      <a:cubicBezTo>
                        <a:pt x="283416" y="201713"/>
                        <a:pt x="284545" y="202727"/>
                        <a:pt x="281155" y="209820"/>
                      </a:cubicBezTo>
                      <a:cubicBezTo>
                        <a:pt x="280025" y="209820"/>
                        <a:pt x="273244" y="208807"/>
                        <a:pt x="273244" y="209820"/>
                      </a:cubicBezTo>
                      <a:cubicBezTo>
                        <a:pt x="273244" y="208807"/>
                        <a:pt x="269854" y="204753"/>
                        <a:pt x="270984" y="204753"/>
                      </a:cubicBezTo>
                      <a:cubicBezTo>
                        <a:pt x="269854" y="204753"/>
                        <a:pt x="263074" y="204753"/>
                        <a:pt x="263074" y="204753"/>
                      </a:cubicBezTo>
                      <a:cubicBezTo>
                        <a:pt x="256292" y="199687"/>
                        <a:pt x="263074" y="192593"/>
                        <a:pt x="257423" y="185500"/>
                      </a:cubicBezTo>
                      <a:cubicBezTo>
                        <a:pt x="254032" y="180433"/>
                        <a:pt x="242731" y="178406"/>
                        <a:pt x="238211" y="173339"/>
                      </a:cubicBezTo>
                      <a:cubicBezTo>
                        <a:pt x="233690" y="167259"/>
                        <a:pt x="233690" y="161179"/>
                        <a:pt x="230300" y="154086"/>
                      </a:cubicBezTo>
                      <a:lnTo>
                        <a:pt x="218999" y="154086"/>
                      </a:lnTo>
                      <a:lnTo>
                        <a:pt x="218999" y="156112"/>
                      </a:lnTo>
                      <a:cubicBezTo>
                        <a:pt x="228039" y="158139"/>
                        <a:pt x="208827" y="162193"/>
                        <a:pt x="216738" y="158139"/>
                      </a:cubicBezTo>
                      <a:cubicBezTo>
                        <a:pt x="214478" y="157126"/>
                        <a:pt x="213348" y="157126"/>
                        <a:pt x="211088" y="156112"/>
                      </a:cubicBezTo>
                      <a:cubicBezTo>
                        <a:pt x="206568" y="153072"/>
                        <a:pt x="205437" y="143952"/>
                        <a:pt x="199786" y="141925"/>
                      </a:cubicBezTo>
                      <a:lnTo>
                        <a:pt x="197526" y="141925"/>
                      </a:lnTo>
                      <a:cubicBezTo>
                        <a:pt x="195266" y="136859"/>
                        <a:pt x="199786" y="127738"/>
                        <a:pt x="197526" y="122671"/>
                      </a:cubicBezTo>
                      <a:lnTo>
                        <a:pt x="183965" y="120645"/>
                      </a:lnTo>
                      <a:cubicBezTo>
                        <a:pt x="182835" y="117605"/>
                        <a:pt x="183965" y="111525"/>
                        <a:pt x="183965" y="108484"/>
                      </a:cubicBezTo>
                      <a:cubicBezTo>
                        <a:pt x="173794" y="104431"/>
                        <a:pt x="154582" y="95311"/>
                        <a:pt x="148931" y="89231"/>
                      </a:cubicBezTo>
                      <a:cubicBezTo>
                        <a:pt x="145541" y="85177"/>
                        <a:pt x="148931" y="81124"/>
                        <a:pt x="146671" y="77070"/>
                      </a:cubicBezTo>
                      <a:cubicBezTo>
                        <a:pt x="145541" y="75044"/>
                        <a:pt x="137630" y="74030"/>
                        <a:pt x="135369" y="72004"/>
                      </a:cubicBezTo>
                      <a:cubicBezTo>
                        <a:pt x="131979" y="66937"/>
                        <a:pt x="133110" y="58830"/>
                        <a:pt x="127459" y="57817"/>
                      </a:cubicBezTo>
                      <a:cubicBezTo>
                        <a:pt x="125199" y="56803"/>
                        <a:pt x="118418" y="58830"/>
                        <a:pt x="116158" y="57817"/>
                      </a:cubicBezTo>
                      <a:cubicBezTo>
                        <a:pt x="115027" y="56803"/>
                        <a:pt x="116158" y="49710"/>
                        <a:pt x="116158" y="47683"/>
                      </a:cubicBezTo>
                      <a:lnTo>
                        <a:pt x="100336" y="25389"/>
                      </a:lnTo>
                      <a:cubicBezTo>
                        <a:pt x="84514" y="16269"/>
                        <a:pt x="66432" y="26402"/>
                        <a:pt x="54001" y="23363"/>
                      </a:cubicBezTo>
                      <a:close/>
                      <a:moveTo>
                        <a:pt x="34789" y="125712"/>
                      </a:moveTo>
                      <a:cubicBezTo>
                        <a:pt x="44960" y="134832"/>
                        <a:pt x="52871" y="145979"/>
                        <a:pt x="40440" y="125712"/>
                      </a:cubicBezTo>
                      <a:lnTo>
                        <a:pt x="34789" y="125712"/>
                      </a:lnTo>
                      <a:close/>
                      <a:moveTo>
                        <a:pt x="1168299" y="135845"/>
                      </a:moveTo>
                      <a:cubicBezTo>
                        <a:pt x="1170559" y="149019"/>
                        <a:pt x="1169429" y="153072"/>
                        <a:pt x="1173950" y="162193"/>
                      </a:cubicBezTo>
                      <a:cubicBezTo>
                        <a:pt x="1176210" y="162193"/>
                        <a:pt x="1182991" y="161179"/>
                        <a:pt x="1185251" y="162193"/>
                      </a:cubicBezTo>
                      <a:cubicBezTo>
                        <a:pt x="1186381" y="162193"/>
                        <a:pt x="1190901" y="157126"/>
                        <a:pt x="1185251" y="157126"/>
                      </a:cubicBezTo>
                      <a:cubicBezTo>
                        <a:pt x="1185251" y="156112"/>
                        <a:pt x="1185251" y="144965"/>
                        <a:pt x="1185251" y="144965"/>
                      </a:cubicBezTo>
                      <a:cubicBezTo>
                        <a:pt x="1179600" y="140912"/>
                        <a:pt x="1173950" y="138885"/>
                        <a:pt x="1168299" y="135845"/>
                      </a:cubicBezTo>
                      <a:close/>
                      <a:moveTo>
                        <a:pt x="1150217" y="150032"/>
                      </a:moveTo>
                      <a:cubicBezTo>
                        <a:pt x="1140046" y="164219"/>
                        <a:pt x="1136656" y="179419"/>
                        <a:pt x="1131005" y="198673"/>
                      </a:cubicBezTo>
                      <a:cubicBezTo>
                        <a:pt x="1133266" y="200700"/>
                        <a:pt x="1143436" y="205767"/>
                        <a:pt x="1144567" y="208807"/>
                      </a:cubicBezTo>
                      <a:cubicBezTo>
                        <a:pt x="1146827" y="214887"/>
                        <a:pt x="1140046" y="213873"/>
                        <a:pt x="1138916" y="215900"/>
                      </a:cubicBezTo>
                      <a:lnTo>
                        <a:pt x="1138916" y="220967"/>
                      </a:lnTo>
                      <a:cubicBezTo>
                        <a:pt x="1138916" y="220967"/>
                        <a:pt x="1144567" y="234141"/>
                        <a:pt x="1136656" y="238194"/>
                      </a:cubicBezTo>
                      <a:lnTo>
                        <a:pt x="1136656" y="240221"/>
                      </a:lnTo>
                      <a:cubicBezTo>
                        <a:pt x="1136656" y="244274"/>
                        <a:pt x="1146827" y="254408"/>
                        <a:pt x="1150217" y="257448"/>
                      </a:cubicBezTo>
                      <a:cubicBezTo>
                        <a:pt x="1153608" y="260488"/>
                        <a:pt x="1156998" y="262515"/>
                        <a:pt x="1161519" y="264541"/>
                      </a:cubicBezTo>
                      <a:cubicBezTo>
                        <a:pt x="1170559" y="268595"/>
                        <a:pt x="1149087" y="249341"/>
                        <a:pt x="1147957" y="247314"/>
                      </a:cubicBezTo>
                      <a:cubicBezTo>
                        <a:pt x="1145697" y="242248"/>
                        <a:pt x="1149087" y="235154"/>
                        <a:pt x="1147957" y="230087"/>
                      </a:cubicBezTo>
                      <a:cubicBezTo>
                        <a:pt x="1147957" y="230087"/>
                        <a:pt x="1163778" y="218940"/>
                        <a:pt x="1159258" y="222994"/>
                      </a:cubicBezTo>
                      <a:cubicBezTo>
                        <a:pt x="1161519" y="224007"/>
                        <a:pt x="1164909" y="221981"/>
                        <a:pt x="1167169" y="222994"/>
                      </a:cubicBezTo>
                      <a:cubicBezTo>
                        <a:pt x="1169429" y="224007"/>
                        <a:pt x="1172820" y="232114"/>
                        <a:pt x="1175080" y="233128"/>
                      </a:cubicBezTo>
                      <a:cubicBezTo>
                        <a:pt x="1178470" y="234141"/>
                        <a:pt x="1180730" y="231101"/>
                        <a:pt x="1182991" y="233128"/>
                      </a:cubicBezTo>
                      <a:cubicBezTo>
                        <a:pt x="1180730" y="227047"/>
                        <a:pt x="1179600" y="219954"/>
                        <a:pt x="1177340" y="213873"/>
                      </a:cubicBezTo>
                      <a:cubicBezTo>
                        <a:pt x="1173950" y="213873"/>
                        <a:pt x="1167169" y="214887"/>
                        <a:pt x="1163778" y="213873"/>
                      </a:cubicBezTo>
                      <a:cubicBezTo>
                        <a:pt x="1170559" y="208807"/>
                        <a:pt x="1175080" y="203740"/>
                        <a:pt x="1182991" y="199687"/>
                      </a:cubicBezTo>
                      <a:cubicBezTo>
                        <a:pt x="1177340" y="195633"/>
                        <a:pt x="1187511" y="195633"/>
                        <a:pt x="1175080" y="189553"/>
                      </a:cubicBezTo>
                      <a:lnTo>
                        <a:pt x="1175080" y="187526"/>
                      </a:lnTo>
                      <a:cubicBezTo>
                        <a:pt x="1171689" y="189553"/>
                        <a:pt x="1162648" y="193606"/>
                        <a:pt x="1161519" y="197660"/>
                      </a:cubicBezTo>
                      <a:cubicBezTo>
                        <a:pt x="1160388" y="198673"/>
                        <a:pt x="1162648" y="204753"/>
                        <a:pt x="1161519" y="204753"/>
                      </a:cubicBezTo>
                      <a:lnTo>
                        <a:pt x="1155868" y="204753"/>
                      </a:lnTo>
                      <a:cubicBezTo>
                        <a:pt x="1158128" y="193606"/>
                        <a:pt x="1163778" y="177393"/>
                        <a:pt x="1155868" y="173339"/>
                      </a:cubicBezTo>
                      <a:cubicBezTo>
                        <a:pt x="1155868" y="173339"/>
                        <a:pt x="1158128" y="162193"/>
                        <a:pt x="1158128" y="166246"/>
                      </a:cubicBezTo>
                      <a:cubicBezTo>
                        <a:pt x="1162648" y="164219"/>
                        <a:pt x="1160388" y="164219"/>
                        <a:pt x="1160388" y="164219"/>
                      </a:cubicBezTo>
                      <a:cubicBezTo>
                        <a:pt x="1159258" y="160166"/>
                        <a:pt x="1156998" y="160166"/>
                        <a:pt x="1158128" y="154086"/>
                      </a:cubicBezTo>
                      <a:lnTo>
                        <a:pt x="1150217" y="150032"/>
                      </a:lnTo>
                      <a:close/>
                      <a:moveTo>
                        <a:pt x="241601" y="157126"/>
                      </a:moveTo>
                      <a:cubicBezTo>
                        <a:pt x="241601" y="157126"/>
                        <a:pt x="241601" y="164219"/>
                        <a:pt x="241601" y="164219"/>
                      </a:cubicBezTo>
                      <a:cubicBezTo>
                        <a:pt x="242731" y="165232"/>
                        <a:pt x="246122" y="165232"/>
                        <a:pt x="247252" y="166246"/>
                      </a:cubicBezTo>
                      <a:cubicBezTo>
                        <a:pt x="244991" y="160166"/>
                        <a:pt x="250642" y="158139"/>
                        <a:pt x="241601" y="157126"/>
                      </a:cubicBezTo>
                      <a:close/>
                      <a:moveTo>
                        <a:pt x="263074" y="172326"/>
                      </a:moveTo>
                      <a:cubicBezTo>
                        <a:pt x="263074" y="172326"/>
                        <a:pt x="263074" y="179419"/>
                        <a:pt x="263074" y="179419"/>
                      </a:cubicBezTo>
                      <a:cubicBezTo>
                        <a:pt x="268724" y="180433"/>
                        <a:pt x="268724" y="181446"/>
                        <a:pt x="274375" y="181446"/>
                      </a:cubicBezTo>
                      <a:cubicBezTo>
                        <a:pt x="285676" y="182460"/>
                        <a:pt x="265333" y="173339"/>
                        <a:pt x="263074" y="172326"/>
                      </a:cubicBezTo>
                      <a:close/>
                      <a:moveTo>
                        <a:pt x="86774" y="176379"/>
                      </a:moveTo>
                      <a:lnTo>
                        <a:pt x="84514" y="183473"/>
                      </a:lnTo>
                      <a:cubicBezTo>
                        <a:pt x="87905" y="185500"/>
                        <a:pt x="92425" y="185500"/>
                        <a:pt x="95815" y="188540"/>
                      </a:cubicBezTo>
                      <a:cubicBezTo>
                        <a:pt x="99206" y="191580"/>
                        <a:pt x="105987" y="206780"/>
                        <a:pt x="109377" y="207794"/>
                      </a:cubicBezTo>
                      <a:cubicBezTo>
                        <a:pt x="112767" y="208807"/>
                        <a:pt x="112767" y="195633"/>
                        <a:pt x="111637" y="193606"/>
                      </a:cubicBezTo>
                      <a:lnTo>
                        <a:pt x="105987" y="193606"/>
                      </a:lnTo>
                      <a:cubicBezTo>
                        <a:pt x="101466" y="192593"/>
                        <a:pt x="101466" y="183473"/>
                        <a:pt x="98076" y="181446"/>
                      </a:cubicBezTo>
                      <a:lnTo>
                        <a:pt x="95815" y="181446"/>
                      </a:lnTo>
                      <a:lnTo>
                        <a:pt x="95815" y="176379"/>
                      </a:lnTo>
                      <a:cubicBezTo>
                        <a:pt x="92425" y="175366"/>
                        <a:pt x="87905" y="178406"/>
                        <a:pt x="86774" y="176379"/>
                      </a:cubicBezTo>
                      <a:close/>
                      <a:moveTo>
                        <a:pt x="1043986" y="179419"/>
                      </a:moveTo>
                      <a:cubicBezTo>
                        <a:pt x="1042856" y="180433"/>
                        <a:pt x="1042856" y="188540"/>
                        <a:pt x="1041726" y="189553"/>
                      </a:cubicBezTo>
                      <a:cubicBezTo>
                        <a:pt x="1038335" y="191580"/>
                        <a:pt x="1033815" y="189553"/>
                        <a:pt x="1030424" y="191580"/>
                      </a:cubicBezTo>
                      <a:cubicBezTo>
                        <a:pt x="1029294" y="191580"/>
                        <a:pt x="1030424" y="198673"/>
                        <a:pt x="1030424" y="198673"/>
                      </a:cubicBezTo>
                      <a:cubicBezTo>
                        <a:pt x="1024774" y="200700"/>
                        <a:pt x="1013473" y="207794"/>
                        <a:pt x="1008952" y="208807"/>
                      </a:cubicBezTo>
                      <a:cubicBezTo>
                        <a:pt x="981829" y="213873"/>
                        <a:pt x="964878" y="208807"/>
                        <a:pt x="938885" y="208807"/>
                      </a:cubicBezTo>
                      <a:lnTo>
                        <a:pt x="936625" y="203740"/>
                      </a:lnTo>
                      <a:cubicBezTo>
                        <a:pt x="932104" y="202727"/>
                        <a:pt x="934364" y="207794"/>
                        <a:pt x="928714" y="205767"/>
                      </a:cubicBezTo>
                      <a:lnTo>
                        <a:pt x="926453" y="195633"/>
                      </a:lnTo>
                      <a:cubicBezTo>
                        <a:pt x="911762" y="191580"/>
                        <a:pt x="900461" y="199687"/>
                        <a:pt x="891420" y="202727"/>
                      </a:cubicBezTo>
                      <a:lnTo>
                        <a:pt x="891420" y="207794"/>
                      </a:lnTo>
                      <a:cubicBezTo>
                        <a:pt x="888030" y="209820"/>
                        <a:pt x="885769" y="205767"/>
                        <a:pt x="883509" y="205767"/>
                      </a:cubicBezTo>
                      <a:cubicBezTo>
                        <a:pt x="878989" y="210834"/>
                        <a:pt x="874468" y="215900"/>
                        <a:pt x="869947" y="219954"/>
                      </a:cubicBezTo>
                      <a:cubicBezTo>
                        <a:pt x="873338" y="219954"/>
                        <a:pt x="867688" y="225020"/>
                        <a:pt x="867688" y="225020"/>
                      </a:cubicBezTo>
                      <a:cubicBezTo>
                        <a:pt x="866557" y="229074"/>
                        <a:pt x="869947" y="234141"/>
                        <a:pt x="869947" y="235154"/>
                      </a:cubicBezTo>
                      <a:cubicBezTo>
                        <a:pt x="871078" y="248328"/>
                        <a:pt x="871078" y="270622"/>
                        <a:pt x="864297" y="281769"/>
                      </a:cubicBezTo>
                      <a:lnTo>
                        <a:pt x="858646" y="281769"/>
                      </a:lnTo>
                      <a:cubicBezTo>
                        <a:pt x="854126" y="294942"/>
                        <a:pt x="855256" y="305076"/>
                        <a:pt x="852995" y="323316"/>
                      </a:cubicBezTo>
                      <a:cubicBezTo>
                        <a:pt x="852995" y="325343"/>
                        <a:pt x="849605" y="339530"/>
                        <a:pt x="847345" y="342570"/>
                      </a:cubicBezTo>
                      <a:lnTo>
                        <a:pt x="841694" y="344597"/>
                      </a:lnTo>
                      <a:cubicBezTo>
                        <a:pt x="837174" y="358784"/>
                        <a:pt x="839435" y="368917"/>
                        <a:pt x="841694" y="383104"/>
                      </a:cubicBezTo>
                      <a:cubicBezTo>
                        <a:pt x="846215" y="384118"/>
                        <a:pt x="852995" y="383104"/>
                        <a:pt x="857516" y="383104"/>
                      </a:cubicBezTo>
                      <a:lnTo>
                        <a:pt x="859777" y="390198"/>
                      </a:lnTo>
                      <a:cubicBezTo>
                        <a:pt x="859777" y="390198"/>
                        <a:pt x="856386" y="393238"/>
                        <a:pt x="857516" y="397291"/>
                      </a:cubicBezTo>
                      <a:lnTo>
                        <a:pt x="863167" y="404385"/>
                      </a:lnTo>
                      <a:cubicBezTo>
                        <a:pt x="862037" y="412491"/>
                        <a:pt x="850736" y="419585"/>
                        <a:pt x="849605" y="423638"/>
                      </a:cubicBezTo>
                      <a:cubicBezTo>
                        <a:pt x="847345" y="433772"/>
                        <a:pt x="849605" y="447959"/>
                        <a:pt x="849605" y="458093"/>
                      </a:cubicBezTo>
                      <a:cubicBezTo>
                        <a:pt x="863167" y="458093"/>
                        <a:pt x="878989" y="457079"/>
                        <a:pt x="892550" y="456066"/>
                      </a:cubicBezTo>
                      <a:cubicBezTo>
                        <a:pt x="891420" y="452012"/>
                        <a:pt x="893680" y="447959"/>
                        <a:pt x="892550" y="443906"/>
                      </a:cubicBezTo>
                      <a:cubicBezTo>
                        <a:pt x="892550" y="442892"/>
                        <a:pt x="886899" y="441879"/>
                        <a:pt x="886899" y="438839"/>
                      </a:cubicBezTo>
                      <a:cubicBezTo>
                        <a:pt x="886899" y="438839"/>
                        <a:pt x="899331" y="427692"/>
                        <a:pt x="894810" y="426678"/>
                      </a:cubicBezTo>
                      <a:cubicBezTo>
                        <a:pt x="892550" y="425665"/>
                        <a:pt x="885769" y="409452"/>
                        <a:pt x="886899" y="407425"/>
                      </a:cubicBezTo>
                      <a:cubicBezTo>
                        <a:pt x="886899" y="404385"/>
                        <a:pt x="897070" y="402358"/>
                        <a:pt x="898200" y="400331"/>
                      </a:cubicBezTo>
                      <a:cubicBezTo>
                        <a:pt x="901591" y="391211"/>
                        <a:pt x="897070" y="380064"/>
                        <a:pt x="895941" y="373984"/>
                      </a:cubicBezTo>
                      <a:cubicBezTo>
                        <a:pt x="906111" y="370944"/>
                        <a:pt x="911762" y="371957"/>
                        <a:pt x="920803" y="371957"/>
                      </a:cubicBezTo>
                      <a:cubicBezTo>
                        <a:pt x="923063" y="384118"/>
                        <a:pt x="925323" y="399318"/>
                        <a:pt x="928714" y="408438"/>
                      </a:cubicBezTo>
                      <a:cubicBezTo>
                        <a:pt x="932104" y="416545"/>
                        <a:pt x="934364" y="426678"/>
                        <a:pt x="934364" y="439852"/>
                      </a:cubicBezTo>
                      <a:cubicBezTo>
                        <a:pt x="941145" y="440866"/>
                        <a:pt x="947926" y="442892"/>
                        <a:pt x="955837" y="444919"/>
                      </a:cubicBezTo>
                      <a:lnTo>
                        <a:pt x="955837" y="442892"/>
                      </a:lnTo>
                      <a:cubicBezTo>
                        <a:pt x="964878" y="437825"/>
                        <a:pt x="958097" y="434785"/>
                        <a:pt x="958097" y="428705"/>
                      </a:cubicBezTo>
                      <a:lnTo>
                        <a:pt x="958097" y="426678"/>
                      </a:lnTo>
                      <a:cubicBezTo>
                        <a:pt x="964878" y="422625"/>
                        <a:pt x="975049" y="424652"/>
                        <a:pt x="985220" y="424652"/>
                      </a:cubicBezTo>
                      <a:lnTo>
                        <a:pt x="987480" y="414518"/>
                      </a:lnTo>
                      <a:lnTo>
                        <a:pt x="981829" y="414518"/>
                      </a:lnTo>
                      <a:cubicBezTo>
                        <a:pt x="978439" y="413505"/>
                        <a:pt x="972789" y="402358"/>
                        <a:pt x="970528" y="400331"/>
                      </a:cubicBezTo>
                      <a:cubicBezTo>
                        <a:pt x="963748" y="389184"/>
                        <a:pt x="964878" y="391211"/>
                        <a:pt x="968268" y="378037"/>
                      </a:cubicBezTo>
                      <a:lnTo>
                        <a:pt x="962617" y="378037"/>
                      </a:lnTo>
                      <a:cubicBezTo>
                        <a:pt x="962617" y="377024"/>
                        <a:pt x="962617" y="370944"/>
                        <a:pt x="962617" y="370944"/>
                      </a:cubicBezTo>
                      <a:cubicBezTo>
                        <a:pt x="959227" y="367904"/>
                        <a:pt x="949056" y="369931"/>
                        <a:pt x="946796" y="365877"/>
                      </a:cubicBezTo>
                      <a:cubicBezTo>
                        <a:pt x="942275" y="360810"/>
                        <a:pt x="946796" y="348650"/>
                        <a:pt x="941145" y="343583"/>
                      </a:cubicBezTo>
                      <a:cubicBezTo>
                        <a:pt x="941145" y="343583"/>
                        <a:pt x="918543" y="335476"/>
                        <a:pt x="916283" y="333450"/>
                      </a:cubicBezTo>
                      <a:cubicBezTo>
                        <a:pt x="919673" y="331423"/>
                        <a:pt x="921933" y="329396"/>
                        <a:pt x="927584" y="326356"/>
                      </a:cubicBezTo>
                      <a:cubicBezTo>
                        <a:pt x="927584" y="326356"/>
                        <a:pt x="935495" y="328383"/>
                        <a:pt x="941145" y="326356"/>
                      </a:cubicBezTo>
                      <a:cubicBezTo>
                        <a:pt x="967138" y="318249"/>
                        <a:pt x="966007" y="298996"/>
                        <a:pt x="993131" y="294942"/>
                      </a:cubicBezTo>
                      <a:cubicBezTo>
                        <a:pt x="995391" y="288862"/>
                        <a:pt x="993131" y="287849"/>
                        <a:pt x="995391" y="282782"/>
                      </a:cubicBezTo>
                      <a:cubicBezTo>
                        <a:pt x="968268" y="282782"/>
                        <a:pt x="952446" y="284808"/>
                        <a:pt x="929844" y="280755"/>
                      </a:cubicBezTo>
                      <a:cubicBezTo>
                        <a:pt x="927584" y="283795"/>
                        <a:pt x="929844" y="287849"/>
                        <a:pt x="927584" y="290889"/>
                      </a:cubicBezTo>
                      <a:cubicBezTo>
                        <a:pt x="925323" y="293929"/>
                        <a:pt x="917412" y="292916"/>
                        <a:pt x="914022" y="295955"/>
                      </a:cubicBezTo>
                      <a:cubicBezTo>
                        <a:pt x="912892" y="293929"/>
                        <a:pt x="910632" y="284808"/>
                        <a:pt x="908372" y="283795"/>
                      </a:cubicBezTo>
                      <a:cubicBezTo>
                        <a:pt x="904981" y="281769"/>
                        <a:pt x="898200" y="283795"/>
                        <a:pt x="894810" y="281769"/>
                      </a:cubicBezTo>
                      <a:cubicBezTo>
                        <a:pt x="894810" y="281769"/>
                        <a:pt x="889159" y="274675"/>
                        <a:pt x="889159" y="274675"/>
                      </a:cubicBezTo>
                      <a:cubicBezTo>
                        <a:pt x="886899" y="266568"/>
                        <a:pt x="891420" y="254408"/>
                        <a:pt x="891420" y="250354"/>
                      </a:cubicBezTo>
                      <a:cubicBezTo>
                        <a:pt x="892550" y="242248"/>
                        <a:pt x="892550" y="237181"/>
                        <a:pt x="893680" y="231101"/>
                      </a:cubicBezTo>
                      <a:cubicBezTo>
                        <a:pt x="899331" y="231101"/>
                        <a:pt x="901591" y="233128"/>
                        <a:pt x="904981" y="233128"/>
                      </a:cubicBezTo>
                      <a:cubicBezTo>
                        <a:pt x="908372" y="233128"/>
                        <a:pt x="921933" y="228061"/>
                        <a:pt x="926453" y="228061"/>
                      </a:cubicBezTo>
                      <a:cubicBezTo>
                        <a:pt x="929844" y="228061"/>
                        <a:pt x="933234" y="233128"/>
                        <a:pt x="940015" y="233128"/>
                      </a:cubicBezTo>
                      <a:cubicBezTo>
                        <a:pt x="946796" y="233128"/>
                        <a:pt x="963748" y="229074"/>
                        <a:pt x="975049" y="231101"/>
                      </a:cubicBezTo>
                      <a:cubicBezTo>
                        <a:pt x="987480" y="233128"/>
                        <a:pt x="1002171" y="242248"/>
                        <a:pt x="1017993" y="238194"/>
                      </a:cubicBezTo>
                      <a:lnTo>
                        <a:pt x="1017993" y="233128"/>
                      </a:lnTo>
                      <a:cubicBezTo>
                        <a:pt x="1023644" y="230087"/>
                        <a:pt x="1027034" y="234141"/>
                        <a:pt x="1031555" y="231101"/>
                      </a:cubicBezTo>
                      <a:cubicBezTo>
                        <a:pt x="1036075" y="228061"/>
                        <a:pt x="1036075" y="215900"/>
                        <a:pt x="1039465" y="211847"/>
                      </a:cubicBezTo>
                      <a:cubicBezTo>
                        <a:pt x="1041726" y="208807"/>
                        <a:pt x="1045116" y="209820"/>
                        <a:pt x="1047376" y="206780"/>
                      </a:cubicBezTo>
                      <a:lnTo>
                        <a:pt x="1053027" y="204753"/>
                      </a:lnTo>
                      <a:cubicBezTo>
                        <a:pt x="1055287" y="200700"/>
                        <a:pt x="1055287" y="189553"/>
                        <a:pt x="1055287" y="187526"/>
                      </a:cubicBezTo>
                      <a:cubicBezTo>
                        <a:pt x="1053027" y="185500"/>
                        <a:pt x="1049637" y="186513"/>
                        <a:pt x="1049637" y="182460"/>
                      </a:cubicBezTo>
                      <a:cubicBezTo>
                        <a:pt x="1049637" y="179419"/>
                        <a:pt x="1046246" y="180433"/>
                        <a:pt x="1043986" y="179419"/>
                      </a:cubicBezTo>
                      <a:close/>
                      <a:moveTo>
                        <a:pt x="336531" y="188540"/>
                      </a:moveTo>
                      <a:lnTo>
                        <a:pt x="336531" y="193606"/>
                      </a:lnTo>
                      <a:cubicBezTo>
                        <a:pt x="346702" y="193606"/>
                        <a:pt x="346702" y="188540"/>
                        <a:pt x="336531" y="188540"/>
                      </a:cubicBezTo>
                      <a:close/>
                      <a:moveTo>
                        <a:pt x="1247407" y="247314"/>
                      </a:moveTo>
                      <a:lnTo>
                        <a:pt x="1241757" y="252381"/>
                      </a:lnTo>
                      <a:cubicBezTo>
                        <a:pt x="1207853" y="260488"/>
                        <a:pt x="1251928" y="262515"/>
                        <a:pt x="1268880" y="262515"/>
                      </a:cubicBezTo>
                      <a:cubicBezTo>
                        <a:pt x="1268880" y="262515"/>
                        <a:pt x="1271140" y="256435"/>
                        <a:pt x="1271140" y="255421"/>
                      </a:cubicBezTo>
                      <a:cubicBezTo>
                        <a:pt x="1266620" y="253395"/>
                        <a:pt x="1247407" y="247314"/>
                        <a:pt x="1247407" y="247314"/>
                      </a:cubicBezTo>
                      <a:close/>
                      <a:moveTo>
                        <a:pt x="1136656" y="261501"/>
                      </a:moveTo>
                      <a:cubicBezTo>
                        <a:pt x="1137786" y="267582"/>
                        <a:pt x="1136656" y="272648"/>
                        <a:pt x="1136656" y="278729"/>
                      </a:cubicBezTo>
                      <a:cubicBezTo>
                        <a:pt x="1152477" y="271635"/>
                        <a:pt x="1144567" y="273662"/>
                        <a:pt x="1136656" y="261501"/>
                      </a:cubicBezTo>
                      <a:close/>
                      <a:moveTo>
                        <a:pt x="141020" y="283795"/>
                      </a:moveTo>
                      <a:cubicBezTo>
                        <a:pt x="142151" y="287849"/>
                        <a:pt x="137630" y="285822"/>
                        <a:pt x="138760" y="290889"/>
                      </a:cubicBezTo>
                      <a:cubicBezTo>
                        <a:pt x="138760" y="293929"/>
                        <a:pt x="145541" y="306089"/>
                        <a:pt x="146671" y="313183"/>
                      </a:cubicBezTo>
                      <a:cubicBezTo>
                        <a:pt x="147801" y="313183"/>
                        <a:pt x="157972" y="315209"/>
                        <a:pt x="162493" y="315209"/>
                      </a:cubicBezTo>
                      <a:cubicBezTo>
                        <a:pt x="161363" y="312169"/>
                        <a:pt x="164753" y="310142"/>
                        <a:pt x="160232" y="310142"/>
                      </a:cubicBezTo>
                      <a:cubicBezTo>
                        <a:pt x="155712" y="298996"/>
                        <a:pt x="156842" y="293929"/>
                        <a:pt x="152321" y="283795"/>
                      </a:cubicBezTo>
                      <a:cubicBezTo>
                        <a:pt x="150062" y="283795"/>
                        <a:pt x="142151" y="284808"/>
                        <a:pt x="141020" y="283795"/>
                      </a:cubicBezTo>
                      <a:close/>
                      <a:moveTo>
                        <a:pt x="1236106" y="283795"/>
                      </a:moveTo>
                      <a:cubicBezTo>
                        <a:pt x="1232716" y="284808"/>
                        <a:pt x="1238367" y="288862"/>
                        <a:pt x="1238367" y="288862"/>
                      </a:cubicBezTo>
                      <a:cubicBezTo>
                        <a:pt x="1242887" y="288862"/>
                        <a:pt x="1247407" y="281769"/>
                        <a:pt x="1236106" y="283795"/>
                      </a:cubicBezTo>
                      <a:close/>
                      <a:moveTo>
                        <a:pt x="1253058" y="290889"/>
                      </a:moveTo>
                      <a:lnTo>
                        <a:pt x="1247407" y="292916"/>
                      </a:lnTo>
                      <a:cubicBezTo>
                        <a:pt x="1247407" y="293929"/>
                        <a:pt x="1248537" y="298996"/>
                        <a:pt x="1247407" y="300009"/>
                      </a:cubicBezTo>
                      <a:cubicBezTo>
                        <a:pt x="1248537" y="300009"/>
                        <a:pt x="1256448" y="301022"/>
                        <a:pt x="1258709" y="302036"/>
                      </a:cubicBezTo>
                      <a:cubicBezTo>
                        <a:pt x="1256448" y="301022"/>
                        <a:pt x="1267749" y="297982"/>
                        <a:pt x="1253058" y="290889"/>
                      </a:cubicBezTo>
                      <a:close/>
                      <a:moveTo>
                        <a:pt x="1146827" y="295955"/>
                      </a:moveTo>
                      <a:cubicBezTo>
                        <a:pt x="1138916" y="296969"/>
                        <a:pt x="1149087" y="300009"/>
                        <a:pt x="1152477" y="301022"/>
                      </a:cubicBezTo>
                      <a:cubicBezTo>
                        <a:pt x="1149087" y="298996"/>
                        <a:pt x="1155868" y="294942"/>
                        <a:pt x="1146827" y="295955"/>
                      </a:cubicBezTo>
                      <a:close/>
                      <a:moveTo>
                        <a:pt x="976179" y="303049"/>
                      </a:moveTo>
                      <a:cubicBezTo>
                        <a:pt x="976179" y="303049"/>
                        <a:pt x="973918" y="307102"/>
                        <a:pt x="973918" y="308116"/>
                      </a:cubicBezTo>
                      <a:cubicBezTo>
                        <a:pt x="969398" y="306089"/>
                        <a:pt x="971658" y="311156"/>
                        <a:pt x="971658" y="313183"/>
                      </a:cubicBezTo>
                      <a:lnTo>
                        <a:pt x="973918" y="318249"/>
                      </a:lnTo>
                      <a:cubicBezTo>
                        <a:pt x="978439" y="317236"/>
                        <a:pt x="982959" y="316223"/>
                        <a:pt x="985220" y="316223"/>
                      </a:cubicBezTo>
                      <a:cubicBezTo>
                        <a:pt x="990870" y="316223"/>
                        <a:pt x="989740" y="319263"/>
                        <a:pt x="993131" y="318249"/>
                      </a:cubicBezTo>
                      <a:cubicBezTo>
                        <a:pt x="993131" y="318249"/>
                        <a:pt x="995391" y="314196"/>
                        <a:pt x="995391" y="313183"/>
                      </a:cubicBezTo>
                      <a:cubicBezTo>
                        <a:pt x="1003302" y="316223"/>
                        <a:pt x="998781" y="309129"/>
                        <a:pt x="1001042" y="308116"/>
                      </a:cubicBezTo>
                      <a:cubicBezTo>
                        <a:pt x="993131" y="306089"/>
                        <a:pt x="981829" y="302036"/>
                        <a:pt x="976179" y="303049"/>
                      </a:cubicBezTo>
                      <a:close/>
                      <a:moveTo>
                        <a:pt x="382866" y="308116"/>
                      </a:moveTo>
                      <a:cubicBezTo>
                        <a:pt x="374955" y="314196"/>
                        <a:pt x="376085" y="316223"/>
                        <a:pt x="374955" y="327370"/>
                      </a:cubicBezTo>
                      <a:cubicBezTo>
                        <a:pt x="382866" y="328383"/>
                        <a:pt x="386256" y="328383"/>
                        <a:pt x="390777" y="329396"/>
                      </a:cubicBezTo>
                      <a:cubicBezTo>
                        <a:pt x="391907" y="336490"/>
                        <a:pt x="386256" y="337503"/>
                        <a:pt x="390777" y="346623"/>
                      </a:cubicBezTo>
                      <a:cubicBezTo>
                        <a:pt x="393037" y="351690"/>
                        <a:pt x="398688" y="352704"/>
                        <a:pt x="404338" y="356757"/>
                      </a:cubicBezTo>
                      <a:cubicBezTo>
                        <a:pt x="405468" y="357770"/>
                        <a:pt x="408859" y="362837"/>
                        <a:pt x="409989" y="363850"/>
                      </a:cubicBezTo>
                      <a:lnTo>
                        <a:pt x="415640" y="361824"/>
                      </a:lnTo>
                      <a:cubicBezTo>
                        <a:pt x="413379" y="341557"/>
                        <a:pt x="411119" y="335476"/>
                        <a:pt x="402078" y="323316"/>
                      </a:cubicBezTo>
                      <a:cubicBezTo>
                        <a:pt x="395297" y="313183"/>
                        <a:pt x="393037" y="313183"/>
                        <a:pt x="382866" y="308116"/>
                      </a:cubicBezTo>
                      <a:close/>
                      <a:moveTo>
                        <a:pt x="1228195" y="308116"/>
                      </a:moveTo>
                      <a:lnTo>
                        <a:pt x="1222545" y="318249"/>
                      </a:lnTo>
                      <a:cubicBezTo>
                        <a:pt x="1225935" y="317236"/>
                        <a:pt x="1231586" y="319263"/>
                        <a:pt x="1236106" y="320276"/>
                      </a:cubicBezTo>
                      <a:cubicBezTo>
                        <a:pt x="1236106" y="320276"/>
                        <a:pt x="1236106" y="313183"/>
                        <a:pt x="1236106" y="313183"/>
                      </a:cubicBezTo>
                      <a:cubicBezTo>
                        <a:pt x="1234976" y="312169"/>
                        <a:pt x="1230456" y="309129"/>
                        <a:pt x="1228195" y="308116"/>
                      </a:cubicBezTo>
                      <a:close/>
                      <a:moveTo>
                        <a:pt x="1068849" y="310142"/>
                      </a:moveTo>
                      <a:cubicBezTo>
                        <a:pt x="1069979" y="310142"/>
                        <a:pt x="1066588" y="314196"/>
                        <a:pt x="1066588" y="315209"/>
                      </a:cubicBezTo>
                      <a:cubicBezTo>
                        <a:pt x="1093711" y="315209"/>
                        <a:pt x="1103882" y="312169"/>
                        <a:pt x="1068849" y="310142"/>
                      </a:cubicBezTo>
                      <a:close/>
                      <a:moveTo>
                        <a:pt x="1024774" y="315209"/>
                      </a:moveTo>
                      <a:cubicBezTo>
                        <a:pt x="1024774" y="315209"/>
                        <a:pt x="1024774" y="325343"/>
                        <a:pt x="1024774" y="325343"/>
                      </a:cubicBezTo>
                      <a:cubicBezTo>
                        <a:pt x="1062068" y="320276"/>
                        <a:pt x="1060938" y="319263"/>
                        <a:pt x="1024774" y="315209"/>
                      </a:cubicBezTo>
                      <a:close/>
                      <a:moveTo>
                        <a:pt x="183965" y="342570"/>
                      </a:moveTo>
                      <a:lnTo>
                        <a:pt x="183965" y="352704"/>
                      </a:lnTo>
                      <a:cubicBezTo>
                        <a:pt x="191875" y="355743"/>
                        <a:pt x="189616" y="342570"/>
                        <a:pt x="183965" y="342570"/>
                      </a:cubicBezTo>
                      <a:close/>
                      <a:moveTo>
                        <a:pt x="447283" y="351690"/>
                      </a:moveTo>
                      <a:cubicBezTo>
                        <a:pt x="441632" y="377024"/>
                        <a:pt x="446152" y="374997"/>
                        <a:pt x="472146" y="365877"/>
                      </a:cubicBezTo>
                      <a:cubicBezTo>
                        <a:pt x="472146" y="359797"/>
                        <a:pt x="471015" y="354730"/>
                        <a:pt x="472146" y="351690"/>
                      </a:cubicBezTo>
                      <a:cubicBezTo>
                        <a:pt x="464235" y="351690"/>
                        <a:pt x="455194" y="351690"/>
                        <a:pt x="447283" y="351690"/>
                      </a:cubicBezTo>
                      <a:close/>
                      <a:moveTo>
                        <a:pt x="1168299" y="361824"/>
                      </a:moveTo>
                      <a:cubicBezTo>
                        <a:pt x="1168299" y="361824"/>
                        <a:pt x="1166039" y="365877"/>
                        <a:pt x="1166039" y="366890"/>
                      </a:cubicBezTo>
                      <a:cubicBezTo>
                        <a:pt x="1163778" y="366890"/>
                        <a:pt x="1160388" y="365877"/>
                        <a:pt x="1158128" y="366890"/>
                      </a:cubicBezTo>
                      <a:lnTo>
                        <a:pt x="1155868" y="373984"/>
                      </a:lnTo>
                      <a:cubicBezTo>
                        <a:pt x="1159258" y="374997"/>
                        <a:pt x="1163778" y="372971"/>
                        <a:pt x="1167169" y="373984"/>
                      </a:cubicBezTo>
                      <a:cubicBezTo>
                        <a:pt x="1168299" y="373984"/>
                        <a:pt x="1171689" y="381077"/>
                        <a:pt x="1172820" y="381077"/>
                      </a:cubicBezTo>
                      <a:cubicBezTo>
                        <a:pt x="1184121" y="382091"/>
                        <a:pt x="1178470" y="374997"/>
                        <a:pt x="1184121" y="373984"/>
                      </a:cubicBezTo>
                      <a:cubicBezTo>
                        <a:pt x="1194292" y="371957"/>
                        <a:pt x="1198812" y="380064"/>
                        <a:pt x="1205593" y="381077"/>
                      </a:cubicBezTo>
                      <a:cubicBezTo>
                        <a:pt x="1208983" y="381077"/>
                        <a:pt x="1212374" y="376011"/>
                        <a:pt x="1216894" y="376011"/>
                      </a:cubicBezTo>
                      <a:cubicBezTo>
                        <a:pt x="1224805" y="376011"/>
                        <a:pt x="1239496" y="383104"/>
                        <a:pt x="1249668" y="386144"/>
                      </a:cubicBezTo>
                      <a:cubicBezTo>
                        <a:pt x="1248537" y="383104"/>
                        <a:pt x="1254188" y="382091"/>
                        <a:pt x="1251928" y="376011"/>
                      </a:cubicBezTo>
                      <a:cubicBezTo>
                        <a:pt x="1251928" y="374997"/>
                        <a:pt x="1247407" y="372971"/>
                        <a:pt x="1246278" y="368917"/>
                      </a:cubicBezTo>
                      <a:cubicBezTo>
                        <a:pt x="1229326" y="365877"/>
                        <a:pt x="1218025" y="366890"/>
                        <a:pt x="1203333" y="366890"/>
                      </a:cubicBezTo>
                      <a:lnTo>
                        <a:pt x="1197682" y="361824"/>
                      </a:lnTo>
                      <a:cubicBezTo>
                        <a:pt x="1195422" y="361824"/>
                        <a:pt x="1170559" y="360810"/>
                        <a:pt x="1168299" y="361824"/>
                      </a:cubicBezTo>
                      <a:close/>
                      <a:moveTo>
                        <a:pt x="1119704" y="363850"/>
                      </a:moveTo>
                      <a:cubicBezTo>
                        <a:pt x="1112923" y="362837"/>
                        <a:pt x="1090321" y="367904"/>
                        <a:pt x="1081280" y="368917"/>
                      </a:cubicBezTo>
                      <a:cubicBezTo>
                        <a:pt x="1081280" y="368917"/>
                        <a:pt x="1081280" y="376011"/>
                        <a:pt x="1081280" y="376011"/>
                      </a:cubicBezTo>
                      <a:cubicBezTo>
                        <a:pt x="1086930" y="378037"/>
                        <a:pt x="1094841" y="378037"/>
                        <a:pt x="1100492" y="381077"/>
                      </a:cubicBezTo>
                      <a:cubicBezTo>
                        <a:pt x="1101622" y="382091"/>
                        <a:pt x="1100492" y="388171"/>
                        <a:pt x="1102752" y="388171"/>
                      </a:cubicBezTo>
                      <a:cubicBezTo>
                        <a:pt x="1110663" y="389184"/>
                        <a:pt x="1125355" y="384118"/>
                        <a:pt x="1132135" y="383104"/>
                      </a:cubicBezTo>
                      <a:cubicBezTo>
                        <a:pt x="1133266" y="380064"/>
                        <a:pt x="1133266" y="374997"/>
                        <a:pt x="1134396" y="372971"/>
                      </a:cubicBezTo>
                      <a:cubicBezTo>
                        <a:pt x="1133266" y="372971"/>
                        <a:pt x="1126485" y="372971"/>
                        <a:pt x="1126485" y="372971"/>
                      </a:cubicBezTo>
                      <a:cubicBezTo>
                        <a:pt x="1121964" y="365877"/>
                        <a:pt x="1133266" y="365877"/>
                        <a:pt x="1119704" y="363850"/>
                      </a:cubicBezTo>
                      <a:close/>
                      <a:moveTo>
                        <a:pt x="992001" y="422625"/>
                      </a:moveTo>
                      <a:cubicBezTo>
                        <a:pt x="990870" y="426678"/>
                        <a:pt x="990870" y="423638"/>
                        <a:pt x="986350" y="424652"/>
                      </a:cubicBezTo>
                      <a:cubicBezTo>
                        <a:pt x="985220" y="429719"/>
                        <a:pt x="986350" y="433772"/>
                        <a:pt x="986350" y="438839"/>
                      </a:cubicBezTo>
                      <a:cubicBezTo>
                        <a:pt x="985220" y="438839"/>
                        <a:pt x="977309" y="448972"/>
                        <a:pt x="980699" y="438839"/>
                      </a:cubicBezTo>
                      <a:cubicBezTo>
                        <a:pt x="976179" y="439852"/>
                        <a:pt x="978439" y="435799"/>
                        <a:pt x="978439" y="433772"/>
                      </a:cubicBezTo>
                      <a:cubicBezTo>
                        <a:pt x="977309" y="434785"/>
                        <a:pt x="971658" y="434785"/>
                        <a:pt x="970528" y="435799"/>
                      </a:cubicBezTo>
                      <a:cubicBezTo>
                        <a:pt x="967138" y="440866"/>
                        <a:pt x="970528" y="444919"/>
                        <a:pt x="968268" y="449986"/>
                      </a:cubicBezTo>
                      <a:cubicBezTo>
                        <a:pt x="982959" y="456066"/>
                        <a:pt x="975049" y="445932"/>
                        <a:pt x="981829" y="464173"/>
                      </a:cubicBezTo>
                      <a:cubicBezTo>
                        <a:pt x="984090" y="463159"/>
                        <a:pt x="989740" y="465186"/>
                        <a:pt x="993131" y="464173"/>
                      </a:cubicBezTo>
                      <a:cubicBezTo>
                        <a:pt x="993131" y="464173"/>
                        <a:pt x="1003302" y="453026"/>
                        <a:pt x="1004432" y="452012"/>
                      </a:cubicBezTo>
                      <a:cubicBezTo>
                        <a:pt x="1003302" y="448972"/>
                        <a:pt x="996521" y="444919"/>
                        <a:pt x="996521" y="441879"/>
                      </a:cubicBezTo>
                      <a:cubicBezTo>
                        <a:pt x="992001" y="430732"/>
                        <a:pt x="1008952" y="429719"/>
                        <a:pt x="992001" y="422625"/>
                      </a:cubicBezTo>
                      <a:close/>
                      <a:moveTo>
                        <a:pt x="423550" y="459106"/>
                      </a:moveTo>
                      <a:lnTo>
                        <a:pt x="421290" y="464173"/>
                      </a:lnTo>
                      <a:cubicBezTo>
                        <a:pt x="404338" y="462146"/>
                        <a:pt x="397557" y="463159"/>
                        <a:pt x="380606" y="462146"/>
                      </a:cubicBezTo>
                      <a:cubicBezTo>
                        <a:pt x="376085" y="483426"/>
                        <a:pt x="373825" y="485453"/>
                        <a:pt x="361393" y="498627"/>
                      </a:cubicBezTo>
                      <a:cubicBezTo>
                        <a:pt x="362524" y="499640"/>
                        <a:pt x="364784" y="501667"/>
                        <a:pt x="363654" y="503694"/>
                      </a:cubicBezTo>
                      <a:cubicBezTo>
                        <a:pt x="378345" y="502680"/>
                        <a:pt x="381736" y="501667"/>
                        <a:pt x="398688" y="503694"/>
                      </a:cubicBezTo>
                      <a:cubicBezTo>
                        <a:pt x="395297" y="508760"/>
                        <a:pt x="403208" y="505720"/>
                        <a:pt x="393037" y="510787"/>
                      </a:cubicBezTo>
                      <a:cubicBezTo>
                        <a:pt x="394167" y="513827"/>
                        <a:pt x="395297" y="519907"/>
                        <a:pt x="395297" y="520921"/>
                      </a:cubicBezTo>
                      <a:cubicBezTo>
                        <a:pt x="411119" y="519907"/>
                        <a:pt x="426941" y="518894"/>
                        <a:pt x="441632" y="525988"/>
                      </a:cubicBezTo>
                      <a:cubicBezTo>
                        <a:pt x="445023" y="527001"/>
                        <a:pt x="447283" y="537135"/>
                        <a:pt x="449543" y="538148"/>
                      </a:cubicBezTo>
                      <a:lnTo>
                        <a:pt x="501528" y="538148"/>
                      </a:lnTo>
                      <a:cubicBezTo>
                        <a:pt x="502658" y="538148"/>
                        <a:pt x="507179" y="533081"/>
                        <a:pt x="509439" y="533081"/>
                      </a:cubicBezTo>
                      <a:lnTo>
                        <a:pt x="517350" y="538148"/>
                      </a:lnTo>
                      <a:cubicBezTo>
                        <a:pt x="533172" y="543214"/>
                        <a:pt x="542213" y="543214"/>
                        <a:pt x="558034" y="548281"/>
                      </a:cubicBezTo>
                      <a:cubicBezTo>
                        <a:pt x="560295" y="549295"/>
                        <a:pt x="570466" y="555375"/>
                        <a:pt x="573856" y="555375"/>
                      </a:cubicBezTo>
                      <a:cubicBezTo>
                        <a:pt x="584027" y="556388"/>
                        <a:pt x="585158" y="551322"/>
                        <a:pt x="595328" y="553348"/>
                      </a:cubicBezTo>
                      <a:cubicBezTo>
                        <a:pt x="603239" y="554361"/>
                        <a:pt x="616801" y="564495"/>
                        <a:pt x="630362" y="563482"/>
                      </a:cubicBezTo>
                      <a:cubicBezTo>
                        <a:pt x="632622" y="563482"/>
                        <a:pt x="637143" y="556388"/>
                        <a:pt x="646184" y="558415"/>
                      </a:cubicBezTo>
                      <a:cubicBezTo>
                        <a:pt x="652965" y="559428"/>
                        <a:pt x="654095" y="568548"/>
                        <a:pt x="657485" y="570575"/>
                      </a:cubicBezTo>
                      <a:cubicBezTo>
                        <a:pt x="665396" y="575642"/>
                        <a:pt x="674437" y="571589"/>
                        <a:pt x="684608" y="575642"/>
                      </a:cubicBezTo>
                      <a:cubicBezTo>
                        <a:pt x="686868" y="576655"/>
                        <a:pt x="692519" y="581722"/>
                        <a:pt x="695909" y="582736"/>
                      </a:cubicBezTo>
                      <a:cubicBezTo>
                        <a:pt x="693649" y="575642"/>
                        <a:pt x="694779" y="569562"/>
                        <a:pt x="690259" y="563482"/>
                      </a:cubicBezTo>
                      <a:cubicBezTo>
                        <a:pt x="689128" y="562468"/>
                        <a:pt x="682348" y="559428"/>
                        <a:pt x="682348" y="558415"/>
                      </a:cubicBezTo>
                      <a:cubicBezTo>
                        <a:pt x="681218" y="554361"/>
                        <a:pt x="685738" y="542201"/>
                        <a:pt x="687998" y="536121"/>
                      </a:cubicBezTo>
                      <a:cubicBezTo>
                        <a:pt x="668786" y="528014"/>
                        <a:pt x="654095" y="529028"/>
                        <a:pt x="631492" y="529028"/>
                      </a:cubicBezTo>
                      <a:cubicBezTo>
                        <a:pt x="631492" y="529028"/>
                        <a:pt x="631492" y="508760"/>
                        <a:pt x="631492" y="506734"/>
                      </a:cubicBezTo>
                      <a:cubicBezTo>
                        <a:pt x="630362" y="506734"/>
                        <a:pt x="625842" y="504707"/>
                        <a:pt x="625842" y="504707"/>
                      </a:cubicBezTo>
                      <a:cubicBezTo>
                        <a:pt x="624712" y="500654"/>
                        <a:pt x="625842" y="494573"/>
                        <a:pt x="625842" y="490520"/>
                      </a:cubicBezTo>
                      <a:cubicBezTo>
                        <a:pt x="620191" y="491534"/>
                        <a:pt x="606629" y="495587"/>
                        <a:pt x="604369" y="495587"/>
                      </a:cubicBezTo>
                      <a:cubicBezTo>
                        <a:pt x="602109" y="495587"/>
                        <a:pt x="603239" y="488493"/>
                        <a:pt x="602109" y="488493"/>
                      </a:cubicBezTo>
                      <a:cubicBezTo>
                        <a:pt x="599849" y="487480"/>
                        <a:pt x="594198" y="489507"/>
                        <a:pt x="590808" y="488493"/>
                      </a:cubicBezTo>
                      <a:lnTo>
                        <a:pt x="585158" y="483426"/>
                      </a:lnTo>
                      <a:cubicBezTo>
                        <a:pt x="572726" y="480387"/>
                        <a:pt x="570466" y="486467"/>
                        <a:pt x="555774" y="478360"/>
                      </a:cubicBezTo>
                      <a:cubicBezTo>
                        <a:pt x="552384" y="482413"/>
                        <a:pt x="552384" y="485453"/>
                        <a:pt x="550124" y="490520"/>
                      </a:cubicBezTo>
                      <a:cubicBezTo>
                        <a:pt x="537692" y="490520"/>
                        <a:pt x="524131" y="491534"/>
                        <a:pt x="511700" y="490520"/>
                      </a:cubicBezTo>
                      <a:lnTo>
                        <a:pt x="503789" y="485453"/>
                      </a:lnTo>
                      <a:cubicBezTo>
                        <a:pt x="481186" y="481400"/>
                        <a:pt x="481186" y="482413"/>
                        <a:pt x="474405" y="466200"/>
                      </a:cubicBezTo>
                      <a:cubicBezTo>
                        <a:pt x="471015" y="466200"/>
                        <a:pt x="454063" y="469240"/>
                        <a:pt x="447283" y="468226"/>
                      </a:cubicBezTo>
                      <a:lnTo>
                        <a:pt x="445023" y="463159"/>
                      </a:lnTo>
                      <a:cubicBezTo>
                        <a:pt x="438242" y="459106"/>
                        <a:pt x="430331" y="458093"/>
                        <a:pt x="423550" y="459106"/>
                      </a:cubicBezTo>
                      <a:close/>
                      <a:moveTo>
                        <a:pt x="943405" y="461133"/>
                      </a:moveTo>
                      <a:lnTo>
                        <a:pt x="945665" y="466200"/>
                      </a:lnTo>
                      <a:cubicBezTo>
                        <a:pt x="945665" y="463159"/>
                        <a:pt x="949056" y="461133"/>
                        <a:pt x="943405" y="461133"/>
                      </a:cubicBezTo>
                      <a:close/>
                      <a:moveTo>
                        <a:pt x="1375111" y="473293"/>
                      </a:moveTo>
                      <a:cubicBezTo>
                        <a:pt x="1376241" y="476333"/>
                        <a:pt x="1369460" y="476333"/>
                        <a:pt x="1372850" y="478360"/>
                      </a:cubicBezTo>
                      <a:cubicBezTo>
                        <a:pt x="1384152" y="484440"/>
                        <a:pt x="1379632" y="492547"/>
                        <a:pt x="1378501" y="507747"/>
                      </a:cubicBezTo>
                      <a:cubicBezTo>
                        <a:pt x="1375111" y="508760"/>
                        <a:pt x="1369460" y="510787"/>
                        <a:pt x="1367200" y="512814"/>
                      </a:cubicBezTo>
                      <a:cubicBezTo>
                        <a:pt x="1368330" y="514841"/>
                        <a:pt x="1375111" y="521934"/>
                        <a:pt x="1375111" y="522947"/>
                      </a:cubicBezTo>
                      <a:cubicBezTo>
                        <a:pt x="1368330" y="525988"/>
                        <a:pt x="1380761" y="530041"/>
                        <a:pt x="1380761" y="530041"/>
                      </a:cubicBezTo>
                      <a:cubicBezTo>
                        <a:pt x="1386412" y="507747"/>
                        <a:pt x="1378501" y="515854"/>
                        <a:pt x="1396583" y="505720"/>
                      </a:cubicBezTo>
                      <a:cubicBezTo>
                        <a:pt x="1395453" y="504707"/>
                        <a:pt x="1396583" y="499640"/>
                        <a:pt x="1396583" y="498627"/>
                      </a:cubicBezTo>
                      <a:cubicBezTo>
                        <a:pt x="1381892" y="503694"/>
                        <a:pt x="1401103" y="485453"/>
                        <a:pt x="1390933" y="479373"/>
                      </a:cubicBezTo>
                      <a:cubicBezTo>
                        <a:pt x="1385282" y="474306"/>
                        <a:pt x="1383022" y="476333"/>
                        <a:pt x="1375111" y="473293"/>
                      </a:cubicBezTo>
                      <a:close/>
                      <a:moveTo>
                        <a:pt x="640533" y="492547"/>
                      </a:moveTo>
                      <a:cubicBezTo>
                        <a:pt x="641664" y="493560"/>
                        <a:pt x="634882" y="501667"/>
                        <a:pt x="642793" y="504707"/>
                      </a:cubicBezTo>
                      <a:cubicBezTo>
                        <a:pt x="649574" y="506734"/>
                        <a:pt x="664266" y="502680"/>
                        <a:pt x="664266" y="502680"/>
                      </a:cubicBezTo>
                      <a:cubicBezTo>
                        <a:pt x="674437" y="504707"/>
                        <a:pt x="669917" y="495587"/>
                        <a:pt x="669917" y="495587"/>
                      </a:cubicBezTo>
                      <a:cubicBezTo>
                        <a:pt x="657485" y="494573"/>
                        <a:pt x="650704" y="494573"/>
                        <a:pt x="640533" y="492547"/>
                      </a:cubicBezTo>
                      <a:close/>
                      <a:moveTo>
                        <a:pt x="1518636" y="529028"/>
                      </a:moveTo>
                      <a:lnTo>
                        <a:pt x="1516376" y="539161"/>
                      </a:lnTo>
                      <a:cubicBezTo>
                        <a:pt x="1518636" y="538148"/>
                        <a:pt x="1522026" y="539161"/>
                        <a:pt x="1524287" y="539161"/>
                      </a:cubicBezTo>
                      <a:cubicBezTo>
                        <a:pt x="1523157" y="535108"/>
                        <a:pt x="1526547" y="525988"/>
                        <a:pt x="1518636" y="529028"/>
                      </a:cubicBezTo>
                      <a:close/>
                      <a:moveTo>
                        <a:pt x="1268880" y="544228"/>
                      </a:moveTo>
                      <a:cubicBezTo>
                        <a:pt x="1263229" y="546255"/>
                        <a:pt x="1266620" y="552335"/>
                        <a:pt x="1263229" y="556388"/>
                      </a:cubicBezTo>
                      <a:cubicBezTo>
                        <a:pt x="1260969" y="558415"/>
                        <a:pt x="1242887" y="567535"/>
                        <a:pt x="1260969" y="573615"/>
                      </a:cubicBezTo>
                      <a:cubicBezTo>
                        <a:pt x="1262099" y="570575"/>
                        <a:pt x="1286962" y="538148"/>
                        <a:pt x="1268880" y="544228"/>
                      </a:cubicBezTo>
                      <a:close/>
                      <a:moveTo>
                        <a:pt x="697039" y="553348"/>
                      </a:moveTo>
                      <a:cubicBezTo>
                        <a:pt x="698170" y="556388"/>
                        <a:pt x="695909" y="562468"/>
                        <a:pt x="697039" y="565508"/>
                      </a:cubicBezTo>
                      <a:cubicBezTo>
                        <a:pt x="698170" y="568548"/>
                        <a:pt x="702690" y="566522"/>
                        <a:pt x="704950" y="567535"/>
                      </a:cubicBezTo>
                      <a:cubicBezTo>
                        <a:pt x="710601" y="571589"/>
                        <a:pt x="709471" y="579695"/>
                        <a:pt x="710601" y="584762"/>
                      </a:cubicBezTo>
                      <a:cubicBezTo>
                        <a:pt x="710601" y="584762"/>
                        <a:pt x="718512" y="580709"/>
                        <a:pt x="716251" y="579695"/>
                      </a:cubicBezTo>
                      <a:cubicBezTo>
                        <a:pt x="718512" y="576655"/>
                        <a:pt x="726423" y="570575"/>
                        <a:pt x="727552" y="567535"/>
                      </a:cubicBezTo>
                      <a:cubicBezTo>
                        <a:pt x="728682" y="562468"/>
                        <a:pt x="724162" y="560442"/>
                        <a:pt x="725292" y="557402"/>
                      </a:cubicBezTo>
                      <a:cubicBezTo>
                        <a:pt x="708340" y="558415"/>
                        <a:pt x="709471" y="559428"/>
                        <a:pt x="697039" y="553348"/>
                      </a:cubicBezTo>
                      <a:close/>
                      <a:moveTo>
                        <a:pt x="1082410" y="563482"/>
                      </a:moveTo>
                      <a:cubicBezTo>
                        <a:pt x="1082410" y="563482"/>
                        <a:pt x="1080150" y="570575"/>
                        <a:pt x="1080150" y="573615"/>
                      </a:cubicBezTo>
                      <a:lnTo>
                        <a:pt x="1115183" y="573615"/>
                      </a:lnTo>
                      <a:cubicBezTo>
                        <a:pt x="1114053" y="572602"/>
                        <a:pt x="1112923" y="565508"/>
                        <a:pt x="1112923" y="563482"/>
                      </a:cubicBezTo>
                      <a:cubicBezTo>
                        <a:pt x="1095971" y="564495"/>
                        <a:pt x="1095971" y="563482"/>
                        <a:pt x="1082410" y="563482"/>
                      </a:cubicBezTo>
                      <a:close/>
                      <a:moveTo>
                        <a:pt x="751285" y="570575"/>
                      </a:moveTo>
                      <a:cubicBezTo>
                        <a:pt x="749025" y="577669"/>
                        <a:pt x="745634" y="584762"/>
                        <a:pt x="743374" y="592869"/>
                      </a:cubicBezTo>
                      <a:cubicBezTo>
                        <a:pt x="765977" y="592869"/>
                        <a:pt x="760326" y="595909"/>
                        <a:pt x="764846" y="573615"/>
                      </a:cubicBezTo>
                      <a:cubicBezTo>
                        <a:pt x="763716" y="572602"/>
                        <a:pt x="753545" y="571589"/>
                        <a:pt x="751285" y="570575"/>
                      </a:cubicBezTo>
                      <a:close/>
                      <a:moveTo>
                        <a:pt x="799880" y="573615"/>
                      </a:moveTo>
                      <a:cubicBezTo>
                        <a:pt x="799880" y="573615"/>
                        <a:pt x="797620" y="583749"/>
                        <a:pt x="797620" y="585776"/>
                      </a:cubicBezTo>
                      <a:cubicBezTo>
                        <a:pt x="799880" y="586789"/>
                        <a:pt x="805531" y="585776"/>
                        <a:pt x="808921" y="585776"/>
                      </a:cubicBezTo>
                      <a:cubicBezTo>
                        <a:pt x="804400" y="587802"/>
                        <a:pt x="815702" y="596923"/>
                        <a:pt x="795360" y="595909"/>
                      </a:cubicBezTo>
                      <a:cubicBezTo>
                        <a:pt x="788579" y="595909"/>
                        <a:pt x="781798" y="586789"/>
                        <a:pt x="779538" y="585776"/>
                      </a:cubicBezTo>
                      <a:cubicBezTo>
                        <a:pt x="775018" y="584762"/>
                        <a:pt x="778408" y="590842"/>
                        <a:pt x="771627" y="587802"/>
                      </a:cubicBezTo>
                      <a:cubicBezTo>
                        <a:pt x="769367" y="593882"/>
                        <a:pt x="768236" y="600976"/>
                        <a:pt x="765977" y="610096"/>
                      </a:cubicBezTo>
                      <a:cubicBezTo>
                        <a:pt x="772757" y="610096"/>
                        <a:pt x="777278" y="607056"/>
                        <a:pt x="781798" y="608070"/>
                      </a:cubicBezTo>
                      <a:cubicBezTo>
                        <a:pt x="784058" y="608070"/>
                        <a:pt x="787449" y="613136"/>
                        <a:pt x="793099" y="613136"/>
                      </a:cubicBezTo>
                      <a:lnTo>
                        <a:pt x="798750" y="608070"/>
                      </a:lnTo>
                      <a:cubicBezTo>
                        <a:pt x="812311" y="605029"/>
                        <a:pt x="840564" y="603003"/>
                        <a:pt x="847345" y="603003"/>
                      </a:cubicBezTo>
                      <a:cubicBezTo>
                        <a:pt x="843955" y="596923"/>
                        <a:pt x="842825" y="593882"/>
                        <a:pt x="841694" y="588816"/>
                      </a:cubicBezTo>
                      <a:cubicBezTo>
                        <a:pt x="819092" y="584762"/>
                        <a:pt x="813441" y="580709"/>
                        <a:pt x="799880" y="573615"/>
                      </a:cubicBezTo>
                      <a:close/>
                      <a:moveTo>
                        <a:pt x="1158128" y="577669"/>
                      </a:moveTo>
                      <a:lnTo>
                        <a:pt x="1158128" y="582736"/>
                      </a:lnTo>
                      <a:lnTo>
                        <a:pt x="1163778" y="582736"/>
                      </a:lnTo>
                      <a:cubicBezTo>
                        <a:pt x="1159258" y="580709"/>
                        <a:pt x="1166039" y="577669"/>
                        <a:pt x="1158128" y="577669"/>
                      </a:cubicBezTo>
                      <a:close/>
                      <a:moveTo>
                        <a:pt x="883509" y="580709"/>
                      </a:moveTo>
                      <a:cubicBezTo>
                        <a:pt x="880119" y="580709"/>
                        <a:pt x="873338" y="583749"/>
                        <a:pt x="867688" y="585776"/>
                      </a:cubicBezTo>
                      <a:cubicBezTo>
                        <a:pt x="867688" y="586789"/>
                        <a:pt x="873338" y="596923"/>
                        <a:pt x="869947" y="597936"/>
                      </a:cubicBezTo>
                      <a:cubicBezTo>
                        <a:pt x="891420" y="600976"/>
                        <a:pt x="903851" y="605029"/>
                        <a:pt x="924194" y="603003"/>
                      </a:cubicBezTo>
                      <a:lnTo>
                        <a:pt x="926453" y="608070"/>
                      </a:lnTo>
                      <a:cubicBezTo>
                        <a:pt x="940015" y="608070"/>
                        <a:pt x="958097" y="593882"/>
                        <a:pt x="969398" y="595909"/>
                      </a:cubicBezTo>
                      <a:cubicBezTo>
                        <a:pt x="970528" y="595909"/>
                        <a:pt x="975049" y="601989"/>
                        <a:pt x="977309" y="603003"/>
                      </a:cubicBezTo>
                      <a:cubicBezTo>
                        <a:pt x="979569" y="597936"/>
                        <a:pt x="980699" y="589829"/>
                        <a:pt x="979569" y="590842"/>
                      </a:cubicBezTo>
                      <a:cubicBezTo>
                        <a:pt x="979569" y="590842"/>
                        <a:pt x="971658" y="584762"/>
                        <a:pt x="963748" y="585776"/>
                      </a:cubicBezTo>
                      <a:cubicBezTo>
                        <a:pt x="959227" y="585776"/>
                        <a:pt x="955837" y="591856"/>
                        <a:pt x="947926" y="590842"/>
                      </a:cubicBezTo>
                      <a:cubicBezTo>
                        <a:pt x="947926" y="590842"/>
                        <a:pt x="936625" y="583749"/>
                        <a:pt x="934364" y="583749"/>
                      </a:cubicBezTo>
                      <a:cubicBezTo>
                        <a:pt x="924194" y="582736"/>
                        <a:pt x="923063" y="586789"/>
                        <a:pt x="912892" y="585776"/>
                      </a:cubicBezTo>
                      <a:cubicBezTo>
                        <a:pt x="907242" y="584762"/>
                        <a:pt x="891420" y="579695"/>
                        <a:pt x="883509" y="580709"/>
                      </a:cubicBezTo>
                      <a:close/>
                      <a:moveTo>
                        <a:pt x="1032685" y="585776"/>
                      </a:moveTo>
                      <a:lnTo>
                        <a:pt x="1032685" y="590842"/>
                      </a:lnTo>
                      <a:cubicBezTo>
                        <a:pt x="1038335" y="590842"/>
                        <a:pt x="1043986" y="589829"/>
                        <a:pt x="1048507" y="590842"/>
                      </a:cubicBezTo>
                      <a:cubicBezTo>
                        <a:pt x="1046246" y="589829"/>
                        <a:pt x="1048507" y="584762"/>
                        <a:pt x="1040596" y="585776"/>
                      </a:cubicBezTo>
                      <a:cubicBezTo>
                        <a:pt x="1042856" y="585776"/>
                        <a:pt x="1034945" y="585776"/>
                        <a:pt x="1032685" y="585776"/>
                      </a:cubicBezTo>
                      <a:close/>
                      <a:moveTo>
                        <a:pt x="1001042" y="587802"/>
                      </a:moveTo>
                      <a:cubicBezTo>
                        <a:pt x="997651" y="588816"/>
                        <a:pt x="1003302" y="592869"/>
                        <a:pt x="1003302" y="592869"/>
                      </a:cubicBezTo>
                      <a:cubicBezTo>
                        <a:pt x="1003302" y="592869"/>
                        <a:pt x="1010082" y="585776"/>
                        <a:pt x="1001042" y="587802"/>
                      </a:cubicBezTo>
                      <a:close/>
                      <a:moveTo>
                        <a:pt x="1019123" y="587802"/>
                      </a:moveTo>
                      <a:cubicBezTo>
                        <a:pt x="1014603" y="588816"/>
                        <a:pt x="1015733" y="593882"/>
                        <a:pt x="1021384" y="594896"/>
                      </a:cubicBezTo>
                      <a:cubicBezTo>
                        <a:pt x="1022513" y="594896"/>
                        <a:pt x="1027034" y="585776"/>
                        <a:pt x="1019123" y="587802"/>
                      </a:cubicBezTo>
                      <a:close/>
                      <a:moveTo>
                        <a:pt x="1114053" y="587802"/>
                      </a:moveTo>
                      <a:lnTo>
                        <a:pt x="1106143" y="592869"/>
                      </a:lnTo>
                      <a:cubicBezTo>
                        <a:pt x="1100492" y="593882"/>
                        <a:pt x="1092581" y="590842"/>
                        <a:pt x="1086930" y="592869"/>
                      </a:cubicBezTo>
                      <a:cubicBezTo>
                        <a:pt x="1084670" y="593882"/>
                        <a:pt x="1083540" y="599963"/>
                        <a:pt x="1081280" y="599963"/>
                      </a:cubicBezTo>
                      <a:cubicBezTo>
                        <a:pt x="1072239" y="601989"/>
                        <a:pt x="1056417" y="595909"/>
                        <a:pt x="1046246" y="601989"/>
                      </a:cubicBezTo>
                      <a:cubicBezTo>
                        <a:pt x="1041726" y="605029"/>
                        <a:pt x="1046246" y="610096"/>
                        <a:pt x="1043986" y="614149"/>
                      </a:cubicBezTo>
                      <a:cubicBezTo>
                        <a:pt x="1040596" y="618203"/>
                        <a:pt x="1032685" y="616176"/>
                        <a:pt x="1028164" y="619216"/>
                      </a:cubicBezTo>
                      <a:cubicBezTo>
                        <a:pt x="1025904" y="621243"/>
                        <a:pt x="1027034" y="626310"/>
                        <a:pt x="1025904" y="629350"/>
                      </a:cubicBezTo>
                      <a:cubicBezTo>
                        <a:pt x="1022513" y="632390"/>
                        <a:pt x="1002171" y="641510"/>
                        <a:pt x="996521" y="643537"/>
                      </a:cubicBezTo>
                      <a:cubicBezTo>
                        <a:pt x="996521" y="646577"/>
                        <a:pt x="1001042" y="652657"/>
                        <a:pt x="1002171" y="655697"/>
                      </a:cubicBezTo>
                      <a:cubicBezTo>
                        <a:pt x="989740" y="663804"/>
                        <a:pt x="984090" y="667858"/>
                        <a:pt x="967138" y="667858"/>
                      </a:cubicBezTo>
                      <a:cubicBezTo>
                        <a:pt x="968268" y="673938"/>
                        <a:pt x="964878" y="673938"/>
                        <a:pt x="964878" y="677991"/>
                      </a:cubicBezTo>
                      <a:cubicBezTo>
                        <a:pt x="967138" y="677991"/>
                        <a:pt x="969398" y="682044"/>
                        <a:pt x="970528" y="683058"/>
                      </a:cubicBezTo>
                      <a:cubicBezTo>
                        <a:pt x="978439" y="685084"/>
                        <a:pt x="990870" y="681031"/>
                        <a:pt x="995391" y="677991"/>
                      </a:cubicBezTo>
                      <a:cubicBezTo>
                        <a:pt x="996521" y="676978"/>
                        <a:pt x="994260" y="671911"/>
                        <a:pt x="995391" y="670897"/>
                      </a:cubicBezTo>
                      <a:cubicBezTo>
                        <a:pt x="995391" y="669884"/>
                        <a:pt x="1011212" y="658737"/>
                        <a:pt x="1011212" y="658737"/>
                      </a:cubicBezTo>
                      <a:cubicBezTo>
                        <a:pt x="1022513" y="653671"/>
                        <a:pt x="1031555" y="658737"/>
                        <a:pt x="1043986" y="653671"/>
                      </a:cubicBezTo>
                      <a:cubicBezTo>
                        <a:pt x="1053027" y="649617"/>
                        <a:pt x="1054157" y="639483"/>
                        <a:pt x="1059808" y="634417"/>
                      </a:cubicBezTo>
                      <a:cubicBezTo>
                        <a:pt x="1060938" y="633403"/>
                        <a:pt x="1065458" y="635430"/>
                        <a:pt x="1067718" y="634417"/>
                      </a:cubicBezTo>
                      <a:cubicBezTo>
                        <a:pt x="1069979" y="633403"/>
                        <a:pt x="1068849" y="628337"/>
                        <a:pt x="1069979" y="627323"/>
                      </a:cubicBezTo>
                      <a:cubicBezTo>
                        <a:pt x="1074499" y="624283"/>
                        <a:pt x="1081280" y="625296"/>
                        <a:pt x="1085801" y="622256"/>
                      </a:cubicBezTo>
                      <a:cubicBezTo>
                        <a:pt x="1088061" y="620230"/>
                        <a:pt x="1089191" y="614149"/>
                        <a:pt x="1091451" y="612123"/>
                      </a:cubicBezTo>
                      <a:cubicBezTo>
                        <a:pt x="1097102" y="608070"/>
                        <a:pt x="1102752" y="610096"/>
                        <a:pt x="1110663" y="607056"/>
                      </a:cubicBezTo>
                      <a:cubicBezTo>
                        <a:pt x="1111793" y="606043"/>
                        <a:pt x="1114053" y="600976"/>
                        <a:pt x="1116314" y="599963"/>
                      </a:cubicBezTo>
                      <a:cubicBezTo>
                        <a:pt x="1119704" y="595909"/>
                        <a:pt x="1135525" y="586789"/>
                        <a:pt x="1114053" y="587802"/>
                      </a:cubicBezTo>
                      <a:close/>
                      <a:moveTo>
                        <a:pt x="854126" y="631377"/>
                      </a:moveTo>
                      <a:lnTo>
                        <a:pt x="846215" y="643537"/>
                      </a:lnTo>
                      <a:cubicBezTo>
                        <a:pt x="867688" y="652657"/>
                        <a:pt x="874468" y="660764"/>
                        <a:pt x="906111" y="660764"/>
                      </a:cubicBezTo>
                      <a:cubicBezTo>
                        <a:pt x="906111" y="660764"/>
                        <a:pt x="909501" y="643537"/>
                        <a:pt x="903851" y="648604"/>
                      </a:cubicBezTo>
                      <a:lnTo>
                        <a:pt x="901591" y="643537"/>
                      </a:lnTo>
                      <a:cubicBezTo>
                        <a:pt x="882379" y="637457"/>
                        <a:pt x="873338" y="635430"/>
                        <a:pt x="854126" y="631377"/>
                      </a:cubicBezTo>
                      <a:close/>
                      <a:moveTo>
                        <a:pt x="265333" y="188540"/>
                      </a:moveTo>
                      <a:cubicBezTo>
                        <a:pt x="266464" y="188540"/>
                        <a:pt x="265333" y="196647"/>
                        <a:pt x="265333" y="198673"/>
                      </a:cubicBezTo>
                      <a:cubicBezTo>
                        <a:pt x="265333" y="198673"/>
                        <a:pt x="273244" y="200700"/>
                        <a:pt x="276634" y="200700"/>
                      </a:cubicBezTo>
                      <a:cubicBezTo>
                        <a:pt x="275505" y="198673"/>
                        <a:pt x="276634" y="195633"/>
                        <a:pt x="276634" y="193606"/>
                      </a:cubicBezTo>
                      <a:lnTo>
                        <a:pt x="265333" y="188540"/>
                      </a:lnTo>
                      <a:close/>
                      <a:moveTo>
                        <a:pt x="315059" y="257448"/>
                      </a:moveTo>
                      <a:lnTo>
                        <a:pt x="315059" y="264541"/>
                      </a:lnTo>
                      <a:cubicBezTo>
                        <a:pt x="320709" y="264541"/>
                        <a:pt x="320709" y="257448"/>
                        <a:pt x="315059" y="257448"/>
                      </a:cubicBezTo>
                      <a:close/>
                      <a:moveTo>
                        <a:pt x="526391" y="161179"/>
                      </a:moveTo>
                      <a:cubicBezTo>
                        <a:pt x="525261" y="160166"/>
                        <a:pt x="525261" y="159152"/>
                        <a:pt x="524131" y="159152"/>
                      </a:cubicBezTo>
                      <a:cubicBezTo>
                        <a:pt x="520741" y="158139"/>
                        <a:pt x="518480" y="161179"/>
                        <a:pt x="516220" y="159152"/>
                      </a:cubicBezTo>
                      <a:cubicBezTo>
                        <a:pt x="515090" y="162193"/>
                        <a:pt x="516220" y="168272"/>
                        <a:pt x="513960" y="171313"/>
                      </a:cubicBezTo>
                      <a:cubicBezTo>
                        <a:pt x="512830" y="172326"/>
                        <a:pt x="507179" y="172326"/>
                        <a:pt x="506049" y="173339"/>
                      </a:cubicBezTo>
                      <a:cubicBezTo>
                        <a:pt x="500399" y="177393"/>
                        <a:pt x="501528" y="186513"/>
                        <a:pt x="498138" y="192593"/>
                      </a:cubicBezTo>
                      <a:lnTo>
                        <a:pt x="492488" y="197660"/>
                      </a:lnTo>
                      <a:cubicBezTo>
                        <a:pt x="492488" y="198673"/>
                        <a:pt x="491357" y="228061"/>
                        <a:pt x="492488" y="232114"/>
                      </a:cubicBezTo>
                      <a:cubicBezTo>
                        <a:pt x="493618" y="235154"/>
                        <a:pt x="502658" y="239207"/>
                        <a:pt x="503789" y="244274"/>
                      </a:cubicBezTo>
                      <a:cubicBezTo>
                        <a:pt x="504919" y="250354"/>
                        <a:pt x="500399" y="256435"/>
                        <a:pt x="501528" y="258461"/>
                      </a:cubicBezTo>
                      <a:cubicBezTo>
                        <a:pt x="501528" y="259475"/>
                        <a:pt x="509439" y="265555"/>
                        <a:pt x="509439" y="265555"/>
                      </a:cubicBezTo>
                      <a:cubicBezTo>
                        <a:pt x="510569" y="270622"/>
                        <a:pt x="506049" y="274675"/>
                        <a:pt x="507179" y="277715"/>
                      </a:cubicBezTo>
                      <a:cubicBezTo>
                        <a:pt x="508309" y="277715"/>
                        <a:pt x="513960" y="278729"/>
                        <a:pt x="515090" y="279742"/>
                      </a:cubicBezTo>
                      <a:cubicBezTo>
                        <a:pt x="511700" y="285822"/>
                        <a:pt x="510569" y="287849"/>
                        <a:pt x="509439" y="293929"/>
                      </a:cubicBezTo>
                      <a:cubicBezTo>
                        <a:pt x="512830" y="292916"/>
                        <a:pt x="513960" y="294942"/>
                        <a:pt x="517350" y="293929"/>
                      </a:cubicBezTo>
                      <a:cubicBezTo>
                        <a:pt x="518480" y="293929"/>
                        <a:pt x="524131" y="286835"/>
                        <a:pt x="525261" y="286835"/>
                      </a:cubicBezTo>
                      <a:cubicBezTo>
                        <a:pt x="530911" y="285822"/>
                        <a:pt x="529781" y="289875"/>
                        <a:pt x="533172" y="288862"/>
                      </a:cubicBezTo>
                      <a:cubicBezTo>
                        <a:pt x="537692" y="301022"/>
                        <a:pt x="536562" y="314196"/>
                        <a:pt x="541083" y="327370"/>
                      </a:cubicBezTo>
                      <a:cubicBezTo>
                        <a:pt x="542213" y="329396"/>
                        <a:pt x="547863" y="335476"/>
                        <a:pt x="548994" y="337503"/>
                      </a:cubicBezTo>
                      <a:cubicBezTo>
                        <a:pt x="552384" y="344597"/>
                        <a:pt x="550124" y="348650"/>
                        <a:pt x="551254" y="356757"/>
                      </a:cubicBezTo>
                      <a:cubicBezTo>
                        <a:pt x="558034" y="358784"/>
                        <a:pt x="571596" y="362837"/>
                        <a:pt x="578377" y="361824"/>
                      </a:cubicBezTo>
                      <a:cubicBezTo>
                        <a:pt x="582897" y="360810"/>
                        <a:pt x="581767" y="353717"/>
                        <a:pt x="591938" y="354730"/>
                      </a:cubicBezTo>
                      <a:lnTo>
                        <a:pt x="591938" y="356757"/>
                      </a:lnTo>
                      <a:cubicBezTo>
                        <a:pt x="596459" y="358784"/>
                        <a:pt x="597589" y="357770"/>
                        <a:pt x="605500" y="358784"/>
                      </a:cubicBezTo>
                      <a:cubicBezTo>
                        <a:pt x="605500" y="360810"/>
                        <a:pt x="604369" y="369931"/>
                        <a:pt x="605500" y="370944"/>
                      </a:cubicBezTo>
                      <a:cubicBezTo>
                        <a:pt x="610020" y="373984"/>
                        <a:pt x="611150" y="367904"/>
                        <a:pt x="613411" y="372971"/>
                      </a:cubicBezTo>
                      <a:cubicBezTo>
                        <a:pt x="626972" y="371957"/>
                        <a:pt x="628102" y="370944"/>
                        <a:pt x="642793" y="370944"/>
                      </a:cubicBezTo>
                      <a:lnTo>
                        <a:pt x="645054" y="363850"/>
                      </a:lnTo>
                      <a:cubicBezTo>
                        <a:pt x="648444" y="362837"/>
                        <a:pt x="650704" y="364864"/>
                        <a:pt x="652965" y="363850"/>
                      </a:cubicBezTo>
                      <a:cubicBezTo>
                        <a:pt x="659745" y="367904"/>
                        <a:pt x="665396" y="376011"/>
                        <a:pt x="674437" y="370944"/>
                      </a:cubicBezTo>
                      <a:cubicBezTo>
                        <a:pt x="676697" y="369931"/>
                        <a:pt x="675567" y="365877"/>
                        <a:pt x="680087" y="365877"/>
                      </a:cubicBezTo>
                      <a:lnTo>
                        <a:pt x="685738" y="370944"/>
                      </a:lnTo>
                      <a:cubicBezTo>
                        <a:pt x="701560" y="374997"/>
                        <a:pt x="692519" y="373984"/>
                        <a:pt x="701560" y="378037"/>
                      </a:cubicBezTo>
                      <a:lnTo>
                        <a:pt x="701560" y="383104"/>
                      </a:lnTo>
                      <a:cubicBezTo>
                        <a:pt x="704950" y="382091"/>
                        <a:pt x="706080" y="384118"/>
                        <a:pt x="709471" y="383104"/>
                      </a:cubicBezTo>
                      <a:cubicBezTo>
                        <a:pt x="710601" y="383104"/>
                        <a:pt x="716251" y="376011"/>
                        <a:pt x="717381" y="376011"/>
                      </a:cubicBezTo>
                      <a:cubicBezTo>
                        <a:pt x="726423" y="370944"/>
                        <a:pt x="735463" y="370944"/>
                        <a:pt x="746765" y="368917"/>
                      </a:cubicBezTo>
                      <a:cubicBezTo>
                        <a:pt x="752415" y="349664"/>
                        <a:pt x="763716" y="336490"/>
                        <a:pt x="781798" y="327370"/>
                      </a:cubicBezTo>
                      <a:cubicBezTo>
                        <a:pt x="777278" y="320276"/>
                        <a:pt x="772757" y="316223"/>
                        <a:pt x="768236" y="310142"/>
                      </a:cubicBezTo>
                      <a:cubicBezTo>
                        <a:pt x="776147" y="301022"/>
                        <a:pt x="785188" y="291902"/>
                        <a:pt x="793099" y="283795"/>
                      </a:cubicBezTo>
                      <a:cubicBezTo>
                        <a:pt x="791969" y="280755"/>
                        <a:pt x="794230" y="276702"/>
                        <a:pt x="793099" y="273662"/>
                      </a:cubicBezTo>
                      <a:cubicBezTo>
                        <a:pt x="793099" y="273662"/>
                        <a:pt x="782929" y="267582"/>
                        <a:pt x="785188" y="266568"/>
                      </a:cubicBezTo>
                      <a:cubicBezTo>
                        <a:pt x="787449" y="264541"/>
                        <a:pt x="791969" y="266568"/>
                        <a:pt x="793099" y="264541"/>
                      </a:cubicBezTo>
                      <a:cubicBezTo>
                        <a:pt x="799880" y="254408"/>
                        <a:pt x="797620" y="234141"/>
                        <a:pt x="795360" y="217927"/>
                      </a:cubicBezTo>
                      <a:cubicBezTo>
                        <a:pt x="807791" y="209820"/>
                        <a:pt x="819092" y="206780"/>
                        <a:pt x="838304" y="203740"/>
                      </a:cubicBezTo>
                      <a:cubicBezTo>
                        <a:pt x="836044" y="201713"/>
                        <a:pt x="836044" y="195633"/>
                        <a:pt x="832653" y="193606"/>
                      </a:cubicBezTo>
                      <a:cubicBezTo>
                        <a:pt x="822483" y="186513"/>
                        <a:pt x="803271" y="184486"/>
                        <a:pt x="799880" y="171313"/>
                      </a:cubicBezTo>
                      <a:cubicBezTo>
                        <a:pt x="798750" y="164219"/>
                        <a:pt x="804400" y="158139"/>
                        <a:pt x="805531" y="154086"/>
                      </a:cubicBezTo>
                      <a:cubicBezTo>
                        <a:pt x="806661" y="139899"/>
                        <a:pt x="795360" y="125712"/>
                        <a:pt x="786319" y="115578"/>
                      </a:cubicBezTo>
                      <a:cubicBezTo>
                        <a:pt x="787449" y="112538"/>
                        <a:pt x="785188" y="108484"/>
                        <a:pt x="786319" y="105444"/>
                      </a:cubicBezTo>
                      <a:cubicBezTo>
                        <a:pt x="786319" y="104431"/>
                        <a:pt x="790839" y="103418"/>
                        <a:pt x="791969" y="100378"/>
                      </a:cubicBezTo>
                      <a:cubicBezTo>
                        <a:pt x="796489" y="103418"/>
                        <a:pt x="793099" y="98351"/>
                        <a:pt x="794230" y="98351"/>
                      </a:cubicBezTo>
                      <a:cubicBezTo>
                        <a:pt x="798750" y="101391"/>
                        <a:pt x="796489" y="92271"/>
                        <a:pt x="796489" y="91258"/>
                      </a:cubicBezTo>
                      <a:cubicBezTo>
                        <a:pt x="794230" y="90244"/>
                        <a:pt x="786319" y="90244"/>
                        <a:pt x="785188" y="89231"/>
                      </a:cubicBezTo>
                      <a:cubicBezTo>
                        <a:pt x="784058" y="88217"/>
                        <a:pt x="784058" y="86191"/>
                        <a:pt x="784058" y="85177"/>
                      </a:cubicBezTo>
                      <a:lnTo>
                        <a:pt x="760326" y="87204"/>
                      </a:lnTo>
                      <a:lnTo>
                        <a:pt x="737724" y="82137"/>
                      </a:lnTo>
                      <a:lnTo>
                        <a:pt x="728682" y="94298"/>
                      </a:lnTo>
                      <a:lnTo>
                        <a:pt x="724162" y="116591"/>
                      </a:lnTo>
                      <a:lnTo>
                        <a:pt x="715121" y="125712"/>
                      </a:lnTo>
                      <a:lnTo>
                        <a:pt x="706080" y="134832"/>
                      </a:lnTo>
                      <a:lnTo>
                        <a:pt x="700429" y="143952"/>
                      </a:lnTo>
                      <a:lnTo>
                        <a:pt x="689128" y="149019"/>
                      </a:lnTo>
                      <a:lnTo>
                        <a:pt x="685738" y="160166"/>
                      </a:lnTo>
                      <a:lnTo>
                        <a:pt x="680087" y="176379"/>
                      </a:lnTo>
                      <a:lnTo>
                        <a:pt x="674437" y="185500"/>
                      </a:lnTo>
                      <a:lnTo>
                        <a:pt x="658615" y="193606"/>
                      </a:lnTo>
                      <a:lnTo>
                        <a:pt x="637143" y="193606"/>
                      </a:lnTo>
                      <a:lnTo>
                        <a:pt x="626972" y="189553"/>
                      </a:lnTo>
                      <a:lnTo>
                        <a:pt x="608890" y="192593"/>
                      </a:lnTo>
                      <a:lnTo>
                        <a:pt x="602109" y="201713"/>
                      </a:lnTo>
                      <a:lnTo>
                        <a:pt x="581767" y="203740"/>
                      </a:lnTo>
                      <a:lnTo>
                        <a:pt x="563685" y="206780"/>
                      </a:lnTo>
                      <a:lnTo>
                        <a:pt x="547863" y="205767"/>
                      </a:lnTo>
                      <a:lnTo>
                        <a:pt x="536562" y="199687"/>
                      </a:lnTo>
                      <a:lnTo>
                        <a:pt x="524131" y="193606"/>
                      </a:lnTo>
                      <a:lnTo>
                        <a:pt x="518480" y="179419"/>
                      </a:lnTo>
                      <a:lnTo>
                        <a:pt x="526391" y="161179"/>
                      </a:lnTo>
                      <a:close/>
                      <a:moveTo>
                        <a:pt x="1290352" y="283795"/>
                      </a:moveTo>
                      <a:cubicBezTo>
                        <a:pt x="1286962" y="284808"/>
                        <a:pt x="1268880" y="285822"/>
                        <a:pt x="1268880" y="285822"/>
                      </a:cubicBezTo>
                      <a:cubicBezTo>
                        <a:pt x="1268880" y="283795"/>
                        <a:pt x="1266620" y="305076"/>
                        <a:pt x="1266620" y="305076"/>
                      </a:cubicBezTo>
                      <a:cubicBezTo>
                        <a:pt x="1260969" y="303049"/>
                        <a:pt x="1265489" y="312169"/>
                        <a:pt x="1266620" y="312169"/>
                      </a:cubicBezTo>
                      <a:cubicBezTo>
                        <a:pt x="1272270" y="314196"/>
                        <a:pt x="1284701" y="312169"/>
                        <a:pt x="1291482" y="312169"/>
                      </a:cubicBezTo>
                      <a:cubicBezTo>
                        <a:pt x="1293742" y="315209"/>
                        <a:pt x="1296002" y="315209"/>
                        <a:pt x="1299393" y="317236"/>
                      </a:cubicBezTo>
                      <a:cubicBezTo>
                        <a:pt x="1296002" y="319263"/>
                        <a:pt x="1301653" y="329396"/>
                        <a:pt x="1301653" y="329396"/>
                      </a:cubicBezTo>
                      <a:cubicBezTo>
                        <a:pt x="1301653" y="329396"/>
                        <a:pt x="1290352" y="329396"/>
                        <a:pt x="1296002" y="331423"/>
                      </a:cubicBezTo>
                      <a:cubicBezTo>
                        <a:pt x="1307304" y="336490"/>
                        <a:pt x="1325386" y="330410"/>
                        <a:pt x="1336687" y="331423"/>
                      </a:cubicBezTo>
                      <a:cubicBezTo>
                        <a:pt x="1343468" y="332436"/>
                        <a:pt x="1352508" y="335476"/>
                        <a:pt x="1361549" y="336490"/>
                      </a:cubicBezTo>
                      <a:lnTo>
                        <a:pt x="1361549" y="341557"/>
                      </a:lnTo>
                      <a:cubicBezTo>
                        <a:pt x="1351379" y="343583"/>
                        <a:pt x="1342338" y="342570"/>
                        <a:pt x="1334427" y="343583"/>
                      </a:cubicBezTo>
                      <a:lnTo>
                        <a:pt x="1328776" y="348650"/>
                      </a:lnTo>
                      <a:cubicBezTo>
                        <a:pt x="1317475" y="351690"/>
                        <a:pt x="1297133" y="351690"/>
                        <a:pt x="1290352" y="350677"/>
                      </a:cubicBezTo>
                      <a:lnTo>
                        <a:pt x="1292612" y="357770"/>
                      </a:lnTo>
                      <a:cubicBezTo>
                        <a:pt x="1300523" y="357770"/>
                        <a:pt x="1302784" y="356757"/>
                        <a:pt x="1308434" y="355743"/>
                      </a:cubicBezTo>
                      <a:cubicBezTo>
                        <a:pt x="1314085" y="376011"/>
                        <a:pt x="1309564" y="369931"/>
                        <a:pt x="1324255" y="374997"/>
                      </a:cubicBezTo>
                      <a:cubicBezTo>
                        <a:pt x="1324255" y="378037"/>
                        <a:pt x="1319735" y="381077"/>
                        <a:pt x="1321995" y="387158"/>
                      </a:cubicBezTo>
                      <a:cubicBezTo>
                        <a:pt x="1321995" y="387158"/>
                        <a:pt x="1326516" y="393238"/>
                        <a:pt x="1327646" y="394251"/>
                      </a:cubicBezTo>
                      <a:cubicBezTo>
                        <a:pt x="1328776" y="393238"/>
                        <a:pt x="1334427" y="394251"/>
                        <a:pt x="1335557" y="394251"/>
                      </a:cubicBezTo>
                      <a:cubicBezTo>
                        <a:pt x="1336687" y="391211"/>
                        <a:pt x="1341207" y="378037"/>
                        <a:pt x="1343468" y="374997"/>
                      </a:cubicBezTo>
                      <a:cubicBezTo>
                        <a:pt x="1343468" y="374997"/>
                        <a:pt x="1349118" y="372971"/>
                        <a:pt x="1349118" y="372971"/>
                      </a:cubicBezTo>
                      <a:cubicBezTo>
                        <a:pt x="1350248" y="373984"/>
                        <a:pt x="1347988" y="379051"/>
                        <a:pt x="1349118" y="380064"/>
                      </a:cubicBezTo>
                      <a:lnTo>
                        <a:pt x="1364940" y="387158"/>
                      </a:lnTo>
                      <a:lnTo>
                        <a:pt x="1364940" y="389184"/>
                      </a:lnTo>
                      <a:cubicBezTo>
                        <a:pt x="1378501" y="395265"/>
                        <a:pt x="1384152" y="391211"/>
                        <a:pt x="1384152" y="391211"/>
                      </a:cubicBezTo>
                      <a:cubicBezTo>
                        <a:pt x="1384152" y="391211"/>
                        <a:pt x="1377371" y="411478"/>
                        <a:pt x="1395453" y="415532"/>
                      </a:cubicBezTo>
                      <a:cubicBezTo>
                        <a:pt x="1401103" y="416545"/>
                        <a:pt x="1403364" y="411478"/>
                        <a:pt x="1411275" y="413505"/>
                      </a:cubicBezTo>
                      <a:lnTo>
                        <a:pt x="1416925" y="418572"/>
                      </a:lnTo>
                      <a:cubicBezTo>
                        <a:pt x="1425966" y="420599"/>
                        <a:pt x="1425966" y="413505"/>
                        <a:pt x="1436138" y="416545"/>
                      </a:cubicBezTo>
                      <a:lnTo>
                        <a:pt x="1436138" y="421612"/>
                      </a:lnTo>
                      <a:cubicBezTo>
                        <a:pt x="1451959" y="428705"/>
                        <a:pt x="1455350" y="430732"/>
                        <a:pt x="1463260" y="445932"/>
                      </a:cubicBezTo>
                      <a:cubicBezTo>
                        <a:pt x="1486993" y="443906"/>
                        <a:pt x="1476822" y="443906"/>
                        <a:pt x="1492644" y="450999"/>
                      </a:cubicBezTo>
                      <a:cubicBezTo>
                        <a:pt x="1498294" y="453026"/>
                        <a:pt x="1501684" y="449986"/>
                        <a:pt x="1506205" y="453026"/>
                      </a:cubicBezTo>
                      <a:lnTo>
                        <a:pt x="1517506" y="470253"/>
                      </a:lnTo>
                      <a:lnTo>
                        <a:pt x="1517506" y="494573"/>
                      </a:lnTo>
                      <a:cubicBezTo>
                        <a:pt x="1515246" y="495587"/>
                        <a:pt x="1512986" y="497613"/>
                        <a:pt x="1515246" y="501667"/>
                      </a:cubicBezTo>
                      <a:cubicBezTo>
                        <a:pt x="1515246" y="502680"/>
                        <a:pt x="1522026" y="504707"/>
                        <a:pt x="1523157" y="506734"/>
                      </a:cubicBezTo>
                      <a:cubicBezTo>
                        <a:pt x="1526547" y="511801"/>
                        <a:pt x="1523157" y="515854"/>
                        <a:pt x="1525417" y="520921"/>
                      </a:cubicBezTo>
                      <a:cubicBezTo>
                        <a:pt x="1526547" y="522947"/>
                        <a:pt x="1533328" y="529028"/>
                        <a:pt x="1533328" y="531054"/>
                      </a:cubicBezTo>
                      <a:cubicBezTo>
                        <a:pt x="1535588" y="545241"/>
                        <a:pt x="1531067" y="546255"/>
                        <a:pt x="1535588" y="560442"/>
                      </a:cubicBezTo>
                      <a:cubicBezTo>
                        <a:pt x="1532198" y="558415"/>
                        <a:pt x="1528808" y="553348"/>
                        <a:pt x="1524287" y="550308"/>
                      </a:cubicBezTo>
                      <a:cubicBezTo>
                        <a:pt x="1517506" y="552335"/>
                        <a:pt x="1512986" y="549295"/>
                        <a:pt x="1508465" y="552335"/>
                      </a:cubicBezTo>
                      <a:cubicBezTo>
                        <a:pt x="1507335" y="553348"/>
                        <a:pt x="1491513" y="573615"/>
                        <a:pt x="1489253" y="576655"/>
                      </a:cubicBezTo>
                      <a:cubicBezTo>
                        <a:pt x="1501684" y="574629"/>
                        <a:pt x="1514115" y="573615"/>
                        <a:pt x="1527677" y="571589"/>
                      </a:cubicBezTo>
                      <a:cubicBezTo>
                        <a:pt x="1527677" y="570575"/>
                        <a:pt x="1529937" y="561455"/>
                        <a:pt x="1529937" y="561455"/>
                      </a:cubicBezTo>
                      <a:cubicBezTo>
                        <a:pt x="1534458" y="560442"/>
                        <a:pt x="1533328" y="565508"/>
                        <a:pt x="1535588" y="566522"/>
                      </a:cubicBezTo>
                      <a:cubicBezTo>
                        <a:pt x="1546889" y="570575"/>
                        <a:pt x="1557061" y="562468"/>
                        <a:pt x="1564971" y="564495"/>
                      </a:cubicBezTo>
                      <a:cubicBezTo>
                        <a:pt x="1570621" y="565508"/>
                        <a:pt x="1581923" y="581722"/>
                        <a:pt x="1584183" y="586789"/>
                      </a:cubicBezTo>
                      <a:cubicBezTo>
                        <a:pt x="1585313" y="588816"/>
                        <a:pt x="1583053" y="594896"/>
                        <a:pt x="1584183" y="596923"/>
                      </a:cubicBezTo>
                      <a:lnTo>
                        <a:pt x="1589834" y="596923"/>
                      </a:lnTo>
                      <a:cubicBezTo>
                        <a:pt x="1590964" y="596923"/>
                        <a:pt x="1593224" y="603003"/>
                        <a:pt x="1595484" y="604016"/>
                      </a:cubicBezTo>
                      <a:cubicBezTo>
                        <a:pt x="1597745" y="605029"/>
                        <a:pt x="1601135" y="606043"/>
                        <a:pt x="1604525" y="606043"/>
                      </a:cubicBezTo>
                      <a:lnTo>
                        <a:pt x="1603395" y="522947"/>
                      </a:lnTo>
                      <a:lnTo>
                        <a:pt x="1597745" y="507747"/>
                      </a:lnTo>
                      <a:lnTo>
                        <a:pt x="1603395" y="497613"/>
                      </a:lnTo>
                      <a:lnTo>
                        <a:pt x="1601135" y="352704"/>
                      </a:lnTo>
                      <a:cubicBezTo>
                        <a:pt x="1601135" y="352704"/>
                        <a:pt x="1600005" y="353717"/>
                        <a:pt x="1598874" y="352704"/>
                      </a:cubicBezTo>
                      <a:cubicBezTo>
                        <a:pt x="1597745" y="352704"/>
                        <a:pt x="1593224" y="341557"/>
                        <a:pt x="1587573" y="340543"/>
                      </a:cubicBezTo>
                      <a:cubicBezTo>
                        <a:pt x="1579663" y="338517"/>
                        <a:pt x="1578532" y="343583"/>
                        <a:pt x="1571752" y="342570"/>
                      </a:cubicBezTo>
                      <a:cubicBezTo>
                        <a:pt x="1562711" y="342570"/>
                        <a:pt x="1542368" y="336490"/>
                        <a:pt x="1533328" y="332436"/>
                      </a:cubicBezTo>
                      <a:cubicBezTo>
                        <a:pt x="1523157" y="328383"/>
                        <a:pt x="1500555" y="308116"/>
                        <a:pt x="1486993" y="310142"/>
                      </a:cubicBezTo>
                      <a:lnTo>
                        <a:pt x="1486993" y="315209"/>
                      </a:lnTo>
                      <a:cubicBezTo>
                        <a:pt x="1483603" y="317236"/>
                        <a:pt x="1479082" y="316223"/>
                        <a:pt x="1475692" y="317236"/>
                      </a:cubicBezTo>
                      <a:cubicBezTo>
                        <a:pt x="1470041" y="320276"/>
                        <a:pt x="1466651" y="328383"/>
                        <a:pt x="1462130" y="331423"/>
                      </a:cubicBezTo>
                      <a:cubicBezTo>
                        <a:pt x="1457609" y="334463"/>
                        <a:pt x="1447439" y="335476"/>
                        <a:pt x="1442918" y="338517"/>
                      </a:cubicBezTo>
                      <a:cubicBezTo>
                        <a:pt x="1436138" y="344597"/>
                        <a:pt x="1433877" y="359797"/>
                        <a:pt x="1427097" y="364864"/>
                      </a:cubicBezTo>
                      <a:cubicBezTo>
                        <a:pt x="1421446" y="368917"/>
                        <a:pt x="1411275" y="370944"/>
                        <a:pt x="1405624" y="374997"/>
                      </a:cubicBezTo>
                      <a:cubicBezTo>
                        <a:pt x="1403364" y="370944"/>
                        <a:pt x="1405624" y="373984"/>
                        <a:pt x="1399974" y="372971"/>
                      </a:cubicBezTo>
                      <a:cubicBezTo>
                        <a:pt x="1398844" y="366890"/>
                        <a:pt x="1398844" y="364864"/>
                        <a:pt x="1397713" y="360810"/>
                      </a:cubicBezTo>
                      <a:lnTo>
                        <a:pt x="1389802" y="362837"/>
                      </a:lnTo>
                      <a:cubicBezTo>
                        <a:pt x="1387543" y="358784"/>
                        <a:pt x="1389802" y="349664"/>
                        <a:pt x="1389802" y="345610"/>
                      </a:cubicBezTo>
                      <a:lnTo>
                        <a:pt x="1381892" y="343583"/>
                      </a:lnTo>
                      <a:cubicBezTo>
                        <a:pt x="1378501" y="348650"/>
                        <a:pt x="1381892" y="348650"/>
                        <a:pt x="1376241" y="350677"/>
                      </a:cubicBezTo>
                      <a:cubicBezTo>
                        <a:pt x="1373981" y="334463"/>
                        <a:pt x="1367200" y="322303"/>
                        <a:pt x="1370591" y="304062"/>
                      </a:cubicBezTo>
                      <a:cubicBezTo>
                        <a:pt x="1371721" y="301022"/>
                        <a:pt x="1376241" y="298996"/>
                        <a:pt x="1376241" y="291902"/>
                      </a:cubicBezTo>
                      <a:cubicBezTo>
                        <a:pt x="1376241" y="287849"/>
                        <a:pt x="1367200" y="274675"/>
                        <a:pt x="1362680" y="272648"/>
                      </a:cubicBezTo>
                      <a:lnTo>
                        <a:pt x="1357029" y="272648"/>
                      </a:lnTo>
                      <a:cubicBezTo>
                        <a:pt x="1360419" y="273662"/>
                        <a:pt x="1351379" y="275688"/>
                        <a:pt x="1349118" y="274675"/>
                      </a:cubicBezTo>
                      <a:cubicBezTo>
                        <a:pt x="1346858" y="273662"/>
                        <a:pt x="1349118" y="267582"/>
                        <a:pt x="1341207" y="269608"/>
                      </a:cubicBezTo>
                      <a:cubicBezTo>
                        <a:pt x="1338947" y="270622"/>
                        <a:pt x="1343468" y="274675"/>
                        <a:pt x="1335557" y="274675"/>
                      </a:cubicBezTo>
                      <a:cubicBezTo>
                        <a:pt x="1328776" y="273662"/>
                        <a:pt x="1316344" y="264541"/>
                        <a:pt x="1308434" y="264541"/>
                      </a:cubicBezTo>
                      <a:cubicBezTo>
                        <a:pt x="1293742" y="269608"/>
                        <a:pt x="1294873" y="281769"/>
                        <a:pt x="1290352" y="283795"/>
                      </a:cubicBezTo>
                      <a:close/>
                      <a:moveTo>
                        <a:pt x="458584" y="77070"/>
                      </a:moveTo>
                      <a:cubicBezTo>
                        <a:pt x="459714" y="78084"/>
                        <a:pt x="458584" y="89231"/>
                        <a:pt x="458584" y="91258"/>
                      </a:cubicBezTo>
                      <a:cubicBezTo>
                        <a:pt x="458584" y="91258"/>
                        <a:pt x="468755" y="87204"/>
                        <a:pt x="469885" y="86191"/>
                      </a:cubicBezTo>
                      <a:cubicBezTo>
                        <a:pt x="469885" y="86191"/>
                        <a:pt x="469885" y="75044"/>
                        <a:pt x="467625" y="79097"/>
                      </a:cubicBezTo>
                      <a:lnTo>
                        <a:pt x="458584" y="7707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8" name="Freeform: Shape 377">
                  <a:extLst>
                    <a:ext uri="{FF2B5EF4-FFF2-40B4-BE49-F238E27FC236}">
                      <a16:creationId xmlns:a16="http://schemas.microsoft.com/office/drawing/2014/main" id="{27002523-24A4-4F46-8E94-2AD61574AE0F}"/>
                    </a:ext>
                  </a:extLst>
                </p:cNvPr>
                <p:cNvSpPr/>
                <p:nvPr/>
              </p:nvSpPr>
              <p:spPr>
                <a:xfrm>
                  <a:off x="8297058" y="2809524"/>
                  <a:ext cx="1039710" cy="1195761"/>
                </a:xfrm>
                <a:custGeom>
                  <a:avLst/>
                  <a:gdLst>
                    <a:gd name="connsiteX0" fmla="*/ 877984 w 1039710"/>
                    <a:gd name="connsiteY0" fmla="*/ 966636 h 1195761"/>
                    <a:gd name="connsiteX1" fmla="*/ 880244 w 1039710"/>
                    <a:gd name="connsiteY1" fmla="*/ 971702 h 1195761"/>
                    <a:gd name="connsiteX2" fmla="*/ 877984 w 1039710"/>
                    <a:gd name="connsiteY2" fmla="*/ 966636 h 1195761"/>
                    <a:gd name="connsiteX3" fmla="*/ 877984 w 1039710"/>
                    <a:gd name="connsiteY3" fmla="*/ 981836 h 1195761"/>
                    <a:gd name="connsiteX4" fmla="*/ 877984 w 1039710"/>
                    <a:gd name="connsiteY4" fmla="*/ 991970 h 1195761"/>
                    <a:gd name="connsiteX5" fmla="*/ 877984 w 1039710"/>
                    <a:gd name="connsiteY5" fmla="*/ 981836 h 1195761"/>
                    <a:gd name="connsiteX6" fmla="*/ 872333 w 1039710"/>
                    <a:gd name="connsiteY6" fmla="*/ 1003117 h 1195761"/>
                    <a:gd name="connsiteX7" fmla="*/ 874594 w 1039710"/>
                    <a:gd name="connsiteY7" fmla="*/ 1010210 h 1195761"/>
                    <a:gd name="connsiteX8" fmla="*/ 872333 w 1039710"/>
                    <a:gd name="connsiteY8" fmla="*/ 1003117 h 1195761"/>
                    <a:gd name="connsiteX9" fmla="*/ 864422 w 1039710"/>
                    <a:gd name="connsiteY9" fmla="*/ 1051758 h 1195761"/>
                    <a:gd name="connsiteX10" fmla="*/ 864422 w 1039710"/>
                    <a:gd name="connsiteY10" fmla="*/ 1056824 h 1195761"/>
                    <a:gd name="connsiteX11" fmla="*/ 864422 w 1039710"/>
                    <a:gd name="connsiteY11" fmla="*/ 1051758 h 1195761"/>
                    <a:gd name="connsiteX12" fmla="*/ 899456 w 1039710"/>
                    <a:gd name="connsiteY12" fmla="*/ 1188561 h 1195761"/>
                    <a:gd name="connsiteX13" fmla="*/ 905107 w 1039710"/>
                    <a:gd name="connsiteY13" fmla="*/ 1195654 h 1195761"/>
                    <a:gd name="connsiteX14" fmla="*/ 907367 w 1039710"/>
                    <a:gd name="connsiteY14" fmla="*/ 1188561 h 1195761"/>
                    <a:gd name="connsiteX15" fmla="*/ 899456 w 1039710"/>
                    <a:gd name="connsiteY15" fmla="*/ 1188561 h 1195761"/>
                    <a:gd name="connsiteX16" fmla="*/ 11182 w 1039710"/>
                    <a:gd name="connsiteY16" fmla="*/ 524812 h 1195761"/>
                    <a:gd name="connsiteX17" fmla="*/ 15703 w 1039710"/>
                    <a:gd name="connsiteY17" fmla="*/ 524812 h 1195761"/>
                    <a:gd name="connsiteX18" fmla="*/ 10052 w 1039710"/>
                    <a:gd name="connsiteY18" fmla="*/ 529879 h 1195761"/>
                    <a:gd name="connsiteX19" fmla="*/ 12312 w 1039710"/>
                    <a:gd name="connsiteY19" fmla="*/ 556226 h 1195761"/>
                    <a:gd name="connsiteX20" fmla="*/ 74469 w 1039710"/>
                    <a:gd name="connsiteY20" fmla="*/ 566360 h 1195761"/>
                    <a:gd name="connsiteX21" fmla="*/ 88031 w 1039710"/>
                    <a:gd name="connsiteY21" fmla="*/ 549133 h 1195761"/>
                    <a:gd name="connsiteX22" fmla="*/ 95941 w 1039710"/>
                    <a:gd name="connsiteY22" fmla="*/ 549133 h 1195761"/>
                    <a:gd name="connsiteX23" fmla="*/ 84640 w 1039710"/>
                    <a:gd name="connsiteY23" fmla="*/ 568387 h 1195761"/>
                    <a:gd name="connsiteX24" fmla="*/ 73338 w 1039710"/>
                    <a:gd name="connsiteY24" fmla="*/ 573453 h 1195761"/>
                    <a:gd name="connsiteX25" fmla="*/ 67688 w 1039710"/>
                    <a:gd name="connsiteY25" fmla="*/ 585613 h 1195761"/>
                    <a:gd name="connsiteX26" fmla="*/ 54127 w 1039710"/>
                    <a:gd name="connsiteY26" fmla="*/ 585613 h 1195761"/>
                    <a:gd name="connsiteX27" fmla="*/ 46216 w 1039710"/>
                    <a:gd name="connsiteY27" fmla="*/ 592707 h 1195761"/>
                    <a:gd name="connsiteX28" fmla="*/ 34915 w 1039710"/>
                    <a:gd name="connsiteY28" fmla="*/ 590680 h 1195761"/>
                    <a:gd name="connsiteX29" fmla="*/ 27004 w 1039710"/>
                    <a:gd name="connsiteY29" fmla="*/ 595747 h 1195761"/>
                    <a:gd name="connsiteX30" fmla="*/ 38305 w 1039710"/>
                    <a:gd name="connsiteY30" fmla="*/ 609934 h 1195761"/>
                    <a:gd name="connsiteX31" fmla="*/ 81249 w 1039710"/>
                    <a:gd name="connsiteY31" fmla="*/ 658575 h 1195761"/>
                    <a:gd name="connsiteX32" fmla="*/ 94811 w 1039710"/>
                    <a:gd name="connsiteY32" fmla="*/ 658575 h 1195761"/>
                    <a:gd name="connsiteX33" fmla="*/ 102722 w 1039710"/>
                    <a:gd name="connsiteY33" fmla="*/ 651482 h 1195761"/>
                    <a:gd name="connsiteX34" fmla="*/ 137755 w 1039710"/>
                    <a:gd name="connsiteY34" fmla="*/ 622094 h 1195761"/>
                    <a:gd name="connsiteX35" fmla="*/ 140016 w 1039710"/>
                    <a:gd name="connsiteY35" fmla="*/ 585613 h 1195761"/>
                    <a:gd name="connsiteX36" fmla="*/ 145666 w 1039710"/>
                    <a:gd name="connsiteY36" fmla="*/ 585613 h 1195761"/>
                    <a:gd name="connsiteX37" fmla="*/ 151317 w 1039710"/>
                    <a:gd name="connsiteY37" fmla="*/ 587640 h 1195761"/>
                    <a:gd name="connsiteX38" fmla="*/ 149057 w 1039710"/>
                    <a:gd name="connsiteY38" fmla="*/ 594734 h 1195761"/>
                    <a:gd name="connsiteX39" fmla="*/ 154707 w 1039710"/>
                    <a:gd name="connsiteY39" fmla="*/ 599801 h 1195761"/>
                    <a:gd name="connsiteX40" fmla="*/ 149057 w 1039710"/>
                    <a:gd name="connsiteY40" fmla="*/ 609934 h 1195761"/>
                    <a:gd name="connsiteX41" fmla="*/ 154707 w 1039710"/>
                    <a:gd name="connsiteY41" fmla="*/ 617028 h 1195761"/>
                    <a:gd name="connsiteX42" fmla="*/ 152447 w 1039710"/>
                    <a:gd name="connsiteY42" fmla="*/ 619054 h 1195761"/>
                    <a:gd name="connsiteX43" fmla="*/ 154707 w 1039710"/>
                    <a:gd name="connsiteY43" fmla="*/ 624121 h 1195761"/>
                    <a:gd name="connsiteX44" fmla="*/ 154707 w 1039710"/>
                    <a:gd name="connsiteY44" fmla="*/ 634255 h 1195761"/>
                    <a:gd name="connsiteX45" fmla="*/ 166008 w 1039710"/>
                    <a:gd name="connsiteY45" fmla="*/ 651482 h 1195761"/>
                    <a:gd name="connsiteX46" fmla="*/ 160358 w 1039710"/>
                    <a:gd name="connsiteY46" fmla="*/ 653508 h 1195761"/>
                    <a:gd name="connsiteX47" fmla="*/ 146796 w 1039710"/>
                    <a:gd name="connsiteY47" fmla="*/ 695056 h 1195761"/>
                    <a:gd name="connsiteX48" fmla="*/ 160358 w 1039710"/>
                    <a:gd name="connsiteY48" fmla="*/ 709243 h 1195761"/>
                    <a:gd name="connsiteX49" fmla="*/ 158097 w 1039710"/>
                    <a:gd name="connsiteY49" fmla="*/ 716337 h 1195761"/>
                    <a:gd name="connsiteX50" fmla="*/ 158097 w 1039710"/>
                    <a:gd name="connsiteY50" fmla="*/ 740657 h 1195761"/>
                    <a:gd name="connsiteX51" fmla="*/ 163748 w 1039710"/>
                    <a:gd name="connsiteY51" fmla="*/ 740657 h 1195761"/>
                    <a:gd name="connsiteX52" fmla="*/ 169399 w 1039710"/>
                    <a:gd name="connsiteY52" fmla="*/ 777138 h 1195761"/>
                    <a:gd name="connsiteX53" fmla="*/ 167139 w 1039710"/>
                    <a:gd name="connsiteY53" fmla="*/ 784231 h 1195761"/>
                    <a:gd name="connsiteX54" fmla="*/ 175049 w 1039710"/>
                    <a:gd name="connsiteY54" fmla="*/ 796392 h 1195761"/>
                    <a:gd name="connsiteX55" fmla="*/ 177310 w 1039710"/>
                    <a:gd name="connsiteY55" fmla="*/ 827806 h 1195761"/>
                    <a:gd name="connsiteX56" fmla="*/ 210083 w 1039710"/>
                    <a:gd name="connsiteY56" fmla="*/ 902794 h 1195761"/>
                    <a:gd name="connsiteX57" fmla="*/ 217994 w 1039710"/>
                    <a:gd name="connsiteY57" fmla="*/ 958529 h 1195761"/>
                    <a:gd name="connsiteX58" fmla="*/ 225905 w 1039710"/>
                    <a:gd name="connsiteY58" fmla="*/ 970689 h 1195761"/>
                    <a:gd name="connsiteX59" fmla="*/ 228165 w 1039710"/>
                    <a:gd name="connsiteY59" fmla="*/ 987916 h 1195761"/>
                    <a:gd name="connsiteX60" fmla="*/ 241727 w 1039710"/>
                    <a:gd name="connsiteY60" fmla="*/ 998050 h 1195761"/>
                    <a:gd name="connsiteX61" fmla="*/ 243987 w 1039710"/>
                    <a:gd name="connsiteY61" fmla="*/ 1012237 h 1195761"/>
                    <a:gd name="connsiteX62" fmla="*/ 257548 w 1039710"/>
                    <a:gd name="connsiteY62" fmla="*/ 1029464 h 1195761"/>
                    <a:gd name="connsiteX63" fmla="*/ 263199 w 1039710"/>
                    <a:gd name="connsiteY63" fmla="*/ 1051758 h 1195761"/>
                    <a:gd name="connsiteX64" fmla="*/ 282411 w 1039710"/>
                    <a:gd name="connsiteY64" fmla="*/ 1076078 h 1195761"/>
                    <a:gd name="connsiteX65" fmla="*/ 274500 w 1039710"/>
                    <a:gd name="connsiteY65" fmla="*/ 1088238 h 1195761"/>
                    <a:gd name="connsiteX66" fmla="*/ 315184 w 1039710"/>
                    <a:gd name="connsiteY66" fmla="*/ 1149040 h 1195761"/>
                    <a:gd name="connsiteX67" fmla="*/ 331006 w 1039710"/>
                    <a:gd name="connsiteY67" fmla="*/ 1147013 h 1195761"/>
                    <a:gd name="connsiteX68" fmla="*/ 346828 w 1039710"/>
                    <a:gd name="connsiteY68" fmla="*/ 1120666 h 1195761"/>
                    <a:gd name="connsiteX69" fmla="*/ 360389 w 1039710"/>
                    <a:gd name="connsiteY69" fmla="*/ 1115599 h 1195761"/>
                    <a:gd name="connsiteX70" fmla="*/ 360389 w 1039710"/>
                    <a:gd name="connsiteY70" fmla="*/ 1108506 h 1195761"/>
                    <a:gd name="connsiteX71" fmla="*/ 381862 w 1039710"/>
                    <a:gd name="connsiteY71" fmla="*/ 1077091 h 1195761"/>
                    <a:gd name="connsiteX72" fmla="*/ 397683 w 1039710"/>
                    <a:gd name="connsiteY72" fmla="*/ 1075065 h 1195761"/>
                    <a:gd name="connsiteX73" fmla="*/ 392032 w 1039710"/>
                    <a:gd name="connsiteY73" fmla="*/ 1019330 h 1195761"/>
                    <a:gd name="connsiteX74" fmla="*/ 405594 w 1039710"/>
                    <a:gd name="connsiteY74" fmla="*/ 1005143 h 1195761"/>
                    <a:gd name="connsiteX75" fmla="*/ 407854 w 1039710"/>
                    <a:gd name="connsiteY75" fmla="*/ 985889 h 1195761"/>
                    <a:gd name="connsiteX76" fmla="*/ 413505 w 1039710"/>
                    <a:gd name="connsiteY76" fmla="*/ 983863 h 1195761"/>
                    <a:gd name="connsiteX77" fmla="*/ 407854 w 1039710"/>
                    <a:gd name="connsiteY77" fmla="*/ 961569 h 1195761"/>
                    <a:gd name="connsiteX78" fmla="*/ 405594 w 1039710"/>
                    <a:gd name="connsiteY78" fmla="*/ 905834 h 1195761"/>
                    <a:gd name="connsiteX79" fmla="*/ 413505 w 1039710"/>
                    <a:gd name="connsiteY79" fmla="*/ 881514 h 1195761"/>
                    <a:gd name="connsiteX80" fmla="*/ 411244 w 1039710"/>
                    <a:gd name="connsiteY80" fmla="*/ 881514 h 1195761"/>
                    <a:gd name="connsiteX81" fmla="*/ 408984 w 1039710"/>
                    <a:gd name="connsiteY81" fmla="*/ 859220 h 1195761"/>
                    <a:gd name="connsiteX82" fmla="*/ 416895 w 1039710"/>
                    <a:gd name="connsiteY82" fmla="*/ 852126 h 1195761"/>
                    <a:gd name="connsiteX83" fmla="*/ 438368 w 1039710"/>
                    <a:gd name="connsiteY83" fmla="*/ 847060 h 1195761"/>
                    <a:gd name="connsiteX84" fmla="*/ 451928 w 1039710"/>
                    <a:gd name="connsiteY84" fmla="*/ 832873 h 1195761"/>
                    <a:gd name="connsiteX85" fmla="*/ 476791 w 1039710"/>
                    <a:gd name="connsiteY85" fmla="*/ 825779 h 1195761"/>
                    <a:gd name="connsiteX86" fmla="*/ 492613 w 1039710"/>
                    <a:gd name="connsiteY86" fmla="*/ 791325 h 1195761"/>
                    <a:gd name="connsiteX87" fmla="*/ 519736 w 1039710"/>
                    <a:gd name="connsiteY87" fmla="*/ 786258 h 1195761"/>
                    <a:gd name="connsiteX88" fmla="*/ 519736 w 1039710"/>
                    <a:gd name="connsiteY88" fmla="*/ 784231 h 1195761"/>
                    <a:gd name="connsiteX89" fmla="*/ 531037 w 1039710"/>
                    <a:gd name="connsiteY89" fmla="*/ 774098 h 1195761"/>
                    <a:gd name="connsiteX90" fmla="*/ 552509 w 1039710"/>
                    <a:gd name="connsiteY90" fmla="*/ 769031 h 1195761"/>
                    <a:gd name="connsiteX91" fmla="*/ 558160 w 1039710"/>
                    <a:gd name="connsiteY91" fmla="*/ 754844 h 1195761"/>
                    <a:gd name="connsiteX92" fmla="*/ 571722 w 1039710"/>
                    <a:gd name="connsiteY92" fmla="*/ 744711 h 1195761"/>
                    <a:gd name="connsiteX93" fmla="*/ 577372 w 1039710"/>
                    <a:gd name="connsiteY93" fmla="*/ 730524 h 1195761"/>
                    <a:gd name="connsiteX94" fmla="*/ 583023 w 1039710"/>
                    <a:gd name="connsiteY94" fmla="*/ 730524 h 1195761"/>
                    <a:gd name="connsiteX95" fmla="*/ 583023 w 1039710"/>
                    <a:gd name="connsiteY95" fmla="*/ 725457 h 1195761"/>
                    <a:gd name="connsiteX96" fmla="*/ 596584 w 1039710"/>
                    <a:gd name="connsiteY96" fmla="*/ 718363 h 1195761"/>
                    <a:gd name="connsiteX97" fmla="*/ 602235 w 1039710"/>
                    <a:gd name="connsiteY97" fmla="*/ 704176 h 1195761"/>
                    <a:gd name="connsiteX98" fmla="*/ 621446 w 1039710"/>
                    <a:gd name="connsiteY98" fmla="*/ 704176 h 1195761"/>
                    <a:gd name="connsiteX99" fmla="*/ 637268 w 1039710"/>
                    <a:gd name="connsiteY99" fmla="*/ 692016 h 1195761"/>
                    <a:gd name="connsiteX100" fmla="*/ 648570 w 1039710"/>
                    <a:gd name="connsiteY100" fmla="*/ 689989 h 1195761"/>
                    <a:gd name="connsiteX101" fmla="*/ 662131 w 1039710"/>
                    <a:gd name="connsiteY101" fmla="*/ 651482 h 1195761"/>
                    <a:gd name="connsiteX102" fmla="*/ 673432 w 1039710"/>
                    <a:gd name="connsiteY102" fmla="*/ 639322 h 1195761"/>
                    <a:gd name="connsiteX103" fmla="*/ 673432 w 1039710"/>
                    <a:gd name="connsiteY103" fmla="*/ 632228 h 1195761"/>
                    <a:gd name="connsiteX104" fmla="*/ 689254 w 1039710"/>
                    <a:gd name="connsiteY104" fmla="*/ 630201 h 1195761"/>
                    <a:gd name="connsiteX105" fmla="*/ 697165 w 1039710"/>
                    <a:gd name="connsiteY105" fmla="*/ 620068 h 1195761"/>
                    <a:gd name="connsiteX106" fmla="*/ 699425 w 1039710"/>
                    <a:gd name="connsiteY106" fmla="*/ 625135 h 1195761"/>
                    <a:gd name="connsiteX107" fmla="*/ 717507 w 1039710"/>
                    <a:gd name="connsiteY107" fmla="*/ 623108 h 1195761"/>
                    <a:gd name="connsiteX108" fmla="*/ 717507 w 1039710"/>
                    <a:gd name="connsiteY108" fmla="*/ 613988 h 1195761"/>
                    <a:gd name="connsiteX109" fmla="*/ 724288 w 1039710"/>
                    <a:gd name="connsiteY109" fmla="*/ 601827 h 1195761"/>
                    <a:gd name="connsiteX110" fmla="*/ 724288 w 1039710"/>
                    <a:gd name="connsiteY110" fmla="*/ 579534 h 1195761"/>
                    <a:gd name="connsiteX111" fmla="*/ 712987 w 1039710"/>
                    <a:gd name="connsiteY111" fmla="*/ 567373 h 1195761"/>
                    <a:gd name="connsiteX112" fmla="*/ 718637 w 1039710"/>
                    <a:gd name="connsiteY112" fmla="*/ 543053 h 1195761"/>
                    <a:gd name="connsiteX113" fmla="*/ 711856 w 1039710"/>
                    <a:gd name="connsiteY113" fmla="*/ 530892 h 1195761"/>
                    <a:gd name="connsiteX114" fmla="*/ 690384 w 1039710"/>
                    <a:gd name="connsiteY114" fmla="*/ 521772 h 1195761"/>
                    <a:gd name="connsiteX115" fmla="*/ 686994 w 1039710"/>
                    <a:gd name="connsiteY115" fmla="*/ 512652 h 1195761"/>
                    <a:gd name="connsiteX116" fmla="*/ 682473 w 1039710"/>
                    <a:gd name="connsiteY116" fmla="*/ 489345 h 1195761"/>
                    <a:gd name="connsiteX117" fmla="*/ 697165 w 1039710"/>
                    <a:gd name="connsiteY117" fmla="*/ 481238 h 1195761"/>
                    <a:gd name="connsiteX118" fmla="*/ 714116 w 1039710"/>
                    <a:gd name="connsiteY118" fmla="*/ 475158 h 1195761"/>
                    <a:gd name="connsiteX119" fmla="*/ 719767 w 1039710"/>
                    <a:gd name="connsiteY119" fmla="*/ 460971 h 1195761"/>
                    <a:gd name="connsiteX120" fmla="*/ 703946 w 1039710"/>
                    <a:gd name="connsiteY120" fmla="*/ 442730 h 1195761"/>
                    <a:gd name="connsiteX121" fmla="*/ 715247 w 1039710"/>
                    <a:gd name="connsiteY121" fmla="*/ 429557 h 1195761"/>
                    <a:gd name="connsiteX122" fmla="*/ 733329 w 1039710"/>
                    <a:gd name="connsiteY122" fmla="*/ 444757 h 1195761"/>
                    <a:gd name="connsiteX123" fmla="*/ 751410 w 1039710"/>
                    <a:gd name="connsiteY123" fmla="*/ 440703 h 1195761"/>
                    <a:gd name="connsiteX124" fmla="*/ 763842 w 1039710"/>
                    <a:gd name="connsiteY124" fmla="*/ 445770 h 1195761"/>
                    <a:gd name="connsiteX125" fmla="*/ 759321 w 1039710"/>
                    <a:gd name="connsiteY125" fmla="*/ 467051 h 1195761"/>
                    <a:gd name="connsiteX126" fmla="*/ 762711 w 1039710"/>
                    <a:gd name="connsiteY126" fmla="*/ 492385 h 1195761"/>
                    <a:gd name="connsiteX127" fmla="*/ 774013 w 1039710"/>
                    <a:gd name="connsiteY127" fmla="*/ 492385 h 1195761"/>
                    <a:gd name="connsiteX128" fmla="*/ 797746 w 1039710"/>
                    <a:gd name="connsiteY128" fmla="*/ 492385 h 1195761"/>
                    <a:gd name="connsiteX129" fmla="*/ 818088 w 1039710"/>
                    <a:gd name="connsiteY129" fmla="*/ 491371 h 1195761"/>
                    <a:gd name="connsiteX130" fmla="*/ 838430 w 1039710"/>
                    <a:gd name="connsiteY130" fmla="*/ 486305 h 1195761"/>
                    <a:gd name="connsiteX131" fmla="*/ 864422 w 1039710"/>
                    <a:gd name="connsiteY131" fmla="*/ 486305 h 1195761"/>
                    <a:gd name="connsiteX132" fmla="*/ 844080 w 1039710"/>
                    <a:gd name="connsiteY132" fmla="*/ 499478 h 1195761"/>
                    <a:gd name="connsiteX133" fmla="*/ 849731 w 1039710"/>
                    <a:gd name="connsiteY133" fmla="*/ 513665 h 1195761"/>
                    <a:gd name="connsiteX134" fmla="*/ 840690 w 1039710"/>
                    <a:gd name="connsiteY134" fmla="*/ 529879 h 1195761"/>
                    <a:gd name="connsiteX135" fmla="*/ 830519 w 1039710"/>
                    <a:gd name="connsiteY135" fmla="*/ 545079 h 1195761"/>
                    <a:gd name="connsiteX136" fmla="*/ 824868 w 1039710"/>
                    <a:gd name="connsiteY136" fmla="*/ 569400 h 1195761"/>
                    <a:gd name="connsiteX137" fmla="*/ 828259 w 1039710"/>
                    <a:gd name="connsiteY137" fmla="*/ 580547 h 1195761"/>
                    <a:gd name="connsiteX138" fmla="*/ 845211 w 1039710"/>
                    <a:gd name="connsiteY138" fmla="*/ 580547 h 1195761"/>
                    <a:gd name="connsiteX139" fmla="*/ 849731 w 1039710"/>
                    <a:gd name="connsiteY139" fmla="*/ 564333 h 1195761"/>
                    <a:gd name="connsiteX140" fmla="*/ 865553 w 1039710"/>
                    <a:gd name="connsiteY140" fmla="*/ 587640 h 1195761"/>
                    <a:gd name="connsiteX141" fmla="*/ 865553 w 1039710"/>
                    <a:gd name="connsiteY141" fmla="*/ 605881 h 1195761"/>
                    <a:gd name="connsiteX142" fmla="*/ 867813 w 1039710"/>
                    <a:gd name="connsiteY142" fmla="*/ 620068 h 1195761"/>
                    <a:gd name="connsiteX143" fmla="*/ 877984 w 1039710"/>
                    <a:gd name="connsiteY143" fmla="*/ 617028 h 1195761"/>
                    <a:gd name="connsiteX144" fmla="*/ 887025 w 1039710"/>
                    <a:gd name="connsiteY144" fmla="*/ 624121 h 1195761"/>
                    <a:gd name="connsiteX145" fmla="*/ 896066 w 1039710"/>
                    <a:gd name="connsiteY145" fmla="*/ 616014 h 1195761"/>
                    <a:gd name="connsiteX146" fmla="*/ 901717 w 1039710"/>
                    <a:gd name="connsiteY146" fmla="*/ 608921 h 1195761"/>
                    <a:gd name="connsiteX147" fmla="*/ 902846 w 1039710"/>
                    <a:gd name="connsiteY147" fmla="*/ 598787 h 1195761"/>
                    <a:gd name="connsiteX148" fmla="*/ 901717 w 1039710"/>
                    <a:gd name="connsiteY148" fmla="*/ 583587 h 1195761"/>
                    <a:gd name="connsiteX149" fmla="*/ 896066 w 1039710"/>
                    <a:gd name="connsiteY149" fmla="*/ 570413 h 1195761"/>
                    <a:gd name="connsiteX150" fmla="*/ 896066 w 1039710"/>
                    <a:gd name="connsiteY150" fmla="*/ 538999 h 1195761"/>
                    <a:gd name="connsiteX151" fmla="*/ 917538 w 1039710"/>
                    <a:gd name="connsiteY151" fmla="*/ 552173 h 1195761"/>
                    <a:gd name="connsiteX152" fmla="*/ 924319 w 1039710"/>
                    <a:gd name="connsiteY152" fmla="*/ 529879 h 1195761"/>
                    <a:gd name="connsiteX153" fmla="*/ 937880 w 1039710"/>
                    <a:gd name="connsiteY153" fmla="*/ 513665 h 1195761"/>
                    <a:gd name="connsiteX154" fmla="*/ 937880 w 1039710"/>
                    <a:gd name="connsiteY154" fmla="*/ 505558 h 1195761"/>
                    <a:gd name="connsiteX155" fmla="*/ 928839 w 1039710"/>
                    <a:gd name="connsiteY155" fmla="*/ 498465 h 1195761"/>
                    <a:gd name="connsiteX156" fmla="*/ 934490 w 1039710"/>
                    <a:gd name="connsiteY156" fmla="*/ 492385 h 1195761"/>
                    <a:gd name="connsiteX157" fmla="*/ 949181 w 1039710"/>
                    <a:gd name="connsiteY157" fmla="*/ 486305 h 1195761"/>
                    <a:gd name="connsiteX158" fmla="*/ 959352 w 1039710"/>
                    <a:gd name="connsiteY158" fmla="*/ 473131 h 1195761"/>
                    <a:gd name="connsiteX159" fmla="*/ 974044 w 1039710"/>
                    <a:gd name="connsiteY159" fmla="*/ 460971 h 1195761"/>
                    <a:gd name="connsiteX160" fmla="*/ 974044 w 1039710"/>
                    <a:gd name="connsiteY160" fmla="*/ 451850 h 1195761"/>
                    <a:gd name="connsiteX161" fmla="*/ 984215 w 1039710"/>
                    <a:gd name="connsiteY161" fmla="*/ 430570 h 1195761"/>
                    <a:gd name="connsiteX162" fmla="*/ 1005687 w 1039710"/>
                    <a:gd name="connsiteY162" fmla="*/ 427530 h 1195761"/>
                    <a:gd name="connsiteX163" fmla="*/ 1019249 w 1039710"/>
                    <a:gd name="connsiteY163" fmla="*/ 430570 h 1195761"/>
                    <a:gd name="connsiteX164" fmla="*/ 1031680 w 1039710"/>
                    <a:gd name="connsiteY164" fmla="*/ 411316 h 1195761"/>
                    <a:gd name="connsiteX165" fmla="*/ 1031680 w 1039710"/>
                    <a:gd name="connsiteY165" fmla="*/ 391049 h 1195761"/>
                    <a:gd name="connsiteX166" fmla="*/ 1028289 w 1039710"/>
                    <a:gd name="connsiteY166" fmla="*/ 379902 h 1195761"/>
                    <a:gd name="connsiteX167" fmla="*/ 1021509 w 1039710"/>
                    <a:gd name="connsiteY167" fmla="*/ 368755 h 1195761"/>
                    <a:gd name="connsiteX168" fmla="*/ 1010208 w 1039710"/>
                    <a:gd name="connsiteY168" fmla="*/ 365715 h 1195761"/>
                    <a:gd name="connsiteX169" fmla="*/ 996646 w 1039710"/>
                    <a:gd name="connsiteY169" fmla="*/ 360648 h 1195761"/>
                    <a:gd name="connsiteX170" fmla="*/ 988735 w 1039710"/>
                    <a:gd name="connsiteY170" fmla="*/ 358622 h 1195761"/>
                    <a:gd name="connsiteX171" fmla="*/ 976304 w 1039710"/>
                    <a:gd name="connsiteY171" fmla="*/ 361662 h 1195761"/>
                    <a:gd name="connsiteX172" fmla="*/ 967263 w 1039710"/>
                    <a:gd name="connsiteY172" fmla="*/ 353555 h 1195761"/>
                    <a:gd name="connsiteX173" fmla="*/ 968393 w 1039710"/>
                    <a:gd name="connsiteY173" fmla="*/ 335314 h 1195761"/>
                    <a:gd name="connsiteX174" fmla="*/ 948051 w 1039710"/>
                    <a:gd name="connsiteY174" fmla="*/ 329234 h 1195761"/>
                    <a:gd name="connsiteX175" fmla="*/ 934490 w 1039710"/>
                    <a:gd name="connsiteY175" fmla="*/ 327207 h 1195761"/>
                    <a:gd name="connsiteX176" fmla="*/ 922059 w 1039710"/>
                    <a:gd name="connsiteY176" fmla="*/ 337341 h 1195761"/>
                    <a:gd name="connsiteX177" fmla="*/ 909627 w 1039710"/>
                    <a:gd name="connsiteY177" fmla="*/ 334301 h 1195761"/>
                    <a:gd name="connsiteX178" fmla="*/ 892675 w 1039710"/>
                    <a:gd name="connsiteY178" fmla="*/ 335314 h 1195761"/>
                    <a:gd name="connsiteX179" fmla="*/ 880244 w 1039710"/>
                    <a:gd name="connsiteY179" fmla="*/ 343421 h 1195761"/>
                    <a:gd name="connsiteX180" fmla="*/ 859902 w 1039710"/>
                    <a:gd name="connsiteY180" fmla="*/ 352541 h 1195761"/>
                    <a:gd name="connsiteX181" fmla="*/ 841820 w 1039710"/>
                    <a:gd name="connsiteY181" fmla="*/ 355582 h 1195761"/>
                    <a:gd name="connsiteX182" fmla="*/ 847470 w 1039710"/>
                    <a:gd name="connsiteY182" fmla="*/ 379902 h 1195761"/>
                    <a:gd name="connsiteX183" fmla="*/ 847470 w 1039710"/>
                    <a:gd name="connsiteY183" fmla="*/ 394089 h 1195761"/>
                    <a:gd name="connsiteX184" fmla="*/ 837300 w 1039710"/>
                    <a:gd name="connsiteY184" fmla="*/ 399156 h 1195761"/>
                    <a:gd name="connsiteX185" fmla="*/ 805656 w 1039710"/>
                    <a:gd name="connsiteY185" fmla="*/ 401183 h 1195761"/>
                    <a:gd name="connsiteX186" fmla="*/ 784184 w 1039710"/>
                    <a:gd name="connsiteY186" fmla="*/ 395102 h 1195761"/>
                    <a:gd name="connsiteX187" fmla="*/ 767232 w 1039710"/>
                    <a:gd name="connsiteY187" fmla="*/ 398142 h 1195761"/>
                    <a:gd name="connsiteX188" fmla="*/ 753671 w 1039710"/>
                    <a:gd name="connsiteY188" fmla="*/ 401183 h 1195761"/>
                    <a:gd name="connsiteX189" fmla="*/ 741240 w 1039710"/>
                    <a:gd name="connsiteY189" fmla="*/ 388009 h 1195761"/>
                    <a:gd name="connsiteX190" fmla="*/ 743500 w 1039710"/>
                    <a:gd name="connsiteY190" fmla="*/ 373822 h 1195761"/>
                    <a:gd name="connsiteX191" fmla="*/ 738979 w 1039710"/>
                    <a:gd name="connsiteY191" fmla="*/ 379902 h 1195761"/>
                    <a:gd name="connsiteX192" fmla="*/ 727678 w 1039710"/>
                    <a:gd name="connsiteY192" fmla="*/ 363688 h 1195761"/>
                    <a:gd name="connsiteX193" fmla="*/ 715247 w 1039710"/>
                    <a:gd name="connsiteY193" fmla="*/ 362675 h 1195761"/>
                    <a:gd name="connsiteX194" fmla="*/ 701685 w 1039710"/>
                    <a:gd name="connsiteY194" fmla="*/ 368755 h 1195761"/>
                    <a:gd name="connsiteX195" fmla="*/ 703946 w 1039710"/>
                    <a:gd name="connsiteY195" fmla="*/ 370782 h 1195761"/>
                    <a:gd name="connsiteX196" fmla="*/ 702815 w 1039710"/>
                    <a:gd name="connsiteY196" fmla="*/ 389022 h 1195761"/>
                    <a:gd name="connsiteX197" fmla="*/ 696035 w 1039710"/>
                    <a:gd name="connsiteY197" fmla="*/ 398142 h 1195761"/>
                    <a:gd name="connsiteX198" fmla="*/ 706205 w 1039710"/>
                    <a:gd name="connsiteY198" fmla="*/ 408276 h 1195761"/>
                    <a:gd name="connsiteX199" fmla="*/ 706205 w 1039710"/>
                    <a:gd name="connsiteY199" fmla="*/ 417396 h 1195761"/>
                    <a:gd name="connsiteX200" fmla="*/ 698295 w 1039710"/>
                    <a:gd name="connsiteY200" fmla="*/ 424490 h 1195761"/>
                    <a:gd name="connsiteX201" fmla="*/ 682473 w 1039710"/>
                    <a:gd name="connsiteY201" fmla="*/ 426517 h 1195761"/>
                    <a:gd name="connsiteX202" fmla="*/ 665521 w 1039710"/>
                    <a:gd name="connsiteY202" fmla="*/ 422463 h 1195761"/>
                    <a:gd name="connsiteX203" fmla="*/ 646309 w 1039710"/>
                    <a:gd name="connsiteY203" fmla="*/ 421450 h 1195761"/>
                    <a:gd name="connsiteX204" fmla="*/ 615796 w 1039710"/>
                    <a:gd name="connsiteY204" fmla="*/ 407263 h 1195761"/>
                    <a:gd name="connsiteX205" fmla="*/ 587543 w 1039710"/>
                    <a:gd name="connsiteY205" fmla="*/ 407263 h 1195761"/>
                    <a:gd name="connsiteX206" fmla="*/ 572851 w 1039710"/>
                    <a:gd name="connsiteY206" fmla="*/ 392062 h 1195761"/>
                    <a:gd name="connsiteX207" fmla="*/ 557030 w 1039710"/>
                    <a:gd name="connsiteY207" fmla="*/ 391049 h 1195761"/>
                    <a:gd name="connsiteX208" fmla="*/ 545729 w 1039710"/>
                    <a:gd name="connsiteY208" fmla="*/ 379902 h 1195761"/>
                    <a:gd name="connsiteX209" fmla="*/ 531037 w 1039710"/>
                    <a:gd name="connsiteY209" fmla="*/ 369769 h 1195761"/>
                    <a:gd name="connsiteX210" fmla="*/ 509565 w 1039710"/>
                    <a:gd name="connsiteY210" fmla="*/ 368755 h 1195761"/>
                    <a:gd name="connsiteX211" fmla="*/ 485832 w 1039710"/>
                    <a:gd name="connsiteY211" fmla="*/ 358622 h 1195761"/>
                    <a:gd name="connsiteX212" fmla="*/ 466621 w 1039710"/>
                    <a:gd name="connsiteY212" fmla="*/ 351528 h 1195761"/>
                    <a:gd name="connsiteX213" fmla="*/ 447408 w 1039710"/>
                    <a:gd name="connsiteY213" fmla="*/ 344435 h 1195761"/>
                    <a:gd name="connsiteX214" fmla="*/ 442888 w 1039710"/>
                    <a:gd name="connsiteY214" fmla="*/ 331261 h 1195761"/>
                    <a:gd name="connsiteX215" fmla="*/ 422546 w 1039710"/>
                    <a:gd name="connsiteY215" fmla="*/ 324167 h 1195761"/>
                    <a:gd name="connsiteX216" fmla="*/ 418025 w 1039710"/>
                    <a:gd name="connsiteY216" fmla="*/ 306940 h 1195761"/>
                    <a:gd name="connsiteX217" fmla="*/ 431586 w 1039710"/>
                    <a:gd name="connsiteY217" fmla="*/ 285660 h 1195761"/>
                    <a:gd name="connsiteX218" fmla="*/ 451928 w 1039710"/>
                    <a:gd name="connsiteY218" fmla="*/ 272486 h 1195761"/>
                    <a:gd name="connsiteX219" fmla="*/ 440627 w 1039710"/>
                    <a:gd name="connsiteY219" fmla="*/ 262353 h 1195761"/>
                    <a:gd name="connsiteX220" fmla="*/ 425936 w 1039710"/>
                    <a:gd name="connsiteY220" fmla="*/ 252219 h 1195761"/>
                    <a:gd name="connsiteX221" fmla="*/ 407854 w 1039710"/>
                    <a:gd name="connsiteY221" fmla="*/ 249179 h 1195761"/>
                    <a:gd name="connsiteX222" fmla="*/ 393163 w 1039710"/>
                    <a:gd name="connsiteY222" fmla="*/ 240059 h 1195761"/>
                    <a:gd name="connsiteX223" fmla="*/ 376211 w 1039710"/>
                    <a:gd name="connsiteY223" fmla="*/ 233979 h 1195761"/>
                    <a:gd name="connsiteX224" fmla="*/ 370560 w 1039710"/>
                    <a:gd name="connsiteY224" fmla="*/ 219792 h 1195761"/>
                    <a:gd name="connsiteX225" fmla="*/ 377341 w 1039710"/>
                    <a:gd name="connsiteY225" fmla="*/ 211685 h 1195761"/>
                    <a:gd name="connsiteX226" fmla="*/ 373951 w 1039710"/>
                    <a:gd name="connsiteY226" fmla="*/ 202565 h 1195761"/>
                    <a:gd name="connsiteX227" fmla="*/ 379601 w 1039710"/>
                    <a:gd name="connsiteY227" fmla="*/ 186351 h 1195761"/>
                    <a:gd name="connsiteX228" fmla="*/ 379601 w 1039710"/>
                    <a:gd name="connsiteY228" fmla="*/ 175204 h 1195761"/>
                    <a:gd name="connsiteX229" fmla="*/ 370560 w 1039710"/>
                    <a:gd name="connsiteY229" fmla="*/ 174191 h 1195761"/>
                    <a:gd name="connsiteX230" fmla="*/ 358129 w 1039710"/>
                    <a:gd name="connsiteY230" fmla="*/ 169124 h 1195761"/>
                    <a:gd name="connsiteX231" fmla="*/ 359259 w 1039710"/>
                    <a:gd name="connsiteY231" fmla="*/ 147843 h 1195761"/>
                    <a:gd name="connsiteX232" fmla="*/ 352478 w 1039710"/>
                    <a:gd name="connsiteY232" fmla="*/ 136696 h 1195761"/>
                    <a:gd name="connsiteX233" fmla="*/ 336657 w 1039710"/>
                    <a:gd name="connsiteY233" fmla="*/ 126563 h 1195761"/>
                    <a:gd name="connsiteX234" fmla="*/ 343437 w 1039710"/>
                    <a:gd name="connsiteY234" fmla="*/ 113389 h 1195761"/>
                    <a:gd name="connsiteX235" fmla="*/ 352478 w 1039710"/>
                    <a:gd name="connsiteY235" fmla="*/ 105282 h 1195761"/>
                    <a:gd name="connsiteX236" fmla="*/ 359259 w 1039710"/>
                    <a:gd name="connsiteY236" fmla="*/ 91095 h 1195761"/>
                    <a:gd name="connsiteX237" fmla="*/ 369430 w 1039710"/>
                    <a:gd name="connsiteY237" fmla="*/ 81975 h 1195761"/>
                    <a:gd name="connsiteX238" fmla="*/ 377341 w 1039710"/>
                    <a:gd name="connsiteY238" fmla="*/ 71842 h 1195761"/>
                    <a:gd name="connsiteX239" fmla="*/ 380731 w 1039710"/>
                    <a:gd name="connsiteY239" fmla="*/ 61708 h 1195761"/>
                    <a:gd name="connsiteX240" fmla="*/ 389772 w 1039710"/>
                    <a:gd name="connsiteY240" fmla="*/ 52588 h 1195761"/>
                    <a:gd name="connsiteX241" fmla="*/ 384121 w 1039710"/>
                    <a:gd name="connsiteY241" fmla="*/ 38401 h 1195761"/>
                    <a:gd name="connsiteX242" fmla="*/ 373951 w 1039710"/>
                    <a:gd name="connsiteY242" fmla="*/ 28267 h 1195761"/>
                    <a:gd name="connsiteX243" fmla="*/ 367170 w 1039710"/>
                    <a:gd name="connsiteY243" fmla="*/ 14080 h 1195761"/>
                    <a:gd name="connsiteX244" fmla="*/ 350218 w 1039710"/>
                    <a:gd name="connsiteY244" fmla="*/ 13067 h 1195761"/>
                    <a:gd name="connsiteX245" fmla="*/ 334396 w 1039710"/>
                    <a:gd name="connsiteY245" fmla="*/ 9013 h 1195761"/>
                    <a:gd name="connsiteX246" fmla="*/ 319705 w 1039710"/>
                    <a:gd name="connsiteY246" fmla="*/ 9013 h 1195761"/>
                    <a:gd name="connsiteX247" fmla="*/ 310664 w 1039710"/>
                    <a:gd name="connsiteY247" fmla="*/ 15094 h 1195761"/>
                    <a:gd name="connsiteX248" fmla="*/ 293712 w 1039710"/>
                    <a:gd name="connsiteY248" fmla="*/ 28267 h 1195761"/>
                    <a:gd name="connsiteX249" fmla="*/ 284671 w 1039710"/>
                    <a:gd name="connsiteY249" fmla="*/ 44481 h 1195761"/>
                    <a:gd name="connsiteX250" fmla="*/ 273370 w 1039710"/>
                    <a:gd name="connsiteY250" fmla="*/ 54614 h 1195761"/>
                    <a:gd name="connsiteX251" fmla="*/ 266589 w 1039710"/>
                    <a:gd name="connsiteY251" fmla="*/ 63735 h 1195761"/>
                    <a:gd name="connsiteX252" fmla="*/ 248507 w 1039710"/>
                    <a:gd name="connsiteY252" fmla="*/ 76908 h 1195761"/>
                    <a:gd name="connsiteX253" fmla="*/ 224775 w 1039710"/>
                    <a:gd name="connsiteY253" fmla="*/ 82989 h 1195761"/>
                    <a:gd name="connsiteX254" fmla="*/ 208953 w 1039710"/>
                    <a:gd name="connsiteY254" fmla="*/ 89069 h 1195761"/>
                    <a:gd name="connsiteX255" fmla="*/ 205563 w 1039710"/>
                    <a:gd name="connsiteY255" fmla="*/ 95149 h 1195761"/>
                    <a:gd name="connsiteX256" fmla="*/ 196522 w 1039710"/>
                    <a:gd name="connsiteY256" fmla="*/ 101229 h 1195761"/>
                    <a:gd name="connsiteX257" fmla="*/ 184091 w 1039710"/>
                    <a:gd name="connsiteY257" fmla="*/ 96162 h 1195761"/>
                    <a:gd name="connsiteX258" fmla="*/ 171659 w 1039710"/>
                    <a:gd name="connsiteY258" fmla="*/ 101229 h 1195761"/>
                    <a:gd name="connsiteX259" fmla="*/ 155838 w 1039710"/>
                    <a:gd name="connsiteY259" fmla="*/ 107309 h 1195761"/>
                    <a:gd name="connsiteX260" fmla="*/ 152447 w 1039710"/>
                    <a:gd name="connsiteY260" fmla="*/ 119469 h 1195761"/>
                    <a:gd name="connsiteX261" fmla="*/ 167139 w 1039710"/>
                    <a:gd name="connsiteY261" fmla="*/ 133657 h 1195761"/>
                    <a:gd name="connsiteX262" fmla="*/ 172789 w 1039710"/>
                    <a:gd name="connsiteY262" fmla="*/ 163044 h 1195761"/>
                    <a:gd name="connsiteX263" fmla="*/ 179570 w 1039710"/>
                    <a:gd name="connsiteY263" fmla="*/ 171151 h 1195761"/>
                    <a:gd name="connsiteX264" fmla="*/ 190871 w 1039710"/>
                    <a:gd name="connsiteY264" fmla="*/ 179258 h 1195761"/>
                    <a:gd name="connsiteX265" fmla="*/ 206693 w 1039710"/>
                    <a:gd name="connsiteY265" fmla="*/ 195471 h 1195761"/>
                    <a:gd name="connsiteX266" fmla="*/ 206693 w 1039710"/>
                    <a:gd name="connsiteY266" fmla="*/ 212698 h 1195761"/>
                    <a:gd name="connsiteX267" fmla="*/ 198782 w 1039710"/>
                    <a:gd name="connsiteY267" fmla="*/ 227899 h 1195761"/>
                    <a:gd name="connsiteX268" fmla="*/ 186350 w 1039710"/>
                    <a:gd name="connsiteY268" fmla="*/ 243099 h 1195761"/>
                    <a:gd name="connsiteX269" fmla="*/ 184091 w 1039710"/>
                    <a:gd name="connsiteY269" fmla="*/ 264379 h 1195761"/>
                    <a:gd name="connsiteX270" fmla="*/ 181830 w 1039710"/>
                    <a:gd name="connsiteY270" fmla="*/ 281606 h 1195761"/>
                    <a:gd name="connsiteX271" fmla="*/ 166008 w 1039710"/>
                    <a:gd name="connsiteY271" fmla="*/ 293767 h 1195761"/>
                    <a:gd name="connsiteX272" fmla="*/ 154707 w 1039710"/>
                    <a:gd name="connsiteY272" fmla="*/ 302887 h 1195761"/>
                    <a:gd name="connsiteX273" fmla="*/ 142276 w 1039710"/>
                    <a:gd name="connsiteY273" fmla="*/ 314034 h 1195761"/>
                    <a:gd name="connsiteX274" fmla="*/ 121934 w 1039710"/>
                    <a:gd name="connsiteY274" fmla="*/ 327207 h 1195761"/>
                    <a:gd name="connsiteX275" fmla="*/ 106112 w 1039710"/>
                    <a:gd name="connsiteY275" fmla="*/ 347475 h 1195761"/>
                    <a:gd name="connsiteX276" fmla="*/ 91421 w 1039710"/>
                    <a:gd name="connsiteY276" fmla="*/ 365715 h 1195761"/>
                    <a:gd name="connsiteX277" fmla="*/ 74469 w 1039710"/>
                    <a:gd name="connsiteY277" fmla="*/ 369769 h 1195761"/>
                    <a:gd name="connsiteX278" fmla="*/ 67688 w 1039710"/>
                    <a:gd name="connsiteY278" fmla="*/ 360648 h 1195761"/>
                    <a:gd name="connsiteX279" fmla="*/ 58647 w 1039710"/>
                    <a:gd name="connsiteY279" fmla="*/ 379902 h 1195761"/>
                    <a:gd name="connsiteX280" fmla="*/ 48476 w 1039710"/>
                    <a:gd name="connsiteY280" fmla="*/ 389022 h 1195761"/>
                    <a:gd name="connsiteX281" fmla="*/ 37175 w 1039710"/>
                    <a:gd name="connsiteY281" fmla="*/ 407263 h 1195761"/>
                    <a:gd name="connsiteX282" fmla="*/ 46216 w 1039710"/>
                    <a:gd name="connsiteY282" fmla="*/ 417396 h 1195761"/>
                    <a:gd name="connsiteX283" fmla="*/ 52996 w 1039710"/>
                    <a:gd name="connsiteY283" fmla="*/ 422463 h 1195761"/>
                    <a:gd name="connsiteX284" fmla="*/ 48476 w 1039710"/>
                    <a:gd name="connsiteY284" fmla="*/ 433610 h 1195761"/>
                    <a:gd name="connsiteX285" fmla="*/ 48476 w 1039710"/>
                    <a:gd name="connsiteY285" fmla="*/ 448810 h 1195761"/>
                    <a:gd name="connsiteX286" fmla="*/ 63168 w 1039710"/>
                    <a:gd name="connsiteY286" fmla="*/ 453877 h 1195761"/>
                    <a:gd name="connsiteX287" fmla="*/ 68818 w 1039710"/>
                    <a:gd name="connsiteY287" fmla="*/ 468064 h 1195761"/>
                    <a:gd name="connsiteX288" fmla="*/ 69948 w 1039710"/>
                    <a:gd name="connsiteY288" fmla="*/ 506572 h 1195761"/>
                    <a:gd name="connsiteX289" fmla="*/ 58647 w 1039710"/>
                    <a:gd name="connsiteY289" fmla="*/ 503532 h 1195761"/>
                    <a:gd name="connsiteX290" fmla="*/ 38305 w 1039710"/>
                    <a:gd name="connsiteY290" fmla="*/ 502518 h 1195761"/>
                    <a:gd name="connsiteX291" fmla="*/ 25874 w 1039710"/>
                    <a:gd name="connsiteY291" fmla="*/ 503532 h 1195761"/>
                    <a:gd name="connsiteX292" fmla="*/ 11182 w 1039710"/>
                    <a:gd name="connsiteY292" fmla="*/ 509612 h 1195761"/>
                    <a:gd name="connsiteX293" fmla="*/ 11182 w 1039710"/>
                    <a:gd name="connsiteY293" fmla="*/ 524812 h 1195761"/>
                    <a:gd name="connsiteX294" fmla="*/ 881374 w 1039710"/>
                    <a:gd name="connsiteY294" fmla="*/ 933195 h 1195761"/>
                    <a:gd name="connsiteX295" fmla="*/ 881374 w 1039710"/>
                    <a:gd name="connsiteY295" fmla="*/ 943329 h 1195761"/>
                    <a:gd name="connsiteX296" fmla="*/ 881374 w 1039710"/>
                    <a:gd name="connsiteY296" fmla="*/ 933195 h 1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Lst>
                  <a:rect l="l" t="t" r="r" b="b"/>
                  <a:pathLst>
                    <a:path w="1039710" h="1195761">
                      <a:moveTo>
                        <a:pt x="877984" y="966636"/>
                      </a:moveTo>
                      <a:lnTo>
                        <a:pt x="880244" y="971702"/>
                      </a:lnTo>
                      <a:cubicBezTo>
                        <a:pt x="880244" y="968662"/>
                        <a:pt x="883634" y="966636"/>
                        <a:pt x="877984" y="966636"/>
                      </a:cubicBezTo>
                      <a:close/>
                      <a:moveTo>
                        <a:pt x="877984" y="981836"/>
                      </a:moveTo>
                      <a:cubicBezTo>
                        <a:pt x="877984" y="981836"/>
                        <a:pt x="877984" y="990956"/>
                        <a:pt x="877984" y="991970"/>
                      </a:cubicBezTo>
                      <a:cubicBezTo>
                        <a:pt x="885895" y="995010"/>
                        <a:pt x="882504" y="982849"/>
                        <a:pt x="877984" y="981836"/>
                      </a:cubicBezTo>
                      <a:close/>
                      <a:moveTo>
                        <a:pt x="872333" y="1003117"/>
                      </a:moveTo>
                      <a:cubicBezTo>
                        <a:pt x="872333" y="1003117"/>
                        <a:pt x="874594" y="1010210"/>
                        <a:pt x="874594" y="1010210"/>
                      </a:cubicBezTo>
                      <a:cubicBezTo>
                        <a:pt x="880244" y="1011223"/>
                        <a:pt x="877984" y="1004130"/>
                        <a:pt x="872333" y="1003117"/>
                      </a:cubicBezTo>
                      <a:close/>
                      <a:moveTo>
                        <a:pt x="864422" y="1051758"/>
                      </a:moveTo>
                      <a:lnTo>
                        <a:pt x="864422" y="1056824"/>
                      </a:lnTo>
                      <a:cubicBezTo>
                        <a:pt x="873464" y="1058851"/>
                        <a:pt x="868943" y="1052771"/>
                        <a:pt x="864422" y="1051758"/>
                      </a:cubicBezTo>
                      <a:close/>
                      <a:moveTo>
                        <a:pt x="899456" y="1188561"/>
                      </a:moveTo>
                      <a:lnTo>
                        <a:pt x="905107" y="1195654"/>
                      </a:lnTo>
                      <a:cubicBezTo>
                        <a:pt x="910757" y="1196668"/>
                        <a:pt x="907367" y="1190588"/>
                        <a:pt x="907367" y="1188561"/>
                      </a:cubicBezTo>
                      <a:cubicBezTo>
                        <a:pt x="906237" y="1188561"/>
                        <a:pt x="901717" y="1188561"/>
                        <a:pt x="899456" y="1188561"/>
                      </a:cubicBezTo>
                      <a:close/>
                      <a:moveTo>
                        <a:pt x="11182" y="524812"/>
                      </a:moveTo>
                      <a:lnTo>
                        <a:pt x="15703" y="524812"/>
                      </a:lnTo>
                      <a:cubicBezTo>
                        <a:pt x="14573" y="527852"/>
                        <a:pt x="12312" y="527852"/>
                        <a:pt x="10052" y="529879"/>
                      </a:cubicBezTo>
                      <a:cubicBezTo>
                        <a:pt x="14573" y="542039"/>
                        <a:pt x="11182" y="548119"/>
                        <a:pt x="12312" y="556226"/>
                      </a:cubicBezTo>
                      <a:cubicBezTo>
                        <a:pt x="24743" y="561293"/>
                        <a:pt x="51867" y="573453"/>
                        <a:pt x="74469" y="566360"/>
                      </a:cubicBezTo>
                      <a:cubicBezTo>
                        <a:pt x="81249" y="564333"/>
                        <a:pt x="81249" y="552173"/>
                        <a:pt x="88031" y="549133"/>
                      </a:cubicBezTo>
                      <a:cubicBezTo>
                        <a:pt x="91421" y="548119"/>
                        <a:pt x="93681" y="551159"/>
                        <a:pt x="95941" y="549133"/>
                      </a:cubicBezTo>
                      <a:cubicBezTo>
                        <a:pt x="91421" y="555213"/>
                        <a:pt x="90290" y="563320"/>
                        <a:pt x="84640" y="568387"/>
                      </a:cubicBezTo>
                      <a:cubicBezTo>
                        <a:pt x="82380" y="571426"/>
                        <a:pt x="76729" y="570413"/>
                        <a:pt x="73338" y="573453"/>
                      </a:cubicBezTo>
                      <a:cubicBezTo>
                        <a:pt x="71079" y="576493"/>
                        <a:pt x="72209" y="583587"/>
                        <a:pt x="67688" y="585613"/>
                      </a:cubicBezTo>
                      <a:cubicBezTo>
                        <a:pt x="64298" y="587640"/>
                        <a:pt x="57517" y="584600"/>
                        <a:pt x="54127" y="585613"/>
                      </a:cubicBezTo>
                      <a:cubicBezTo>
                        <a:pt x="51867" y="585613"/>
                        <a:pt x="47346" y="592707"/>
                        <a:pt x="46216" y="592707"/>
                      </a:cubicBezTo>
                      <a:cubicBezTo>
                        <a:pt x="39435" y="593720"/>
                        <a:pt x="41695" y="589667"/>
                        <a:pt x="34915" y="590680"/>
                      </a:cubicBezTo>
                      <a:cubicBezTo>
                        <a:pt x="33784" y="590680"/>
                        <a:pt x="30394" y="594734"/>
                        <a:pt x="27004" y="595747"/>
                      </a:cubicBezTo>
                      <a:cubicBezTo>
                        <a:pt x="30394" y="600814"/>
                        <a:pt x="34915" y="605881"/>
                        <a:pt x="38305" y="609934"/>
                      </a:cubicBezTo>
                      <a:cubicBezTo>
                        <a:pt x="51867" y="628175"/>
                        <a:pt x="67688" y="640335"/>
                        <a:pt x="81249" y="658575"/>
                      </a:cubicBezTo>
                      <a:cubicBezTo>
                        <a:pt x="85770" y="657562"/>
                        <a:pt x="90290" y="659589"/>
                        <a:pt x="94811" y="658575"/>
                      </a:cubicBezTo>
                      <a:cubicBezTo>
                        <a:pt x="97071" y="657562"/>
                        <a:pt x="100462" y="652495"/>
                        <a:pt x="102722" y="651482"/>
                      </a:cubicBezTo>
                      <a:cubicBezTo>
                        <a:pt x="117413" y="643375"/>
                        <a:pt x="135495" y="640335"/>
                        <a:pt x="137755" y="622094"/>
                      </a:cubicBezTo>
                      <a:cubicBezTo>
                        <a:pt x="140016" y="605881"/>
                        <a:pt x="135495" y="600814"/>
                        <a:pt x="140016" y="585613"/>
                      </a:cubicBezTo>
                      <a:lnTo>
                        <a:pt x="145666" y="585613"/>
                      </a:lnTo>
                      <a:cubicBezTo>
                        <a:pt x="147927" y="590680"/>
                        <a:pt x="145666" y="586627"/>
                        <a:pt x="151317" y="587640"/>
                      </a:cubicBezTo>
                      <a:cubicBezTo>
                        <a:pt x="152447" y="592707"/>
                        <a:pt x="150187" y="591694"/>
                        <a:pt x="149057" y="594734"/>
                      </a:cubicBezTo>
                      <a:cubicBezTo>
                        <a:pt x="149057" y="592707"/>
                        <a:pt x="154707" y="599801"/>
                        <a:pt x="154707" y="599801"/>
                      </a:cubicBezTo>
                      <a:cubicBezTo>
                        <a:pt x="153577" y="602841"/>
                        <a:pt x="150187" y="602841"/>
                        <a:pt x="149057" y="609934"/>
                      </a:cubicBezTo>
                      <a:cubicBezTo>
                        <a:pt x="156968" y="613988"/>
                        <a:pt x="158097" y="619054"/>
                        <a:pt x="154707" y="617028"/>
                      </a:cubicBezTo>
                      <a:cubicBezTo>
                        <a:pt x="153577" y="618041"/>
                        <a:pt x="156968" y="623108"/>
                        <a:pt x="152447" y="619054"/>
                      </a:cubicBezTo>
                      <a:cubicBezTo>
                        <a:pt x="152447" y="620068"/>
                        <a:pt x="151317" y="627161"/>
                        <a:pt x="154707" y="624121"/>
                      </a:cubicBezTo>
                      <a:lnTo>
                        <a:pt x="154707" y="634255"/>
                      </a:lnTo>
                      <a:cubicBezTo>
                        <a:pt x="158097" y="640335"/>
                        <a:pt x="166008" y="640335"/>
                        <a:pt x="166008" y="651482"/>
                      </a:cubicBezTo>
                      <a:lnTo>
                        <a:pt x="160358" y="653508"/>
                      </a:lnTo>
                      <a:cubicBezTo>
                        <a:pt x="158097" y="658575"/>
                        <a:pt x="146796" y="693029"/>
                        <a:pt x="146796" y="695056"/>
                      </a:cubicBezTo>
                      <a:cubicBezTo>
                        <a:pt x="146796" y="699109"/>
                        <a:pt x="159228" y="707216"/>
                        <a:pt x="160358" y="709243"/>
                      </a:cubicBezTo>
                      <a:cubicBezTo>
                        <a:pt x="161488" y="712283"/>
                        <a:pt x="156968" y="716337"/>
                        <a:pt x="158097" y="716337"/>
                      </a:cubicBezTo>
                      <a:cubicBezTo>
                        <a:pt x="167139" y="720390"/>
                        <a:pt x="160358" y="734577"/>
                        <a:pt x="158097" y="740657"/>
                      </a:cubicBezTo>
                      <a:lnTo>
                        <a:pt x="163748" y="740657"/>
                      </a:lnTo>
                      <a:cubicBezTo>
                        <a:pt x="161488" y="751804"/>
                        <a:pt x="160358" y="773084"/>
                        <a:pt x="169399" y="777138"/>
                      </a:cubicBezTo>
                      <a:cubicBezTo>
                        <a:pt x="169399" y="777138"/>
                        <a:pt x="166008" y="781191"/>
                        <a:pt x="167139" y="784231"/>
                      </a:cubicBezTo>
                      <a:cubicBezTo>
                        <a:pt x="168269" y="786258"/>
                        <a:pt x="173919" y="793352"/>
                        <a:pt x="175049" y="796392"/>
                      </a:cubicBezTo>
                      <a:cubicBezTo>
                        <a:pt x="178440" y="808552"/>
                        <a:pt x="175049" y="815646"/>
                        <a:pt x="177310" y="827806"/>
                      </a:cubicBezTo>
                      <a:cubicBezTo>
                        <a:pt x="182960" y="855166"/>
                        <a:pt x="202172" y="877460"/>
                        <a:pt x="210083" y="902794"/>
                      </a:cubicBezTo>
                      <a:cubicBezTo>
                        <a:pt x="215734" y="923061"/>
                        <a:pt x="213474" y="936235"/>
                        <a:pt x="217994" y="958529"/>
                      </a:cubicBezTo>
                      <a:cubicBezTo>
                        <a:pt x="217994" y="961569"/>
                        <a:pt x="225905" y="968662"/>
                        <a:pt x="225905" y="970689"/>
                      </a:cubicBezTo>
                      <a:cubicBezTo>
                        <a:pt x="228165" y="977783"/>
                        <a:pt x="224775" y="981836"/>
                        <a:pt x="228165" y="987916"/>
                      </a:cubicBezTo>
                      <a:cubicBezTo>
                        <a:pt x="230425" y="992983"/>
                        <a:pt x="239466" y="993996"/>
                        <a:pt x="241727" y="998050"/>
                      </a:cubicBezTo>
                      <a:cubicBezTo>
                        <a:pt x="245117" y="1003117"/>
                        <a:pt x="241727" y="1007170"/>
                        <a:pt x="243987" y="1012237"/>
                      </a:cubicBezTo>
                      <a:cubicBezTo>
                        <a:pt x="246247" y="1017303"/>
                        <a:pt x="255288" y="1023384"/>
                        <a:pt x="257548" y="1029464"/>
                      </a:cubicBezTo>
                      <a:cubicBezTo>
                        <a:pt x="260939" y="1037571"/>
                        <a:pt x="258678" y="1043651"/>
                        <a:pt x="263199" y="1051758"/>
                      </a:cubicBezTo>
                      <a:cubicBezTo>
                        <a:pt x="266589" y="1058851"/>
                        <a:pt x="281281" y="1067971"/>
                        <a:pt x="282411" y="1076078"/>
                      </a:cubicBezTo>
                      <a:cubicBezTo>
                        <a:pt x="283541" y="1083172"/>
                        <a:pt x="277890" y="1085199"/>
                        <a:pt x="274500" y="1088238"/>
                      </a:cubicBezTo>
                      <a:cubicBezTo>
                        <a:pt x="286931" y="1107492"/>
                        <a:pt x="301623" y="1128773"/>
                        <a:pt x="315184" y="1149040"/>
                      </a:cubicBezTo>
                      <a:cubicBezTo>
                        <a:pt x="321965" y="1147013"/>
                        <a:pt x="325356" y="1149040"/>
                        <a:pt x="331006" y="1147013"/>
                      </a:cubicBezTo>
                      <a:cubicBezTo>
                        <a:pt x="341177" y="1141947"/>
                        <a:pt x="338917" y="1125733"/>
                        <a:pt x="346828" y="1120666"/>
                      </a:cubicBezTo>
                      <a:cubicBezTo>
                        <a:pt x="350218" y="1117626"/>
                        <a:pt x="356999" y="1119653"/>
                        <a:pt x="360389" y="1115599"/>
                      </a:cubicBezTo>
                      <a:cubicBezTo>
                        <a:pt x="361519" y="1114586"/>
                        <a:pt x="360389" y="1109519"/>
                        <a:pt x="360389" y="1108506"/>
                      </a:cubicBezTo>
                      <a:cubicBezTo>
                        <a:pt x="360389" y="1108506"/>
                        <a:pt x="381862" y="1077091"/>
                        <a:pt x="381862" y="1077091"/>
                      </a:cubicBezTo>
                      <a:cubicBezTo>
                        <a:pt x="385252" y="1075065"/>
                        <a:pt x="395423" y="1075065"/>
                        <a:pt x="397683" y="1075065"/>
                      </a:cubicBezTo>
                      <a:cubicBezTo>
                        <a:pt x="394293" y="1058851"/>
                        <a:pt x="387512" y="1033517"/>
                        <a:pt x="392032" y="1019330"/>
                      </a:cubicBezTo>
                      <a:cubicBezTo>
                        <a:pt x="394293" y="1014264"/>
                        <a:pt x="403333" y="1009197"/>
                        <a:pt x="405594" y="1005143"/>
                      </a:cubicBezTo>
                      <a:cubicBezTo>
                        <a:pt x="408984" y="998050"/>
                        <a:pt x="404464" y="992983"/>
                        <a:pt x="407854" y="985889"/>
                      </a:cubicBezTo>
                      <a:lnTo>
                        <a:pt x="413505" y="983863"/>
                      </a:lnTo>
                      <a:cubicBezTo>
                        <a:pt x="414635" y="975756"/>
                        <a:pt x="408984" y="967649"/>
                        <a:pt x="407854" y="961569"/>
                      </a:cubicBezTo>
                      <a:cubicBezTo>
                        <a:pt x="405594" y="943329"/>
                        <a:pt x="402204" y="925088"/>
                        <a:pt x="405594" y="905834"/>
                      </a:cubicBezTo>
                      <a:cubicBezTo>
                        <a:pt x="406724" y="897727"/>
                        <a:pt x="414635" y="890634"/>
                        <a:pt x="413505" y="881514"/>
                      </a:cubicBezTo>
                      <a:lnTo>
                        <a:pt x="411244" y="881514"/>
                      </a:lnTo>
                      <a:cubicBezTo>
                        <a:pt x="411244" y="877460"/>
                        <a:pt x="405594" y="867327"/>
                        <a:pt x="408984" y="859220"/>
                      </a:cubicBezTo>
                      <a:cubicBezTo>
                        <a:pt x="410115" y="856180"/>
                        <a:pt x="414635" y="854153"/>
                        <a:pt x="416895" y="852126"/>
                      </a:cubicBezTo>
                      <a:cubicBezTo>
                        <a:pt x="425936" y="845033"/>
                        <a:pt x="427066" y="851113"/>
                        <a:pt x="438368" y="847060"/>
                      </a:cubicBezTo>
                      <a:cubicBezTo>
                        <a:pt x="445148" y="844019"/>
                        <a:pt x="446278" y="835913"/>
                        <a:pt x="451928" y="832873"/>
                      </a:cubicBezTo>
                      <a:cubicBezTo>
                        <a:pt x="458710" y="828819"/>
                        <a:pt x="470011" y="830846"/>
                        <a:pt x="476791" y="825779"/>
                      </a:cubicBezTo>
                      <a:cubicBezTo>
                        <a:pt x="485832" y="818685"/>
                        <a:pt x="482442" y="798418"/>
                        <a:pt x="492613" y="791325"/>
                      </a:cubicBezTo>
                      <a:cubicBezTo>
                        <a:pt x="500524" y="786258"/>
                        <a:pt x="509565" y="790312"/>
                        <a:pt x="519736" y="786258"/>
                      </a:cubicBezTo>
                      <a:lnTo>
                        <a:pt x="519736" y="784231"/>
                      </a:lnTo>
                      <a:cubicBezTo>
                        <a:pt x="524256" y="782205"/>
                        <a:pt x="526517" y="776125"/>
                        <a:pt x="531037" y="774098"/>
                      </a:cubicBezTo>
                      <a:cubicBezTo>
                        <a:pt x="537818" y="771058"/>
                        <a:pt x="546859" y="773084"/>
                        <a:pt x="552509" y="769031"/>
                      </a:cubicBezTo>
                      <a:cubicBezTo>
                        <a:pt x="555900" y="765991"/>
                        <a:pt x="554770" y="757884"/>
                        <a:pt x="558160" y="754844"/>
                      </a:cubicBezTo>
                      <a:cubicBezTo>
                        <a:pt x="560420" y="750791"/>
                        <a:pt x="569461" y="748764"/>
                        <a:pt x="571722" y="744711"/>
                      </a:cubicBezTo>
                      <a:cubicBezTo>
                        <a:pt x="575112" y="739644"/>
                        <a:pt x="573982" y="734577"/>
                        <a:pt x="577372" y="730524"/>
                      </a:cubicBezTo>
                      <a:lnTo>
                        <a:pt x="583023" y="730524"/>
                      </a:lnTo>
                      <a:lnTo>
                        <a:pt x="583023" y="725457"/>
                      </a:lnTo>
                      <a:cubicBezTo>
                        <a:pt x="584153" y="721403"/>
                        <a:pt x="594324" y="721403"/>
                        <a:pt x="596584" y="718363"/>
                      </a:cubicBezTo>
                      <a:lnTo>
                        <a:pt x="602235" y="704176"/>
                      </a:lnTo>
                      <a:cubicBezTo>
                        <a:pt x="609015" y="703163"/>
                        <a:pt x="614666" y="705190"/>
                        <a:pt x="621446" y="704176"/>
                      </a:cubicBezTo>
                      <a:cubicBezTo>
                        <a:pt x="625967" y="703163"/>
                        <a:pt x="633878" y="694043"/>
                        <a:pt x="637268" y="692016"/>
                      </a:cubicBezTo>
                      <a:cubicBezTo>
                        <a:pt x="641789" y="689989"/>
                        <a:pt x="645179" y="692016"/>
                        <a:pt x="648570" y="689989"/>
                      </a:cubicBezTo>
                      <a:cubicBezTo>
                        <a:pt x="668912" y="676816"/>
                        <a:pt x="658741" y="669722"/>
                        <a:pt x="662131" y="651482"/>
                      </a:cubicBezTo>
                      <a:cubicBezTo>
                        <a:pt x="663261" y="648442"/>
                        <a:pt x="672302" y="641348"/>
                        <a:pt x="673432" y="639322"/>
                      </a:cubicBezTo>
                      <a:cubicBezTo>
                        <a:pt x="674562" y="638308"/>
                        <a:pt x="672302" y="633241"/>
                        <a:pt x="673432" y="632228"/>
                      </a:cubicBezTo>
                      <a:cubicBezTo>
                        <a:pt x="677952" y="629188"/>
                        <a:pt x="684734" y="632228"/>
                        <a:pt x="689254" y="630201"/>
                      </a:cubicBezTo>
                      <a:cubicBezTo>
                        <a:pt x="691514" y="629188"/>
                        <a:pt x="696035" y="621081"/>
                        <a:pt x="697165" y="620068"/>
                      </a:cubicBezTo>
                      <a:cubicBezTo>
                        <a:pt x="701685" y="619054"/>
                        <a:pt x="699425" y="622094"/>
                        <a:pt x="699425" y="625135"/>
                      </a:cubicBezTo>
                      <a:cubicBezTo>
                        <a:pt x="707336" y="624121"/>
                        <a:pt x="708466" y="623108"/>
                        <a:pt x="717507" y="623108"/>
                      </a:cubicBezTo>
                      <a:lnTo>
                        <a:pt x="717507" y="613988"/>
                      </a:lnTo>
                      <a:lnTo>
                        <a:pt x="724288" y="601827"/>
                      </a:lnTo>
                      <a:lnTo>
                        <a:pt x="724288" y="579534"/>
                      </a:lnTo>
                      <a:lnTo>
                        <a:pt x="712987" y="567373"/>
                      </a:lnTo>
                      <a:lnTo>
                        <a:pt x="718637" y="543053"/>
                      </a:lnTo>
                      <a:lnTo>
                        <a:pt x="711856" y="530892"/>
                      </a:lnTo>
                      <a:lnTo>
                        <a:pt x="690384" y="521772"/>
                      </a:lnTo>
                      <a:lnTo>
                        <a:pt x="686994" y="512652"/>
                      </a:lnTo>
                      <a:lnTo>
                        <a:pt x="682473" y="489345"/>
                      </a:lnTo>
                      <a:lnTo>
                        <a:pt x="697165" y="481238"/>
                      </a:lnTo>
                      <a:lnTo>
                        <a:pt x="714116" y="475158"/>
                      </a:lnTo>
                      <a:lnTo>
                        <a:pt x="719767" y="460971"/>
                      </a:lnTo>
                      <a:lnTo>
                        <a:pt x="703946" y="442730"/>
                      </a:lnTo>
                      <a:lnTo>
                        <a:pt x="715247" y="429557"/>
                      </a:lnTo>
                      <a:lnTo>
                        <a:pt x="733329" y="444757"/>
                      </a:lnTo>
                      <a:lnTo>
                        <a:pt x="751410" y="440703"/>
                      </a:lnTo>
                      <a:lnTo>
                        <a:pt x="763842" y="445770"/>
                      </a:lnTo>
                      <a:lnTo>
                        <a:pt x="759321" y="467051"/>
                      </a:lnTo>
                      <a:lnTo>
                        <a:pt x="762711" y="492385"/>
                      </a:lnTo>
                      <a:lnTo>
                        <a:pt x="774013" y="492385"/>
                      </a:lnTo>
                      <a:lnTo>
                        <a:pt x="797746" y="492385"/>
                      </a:lnTo>
                      <a:lnTo>
                        <a:pt x="818088" y="491371"/>
                      </a:lnTo>
                      <a:lnTo>
                        <a:pt x="838430" y="486305"/>
                      </a:lnTo>
                      <a:lnTo>
                        <a:pt x="864422" y="486305"/>
                      </a:lnTo>
                      <a:lnTo>
                        <a:pt x="844080" y="499478"/>
                      </a:lnTo>
                      <a:lnTo>
                        <a:pt x="849731" y="513665"/>
                      </a:lnTo>
                      <a:cubicBezTo>
                        <a:pt x="842950" y="517719"/>
                        <a:pt x="840690" y="529879"/>
                        <a:pt x="840690" y="529879"/>
                      </a:cubicBezTo>
                      <a:lnTo>
                        <a:pt x="830519" y="545079"/>
                      </a:lnTo>
                      <a:lnTo>
                        <a:pt x="824868" y="569400"/>
                      </a:lnTo>
                      <a:lnTo>
                        <a:pt x="828259" y="580547"/>
                      </a:lnTo>
                      <a:lnTo>
                        <a:pt x="845211" y="580547"/>
                      </a:lnTo>
                      <a:lnTo>
                        <a:pt x="849731" y="564333"/>
                      </a:lnTo>
                      <a:lnTo>
                        <a:pt x="865553" y="587640"/>
                      </a:lnTo>
                      <a:lnTo>
                        <a:pt x="865553" y="605881"/>
                      </a:lnTo>
                      <a:lnTo>
                        <a:pt x="867813" y="620068"/>
                      </a:lnTo>
                      <a:lnTo>
                        <a:pt x="877984" y="617028"/>
                      </a:lnTo>
                      <a:lnTo>
                        <a:pt x="887025" y="624121"/>
                      </a:lnTo>
                      <a:lnTo>
                        <a:pt x="896066" y="616014"/>
                      </a:lnTo>
                      <a:lnTo>
                        <a:pt x="901717" y="608921"/>
                      </a:lnTo>
                      <a:lnTo>
                        <a:pt x="902846" y="598787"/>
                      </a:lnTo>
                      <a:lnTo>
                        <a:pt x="901717" y="583587"/>
                      </a:lnTo>
                      <a:lnTo>
                        <a:pt x="896066" y="570413"/>
                      </a:lnTo>
                      <a:lnTo>
                        <a:pt x="896066" y="538999"/>
                      </a:lnTo>
                      <a:lnTo>
                        <a:pt x="917538" y="552173"/>
                      </a:lnTo>
                      <a:lnTo>
                        <a:pt x="924319" y="529879"/>
                      </a:lnTo>
                      <a:lnTo>
                        <a:pt x="937880" y="513665"/>
                      </a:lnTo>
                      <a:lnTo>
                        <a:pt x="937880" y="505558"/>
                      </a:lnTo>
                      <a:lnTo>
                        <a:pt x="928839" y="498465"/>
                      </a:lnTo>
                      <a:lnTo>
                        <a:pt x="934490" y="492385"/>
                      </a:lnTo>
                      <a:lnTo>
                        <a:pt x="949181" y="486305"/>
                      </a:lnTo>
                      <a:lnTo>
                        <a:pt x="959352" y="473131"/>
                      </a:lnTo>
                      <a:lnTo>
                        <a:pt x="974044" y="460971"/>
                      </a:lnTo>
                      <a:lnTo>
                        <a:pt x="974044" y="451850"/>
                      </a:lnTo>
                      <a:lnTo>
                        <a:pt x="984215" y="430570"/>
                      </a:lnTo>
                      <a:lnTo>
                        <a:pt x="1005687" y="427530"/>
                      </a:lnTo>
                      <a:lnTo>
                        <a:pt x="1019249" y="430570"/>
                      </a:lnTo>
                      <a:lnTo>
                        <a:pt x="1031680" y="411316"/>
                      </a:lnTo>
                      <a:lnTo>
                        <a:pt x="1031680" y="391049"/>
                      </a:lnTo>
                      <a:lnTo>
                        <a:pt x="1028289" y="379902"/>
                      </a:lnTo>
                      <a:lnTo>
                        <a:pt x="1021509" y="368755"/>
                      </a:lnTo>
                      <a:lnTo>
                        <a:pt x="1010208" y="365715"/>
                      </a:lnTo>
                      <a:lnTo>
                        <a:pt x="996646" y="360648"/>
                      </a:lnTo>
                      <a:lnTo>
                        <a:pt x="988735" y="358622"/>
                      </a:lnTo>
                      <a:lnTo>
                        <a:pt x="976304" y="361662"/>
                      </a:lnTo>
                      <a:lnTo>
                        <a:pt x="967263" y="353555"/>
                      </a:lnTo>
                      <a:lnTo>
                        <a:pt x="968393" y="335314"/>
                      </a:lnTo>
                      <a:lnTo>
                        <a:pt x="948051" y="329234"/>
                      </a:lnTo>
                      <a:lnTo>
                        <a:pt x="934490" y="327207"/>
                      </a:lnTo>
                      <a:lnTo>
                        <a:pt x="922059" y="337341"/>
                      </a:lnTo>
                      <a:lnTo>
                        <a:pt x="909627" y="334301"/>
                      </a:lnTo>
                      <a:lnTo>
                        <a:pt x="892675" y="335314"/>
                      </a:lnTo>
                      <a:lnTo>
                        <a:pt x="880244" y="343421"/>
                      </a:lnTo>
                      <a:lnTo>
                        <a:pt x="859902" y="352541"/>
                      </a:lnTo>
                      <a:lnTo>
                        <a:pt x="841820" y="355582"/>
                      </a:lnTo>
                      <a:lnTo>
                        <a:pt x="847470" y="379902"/>
                      </a:lnTo>
                      <a:lnTo>
                        <a:pt x="847470" y="394089"/>
                      </a:lnTo>
                      <a:lnTo>
                        <a:pt x="837300" y="399156"/>
                      </a:lnTo>
                      <a:lnTo>
                        <a:pt x="805656" y="401183"/>
                      </a:lnTo>
                      <a:lnTo>
                        <a:pt x="784184" y="395102"/>
                      </a:lnTo>
                      <a:lnTo>
                        <a:pt x="767232" y="398142"/>
                      </a:lnTo>
                      <a:lnTo>
                        <a:pt x="753671" y="401183"/>
                      </a:lnTo>
                      <a:lnTo>
                        <a:pt x="741240" y="388009"/>
                      </a:lnTo>
                      <a:lnTo>
                        <a:pt x="743500" y="373822"/>
                      </a:lnTo>
                      <a:lnTo>
                        <a:pt x="738979" y="379902"/>
                      </a:lnTo>
                      <a:lnTo>
                        <a:pt x="727678" y="363688"/>
                      </a:lnTo>
                      <a:lnTo>
                        <a:pt x="715247" y="362675"/>
                      </a:lnTo>
                      <a:lnTo>
                        <a:pt x="701685" y="368755"/>
                      </a:lnTo>
                      <a:lnTo>
                        <a:pt x="703946" y="370782"/>
                      </a:lnTo>
                      <a:lnTo>
                        <a:pt x="702815" y="389022"/>
                      </a:lnTo>
                      <a:lnTo>
                        <a:pt x="696035" y="398142"/>
                      </a:lnTo>
                      <a:lnTo>
                        <a:pt x="706205" y="408276"/>
                      </a:lnTo>
                      <a:lnTo>
                        <a:pt x="706205" y="417396"/>
                      </a:lnTo>
                      <a:lnTo>
                        <a:pt x="698295" y="424490"/>
                      </a:lnTo>
                      <a:lnTo>
                        <a:pt x="682473" y="426517"/>
                      </a:lnTo>
                      <a:lnTo>
                        <a:pt x="665521" y="422463"/>
                      </a:lnTo>
                      <a:lnTo>
                        <a:pt x="646309" y="421450"/>
                      </a:lnTo>
                      <a:lnTo>
                        <a:pt x="615796" y="407263"/>
                      </a:lnTo>
                      <a:lnTo>
                        <a:pt x="587543" y="407263"/>
                      </a:lnTo>
                      <a:lnTo>
                        <a:pt x="572851" y="392062"/>
                      </a:lnTo>
                      <a:lnTo>
                        <a:pt x="557030" y="391049"/>
                      </a:lnTo>
                      <a:lnTo>
                        <a:pt x="545729" y="379902"/>
                      </a:lnTo>
                      <a:lnTo>
                        <a:pt x="531037" y="369769"/>
                      </a:lnTo>
                      <a:lnTo>
                        <a:pt x="509565" y="368755"/>
                      </a:lnTo>
                      <a:lnTo>
                        <a:pt x="485832" y="358622"/>
                      </a:lnTo>
                      <a:lnTo>
                        <a:pt x="466621" y="351528"/>
                      </a:lnTo>
                      <a:lnTo>
                        <a:pt x="447408" y="344435"/>
                      </a:lnTo>
                      <a:lnTo>
                        <a:pt x="442888" y="331261"/>
                      </a:lnTo>
                      <a:lnTo>
                        <a:pt x="422546" y="324167"/>
                      </a:lnTo>
                      <a:lnTo>
                        <a:pt x="418025" y="306940"/>
                      </a:lnTo>
                      <a:lnTo>
                        <a:pt x="431586" y="285660"/>
                      </a:lnTo>
                      <a:lnTo>
                        <a:pt x="451928" y="272486"/>
                      </a:lnTo>
                      <a:lnTo>
                        <a:pt x="440627" y="262353"/>
                      </a:lnTo>
                      <a:lnTo>
                        <a:pt x="425936" y="252219"/>
                      </a:lnTo>
                      <a:lnTo>
                        <a:pt x="407854" y="249179"/>
                      </a:lnTo>
                      <a:lnTo>
                        <a:pt x="393163" y="240059"/>
                      </a:lnTo>
                      <a:lnTo>
                        <a:pt x="376211" y="233979"/>
                      </a:lnTo>
                      <a:lnTo>
                        <a:pt x="370560" y="219792"/>
                      </a:lnTo>
                      <a:lnTo>
                        <a:pt x="377341" y="211685"/>
                      </a:lnTo>
                      <a:lnTo>
                        <a:pt x="373951" y="202565"/>
                      </a:lnTo>
                      <a:lnTo>
                        <a:pt x="379601" y="186351"/>
                      </a:lnTo>
                      <a:lnTo>
                        <a:pt x="379601" y="175204"/>
                      </a:lnTo>
                      <a:lnTo>
                        <a:pt x="370560" y="174191"/>
                      </a:lnTo>
                      <a:lnTo>
                        <a:pt x="358129" y="169124"/>
                      </a:lnTo>
                      <a:lnTo>
                        <a:pt x="359259" y="147843"/>
                      </a:lnTo>
                      <a:lnTo>
                        <a:pt x="352478" y="136696"/>
                      </a:lnTo>
                      <a:lnTo>
                        <a:pt x="336657" y="126563"/>
                      </a:lnTo>
                      <a:lnTo>
                        <a:pt x="343437" y="113389"/>
                      </a:lnTo>
                      <a:lnTo>
                        <a:pt x="352478" y="105282"/>
                      </a:lnTo>
                      <a:lnTo>
                        <a:pt x="359259" y="91095"/>
                      </a:lnTo>
                      <a:lnTo>
                        <a:pt x="369430" y="81975"/>
                      </a:lnTo>
                      <a:lnTo>
                        <a:pt x="377341" y="71842"/>
                      </a:lnTo>
                      <a:lnTo>
                        <a:pt x="380731" y="61708"/>
                      </a:lnTo>
                      <a:lnTo>
                        <a:pt x="389772" y="52588"/>
                      </a:lnTo>
                      <a:lnTo>
                        <a:pt x="384121" y="38401"/>
                      </a:lnTo>
                      <a:lnTo>
                        <a:pt x="373951" y="28267"/>
                      </a:lnTo>
                      <a:lnTo>
                        <a:pt x="367170" y="14080"/>
                      </a:lnTo>
                      <a:lnTo>
                        <a:pt x="350218" y="13067"/>
                      </a:lnTo>
                      <a:lnTo>
                        <a:pt x="334396" y="9013"/>
                      </a:lnTo>
                      <a:lnTo>
                        <a:pt x="319705" y="9013"/>
                      </a:lnTo>
                      <a:lnTo>
                        <a:pt x="310664" y="15094"/>
                      </a:lnTo>
                      <a:lnTo>
                        <a:pt x="293712" y="28267"/>
                      </a:lnTo>
                      <a:lnTo>
                        <a:pt x="284671" y="44481"/>
                      </a:lnTo>
                      <a:lnTo>
                        <a:pt x="273370" y="54614"/>
                      </a:lnTo>
                      <a:lnTo>
                        <a:pt x="266589" y="63735"/>
                      </a:lnTo>
                      <a:lnTo>
                        <a:pt x="248507" y="76908"/>
                      </a:lnTo>
                      <a:lnTo>
                        <a:pt x="224775" y="82989"/>
                      </a:lnTo>
                      <a:lnTo>
                        <a:pt x="208953" y="89069"/>
                      </a:lnTo>
                      <a:lnTo>
                        <a:pt x="205563" y="95149"/>
                      </a:lnTo>
                      <a:lnTo>
                        <a:pt x="196522" y="101229"/>
                      </a:lnTo>
                      <a:lnTo>
                        <a:pt x="184091" y="96162"/>
                      </a:lnTo>
                      <a:lnTo>
                        <a:pt x="171659" y="101229"/>
                      </a:lnTo>
                      <a:lnTo>
                        <a:pt x="155838" y="107309"/>
                      </a:lnTo>
                      <a:lnTo>
                        <a:pt x="152447" y="119469"/>
                      </a:lnTo>
                      <a:lnTo>
                        <a:pt x="167139" y="133657"/>
                      </a:lnTo>
                      <a:lnTo>
                        <a:pt x="172789" y="163044"/>
                      </a:lnTo>
                      <a:lnTo>
                        <a:pt x="179570" y="171151"/>
                      </a:lnTo>
                      <a:lnTo>
                        <a:pt x="190871" y="179258"/>
                      </a:lnTo>
                      <a:lnTo>
                        <a:pt x="206693" y="195471"/>
                      </a:lnTo>
                      <a:lnTo>
                        <a:pt x="206693" y="212698"/>
                      </a:lnTo>
                      <a:lnTo>
                        <a:pt x="198782" y="227899"/>
                      </a:lnTo>
                      <a:lnTo>
                        <a:pt x="186350" y="243099"/>
                      </a:lnTo>
                      <a:lnTo>
                        <a:pt x="184091" y="264379"/>
                      </a:lnTo>
                      <a:lnTo>
                        <a:pt x="181830" y="281606"/>
                      </a:lnTo>
                      <a:lnTo>
                        <a:pt x="166008" y="293767"/>
                      </a:lnTo>
                      <a:lnTo>
                        <a:pt x="154707" y="302887"/>
                      </a:lnTo>
                      <a:lnTo>
                        <a:pt x="142276" y="314034"/>
                      </a:lnTo>
                      <a:lnTo>
                        <a:pt x="121934" y="327207"/>
                      </a:lnTo>
                      <a:lnTo>
                        <a:pt x="106112" y="347475"/>
                      </a:lnTo>
                      <a:lnTo>
                        <a:pt x="91421" y="365715"/>
                      </a:lnTo>
                      <a:lnTo>
                        <a:pt x="74469" y="369769"/>
                      </a:lnTo>
                      <a:lnTo>
                        <a:pt x="67688" y="360648"/>
                      </a:lnTo>
                      <a:lnTo>
                        <a:pt x="58647" y="379902"/>
                      </a:lnTo>
                      <a:lnTo>
                        <a:pt x="48476" y="389022"/>
                      </a:lnTo>
                      <a:lnTo>
                        <a:pt x="37175" y="407263"/>
                      </a:lnTo>
                      <a:lnTo>
                        <a:pt x="46216" y="417396"/>
                      </a:lnTo>
                      <a:lnTo>
                        <a:pt x="52996" y="422463"/>
                      </a:lnTo>
                      <a:lnTo>
                        <a:pt x="48476" y="433610"/>
                      </a:lnTo>
                      <a:lnTo>
                        <a:pt x="48476" y="448810"/>
                      </a:lnTo>
                      <a:lnTo>
                        <a:pt x="63168" y="453877"/>
                      </a:lnTo>
                      <a:lnTo>
                        <a:pt x="68818" y="468064"/>
                      </a:lnTo>
                      <a:lnTo>
                        <a:pt x="69948" y="506572"/>
                      </a:lnTo>
                      <a:lnTo>
                        <a:pt x="58647" y="503532"/>
                      </a:lnTo>
                      <a:lnTo>
                        <a:pt x="38305" y="502518"/>
                      </a:lnTo>
                      <a:lnTo>
                        <a:pt x="25874" y="503532"/>
                      </a:lnTo>
                      <a:lnTo>
                        <a:pt x="11182" y="509612"/>
                      </a:lnTo>
                      <a:lnTo>
                        <a:pt x="11182" y="524812"/>
                      </a:lnTo>
                      <a:close/>
                      <a:moveTo>
                        <a:pt x="881374" y="933195"/>
                      </a:moveTo>
                      <a:cubicBezTo>
                        <a:pt x="880244" y="934208"/>
                        <a:pt x="875723" y="945355"/>
                        <a:pt x="881374" y="943329"/>
                      </a:cubicBezTo>
                      <a:cubicBezTo>
                        <a:pt x="882504" y="942315"/>
                        <a:pt x="885895" y="930155"/>
                        <a:pt x="881374" y="93319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9" name="Freeform: Shape 378">
                  <a:extLst>
                    <a:ext uri="{FF2B5EF4-FFF2-40B4-BE49-F238E27FC236}">
                      <a16:creationId xmlns:a16="http://schemas.microsoft.com/office/drawing/2014/main" id="{AB3EAF41-71C8-4A29-9305-9A6F810E1292}"/>
                    </a:ext>
                  </a:extLst>
                </p:cNvPr>
                <p:cNvSpPr/>
                <p:nvPr/>
              </p:nvSpPr>
              <p:spPr>
                <a:xfrm>
                  <a:off x="5045704" y="1313809"/>
                  <a:ext cx="384241" cy="182404"/>
                </a:xfrm>
                <a:custGeom>
                  <a:avLst/>
                  <a:gdLst>
                    <a:gd name="connsiteX0" fmla="*/ 294842 w 384240"/>
                    <a:gd name="connsiteY0" fmla="*/ 14080 h 182404"/>
                    <a:gd name="connsiteX1" fmla="*/ 283541 w 384240"/>
                    <a:gd name="connsiteY1" fmla="*/ 16107 h 182404"/>
                    <a:gd name="connsiteX2" fmla="*/ 281281 w 384240"/>
                    <a:gd name="connsiteY2" fmla="*/ 35361 h 182404"/>
                    <a:gd name="connsiteX3" fmla="*/ 267719 w 384240"/>
                    <a:gd name="connsiteY3" fmla="*/ 37387 h 182404"/>
                    <a:gd name="connsiteX4" fmla="*/ 256418 w 384240"/>
                    <a:gd name="connsiteY4" fmla="*/ 30294 h 182404"/>
                    <a:gd name="connsiteX5" fmla="*/ 254158 w 384240"/>
                    <a:gd name="connsiteY5" fmla="*/ 37387 h 182404"/>
                    <a:gd name="connsiteX6" fmla="*/ 242857 w 384240"/>
                    <a:gd name="connsiteY6" fmla="*/ 37387 h 182404"/>
                    <a:gd name="connsiteX7" fmla="*/ 237206 w 384240"/>
                    <a:gd name="connsiteY7" fmla="*/ 42454 h 182404"/>
                    <a:gd name="connsiteX8" fmla="*/ 215734 w 384240"/>
                    <a:gd name="connsiteY8" fmla="*/ 32321 h 182404"/>
                    <a:gd name="connsiteX9" fmla="*/ 217994 w 384240"/>
                    <a:gd name="connsiteY9" fmla="*/ 54614 h 182404"/>
                    <a:gd name="connsiteX10" fmla="*/ 202172 w 384240"/>
                    <a:gd name="connsiteY10" fmla="*/ 40427 h 182404"/>
                    <a:gd name="connsiteX11" fmla="*/ 204433 w 384240"/>
                    <a:gd name="connsiteY11" fmla="*/ 35361 h 182404"/>
                    <a:gd name="connsiteX12" fmla="*/ 204433 w 384240"/>
                    <a:gd name="connsiteY12" fmla="*/ 28267 h 182404"/>
                    <a:gd name="connsiteX13" fmla="*/ 193132 w 384240"/>
                    <a:gd name="connsiteY13" fmla="*/ 28267 h 182404"/>
                    <a:gd name="connsiteX14" fmla="*/ 190871 w 384240"/>
                    <a:gd name="connsiteY14" fmla="*/ 35361 h 182404"/>
                    <a:gd name="connsiteX15" fmla="*/ 169399 w 384240"/>
                    <a:gd name="connsiteY15" fmla="*/ 42454 h 182404"/>
                    <a:gd name="connsiteX16" fmla="*/ 171659 w 384240"/>
                    <a:gd name="connsiteY16" fmla="*/ 54614 h 182404"/>
                    <a:gd name="connsiteX17" fmla="*/ 166008 w 384240"/>
                    <a:gd name="connsiteY17" fmla="*/ 56641 h 182404"/>
                    <a:gd name="connsiteX18" fmla="*/ 158098 w 384240"/>
                    <a:gd name="connsiteY18" fmla="*/ 44481 h 182404"/>
                    <a:gd name="connsiteX19" fmla="*/ 155838 w 384240"/>
                    <a:gd name="connsiteY19" fmla="*/ 34347 h 182404"/>
                    <a:gd name="connsiteX20" fmla="*/ 142276 w 384240"/>
                    <a:gd name="connsiteY20" fmla="*/ 36374 h 182404"/>
                    <a:gd name="connsiteX21" fmla="*/ 142276 w 384240"/>
                    <a:gd name="connsiteY21" fmla="*/ 67788 h 182404"/>
                    <a:gd name="connsiteX22" fmla="*/ 130975 w 384240"/>
                    <a:gd name="connsiteY22" fmla="*/ 62721 h 182404"/>
                    <a:gd name="connsiteX23" fmla="*/ 125324 w 384240"/>
                    <a:gd name="connsiteY23" fmla="*/ 62721 h 182404"/>
                    <a:gd name="connsiteX24" fmla="*/ 123064 w 384240"/>
                    <a:gd name="connsiteY24" fmla="*/ 76908 h 182404"/>
                    <a:gd name="connsiteX25" fmla="*/ 111763 w 384240"/>
                    <a:gd name="connsiteY25" fmla="*/ 81975 h 182404"/>
                    <a:gd name="connsiteX26" fmla="*/ 106112 w 384240"/>
                    <a:gd name="connsiteY26" fmla="*/ 71842 h 182404"/>
                    <a:gd name="connsiteX27" fmla="*/ 106112 w 384240"/>
                    <a:gd name="connsiteY27" fmla="*/ 49548 h 182404"/>
                    <a:gd name="connsiteX28" fmla="*/ 108373 w 384240"/>
                    <a:gd name="connsiteY28" fmla="*/ 42454 h 182404"/>
                    <a:gd name="connsiteX29" fmla="*/ 102722 w 384240"/>
                    <a:gd name="connsiteY29" fmla="*/ 42454 h 182404"/>
                    <a:gd name="connsiteX30" fmla="*/ 102722 w 384240"/>
                    <a:gd name="connsiteY30" fmla="*/ 35361 h 182404"/>
                    <a:gd name="connsiteX31" fmla="*/ 91421 w 384240"/>
                    <a:gd name="connsiteY31" fmla="*/ 25227 h 182404"/>
                    <a:gd name="connsiteX32" fmla="*/ 66558 w 384240"/>
                    <a:gd name="connsiteY32" fmla="*/ 25227 h 182404"/>
                    <a:gd name="connsiteX33" fmla="*/ 64298 w 384240"/>
                    <a:gd name="connsiteY33" fmla="*/ 30294 h 182404"/>
                    <a:gd name="connsiteX34" fmla="*/ 80120 w 384240"/>
                    <a:gd name="connsiteY34" fmla="*/ 37387 h 182404"/>
                    <a:gd name="connsiteX35" fmla="*/ 77859 w 384240"/>
                    <a:gd name="connsiteY35" fmla="*/ 51574 h 182404"/>
                    <a:gd name="connsiteX36" fmla="*/ 72209 w 384240"/>
                    <a:gd name="connsiteY36" fmla="*/ 46508 h 182404"/>
                    <a:gd name="connsiteX37" fmla="*/ 50737 w 384240"/>
                    <a:gd name="connsiteY37" fmla="*/ 32321 h 182404"/>
                    <a:gd name="connsiteX38" fmla="*/ 45086 w 384240"/>
                    <a:gd name="connsiteY38" fmla="*/ 27254 h 182404"/>
                    <a:gd name="connsiteX39" fmla="*/ 42826 w 384240"/>
                    <a:gd name="connsiteY39" fmla="*/ 34347 h 182404"/>
                    <a:gd name="connsiteX40" fmla="*/ 46216 w 384240"/>
                    <a:gd name="connsiteY40" fmla="*/ 33334 h 182404"/>
                    <a:gd name="connsiteX41" fmla="*/ 45086 w 384240"/>
                    <a:gd name="connsiteY41" fmla="*/ 36374 h 182404"/>
                    <a:gd name="connsiteX42" fmla="*/ 31525 w 384240"/>
                    <a:gd name="connsiteY42" fmla="*/ 38401 h 182404"/>
                    <a:gd name="connsiteX43" fmla="*/ 42826 w 384240"/>
                    <a:gd name="connsiteY43" fmla="*/ 40427 h 182404"/>
                    <a:gd name="connsiteX44" fmla="*/ 42826 w 384240"/>
                    <a:gd name="connsiteY44" fmla="*/ 54614 h 182404"/>
                    <a:gd name="connsiteX45" fmla="*/ 34915 w 384240"/>
                    <a:gd name="connsiteY45" fmla="*/ 56641 h 182404"/>
                    <a:gd name="connsiteX46" fmla="*/ 23614 w 384240"/>
                    <a:gd name="connsiteY46" fmla="*/ 68801 h 182404"/>
                    <a:gd name="connsiteX47" fmla="*/ 10052 w 384240"/>
                    <a:gd name="connsiteY47" fmla="*/ 66775 h 182404"/>
                    <a:gd name="connsiteX48" fmla="*/ 10052 w 384240"/>
                    <a:gd name="connsiteY48" fmla="*/ 73868 h 182404"/>
                    <a:gd name="connsiteX49" fmla="*/ 21353 w 384240"/>
                    <a:gd name="connsiteY49" fmla="*/ 73868 h 182404"/>
                    <a:gd name="connsiteX50" fmla="*/ 32654 w 384240"/>
                    <a:gd name="connsiteY50" fmla="*/ 75895 h 182404"/>
                    <a:gd name="connsiteX51" fmla="*/ 38305 w 384240"/>
                    <a:gd name="connsiteY51" fmla="*/ 68801 h 182404"/>
                    <a:gd name="connsiteX52" fmla="*/ 67689 w 384240"/>
                    <a:gd name="connsiteY52" fmla="*/ 61708 h 182404"/>
                    <a:gd name="connsiteX53" fmla="*/ 75599 w 384240"/>
                    <a:gd name="connsiteY53" fmla="*/ 63735 h 182404"/>
                    <a:gd name="connsiteX54" fmla="*/ 67689 w 384240"/>
                    <a:gd name="connsiteY54" fmla="*/ 70828 h 182404"/>
                    <a:gd name="connsiteX55" fmla="*/ 69948 w 384240"/>
                    <a:gd name="connsiteY55" fmla="*/ 82988 h 182404"/>
                    <a:gd name="connsiteX56" fmla="*/ 77859 w 384240"/>
                    <a:gd name="connsiteY56" fmla="*/ 80962 h 182404"/>
                    <a:gd name="connsiteX57" fmla="*/ 80120 w 384240"/>
                    <a:gd name="connsiteY57" fmla="*/ 88055 h 182404"/>
                    <a:gd name="connsiteX58" fmla="*/ 55257 w 384240"/>
                    <a:gd name="connsiteY58" fmla="*/ 86029 h 182404"/>
                    <a:gd name="connsiteX59" fmla="*/ 39436 w 384240"/>
                    <a:gd name="connsiteY59" fmla="*/ 98189 h 182404"/>
                    <a:gd name="connsiteX60" fmla="*/ 23614 w 384240"/>
                    <a:gd name="connsiteY60" fmla="*/ 100216 h 182404"/>
                    <a:gd name="connsiteX61" fmla="*/ 23614 w 384240"/>
                    <a:gd name="connsiteY61" fmla="*/ 107309 h 182404"/>
                    <a:gd name="connsiteX62" fmla="*/ 37175 w 384240"/>
                    <a:gd name="connsiteY62" fmla="*/ 109336 h 182404"/>
                    <a:gd name="connsiteX63" fmla="*/ 42826 w 384240"/>
                    <a:gd name="connsiteY63" fmla="*/ 104269 h 182404"/>
                    <a:gd name="connsiteX64" fmla="*/ 72209 w 384240"/>
                    <a:gd name="connsiteY64" fmla="*/ 106296 h 182404"/>
                    <a:gd name="connsiteX65" fmla="*/ 77859 w 384240"/>
                    <a:gd name="connsiteY65" fmla="*/ 118456 h 182404"/>
                    <a:gd name="connsiteX66" fmla="*/ 89160 w 384240"/>
                    <a:gd name="connsiteY66" fmla="*/ 116429 h 182404"/>
                    <a:gd name="connsiteX67" fmla="*/ 89160 w 384240"/>
                    <a:gd name="connsiteY67" fmla="*/ 126563 h 182404"/>
                    <a:gd name="connsiteX68" fmla="*/ 89160 w 384240"/>
                    <a:gd name="connsiteY68" fmla="*/ 131630 h 182404"/>
                    <a:gd name="connsiteX69" fmla="*/ 86900 w 384240"/>
                    <a:gd name="connsiteY69" fmla="*/ 138723 h 182404"/>
                    <a:gd name="connsiteX70" fmla="*/ 59778 w 384240"/>
                    <a:gd name="connsiteY70" fmla="*/ 143790 h 182404"/>
                    <a:gd name="connsiteX71" fmla="*/ 62038 w 384240"/>
                    <a:gd name="connsiteY71" fmla="*/ 150883 h 182404"/>
                    <a:gd name="connsiteX72" fmla="*/ 114023 w 384240"/>
                    <a:gd name="connsiteY72" fmla="*/ 145817 h 182404"/>
                    <a:gd name="connsiteX73" fmla="*/ 116284 w 384240"/>
                    <a:gd name="connsiteY73" fmla="*/ 150883 h 182404"/>
                    <a:gd name="connsiteX74" fmla="*/ 129845 w 384240"/>
                    <a:gd name="connsiteY74" fmla="*/ 148857 h 182404"/>
                    <a:gd name="connsiteX75" fmla="*/ 132105 w 384240"/>
                    <a:gd name="connsiteY75" fmla="*/ 153923 h 182404"/>
                    <a:gd name="connsiteX76" fmla="*/ 151317 w 384240"/>
                    <a:gd name="connsiteY76" fmla="*/ 158990 h 182404"/>
                    <a:gd name="connsiteX77" fmla="*/ 156968 w 384240"/>
                    <a:gd name="connsiteY77" fmla="*/ 158990 h 182404"/>
                    <a:gd name="connsiteX78" fmla="*/ 143406 w 384240"/>
                    <a:gd name="connsiteY78" fmla="*/ 173177 h 182404"/>
                    <a:gd name="connsiteX79" fmla="*/ 156968 w 384240"/>
                    <a:gd name="connsiteY79" fmla="*/ 171151 h 182404"/>
                    <a:gd name="connsiteX80" fmla="*/ 199912 w 384240"/>
                    <a:gd name="connsiteY80" fmla="*/ 176217 h 182404"/>
                    <a:gd name="connsiteX81" fmla="*/ 205563 w 384240"/>
                    <a:gd name="connsiteY81" fmla="*/ 169124 h 182404"/>
                    <a:gd name="connsiteX82" fmla="*/ 211213 w 384240"/>
                    <a:gd name="connsiteY82" fmla="*/ 176217 h 182404"/>
                    <a:gd name="connsiteX83" fmla="*/ 216864 w 384240"/>
                    <a:gd name="connsiteY83" fmla="*/ 176217 h 182404"/>
                    <a:gd name="connsiteX84" fmla="*/ 219124 w 384240"/>
                    <a:gd name="connsiteY84" fmla="*/ 169124 h 182404"/>
                    <a:gd name="connsiteX85" fmla="*/ 219124 w 384240"/>
                    <a:gd name="connsiteY85" fmla="*/ 156964 h 182404"/>
                    <a:gd name="connsiteX86" fmla="*/ 219124 w 384240"/>
                    <a:gd name="connsiteY86" fmla="*/ 146830 h 182404"/>
                    <a:gd name="connsiteX87" fmla="*/ 248508 w 384240"/>
                    <a:gd name="connsiteY87" fmla="*/ 156964 h 182404"/>
                    <a:gd name="connsiteX88" fmla="*/ 259809 w 384240"/>
                    <a:gd name="connsiteY88" fmla="*/ 154937 h 182404"/>
                    <a:gd name="connsiteX89" fmla="*/ 262069 w 384240"/>
                    <a:gd name="connsiteY89" fmla="*/ 144803 h 182404"/>
                    <a:gd name="connsiteX90" fmla="*/ 275630 w 384240"/>
                    <a:gd name="connsiteY90" fmla="*/ 151897 h 182404"/>
                    <a:gd name="connsiteX91" fmla="*/ 291452 w 384240"/>
                    <a:gd name="connsiteY91" fmla="*/ 137710 h 182404"/>
                    <a:gd name="connsiteX92" fmla="*/ 318575 w 384240"/>
                    <a:gd name="connsiteY92" fmla="*/ 132643 h 182404"/>
                    <a:gd name="connsiteX93" fmla="*/ 326485 w 384240"/>
                    <a:gd name="connsiteY93" fmla="*/ 125549 h 182404"/>
                    <a:gd name="connsiteX94" fmla="*/ 334396 w 384240"/>
                    <a:gd name="connsiteY94" fmla="*/ 125549 h 182404"/>
                    <a:gd name="connsiteX95" fmla="*/ 340047 w 384240"/>
                    <a:gd name="connsiteY95" fmla="*/ 106296 h 182404"/>
                    <a:gd name="connsiteX96" fmla="*/ 353609 w 384240"/>
                    <a:gd name="connsiteY96" fmla="*/ 104269 h 182404"/>
                    <a:gd name="connsiteX97" fmla="*/ 353609 w 384240"/>
                    <a:gd name="connsiteY97" fmla="*/ 102242 h 182404"/>
                    <a:gd name="connsiteX98" fmla="*/ 353609 w 384240"/>
                    <a:gd name="connsiteY98" fmla="*/ 97175 h 182404"/>
                    <a:gd name="connsiteX99" fmla="*/ 359259 w 384240"/>
                    <a:gd name="connsiteY99" fmla="*/ 99202 h 182404"/>
                    <a:gd name="connsiteX100" fmla="*/ 372821 w 384240"/>
                    <a:gd name="connsiteY100" fmla="*/ 101229 h 182404"/>
                    <a:gd name="connsiteX101" fmla="*/ 372821 w 384240"/>
                    <a:gd name="connsiteY101" fmla="*/ 89069 h 182404"/>
                    <a:gd name="connsiteX102" fmla="*/ 375080 w 384240"/>
                    <a:gd name="connsiteY102" fmla="*/ 87042 h 182404"/>
                    <a:gd name="connsiteX103" fmla="*/ 367170 w 384240"/>
                    <a:gd name="connsiteY103" fmla="*/ 85015 h 182404"/>
                    <a:gd name="connsiteX104" fmla="*/ 367170 w 384240"/>
                    <a:gd name="connsiteY104" fmla="*/ 79948 h 182404"/>
                    <a:gd name="connsiteX105" fmla="*/ 372821 w 384240"/>
                    <a:gd name="connsiteY105" fmla="*/ 72855 h 182404"/>
                    <a:gd name="connsiteX106" fmla="*/ 364910 w 384240"/>
                    <a:gd name="connsiteY106" fmla="*/ 62721 h 182404"/>
                    <a:gd name="connsiteX107" fmla="*/ 356999 w 384240"/>
                    <a:gd name="connsiteY107" fmla="*/ 64748 h 182404"/>
                    <a:gd name="connsiteX108" fmla="*/ 354738 w 384240"/>
                    <a:gd name="connsiteY108" fmla="*/ 59681 h 182404"/>
                    <a:gd name="connsiteX109" fmla="*/ 343437 w 384240"/>
                    <a:gd name="connsiteY109" fmla="*/ 57655 h 182404"/>
                    <a:gd name="connsiteX110" fmla="*/ 332136 w 384240"/>
                    <a:gd name="connsiteY110" fmla="*/ 62721 h 182404"/>
                    <a:gd name="connsiteX111" fmla="*/ 337787 w 384240"/>
                    <a:gd name="connsiteY111" fmla="*/ 43468 h 182404"/>
                    <a:gd name="connsiteX112" fmla="*/ 329876 w 384240"/>
                    <a:gd name="connsiteY112" fmla="*/ 41441 h 182404"/>
                    <a:gd name="connsiteX113" fmla="*/ 329876 w 384240"/>
                    <a:gd name="connsiteY113" fmla="*/ 31307 h 182404"/>
                    <a:gd name="connsiteX114" fmla="*/ 343437 w 384240"/>
                    <a:gd name="connsiteY114" fmla="*/ 26240 h 182404"/>
                    <a:gd name="connsiteX115" fmla="*/ 349088 w 384240"/>
                    <a:gd name="connsiteY115" fmla="*/ 19147 h 182404"/>
                    <a:gd name="connsiteX116" fmla="*/ 321965 w 384240"/>
                    <a:gd name="connsiteY116" fmla="*/ 26240 h 182404"/>
                    <a:gd name="connsiteX117" fmla="*/ 314054 w 384240"/>
                    <a:gd name="connsiteY117" fmla="*/ 28267 h 182404"/>
                    <a:gd name="connsiteX118" fmla="*/ 300493 w 384240"/>
                    <a:gd name="connsiteY118" fmla="*/ 9013 h 182404"/>
                    <a:gd name="connsiteX119" fmla="*/ 294842 w 384240"/>
                    <a:gd name="connsiteY119" fmla="*/ 14080 h 182404"/>
                    <a:gd name="connsiteX120" fmla="*/ 56387 w 384240"/>
                    <a:gd name="connsiteY120" fmla="*/ 11040 h 182404"/>
                    <a:gd name="connsiteX121" fmla="*/ 54127 w 384240"/>
                    <a:gd name="connsiteY121" fmla="*/ 16107 h 182404"/>
                    <a:gd name="connsiteX122" fmla="*/ 51867 w 384240"/>
                    <a:gd name="connsiteY122" fmla="*/ 21174 h 182404"/>
                    <a:gd name="connsiteX123" fmla="*/ 90291 w 384240"/>
                    <a:gd name="connsiteY123" fmla="*/ 21174 h 182404"/>
                    <a:gd name="connsiteX124" fmla="*/ 84640 w 384240"/>
                    <a:gd name="connsiteY124" fmla="*/ 14080 h 182404"/>
                    <a:gd name="connsiteX125" fmla="*/ 56387 w 384240"/>
                    <a:gd name="connsiteY125" fmla="*/ 11040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384240" h="182404">
                      <a:moveTo>
                        <a:pt x="294842" y="14080"/>
                      </a:moveTo>
                      <a:cubicBezTo>
                        <a:pt x="291452" y="17120"/>
                        <a:pt x="290322" y="16107"/>
                        <a:pt x="283541" y="16107"/>
                      </a:cubicBezTo>
                      <a:cubicBezTo>
                        <a:pt x="282411" y="23200"/>
                        <a:pt x="281281" y="31307"/>
                        <a:pt x="281281" y="35361"/>
                      </a:cubicBezTo>
                      <a:cubicBezTo>
                        <a:pt x="275630" y="34347"/>
                        <a:pt x="269980" y="38401"/>
                        <a:pt x="267719" y="37387"/>
                      </a:cubicBezTo>
                      <a:cubicBezTo>
                        <a:pt x="267719" y="37387"/>
                        <a:pt x="267719" y="28267"/>
                        <a:pt x="256418" y="30294"/>
                      </a:cubicBezTo>
                      <a:cubicBezTo>
                        <a:pt x="254158" y="30294"/>
                        <a:pt x="255288" y="37387"/>
                        <a:pt x="254158" y="37387"/>
                      </a:cubicBezTo>
                      <a:cubicBezTo>
                        <a:pt x="251898" y="38401"/>
                        <a:pt x="246247" y="36374"/>
                        <a:pt x="242857" y="37387"/>
                      </a:cubicBezTo>
                      <a:lnTo>
                        <a:pt x="237206" y="42454"/>
                      </a:lnTo>
                      <a:cubicBezTo>
                        <a:pt x="230425" y="43468"/>
                        <a:pt x="219124" y="35361"/>
                        <a:pt x="215734" y="32321"/>
                      </a:cubicBezTo>
                      <a:cubicBezTo>
                        <a:pt x="216864" y="38401"/>
                        <a:pt x="214604" y="44481"/>
                        <a:pt x="217994" y="54614"/>
                      </a:cubicBezTo>
                      <a:cubicBezTo>
                        <a:pt x="211213" y="49548"/>
                        <a:pt x="203303" y="49548"/>
                        <a:pt x="202172" y="40427"/>
                      </a:cubicBezTo>
                      <a:cubicBezTo>
                        <a:pt x="202172" y="38401"/>
                        <a:pt x="204433" y="32321"/>
                        <a:pt x="204433" y="35361"/>
                      </a:cubicBezTo>
                      <a:cubicBezTo>
                        <a:pt x="204433" y="34347"/>
                        <a:pt x="204433" y="28267"/>
                        <a:pt x="204433" y="28267"/>
                      </a:cubicBezTo>
                      <a:cubicBezTo>
                        <a:pt x="202172" y="27254"/>
                        <a:pt x="195392" y="27254"/>
                        <a:pt x="193132" y="28267"/>
                      </a:cubicBezTo>
                      <a:cubicBezTo>
                        <a:pt x="189741" y="29281"/>
                        <a:pt x="192002" y="34347"/>
                        <a:pt x="190871" y="35361"/>
                      </a:cubicBezTo>
                      <a:cubicBezTo>
                        <a:pt x="185221" y="40427"/>
                        <a:pt x="172789" y="36374"/>
                        <a:pt x="169399" y="42454"/>
                      </a:cubicBezTo>
                      <a:lnTo>
                        <a:pt x="171659" y="54614"/>
                      </a:lnTo>
                      <a:cubicBezTo>
                        <a:pt x="167139" y="55628"/>
                        <a:pt x="167139" y="52588"/>
                        <a:pt x="166008" y="56641"/>
                      </a:cubicBezTo>
                      <a:cubicBezTo>
                        <a:pt x="164879" y="53601"/>
                        <a:pt x="159228" y="47521"/>
                        <a:pt x="158098" y="44481"/>
                      </a:cubicBezTo>
                      <a:cubicBezTo>
                        <a:pt x="156968" y="42454"/>
                        <a:pt x="155838" y="39414"/>
                        <a:pt x="155838" y="34347"/>
                      </a:cubicBezTo>
                      <a:cubicBezTo>
                        <a:pt x="152447" y="36374"/>
                        <a:pt x="145666" y="36374"/>
                        <a:pt x="142276" y="36374"/>
                      </a:cubicBezTo>
                      <a:cubicBezTo>
                        <a:pt x="143406" y="44481"/>
                        <a:pt x="147927" y="62721"/>
                        <a:pt x="142276" y="67788"/>
                      </a:cubicBezTo>
                      <a:cubicBezTo>
                        <a:pt x="140016" y="66775"/>
                        <a:pt x="126454" y="59681"/>
                        <a:pt x="130975" y="62721"/>
                      </a:cubicBezTo>
                      <a:lnTo>
                        <a:pt x="125324" y="62721"/>
                      </a:lnTo>
                      <a:cubicBezTo>
                        <a:pt x="124194" y="67788"/>
                        <a:pt x="125324" y="72855"/>
                        <a:pt x="123064" y="76908"/>
                      </a:cubicBezTo>
                      <a:cubicBezTo>
                        <a:pt x="121934" y="77922"/>
                        <a:pt x="112893" y="79948"/>
                        <a:pt x="111763" y="81975"/>
                      </a:cubicBezTo>
                      <a:cubicBezTo>
                        <a:pt x="110633" y="79948"/>
                        <a:pt x="106112" y="73868"/>
                        <a:pt x="106112" y="71842"/>
                      </a:cubicBezTo>
                      <a:cubicBezTo>
                        <a:pt x="104982" y="62721"/>
                        <a:pt x="116284" y="51574"/>
                        <a:pt x="106112" y="49548"/>
                      </a:cubicBezTo>
                      <a:cubicBezTo>
                        <a:pt x="106112" y="48534"/>
                        <a:pt x="110633" y="46508"/>
                        <a:pt x="108373" y="42454"/>
                      </a:cubicBezTo>
                      <a:lnTo>
                        <a:pt x="102722" y="42454"/>
                      </a:lnTo>
                      <a:cubicBezTo>
                        <a:pt x="101592" y="40427"/>
                        <a:pt x="102722" y="37387"/>
                        <a:pt x="102722" y="35361"/>
                      </a:cubicBezTo>
                      <a:cubicBezTo>
                        <a:pt x="101592" y="31307"/>
                        <a:pt x="94811" y="28267"/>
                        <a:pt x="91421" y="25227"/>
                      </a:cubicBezTo>
                      <a:cubicBezTo>
                        <a:pt x="88031" y="26240"/>
                        <a:pt x="72209" y="23200"/>
                        <a:pt x="66558" y="25227"/>
                      </a:cubicBezTo>
                      <a:lnTo>
                        <a:pt x="64298" y="30294"/>
                      </a:lnTo>
                      <a:cubicBezTo>
                        <a:pt x="67689" y="31307"/>
                        <a:pt x="75599" y="35361"/>
                        <a:pt x="80120" y="37387"/>
                      </a:cubicBezTo>
                      <a:cubicBezTo>
                        <a:pt x="77859" y="38401"/>
                        <a:pt x="90291" y="54614"/>
                        <a:pt x="77859" y="51574"/>
                      </a:cubicBezTo>
                      <a:cubicBezTo>
                        <a:pt x="76729" y="51574"/>
                        <a:pt x="74469" y="47521"/>
                        <a:pt x="72209" y="46508"/>
                      </a:cubicBezTo>
                      <a:cubicBezTo>
                        <a:pt x="59778" y="43468"/>
                        <a:pt x="56387" y="40427"/>
                        <a:pt x="50737" y="32321"/>
                      </a:cubicBezTo>
                      <a:cubicBezTo>
                        <a:pt x="57517" y="29281"/>
                        <a:pt x="45086" y="27254"/>
                        <a:pt x="45086" y="27254"/>
                      </a:cubicBezTo>
                      <a:lnTo>
                        <a:pt x="42826" y="34347"/>
                      </a:lnTo>
                      <a:cubicBezTo>
                        <a:pt x="45086" y="34347"/>
                        <a:pt x="46216" y="33334"/>
                        <a:pt x="46216" y="33334"/>
                      </a:cubicBezTo>
                      <a:cubicBezTo>
                        <a:pt x="46216" y="33334"/>
                        <a:pt x="40565" y="34347"/>
                        <a:pt x="45086" y="36374"/>
                      </a:cubicBezTo>
                      <a:cubicBezTo>
                        <a:pt x="40565" y="36374"/>
                        <a:pt x="33785" y="38401"/>
                        <a:pt x="31525" y="38401"/>
                      </a:cubicBezTo>
                      <a:cubicBezTo>
                        <a:pt x="34915" y="41441"/>
                        <a:pt x="36045" y="39414"/>
                        <a:pt x="42826" y="40427"/>
                      </a:cubicBezTo>
                      <a:cubicBezTo>
                        <a:pt x="41695" y="44481"/>
                        <a:pt x="45086" y="50561"/>
                        <a:pt x="42826" y="54614"/>
                      </a:cubicBezTo>
                      <a:lnTo>
                        <a:pt x="34915" y="56641"/>
                      </a:lnTo>
                      <a:cubicBezTo>
                        <a:pt x="31525" y="58668"/>
                        <a:pt x="27004" y="67788"/>
                        <a:pt x="23614" y="68801"/>
                      </a:cubicBezTo>
                      <a:cubicBezTo>
                        <a:pt x="19093" y="70828"/>
                        <a:pt x="13442" y="66775"/>
                        <a:pt x="10052" y="66775"/>
                      </a:cubicBezTo>
                      <a:lnTo>
                        <a:pt x="10052" y="73868"/>
                      </a:lnTo>
                      <a:cubicBezTo>
                        <a:pt x="12312" y="73868"/>
                        <a:pt x="17963" y="72855"/>
                        <a:pt x="21353" y="73868"/>
                      </a:cubicBezTo>
                      <a:cubicBezTo>
                        <a:pt x="16833" y="74882"/>
                        <a:pt x="31525" y="75895"/>
                        <a:pt x="32654" y="75895"/>
                      </a:cubicBezTo>
                      <a:cubicBezTo>
                        <a:pt x="33785" y="74882"/>
                        <a:pt x="37175" y="68801"/>
                        <a:pt x="38305" y="68801"/>
                      </a:cubicBezTo>
                      <a:cubicBezTo>
                        <a:pt x="47346" y="65761"/>
                        <a:pt x="56387" y="65761"/>
                        <a:pt x="67689" y="61708"/>
                      </a:cubicBezTo>
                      <a:cubicBezTo>
                        <a:pt x="65428" y="60695"/>
                        <a:pt x="73339" y="62721"/>
                        <a:pt x="75599" y="63735"/>
                      </a:cubicBezTo>
                      <a:cubicBezTo>
                        <a:pt x="85770" y="70828"/>
                        <a:pt x="74469" y="69815"/>
                        <a:pt x="67689" y="70828"/>
                      </a:cubicBezTo>
                      <a:cubicBezTo>
                        <a:pt x="68818" y="74882"/>
                        <a:pt x="71079" y="81975"/>
                        <a:pt x="69948" y="82988"/>
                      </a:cubicBezTo>
                      <a:cubicBezTo>
                        <a:pt x="72209" y="82988"/>
                        <a:pt x="77859" y="80962"/>
                        <a:pt x="77859" y="80962"/>
                      </a:cubicBezTo>
                      <a:cubicBezTo>
                        <a:pt x="88031" y="80962"/>
                        <a:pt x="80120" y="88055"/>
                        <a:pt x="80120" y="88055"/>
                      </a:cubicBezTo>
                      <a:cubicBezTo>
                        <a:pt x="72209" y="87042"/>
                        <a:pt x="59778" y="85015"/>
                        <a:pt x="55257" y="86029"/>
                      </a:cubicBezTo>
                      <a:cubicBezTo>
                        <a:pt x="49606" y="87042"/>
                        <a:pt x="45086" y="96162"/>
                        <a:pt x="39436" y="98189"/>
                      </a:cubicBezTo>
                      <a:cubicBezTo>
                        <a:pt x="32654" y="100216"/>
                        <a:pt x="27004" y="99202"/>
                        <a:pt x="23614" y="100216"/>
                      </a:cubicBezTo>
                      <a:cubicBezTo>
                        <a:pt x="20223" y="101229"/>
                        <a:pt x="17963" y="107309"/>
                        <a:pt x="23614" y="107309"/>
                      </a:cubicBezTo>
                      <a:cubicBezTo>
                        <a:pt x="22484" y="107309"/>
                        <a:pt x="32654" y="110349"/>
                        <a:pt x="37175" y="109336"/>
                      </a:cubicBezTo>
                      <a:lnTo>
                        <a:pt x="42826" y="104269"/>
                      </a:lnTo>
                      <a:cubicBezTo>
                        <a:pt x="49606" y="104269"/>
                        <a:pt x="62038" y="106296"/>
                        <a:pt x="72209" y="106296"/>
                      </a:cubicBezTo>
                      <a:cubicBezTo>
                        <a:pt x="74469" y="110349"/>
                        <a:pt x="74469" y="116429"/>
                        <a:pt x="77859" y="118456"/>
                      </a:cubicBezTo>
                      <a:cubicBezTo>
                        <a:pt x="78990" y="119469"/>
                        <a:pt x="84640" y="115416"/>
                        <a:pt x="89160" y="116429"/>
                      </a:cubicBezTo>
                      <a:cubicBezTo>
                        <a:pt x="89160" y="116429"/>
                        <a:pt x="86900" y="124536"/>
                        <a:pt x="89160" y="126563"/>
                      </a:cubicBezTo>
                      <a:lnTo>
                        <a:pt x="89160" y="131630"/>
                      </a:lnTo>
                      <a:cubicBezTo>
                        <a:pt x="85770" y="132643"/>
                        <a:pt x="88031" y="135683"/>
                        <a:pt x="86900" y="138723"/>
                      </a:cubicBezTo>
                      <a:cubicBezTo>
                        <a:pt x="71079" y="138723"/>
                        <a:pt x="73339" y="138723"/>
                        <a:pt x="59778" y="143790"/>
                      </a:cubicBezTo>
                      <a:lnTo>
                        <a:pt x="62038" y="150883"/>
                      </a:lnTo>
                      <a:cubicBezTo>
                        <a:pt x="82380" y="152910"/>
                        <a:pt x="93681" y="148857"/>
                        <a:pt x="114023" y="145817"/>
                      </a:cubicBezTo>
                      <a:lnTo>
                        <a:pt x="116284" y="150883"/>
                      </a:lnTo>
                      <a:cubicBezTo>
                        <a:pt x="123064" y="151897"/>
                        <a:pt x="127585" y="147843"/>
                        <a:pt x="129845" y="148857"/>
                      </a:cubicBezTo>
                      <a:lnTo>
                        <a:pt x="132105" y="153923"/>
                      </a:lnTo>
                      <a:cubicBezTo>
                        <a:pt x="138886" y="155950"/>
                        <a:pt x="145666" y="156964"/>
                        <a:pt x="151317" y="158990"/>
                      </a:cubicBezTo>
                      <a:lnTo>
                        <a:pt x="156968" y="158990"/>
                      </a:lnTo>
                      <a:cubicBezTo>
                        <a:pt x="151317" y="164057"/>
                        <a:pt x="149057" y="169124"/>
                        <a:pt x="143406" y="173177"/>
                      </a:cubicBezTo>
                      <a:cubicBezTo>
                        <a:pt x="151317" y="173177"/>
                        <a:pt x="150187" y="170137"/>
                        <a:pt x="156968" y="171151"/>
                      </a:cubicBezTo>
                      <a:cubicBezTo>
                        <a:pt x="167139" y="171151"/>
                        <a:pt x="185221" y="180271"/>
                        <a:pt x="199912" y="176217"/>
                      </a:cubicBezTo>
                      <a:cubicBezTo>
                        <a:pt x="201042" y="176217"/>
                        <a:pt x="204433" y="169124"/>
                        <a:pt x="205563" y="169124"/>
                      </a:cubicBezTo>
                      <a:cubicBezTo>
                        <a:pt x="208953" y="169124"/>
                        <a:pt x="210083" y="174191"/>
                        <a:pt x="211213" y="176217"/>
                      </a:cubicBezTo>
                      <a:lnTo>
                        <a:pt x="216864" y="176217"/>
                      </a:lnTo>
                      <a:cubicBezTo>
                        <a:pt x="219124" y="175204"/>
                        <a:pt x="217994" y="171151"/>
                        <a:pt x="219124" y="169124"/>
                      </a:cubicBezTo>
                      <a:cubicBezTo>
                        <a:pt x="223645" y="163044"/>
                        <a:pt x="231556" y="162030"/>
                        <a:pt x="219124" y="156964"/>
                      </a:cubicBezTo>
                      <a:cubicBezTo>
                        <a:pt x="219124" y="154937"/>
                        <a:pt x="220255" y="148857"/>
                        <a:pt x="219124" y="146830"/>
                      </a:cubicBezTo>
                      <a:cubicBezTo>
                        <a:pt x="238336" y="149870"/>
                        <a:pt x="234946" y="149870"/>
                        <a:pt x="248508" y="156964"/>
                      </a:cubicBezTo>
                      <a:cubicBezTo>
                        <a:pt x="251898" y="154937"/>
                        <a:pt x="253028" y="154937"/>
                        <a:pt x="259809" y="154937"/>
                      </a:cubicBezTo>
                      <a:cubicBezTo>
                        <a:pt x="260939" y="150883"/>
                        <a:pt x="258678" y="145817"/>
                        <a:pt x="262069" y="144803"/>
                      </a:cubicBezTo>
                      <a:cubicBezTo>
                        <a:pt x="263199" y="144803"/>
                        <a:pt x="273370" y="150883"/>
                        <a:pt x="275630" y="151897"/>
                      </a:cubicBezTo>
                      <a:cubicBezTo>
                        <a:pt x="281281" y="147843"/>
                        <a:pt x="285801" y="139736"/>
                        <a:pt x="291452" y="137710"/>
                      </a:cubicBezTo>
                      <a:cubicBezTo>
                        <a:pt x="301623" y="133656"/>
                        <a:pt x="308404" y="136696"/>
                        <a:pt x="318575" y="132643"/>
                      </a:cubicBezTo>
                      <a:cubicBezTo>
                        <a:pt x="319705" y="132643"/>
                        <a:pt x="326485" y="125549"/>
                        <a:pt x="326485" y="125549"/>
                      </a:cubicBezTo>
                      <a:cubicBezTo>
                        <a:pt x="328746" y="124536"/>
                        <a:pt x="333267" y="126563"/>
                        <a:pt x="334396" y="125549"/>
                      </a:cubicBezTo>
                      <a:cubicBezTo>
                        <a:pt x="334396" y="125549"/>
                        <a:pt x="338917" y="109336"/>
                        <a:pt x="340047" y="106296"/>
                      </a:cubicBezTo>
                      <a:cubicBezTo>
                        <a:pt x="346828" y="105282"/>
                        <a:pt x="349088" y="106296"/>
                        <a:pt x="353609" y="104269"/>
                      </a:cubicBezTo>
                      <a:lnTo>
                        <a:pt x="353609" y="102242"/>
                      </a:lnTo>
                      <a:lnTo>
                        <a:pt x="353609" y="97175"/>
                      </a:lnTo>
                      <a:cubicBezTo>
                        <a:pt x="353609" y="97175"/>
                        <a:pt x="363779" y="97175"/>
                        <a:pt x="359259" y="99202"/>
                      </a:cubicBezTo>
                      <a:cubicBezTo>
                        <a:pt x="367170" y="98189"/>
                        <a:pt x="363779" y="103256"/>
                        <a:pt x="372821" y="101229"/>
                      </a:cubicBezTo>
                      <a:cubicBezTo>
                        <a:pt x="376211" y="100216"/>
                        <a:pt x="375080" y="90082"/>
                        <a:pt x="372821" y="89069"/>
                      </a:cubicBezTo>
                      <a:lnTo>
                        <a:pt x="375080" y="87042"/>
                      </a:lnTo>
                      <a:cubicBezTo>
                        <a:pt x="372821" y="86029"/>
                        <a:pt x="368300" y="85015"/>
                        <a:pt x="367170" y="85015"/>
                      </a:cubicBezTo>
                      <a:lnTo>
                        <a:pt x="367170" y="79948"/>
                      </a:lnTo>
                      <a:cubicBezTo>
                        <a:pt x="370560" y="82988"/>
                        <a:pt x="371690" y="73868"/>
                        <a:pt x="372821" y="72855"/>
                      </a:cubicBezTo>
                      <a:cubicBezTo>
                        <a:pt x="369430" y="70828"/>
                        <a:pt x="368300" y="64748"/>
                        <a:pt x="364910" y="62721"/>
                      </a:cubicBezTo>
                      <a:cubicBezTo>
                        <a:pt x="361520" y="60695"/>
                        <a:pt x="362649" y="66775"/>
                        <a:pt x="356999" y="64748"/>
                      </a:cubicBezTo>
                      <a:lnTo>
                        <a:pt x="354738" y="59681"/>
                      </a:lnTo>
                      <a:cubicBezTo>
                        <a:pt x="347958" y="60695"/>
                        <a:pt x="350218" y="56641"/>
                        <a:pt x="343437" y="57655"/>
                      </a:cubicBezTo>
                      <a:cubicBezTo>
                        <a:pt x="341177" y="57655"/>
                        <a:pt x="336657" y="61708"/>
                        <a:pt x="332136" y="62721"/>
                      </a:cubicBezTo>
                      <a:cubicBezTo>
                        <a:pt x="334396" y="56641"/>
                        <a:pt x="337787" y="48534"/>
                        <a:pt x="337787" y="43468"/>
                      </a:cubicBezTo>
                      <a:cubicBezTo>
                        <a:pt x="337787" y="41441"/>
                        <a:pt x="332136" y="41441"/>
                        <a:pt x="329876" y="41441"/>
                      </a:cubicBezTo>
                      <a:cubicBezTo>
                        <a:pt x="329876" y="39414"/>
                        <a:pt x="331006" y="33334"/>
                        <a:pt x="329876" y="31307"/>
                      </a:cubicBezTo>
                      <a:cubicBezTo>
                        <a:pt x="333267" y="30294"/>
                        <a:pt x="338917" y="28267"/>
                        <a:pt x="343437" y="26240"/>
                      </a:cubicBezTo>
                      <a:cubicBezTo>
                        <a:pt x="345698" y="25227"/>
                        <a:pt x="346828" y="20160"/>
                        <a:pt x="349088" y="19147"/>
                      </a:cubicBezTo>
                      <a:cubicBezTo>
                        <a:pt x="338917" y="22187"/>
                        <a:pt x="332136" y="23200"/>
                        <a:pt x="321965" y="26240"/>
                      </a:cubicBezTo>
                      <a:cubicBezTo>
                        <a:pt x="326485" y="28267"/>
                        <a:pt x="314054" y="28267"/>
                        <a:pt x="314054" y="28267"/>
                      </a:cubicBezTo>
                      <a:cubicBezTo>
                        <a:pt x="312924" y="27254"/>
                        <a:pt x="300493" y="9013"/>
                        <a:pt x="300493" y="9013"/>
                      </a:cubicBezTo>
                      <a:cubicBezTo>
                        <a:pt x="300493" y="13067"/>
                        <a:pt x="297103" y="15094"/>
                        <a:pt x="294842" y="14080"/>
                      </a:cubicBezTo>
                      <a:close/>
                      <a:moveTo>
                        <a:pt x="56387" y="11040"/>
                      </a:moveTo>
                      <a:cubicBezTo>
                        <a:pt x="55257" y="11040"/>
                        <a:pt x="54127" y="15094"/>
                        <a:pt x="54127" y="16107"/>
                      </a:cubicBezTo>
                      <a:cubicBezTo>
                        <a:pt x="48476" y="16107"/>
                        <a:pt x="51867" y="17120"/>
                        <a:pt x="51867" y="21174"/>
                      </a:cubicBezTo>
                      <a:cubicBezTo>
                        <a:pt x="65428" y="20160"/>
                        <a:pt x="73339" y="19147"/>
                        <a:pt x="90291" y="21174"/>
                      </a:cubicBezTo>
                      <a:cubicBezTo>
                        <a:pt x="88031" y="19147"/>
                        <a:pt x="88031" y="15094"/>
                        <a:pt x="84640" y="14080"/>
                      </a:cubicBezTo>
                      <a:cubicBezTo>
                        <a:pt x="78990" y="11040"/>
                        <a:pt x="63168" y="9013"/>
                        <a:pt x="56387" y="1104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0" name="Freeform: Shape 379">
                  <a:extLst>
                    <a:ext uri="{FF2B5EF4-FFF2-40B4-BE49-F238E27FC236}">
                      <a16:creationId xmlns:a16="http://schemas.microsoft.com/office/drawing/2014/main" id="{BB8D9455-1F5C-4179-BC60-D4834C3B308C}"/>
                    </a:ext>
                  </a:extLst>
                </p:cNvPr>
                <p:cNvSpPr/>
                <p:nvPr/>
              </p:nvSpPr>
              <p:spPr>
                <a:xfrm>
                  <a:off x="6462874" y="2249436"/>
                  <a:ext cx="271229" cy="162137"/>
                </a:xfrm>
                <a:custGeom>
                  <a:avLst/>
                  <a:gdLst>
                    <a:gd name="connsiteX0" fmla="*/ 118543 w 271228"/>
                    <a:gd name="connsiteY0" fmla="*/ 161732 h 162137"/>
                    <a:gd name="connsiteX1" fmla="*/ 92551 w 271228"/>
                    <a:gd name="connsiteY1" fmla="*/ 157678 h 162137"/>
                    <a:gd name="connsiteX2" fmla="*/ 63168 w 271228"/>
                    <a:gd name="connsiteY2" fmla="*/ 142478 h 162137"/>
                    <a:gd name="connsiteX3" fmla="*/ 39435 w 271228"/>
                    <a:gd name="connsiteY3" fmla="*/ 112077 h 162137"/>
                    <a:gd name="connsiteX4" fmla="*/ 15703 w 271228"/>
                    <a:gd name="connsiteY4" fmla="*/ 91810 h 162137"/>
                    <a:gd name="connsiteX5" fmla="*/ 19093 w 271228"/>
                    <a:gd name="connsiteY5" fmla="*/ 80663 h 162137"/>
                    <a:gd name="connsiteX6" fmla="*/ 10052 w 271228"/>
                    <a:gd name="connsiteY6" fmla="*/ 67490 h 162137"/>
                    <a:gd name="connsiteX7" fmla="*/ 22483 w 271228"/>
                    <a:gd name="connsiteY7" fmla="*/ 57356 h 162137"/>
                    <a:gd name="connsiteX8" fmla="*/ 31524 w 271228"/>
                    <a:gd name="connsiteY8" fmla="*/ 37089 h 162137"/>
                    <a:gd name="connsiteX9" fmla="*/ 40565 w 271228"/>
                    <a:gd name="connsiteY9" fmla="*/ 22902 h 162137"/>
                    <a:gd name="connsiteX10" fmla="*/ 64298 w 271228"/>
                    <a:gd name="connsiteY10" fmla="*/ 34049 h 162137"/>
                    <a:gd name="connsiteX11" fmla="*/ 95941 w 271228"/>
                    <a:gd name="connsiteY11" fmla="*/ 37089 h 162137"/>
                    <a:gd name="connsiteX12" fmla="*/ 116283 w 271228"/>
                    <a:gd name="connsiteY12" fmla="*/ 38102 h 162137"/>
                    <a:gd name="connsiteX13" fmla="*/ 111763 w 271228"/>
                    <a:gd name="connsiteY13" fmla="*/ 24929 h 162137"/>
                    <a:gd name="connsiteX14" fmla="*/ 132105 w 271228"/>
                    <a:gd name="connsiteY14" fmla="*/ 21888 h 162137"/>
                    <a:gd name="connsiteX15" fmla="*/ 159228 w 271228"/>
                    <a:gd name="connsiteY15" fmla="*/ 20875 h 162137"/>
                    <a:gd name="connsiteX16" fmla="*/ 173919 w 271228"/>
                    <a:gd name="connsiteY16" fmla="*/ 23915 h 162137"/>
                    <a:gd name="connsiteX17" fmla="*/ 189741 w 271228"/>
                    <a:gd name="connsiteY17" fmla="*/ 14795 h 162137"/>
                    <a:gd name="connsiteX18" fmla="*/ 219124 w 271228"/>
                    <a:gd name="connsiteY18" fmla="*/ 10742 h 162137"/>
                    <a:gd name="connsiteX19" fmla="*/ 245117 w 271228"/>
                    <a:gd name="connsiteY19" fmla="*/ 11755 h 162137"/>
                    <a:gd name="connsiteX20" fmla="*/ 263198 w 271228"/>
                    <a:gd name="connsiteY20" fmla="*/ 17835 h 162137"/>
                    <a:gd name="connsiteX21" fmla="*/ 258678 w 271228"/>
                    <a:gd name="connsiteY21" fmla="*/ 47222 h 162137"/>
                    <a:gd name="connsiteX22" fmla="*/ 237206 w 271228"/>
                    <a:gd name="connsiteY22" fmla="*/ 65463 h 162137"/>
                    <a:gd name="connsiteX23" fmla="*/ 220254 w 271228"/>
                    <a:gd name="connsiteY23" fmla="*/ 121197 h 162137"/>
                    <a:gd name="connsiteX24" fmla="*/ 196522 w 271228"/>
                    <a:gd name="connsiteY24" fmla="*/ 139438 h 162137"/>
                    <a:gd name="connsiteX25" fmla="*/ 187481 w 271228"/>
                    <a:gd name="connsiteY25" fmla="*/ 139438 h 162137"/>
                    <a:gd name="connsiteX26" fmla="*/ 168269 w 271228"/>
                    <a:gd name="connsiteY26" fmla="*/ 139438 h 162137"/>
                    <a:gd name="connsiteX27" fmla="*/ 142276 w 271228"/>
                    <a:gd name="connsiteY27" fmla="*/ 149571 h 162137"/>
                    <a:gd name="connsiteX28" fmla="*/ 124194 w 271228"/>
                    <a:gd name="connsiteY28" fmla="*/ 159705 h 162137"/>
                    <a:gd name="connsiteX29" fmla="*/ 118543 w 271228"/>
                    <a:gd name="connsiteY29" fmla="*/ 161732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1228" h="162137">
                      <a:moveTo>
                        <a:pt x="118543" y="161732"/>
                      </a:moveTo>
                      <a:cubicBezTo>
                        <a:pt x="118543" y="161732"/>
                        <a:pt x="101591" y="163758"/>
                        <a:pt x="92551" y="157678"/>
                      </a:cubicBezTo>
                      <a:cubicBezTo>
                        <a:pt x="83510" y="151598"/>
                        <a:pt x="75599" y="151598"/>
                        <a:pt x="63168" y="142478"/>
                      </a:cubicBezTo>
                      <a:cubicBezTo>
                        <a:pt x="50736" y="133358"/>
                        <a:pt x="40565" y="122211"/>
                        <a:pt x="39435" y="112077"/>
                      </a:cubicBezTo>
                      <a:cubicBezTo>
                        <a:pt x="38305" y="101944"/>
                        <a:pt x="15703" y="91810"/>
                        <a:pt x="15703" y="91810"/>
                      </a:cubicBezTo>
                      <a:cubicBezTo>
                        <a:pt x="15703" y="91810"/>
                        <a:pt x="20223" y="87757"/>
                        <a:pt x="19093" y="80663"/>
                      </a:cubicBezTo>
                      <a:cubicBezTo>
                        <a:pt x="17963" y="73570"/>
                        <a:pt x="10052" y="67490"/>
                        <a:pt x="10052" y="67490"/>
                      </a:cubicBezTo>
                      <a:cubicBezTo>
                        <a:pt x="10052" y="67490"/>
                        <a:pt x="14572" y="53303"/>
                        <a:pt x="22483" y="57356"/>
                      </a:cubicBezTo>
                      <a:cubicBezTo>
                        <a:pt x="30394" y="61409"/>
                        <a:pt x="31524" y="37089"/>
                        <a:pt x="31524" y="37089"/>
                      </a:cubicBezTo>
                      <a:cubicBezTo>
                        <a:pt x="31524" y="37089"/>
                        <a:pt x="24743" y="18848"/>
                        <a:pt x="40565" y="22902"/>
                      </a:cubicBezTo>
                      <a:cubicBezTo>
                        <a:pt x="40565" y="22902"/>
                        <a:pt x="55257" y="34049"/>
                        <a:pt x="64298" y="34049"/>
                      </a:cubicBezTo>
                      <a:cubicBezTo>
                        <a:pt x="73338" y="34049"/>
                        <a:pt x="74469" y="31009"/>
                        <a:pt x="95941" y="37089"/>
                      </a:cubicBezTo>
                      <a:cubicBezTo>
                        <a:pt x="117413" y="42156"/>
                        <a:pt x="116283" y="38102"/>
                        <a:pt x="116283" y="38102"/>
                      </a:cubicBezTo>
                      <a:lnTo>
                        <a:pt x="111763" y="24929"/>
                      </a:lnTo>
                      <a:cubicBezTo>
                        <a:pt x="111763" y="24929"/>
                        <a:pt x="112893" y="27969"/>
                        <a:pt x="132105" y="21888"/>
                      </a:cubicBezTo>
                      <a:cubicBezTo>
                        <a:pt x="151317" y="15808"/>
                        <a:pt x="152447" y="12768"/>
                        <a:pt x="159228" y="20875"/>
                      </a:cubicBezTo>
                      <a:cubicBezTo>
                        <a:pt x="166008" y="28982"/>
                        <a:pt x="173919" y="23915"/>
                        <a:pt x="173919" y="23915"/>
                      </a:cubicBezTo>
                      <a:cubicBezTo>
                        <a:pt x="173919" y="23915"/>
                        <a:pt x="177310" y="18848"/>
                        <a:pt x="189741" y="14795"/>
                      </a:cubicBezTo>
                      <a:cubicBezTo>
                        <a:pt x="202172" y="10742"/>
                        <a:pt x="202172" y="9728"/>
                        <a:pt x="219124" y="10742"/>
                      </a:cubicBezTo>
                      <a:cubicBezTo>
                        <a:pt x="236076" y="11755"/>
                        <a:pt x="237206" y="5675"/>
                        <a:pt x="245117" y="11755"/>
                      </a:cubicBezTo>
                      <a:cubicBezTo>
                        <a:pt x="253028" y="17835"/>
                        <a:pt x="263198" y="17835"/>
                        <a:pt x="263198" y="17835"/>
                      </a:cubicBezTo>
                      <a:cubicBezTo>
                        <a:pt x="263198" y="17835"/>
                        <a:pt x="259808" y="39116"/>
                        <a:pt x="258678" y="47222"/>
                      </a:cubicBezTo>
                      <a:cubicBezTo>
                        <a:pt x="257548" y="55329"/>
                        <a:pt x="251897" y="55329"/>
                        <a:pt x="237206" y="65463"/>
                      </a:cubicBezTo>
                      <a:cubicBezTo>
                        <a:pt x="222514" y="75596"/>
                        <a:pt x="232686" y="100930"/>
                        <a:pt x="220254" y="121197"/>
                      </a:cubicBezTo>
                      <a:cubicBezTo>
                        <a:pt x="207823" y="141465"/>
                        <a:pt x="196522" y="139438"/>
                        <a:pt x="196522" y="139438"/>
                      </a:cubicBezTo>
                      <a:cubicBezTo>
                        <a:pt x="196522" y="139438"/>
                        <a:pt x="193132" y="139438"/>
                        <a:pt x="187481" y="139438"/>
                      </a:cubicBezTo>
                      <a:cubicBezTo>
                        <a:pt x="181830" y="139438"/>
                        <a:pt x="175049" y="139438"/>
                        <a:pt x="168269" y="139438"/>
                      </a:cubicBezTo>
                      <a:cubicBezTo>
                        <a:pt x="155837" y="139438"/>
                        <a:pt x="146796" y="142478"/>
                        <a:pt x="142276" y="149571"/>
                      </a:cubicBezTo>
                      <a:cubicBezTo>
                        <a:pt x="137755" y="156665"/>
                        <a:pt x="124194" y="159705"/>
                        <a:pt x="124194" y="159705"/>
                      </a:cubicBezTo>
                      <a:lnTo>
                        <a:pt x="118543" y="16173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2" name="Freeform: Shape 381">
                  <a:extLst>
                    <a:ext uri="{FF2B5EF4-FFF2-40B4-BE49-F238E27FC236}">
                      <a16:creationId xmlns:a16="http://schemas.microsoft.com/office/drawing/2014/main" id="{A96CC2A1-3011-4B53-B6B3-E114FBB031DA}"/>
                    </a:ext>
                  </a:extLst>
                </p:cNvPr>
                <p:cNvSpPr/>
                <p:nvPr/>
              </p:nvSpPr>
              <p:spPr>
                <a:xfrm>
                  <a:off x="9906349" y="3377003"/>
                  <a:ext cx="33904" cy="20267"/>
                </a:xfrm>
                <a:custGeom>
                  <a:avLst/>
                  <a:gdLst>
                    <a:gd name="connsiteX0" fmla="*/ 29263 w 33903"/>
                    <a:gd name="connsiteY0" fmla="*/ 15094 h 20267"/>
                    <a:gd name="connsiteX1" fmla="*/ 25873 w 33903"/>
                    <a:gd name="connsiteY1" fmla="*/ 16107 h 20267"/>
                    <a:gd name="connsiteX2" fmla="*/ 14572 w 33903"/>
                    <a:gd name="connsiteY2" fmla="*/ 18134 h 20267"/>
                    <a:gd name="connsiteX3" fmla="*/ 10052 w 33903"/>
                    <a:gd name="connsiteY3" fmla="*/ 9013 h 20267"/>
                    <a:gd name="connsiteX4" fmla="*/ 28134 w 33903"/>
                    <a:gd name="connsiteY4" fmla="*/ 13067 h 20267"/>
                    <a:gd name="connsiteX5" fmla="*/ 29263 w 33903"/>
                    <a:gd name="connsiteY5" fmla="*/ 15094 h 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3" h="20267">
                      <a:moveTo>
                        <a:pt x="29263" y="15094"/>
                      </a:moveTo>
                      <a:lnTo>
                        <a:pt x="25873" y="16107"/>
                      </a:lnTo>
                      <a:cubicBezTo>
                        <a:pt x="22483" y="17120"/>
                        <a:pt x="19093" y="17120"/>
                        <a:pt x="14572" y="18134"/>
                      </a:cubicBezTo>
                      <a:cubicBezTo>
                        <a:pt x="12312" y="15094"/>
                        <a:pt x="11182" y="12054"/>
                        <a:pt x="10052" y="9013"/>
                      </a:cubicBezTo>
                      <a:cubicBezTo>
                        <a:pt x="16832" y="10027"/>
                        <a:pt x="23613" y="6987"/>
                        <a:pt x="28134" y="13067"/>
                      </a:cubicBezTo>
                      <a:lnTo>
                        <a:pt x="29263" y="1509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3" name="Freeform: Shape 382">
                  <a:extLst>
                    <a:ext uri="{FF2B5EF4-FFF2-40B4-BE49-F238E27FC236}">
                      <a16:creationId xmlns:a16="http://schemas.microsoft.com/office/drawing/2014/main" id="{C7B1BFB6-F36A-4B5D-B912-6E2A113159A2}"/>
                    </a:ext>
                  </a:extLst>
                </p:cNvPr>
                <p:cNvSpPr/>
                <p:nvPr/>
              </p:nvSpPr>
              <p:spPr>
                <a:xfrm>
                  <a:off x="2735740" y="3629329"/>
                  <a:ext cx="237325" cy="131736"/>
                </a:xfrm>
                <a:custGeom>
                  <a:avLst/>
                  <a:gdLst>
                    <a:gd name="connsiteX0" fmla="*/ 225905 w 237325"/>
                    <a:gd name="connsiteY0" fmla="*/ 57655 h 131736"/>
                    <a:gd name="connsiteX1" fmla="*/ 223645 w 237325"/>
                    <a:gd name="connsiteY1" fmla="*/ 47521 h 131736"/>
                    <a:gd name="connsiteX2" fmla="*/ 198782 w 237325"/>
                    <a:gd name="connsiteY2" fmla="*/ 40428 h 131736"/>
                    <a:gd name="connsiteX3" fmla="*/ 193132 w 237325"/>
                    <a:gd name="connsiteY3" fmla="*/ 21174 h 131736"/>
                    <a:gd name="connsiteX4" fmla="*/ 185221 w 237325"/>
                    <a:gd name="connsiteY4" fmla="*/ 21174 h 131736"/>
                    <a:gd name="connsiteX5" fmla="*/ 182961 w 237325"/>
                    <a:gd name="connsiteY5" fmla="*/ 16107 h 131736"/>
                    <a:gd name="connsiteX6" fmla="*/ 144536 w 237325"/>
                    <a:gd name="connsiteY6" fmla="*/ 14080 h 131736"/>
                    <a:gd name="connsiteX7" fmla="*/ 136626 w 237325"/>
                    <a:gd name="connsiteY7" fmla="*/ 9013 h 131736"/>
                    <a:gd name="connsiteX8" fmla="*/ 134365 w 237325"/>
                    <a:gd name="connsiteY8" fmla="*/ 16107 h 131736"/>
                    <a:gd name="connsiteX9" fmla="*/ 101592 w 237325"/>
                    <a:gd name="connsiteY9" fmla="*/ 18134 h 131736"/>
                    <a:gd name="connsiteX10" fmla="*/ 99331 w 237325"/>
                    <a:gd name="connsiteY10" fmla="*/ 23201 h 131736"/>
                    <a:gd name="connsiteX11" fmla="*/ 45086 w 237325"/>
                    <a:gd name="connsiteY11" fmla="*/ 21174 h 131736"/>
                    <a:gd name="connsiteX12" fmla="*/ 33785 w 237325"/>
                    <a:gd name="connsiteY12" fmla="*/ 32321 h 131736"/>
                    <a:gd name="connsiteX13" fmla="*/ 19093 w 237325"/>
                    <a:gd name="connsiteY13" fmla="*/ 45494 h 131736"/>
                    <a:gd name="connsiteX14" fmla="*/ 10052 w 237325"/>
                    <a:gd name="connsiteY14" fmla="*/ 65761 h 131736"/>
                    <a:gd name="connsiteX15" fmla="*/ 43956 w 237325"/>
                    <a:gd name="connsiteY15" fmla="*/ 75895 h 131736"/>
                    <a:gd name="connsiteX16" fmla="*/ 64298 w 237325"/>
                    <a:gd name="connsiteY16" fmla="*/ 85015 h 131736"/>
                    <a:gd name="connsiteX17" fmla="*/ 80120 w 237325"/>
                    <a:gd name="connsiteY17" fmla="*/ 91095 h 131736"/>
                    <a:gd name="connsiteX18" fmla="*/ 78989 w 237325"/>
                    <a:gd name="connsiteY18" fmla="*/ 111363 h 131736"/>
                    <a:gd name="connsiteX19" fmla="*/ 88030 w 237325"/>
                    <a:gd name="connsiteY19" fmla="*/ 111363 h 131736"/>
                    <a:gd name="connsiteX20" fmla="*/ 84640 w 237325"/>
                    <a:gd name="connsiteY20" fmla="*/ 124536 h 131736"/>
                    <a:gd name="connsiteX21" fmla="*/ 100462 w 237325"/>
                    <a:gd name="connsiteY21" fmla="*/ 119470 h 131736"/>
                    <a:gd name="connsiteX22" fmla="*/ 100462 w 237325"/>
                    <a:gd name="connsiteY22" fmla="*/ 90082 h 131736"/>
                    <a:gd name="connsiteX23" fmla="*/ 127584 w 237325"/>
                    <a:gd name="connsiteY23" fmla="*/ 79948 h 131736"/>
                    <a:gd name="connsiteX24" fmla="*/ 147927 w 237325"/>
                    <a:gd name="connsiteY24" fmla="*/ 84002 h 131736"/>
                    <a:gd name="connsiteX25" fmla="*/ 166009 w 237325"/>
                    <a:gd name="connsiteY25" fmla="*/ 82989 h 131736"/>
                    <a:gd name="connsiteX26" fmla="*/ 189741 w 237325"/>
                    <a:gd name="connsiteY26" fmla="*/ 73869 h 131736"/>
                    <a:gd name="connsiteX27" fmla="*/ 204433 w 237325"/>
                    <a:gd name="connsiteY27" fmla="*/ 59681 h 131736"/>
                    <a:gd name="connsiteX28" fmla="*/ 225905 w 237325"/>
                    <a:gd name="connsiteY28" fmla="*/ 57655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7325" h="131736">
                      <a:moveTo>
                        <a:pt x="225905" y="57655"/>
                      </a:moveTo>
                      <a:cubicBezTo>
                        <a:pt x="224775" y="48535"/>
                        <a:pt x="233816" y="52588"/>
                        <a:pt x="223645" y="47521"/>
                      </a:cubicBezTo>
                      <a:cubicBezTo>
                        <a:pt x="217994" y="44481"/>
                        <a:pt x="204433" y="44481"/>
                        <a:pt x="198782" y="40428"/>
                      </a:cubicBezTo>
                      <a:cubicBezTo>
                        <a:pt x="196522" y="38401"/>
                        <a:pt x="198782" y="24214"/>
                        <a:pt x="193132" y="21174"/>
                      </a:cubicBezTo>
                      <a:cubicBezTo>
                        <a:pt x="192001" y="20160"/>
                        <a:pt x="187481" y="22187"/>
                        <a:pt x="185221" y="21174"/>
                      </a:cubicBezTo>
                      <a:lnTo>
                        <a:pt x="182961" y="16107"/>
                      </a:lnTo>
                      <a:cubicBezTo>
                        <a:pt x="169399" y="11040"/>
                        <a:pt x="158098" y="17120"/>
                        <a:pt x="144536" y="14080"/>
                      </a:cubicBezTo>
                      <a:cubicBezTo>
                        <a:pt x="141146" y="13067"/>
                        <a:pt x="143406" y="9013"/>
                        <a:pt x="136626" y="9013"/>
                      </a:cubicBezTo>
                      <a:cubicBezTo>
                        <a:pt x="134365" y="9013"/>
                        <a:pt x="134365" y="14080"/>
                        <a:pt x="134365" y="16107"/>
                      </a:cubicBezTo>
                      <a:cubicBezTo>
                        <a:pt x="120804" y="17120"/>
                        <a:pt x="112893" y="15094"/>
                        <a:pt x="101592" y="18134"/>
                      </a:cubicBezTo>
                      <a:lnTo>
                        <a:pt x="99331" y="23201"/>
                      </a:lnTo>
                      <a:cubicBezTo>
                        <a:pt x="81250" y="25227"/>
                        <a:pt x="60907" y="22187"/>
                        <a:pt x="45086" y="21174"/>
                      </a:cubicBezTo>
                      <a:cubicBezTo>
                        <a:pt x="45086" y="21174"/>
                        <a:pt x="45086" y="31307"/>
                        <a:pt x="33785" y="32321"/>
                      </a:cubicBezTo>
                      <a:cubicBezTo>
                        <a:pt x="22483" y="33334"/>
                        <a:pt x="19093" y="36374"/>
                        <a:pt x="19093" y="45494"/>
                      </a:cubicBezTo>
                      <a:cubicBezTo>
                        <a:pt x="19093" y="54614"/>
                        <a:pt x="10052" y="65761"/>
                        <a:pt x="10052" y="65761"/>
                      </a:cubicBezTo>
                      <a:cubicBezTo>
                        <a:pt x="10052" y="65761"/>
                        <a:pt x="36045" y="70828"/>
                        <a:pt x="43956" y="75895"/>
                      </a:cubicBezTo>
                      <a:cubicBezTo>
                        <a:pt x="52997" y="80962"/>
                        <a:pt x="50736" y="84002"/>
                        <a:pt x="64298" y="85015"/>
                      </a:cubicBezTo>
                      <a:cubicBezTo>
                        <a:pt x="76729" y="86029"/>
                        <a:pt x="80120" y="91095"/>
                        <a:pt x="80120" y="91095"/>
                      </a:cubicBezTo>
                      <a:lnTo>
                        <a:pt x="78989" y="111363"/>
                      </a:lnTo>
                      <a:cubicBezTo>
                        <a:pt x="80120" y="112376"/>
                        <a:pt x="86900" y="112376"/>
                        <a:pt x="88030" y="111363"/>
                      </a:cubicBezTo>
                      <a:cubicBezTo>
                        <a:pt x="86900" y="116429"/>
                        <a:pt x="85770" y="119470"/>
                        <a:pt x="84640" y="124536"/>
                      </a:cubicBezTo>
                      <a:cubicBezTo>
                        <a:pt x="84640" y="124536"/>
                        <a:pt x="95941" y="128590"/>
                        <a:pt x="100462" y="119470"/>
                      </a:cubicBezTo>
                      <a:cubicBezTo>
                        <a:pt x="104982" y="110349"/>
                        <a:pt x="100462" y="90082"/>
                        <a:pt x="100462" y="90082"/>
                      </a:cubicBezTo>
                      <a:cubicBezTo>
                        <a:pt x="100462" y="90082"/>
                        <a:pt x="117413" y="81975"/>
                        <a:pt x="127584" y="79948"/>
                      </a:cubicBezTo>
                      <a:cubicBezTo>
                        <a:pt x="137756" y="77922"/>
                        <a:pt x="144536" y="78935"/>
                        <a:pt x="147927" y="84002"/>
                      </a:cubicBezTo>
                      <a:cubicBezTo>
                        <a:pt x="151317" y="89069"/>
                        <a:pt x="158098" y="85015"/>
                        <a:pt x="166009" y="82989"/>
                      </a:cubicBezTo>
                      <a:cubicBezTo>
                        <a:pt x="175050" y="79948"/>
                        <a:pt x="189741" y="78935"/>
                        <a:pt x="189741" y="73869"/>
                      </a:cubicBezTo>
                      <a:cubicBezTo>
                        <a:pt x="189741" y="68802"/>
                        <a:pt x="204433" y="59681"/>
                        <a:pt x="204433" y="59681"/>
                      </a:cubicBezTo>
                      <a:lnTo>
                        <a:pt x="225905" y="57655"/>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4" name="Freeform: Shape 383">
                  <a:extLst>
                    <a:ext uri="{FF2B5EF4-FFF2-40B4-BE49-F238E27FC236}">
                      <a16:creationId xmlns:a16="http://schemas.microsoft.com/office/drawing/2014/main" id="{B88F8CAD-C912-4727-A3A7-6FFAB1224F03}"/>
                    </a:ext>
                  </a:extLst>
                </p:cNvPr>
                <p:cNvSpPr/>
                <p:nvPr/>
              </p:nvSpPr>
              <p:spPr>
                <a:xfrm>
                  <a:off x="238440" y="3365816"/>
                  <a:ext cx="12691243" cy="141870"/>
                </a:xfrm>
                <a:custGeom>
                  <a:avLst/>
                  <a:gdLst>
                    <a:gd name="connsiteX0" fmla="*/ 12690859 w 12691242"/>
                    <a:gd name="connsiteY0" fmla="*/ 33375 h 141869"/>
                    <a:gd name="connsiteX1" fmla="*/ 12681817 w 12691242"/>
                    <a:gd name="connsiteY1" fmla="*/ 43509 h 141869"/>
                    <a:gd name="connsiteX2" fmla="*/ 12690859 w 12691242"/>
                    <a:gd name="connsiteY2" fmla="*/ 43509 h 141869"/>
                    <a:gd name="connsiteX3" fmla="*/ 12690859 w 12691242"/>
                    <a:gd name="connsiteY3" fmla="*/ 33375 h 141869"/>
                    <a:gd name="connsiteX4" fmla="*/ 161223 w 12691242"/>
                    <a:gd name="connsiteY4" fmla="*/ 102283 h 141869"/>
                    <a:gd name="connsiteX5" fmla="*/ 161223 w 12691242"/>
                    <a:gd name="connsiteY5" fmla="*/ 109377 h 141869"/>
                    <a:gd name="connsiteX6" fmla="*/ 149922 w 12691242"/>
                    <a:gd name="connsiteY6" fmla="*/ 114443 h 141869"/>
                    <a:gd name="connsiteX7" fmla="*/ 184956 w 12691242"/>
                    <a:gd name="connsiteY7" fmla="*/ 128630 h 141869"/>
                    <a:gd name="connsiteX8" fmla="*/ 179305 w 12691242"/>
                    <a:gd name="connsiteY8" fmla="*/ 114443 h 141869"/>
                    <a:gd name="connsiteX9" fmla="*/ 161223 w 12691242"/>
                    <a:gd name="connsiteY9" fmla="*/ 102283 h 141869"/>
                    <a:gd name="connsiteX10" fmla="*/ 114888 w 12691242"/>
                    <a:gd name="connsiteY10" fmla="*/ 62762 h 141869"/>
                    <a:gd name="connsiteX11" fmla="*/ 117148 w 12691242"/>
                    <a:gd name="connsiteY11" fmla="*/ 67829 h 141869"/>
                    <a:gd name="connsiteX12" fmla="*/ 114888 w 12691242"/>
                    <a:gd name="connsiteY12" fmla="*/ 62762 h 141869"/>
                    <a:gd name="connsiteX13" fmla="*/ 130710 w 12691242"/>
                    <a:gd name="connsiteY13" fmla="*/ 60735 h 141869"/>
                    <a:gd name="connsiteX14" fmla="*/ 138621 w 12691242"/>
                    <a:gd name="connsiteY14" fmla="*/ 74922 h 141869"/>
                    <a:gd name="connsiteX15" fmla="*/ 140881 w 12691242"/>
                    <a:gd name="connsiteY15" fmla="*/ 72896 h 141869"/>
                    <a:gd name="connsiteX16" fmla="*/ 140881 w 12691242"/>
                    <a:gd name="connsiteY16" fmla="*/ 60735 h 141869"/>
                    <a:gd name="connsiteX17" fmla="*/ 130710 w 12691242"/>
                    <a:gd name="connsiteY17" fmla="*/ 60735 h 141869"/>
                    <a:gd name="connsiteX18" fmla="*/ 76464 w 12691242"/>
                    <a:gd name="connsiteY18" fmla="*/ 26281 h 141869"/>
                    <a:gd name="connsiteX19" fmla="*/ 70814 w 12691242"/>
                    <a:gd name="connsiteY19" fmla="*/ 28308 h 141869"/>
                    <a:gd name="connsiteX20" fmla="*/ 70814 w 12691242"/>
                    <a:gd name="connsiteY20" fmla="*/ 35401 h 141869"/>
                    <a:gd name="connsiteX21" fmla="*/ 82115 w 12691242"/>
                    <a:gd name="connsiteY21" fmla="*/ 40468 h 141869"/>
                    <a:gd name="connsiteX22" fmla="*/ 87765 w 12691242"/>
                    <a:gd name="connsiteY22" fmla="*/ 40468 h 141869"/>
                    <a:gd name="connsiteX23" fmla="*/ 85505 w 12691242"/>
                    <a:gd name="connsiteY23" fmla="*/ 35401 h 141869"/>
                    <a:gd name="connsiteX24" fmla="*/ 85505 w 12691242"/>
                    <a:gd name="connsiteY24" fmla="*/ 28308 h 141869"/>
                    <a:gd name="connsiteX25" fmla="*/ 76464 w 12691242"/>
                    <a:gd name="connsiteY25" fmla="*/ 26281 h 141869"/>
                    <a:gd name="connsiteX26" fmla="*/ 14308 w 12691242"/>
                    <a:gd name="connsiteY26" fmla="*/ 9054 h 141869"/>
                    <a:gd name="connsiteX27" fmla="*/ 22218 w 12691242"/>
                    <a:gd name="connsiteY27" fmla="*/ 26281 h 141869"/>
                    <a:gd name="connsiteX28" fmla="*/ 14308 w 12691242"/>
                    <a:gd name="connsiteY28" fmla="*/ 9054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691242" h="141869">
                      <a:moveTo>
                        <a:pt x="12690859" y="33375"/>
                      </a:moveTo>
                      <a:cubicBezTo>
                        <a:pt x="12690859" y="33375"/>
                        <a:pt x="12675037" y="38442"/>
                        <a:pt x="12681817" y="43509"/>
                      </a:cubicBezTo>
                      <a:cubicBezTo>
                        <a:pt x="12682949" y="44522"/>
                        <a:pt x="12689729" y="43509"/>
                        <a:pt x="12690859" y="43509"/>
                      </a:cubicBezTo>
                      <a:lnTo>
                        <a:pt x="12690859" y="33375"/>
                      </a:lnTo>
                      <a:close/>
                      <a:moveTo>
                        <a:pt x="161223" y="102283"/>
                      </a:moveTo>
                      <a:cubicBezTo>
                        <a:pt x="160093" y="103296"/>
                        <a:pt x="162353" y="108363"/>
                        <a:pt x="161223" y="109377"/>
                      </a:cubicBezTo>
                      <a:cubicBezTo>
                        <a:pt x="161223" y="109377"/>
                        <a:pt x="151052" y="114443"/>
                        <a:pt x="149922" y="114443"/>
                      </a:cubicBezTo>
                      <a:cubicBezTo>
                        <a:pt x="155573" y="149911"/>
                        <a:pt x="160093" y="141804"/>
                        <a:pt x="184956" y="128630"/>
                      </a:cubicBezTo>
                      <a:cubicBezTo>
                        <a:pt x="182695" y="120523"/>
                        <a:pt x="181565" y="118497"/>
                        <a:pt x="179305" y="114443"/>
                      </a:cubicBezTo>
                      <a:cubicBezTo>
                        <a:pt x="172524" y="100256"/>
                        <a:pt x="174785" y="107350"/>
                        <a:pt x="161223" y="102283"/>
                      </a:cubicBezTo>
                      <a:close/>
                      <a:moveTo>
                        <a:pt x="114888" y="62762"/>
                      </a:moveTo>
                      <a:lnTo>
                        <a:pt x="117148" y="67829"/>
                      </a:lnTo>
                      <a:cubicBezTo>
                        <a:pt x="117148" y="64789"/>
                        <a:pt x="120539" y="62762"/>
                        <a:pt x="114888" y="62762"/>
                      </a:cubicBezTo>
                      <a:close/>
                      <a:moveTo>
                        <a:pt x="130710" y="60735"/>
                      </a:moveTo>
                      <a:cubicBezTo>
                        <a:pt x="132970" y="64789"/>
                        <a:pt x="136360" y="70869"/>
                        <a:pt x="138621" y="74922"/>
                      </a:cubicBezTo>
                      <a:cubicBezTo>
                        <a:pt x="139751" y="74922"/>
                        <a:pt x="143141" y="75936"/>
                        <a:pt x="140881" y="72896"/>
                      </a:cubicBezTo>
                      <a:cubicBezTo>
                        <a:pt x="147662" y="75936"/>
                        <a:pt x="145401" y="61749"/>
                        <a:pt x="140881" y="60735"/>
                      </a:cubicBezTo>
                      <a:cubicBezTo>
                        <a:pt x="138621" y="59722"/>
                        <a:pt x="134100" y="61749"/>
                        <a:pt x="130710" y="60735"/>
                      </a:cubicBezTo>
                      <a:close/>
                      <a:moveTo>
                        <a:pt x="76464" y="26281"/>
                      </a:moveTo>
                      <a:cubicBezTo>
                        <a:pt x="80985" y="28308"/>
                        <a:pt x="70814" y="28308"/>
                        <a:pt x="70814" y="28308"/>
                      </a:cubicBezTo>
                      <a:cubicBezTo>
                        <a:pt x="70814" y="29321"/>
                        <a:pt x="71944" y="34388"/>
                        <a:pt x="70814" y="35401"/>
                      </a:cubicBezTo>
                      <a:cubicBezTo>
                        <a:pt x="76464" y="37428"/>
                        <a:pt x="78724" y="39455"/>
                        <a:pt x="82115" y="40468"/>
                      </a:cubicBezTo>
                      <a:lnTo>
                        <a:pt x="87765" y="40468"/>
                      </a:lnTo>
                      <a:cubicBezTo>
                        <a:pt x="87765" y="40468"/>
                        <a:pt x="84375" y="35401"/>
                        <a:pt x="85505" y="35401"/>
                      </a:cubicBezTo>
                      <a:cubicBezTo>
                        <a:pt x="85505" y="33375"/>
                        <a:pt x="86635" y="29321"/>
                        <a:pt x="85505" y="28308"/>
                      </a:cubicBezTo>
                      <a:cubicBezTo>
                        <a:pt x="84375" y="27295"/>
                        <a:pt x="77594" y="27295"/>
                        <a:pt x="76464" y="26281"/>
                      </a:cubicBezTo>
                      <a:close/>
                      <a:moveTo>
                        <a:pt x="14308" y="9054"/>
                      </a:moveTo>
                      <a:cubicBezTo>
                        <a:pt x="6397" y="9054"/>
                        <a:pt x="9787" y="26281"/>
                        <a:pt x="22218" y="26281"/>
                      </a:cubicBezTo>
                      <a:cubicBezTo>
                        <a:pt x="28999" y="26281"/>
                        <a:pt x="28999" y="8041"/>
                        <a:pt x="14308" y="905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5" name="Freeform: Shape 384">
                  <a:extLst>
                    <a:ext uri="{FF2B5EF4-FFF2-40B4-BE49-F238E27FC236}">
                      <a16:creationId xmlns:a16="http://schemas.microsoft.com/office/drawing/2014/main" id="{03C66930-82EF-465A-ACE2-96981BF17425}"/>
                    </a:ext>
                  </a:extLst>
                </p:cNvPr>
                <p:cNvSpPr/>
                <p:nvPr/>
              </p:nvSpPr>
              <p:spPr>
                <a:xfrm>
                  <a:off x="3270287" y="3470953"/>
                  <a:ext cx="113012" cy="81069"/>
                </a:xfrm>
                <a:custGeom>
                  <a:avLst/>
                  <a:gdLst>
                    <a:gd name="connsiteX0" fmla="*/ 108372 w 113011"/>
                    <a:gd name="connsiteY0" fmla="*/ 72134 h 81068"/>
                    <a:gd name="connsiteX1" fmla="*/ 109502 w 113011"/>
                    <a:gd name="connsiteY1" fmla="*/ 63014 h 81068"/>
                    <a:gd name="connsiteX2" fmla="*/ 101591 w 113011"/>
                    <a:gd name="connsiteY2" fmla="*/ 52880 h 81068"/>
                    <a:gd name="connsiteX3" fmla="*/ 103852 w 113011"/>
                    <a:gd name="connsiteY3" fmla="*/ 47813 h 81068"/>
                    <a:gd name="connsiteX4" fmla="*/ 107242 w 113011"/>
                    <a:gd name="connsiteY4" fmla="*/ 37680 h 81068"/>
                    <a:gd name="connsiteX5" fmla="*/ 103852 w 113011"/>
                    <a:gd name="connsiteY5" fmla="*/ 17413 h 81068"/>
                    <a:gd name="connsiteX6" fmla="*/ 76729 w 113011"/>
                    <a:gd name="connsiteY6" fmla="*/ 9306 h 81068"/>
                    <a:gd name="connsiteX7" fmla="*/ 57517 w 113011"/>
                    <a:gd name="connsiteY7" fmla="*/ 9306 h 81068"/>
                    <a:gd name="connsiteX8" fmla="*/ 76729 w 113011"/>
                    <a:gd name="connsiteY8" fmla="*/ 19440 h 81068"/>
                    <a:gd name="connsiteX9" fmla="*/ 74469 w 113011"/>
                    <a:gd name="connsiteY9" fmla="*/ 38693 h 81068"/>
                    <a:gd name="connsiteX10" fmla="*/ 88030 w 113011"/>
                    <a:gd name="connsiteY10" fmla="*/ 50853 h 81068"/>
                    <a:gd name="connsiteX11" fmla="*/ 85770 w 113011"/>
                    <a:gd name="connsiteY11" fmla="*/ 60987 h 81068"/>
                    <a:gd name="connsiteX12" fmla="*/ 83510 w 113011"/>
                    <a:gd name="connsiteY12" fmla="*/ 63014 h 81068"/>
                    <a:gd name="connsiteX13" fmla="*/ 77859 w 113011"/>
                    <a:gd name="connsiteY13" fmla="*/ 63014 h 81068"/>
                    <a:gd name="connsiteX14" fmla="*/ 48476 w 113011"/>
                    <a:gd name="connsiteY14" fmla="*/ 55920 h 81068"/>
                    <a:gd name="connsiteX15" fmla="*/ 34914 w 113011"/>
                    <a:gd name="connsiteY15" fmla="*/ 57947 h 81068"/>
                    <a:gd name="connsiteX16" fmla="*/ 21353 w 113011"/>
                    <a:gd name="connsiteY16" fmla="*/ 50853 h 81068"/>
                    <a:gd name="connsiteX17" fmla="*/ 10052 w 113011"/>
                    <a:gd name="connsiteY17" fmla="*/ 55920 h 81068"/>
                    <a:gd name="connsiteX18" fmla="*/ 10052 w 113011"/>
                    <a:gd name="connsiteY18" fmla="*/ 66054 h 81068"/>
                    <a:gd name="connsiteX19" fmla="*/ 23613 w 113011"/>
                    <a:gd name="connsiteY19" fmla="*/ 73147 h 81068"/>
                    <a:gd name="connsiteX20" fmla="*/ 45085 w 113011"/>
                    <a:gd name="connsiteY20" fmla="*/ 71121 h 81068"/>
                    <a:gd name="connsiteX21" fmla="*/ 108372 w 113011"/>
                    <a:gd name="connsiteY21" fmla="*/ 72134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011" h="81068">
                      <a:moveTo>
                        <a:pt x="108372" y="72134"/>
                      </a:moveTo>
                      <a:cubicBezTo>
                        <a:pt x="108372" y="72134"/>
                        <a:pt x="110633" y="68081"/>
                        <a:pt x="109502" y="63014"/>
                      </a:cubicBezTo>
                      <a:cubicBezTo>
                        <a:pt x="108372" y="57947"/>
                        <a:pt x="101591" y="52880"/>
                        <a:pt x="101591" y="52880"/>
                      </a:cubicBezTo>
                      <a:lnTo>
                        <a:pt x="103852" y="47813"/>
                      </a:lnTo>
                      <a:lnTo>
                        <a:pt x="107242" y="37680"/>
                      </a:lnTo>
                      <a:lnTo>
                        <a:pt x="103852" y="17413"/>
                      </a:lnTo>
                      <a:cubicBezTo>
                        <a:pt x="84640" y="21466"/>
                        <a:pt x="86900" y="11333"/>
                        <a:pt x="76729" y="9306"/>
                      </a:cubicBezTo>
                      <a:cubicBezTo>
                        <a:pt x="71078" y="8293"/>
                        <a:pt x="64298" y="10319"/>
                        <a:pt x="57517" y="9306"/>
                      </a:cubicBezTo>
                      <a:cubicBezTo>
                        <a:pt x="60907" y="11333"/>
                        <a:pt x="69948" y="16399"/>
                        <a:pt x="76729" y="19440"/>
                      </a:cubicBezTo>
                      <a:cubicBezTo>
                        <a:pt x="76729" y="25519"/>
                        <a:pt x="72209" y="30586"/>
                        <a:pt x="74469" y="38693"/>
                      </a:cubicBezTo>
                      <a:cubicBezTo>
                        <a:pt x="75599" y="41733"/>
                        <a:pt x="88030" y="50853"/>
                        <a:pt x="88030" y="50853"/>
                      </a:cubicBezTo>
                      <a:cubicBezTo>
                        <a:pt x="89160" y="53894"/>
                        <a:pt x="85770" y="63014"/>
                        <a:pt x="85770" y="60987"/>
                      </a:cubicBezTo>
                      <a:cubicBezTo>
                        <a:pt x="81249" y="63014"/>
                        <a:pt x="83510" y="63014"/>
                        <a:pt x="83510" y="63014"/>
                      </a:cubicBezTo>
                      <a:lnTo>
                        <a:pt x="77859" y="63014"/>
                      </a:lnTo>
                      <a:cubicBezTo>
                        <a:pt x="71078" y="60987"/>
                        <a:pt x="56387" y="55920"/>
                        <a:pt x="48476" y="55920"/>
                      </a:cubicBezTo>
                      <a:cubicBezTo>
                        <a:pt x="41695" y="55920"/>
                        <a:pt x="42825" y="59974"/>
                        <a:pt x="34914" y="57947"/>
                      </a:cubicBezTo>
                      <a:cubicBezTo>
                        <a:pt x="32654" y="57947"/>
                        <a:pt x="25874" y="49840"/>
                        <a:pt x="21353" y="50853"/>
                      </a:cubicBezTo>
                      <a:cubicBezTo>
                        <a:pt x="20223" y="50853"/>
                        <a:pt x="14572" y="54907"/>
                        <a:pt x="10052" y="55920"/>
                      </a:cubicBezTo>
                      <a:cubicBezTo>
                        <a:pt x="11182" y="57947"/>
                        <a:pt x="10052" y="64027"/>
                        <a:pt x="10052" y="66054"/>
                      </a:cubicBezTo>
                      <a:cubicBezTo>
                        <a:pt x="14572" y="68081"/>
                        <a:pt x="19093" y="72134"/>
                        <a:pt x="23613" y="73147"/>
                      </a:cubicBezTo>
                      <a:cubicBezTo>
                        <a:pt x="30394" y="74161"/>
                        <a:pt x="42825" y="71121"/>
                        <a:pt x="45085" y="71121"/>
                      </a:cubicBezTo>
                      <a:cubicBezTo>
                        <a:pt x="62037" y="69094"/>
                        <a:pt x="86900" y="72134"/>
                        <a:pt x="108372" y="7213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6" name="Freeform: Shape 385">
                  <a:extLst>
                    <a:ext uri="{FF2B5EF4-FFF2-40B4-BE49-F238E27FC236}">
                      <a16:creationId xmlns:a16="http://schemas.microsoft.com/office/drawing/2014/main" id="{C401B3B9-862A-4380-B026-2C58D7A318EA}"/>
                    </a:ext>
                  </a:extLst>
                </p:cNvPr>
                <p:cNvSpPr/>
                <p:nvPr/>
              </p:nvSpPr>
              <p:spPr>
                <a:xfrm>
                  <a:off x="3705383" y="3928269"/>
                  <a:ext cx="192120" cy="324274"/>
                </a:xfrm>
                <a:custGeom>
                  <a:avLst/>
                  <a:gdLst>
                    <a:gd name="connsiteX0" fmla="*/ 69948 w 192120"/>
                    <a:gd name="connsiteY0" fmla="*/ 9013 h 324274"/>
                    <a:gd name="connsiteX1" fmla="*/ 68818 w 192120"/>
                    <a:gd name="connsiteY1" fmla="*/ 23201 h 324274"/>
                    <a:gd name="connsiteX2" fmla="*/ 62037 w 192120"/>
                    <a:gd name="connsiteY2" fmla="*/ 31307 h 324274"/>
                    <a:gd name="connsiteX3" fmla="*/ 34914 w 192120"/>
                    <a:gd name="connsiteY3" fmla="*/ 39414 h 324274"/>
                    <a:gd name="connsiteX4" fmla="*/ 36045 w 192120"/>
                    <a:gd name="connsiteY4" fmla="*/ 52588 h 324274"/>
                    <a:gd name="connsiteX5" fmla="*/ 45085 w 192120"/>
                    <a:gd name="connsiteY5" fmla="*/ 67788 h 324274"/>
                    <a:gd name="connsiteX6" fmla="*/ 57517 w 192120"/>
                    <a:gd name="connsiteY6" fmla="*/ 76908 h 324274"/>
                    <a:gd name="connsiteX7" fmla="*/ 25874 w 192120"/>
                    <a:gd name="connsiteY7" fmla="*/ 87042 h 324274"/>
                    <a:gd name="connsiteX8" fmla="*/ 24743 w 192120"/>
                    <a:gd name="connsiteY8" fmla="*/ 101229 h 324274"/>
                    <a:gd name="connsiteX9" fmla="*/ 10052 w 192120"/>
                    <a:gd name="connsiteY9" fmla="*/ 107309 h 324274"/>
                    <a:gd name="connsiteX10" fmla="*/ 41695 w 192120"/>
                    <a:gd name="connsiteY10" fmla="*/ 150883 h 324274"/>
                    <a:gd name="connsiteX11" fmla="*/ 68818 w 192120"/>
                    <a:gd name="connsiteY11" fmla="*/ 155950 h 324274"/>
                    <a:gd name="connsiteX12" fmla="*/ 77859 w 192120"/>
                    <a:gd name="connsiteY12" fmla="*/ 165071 h 324274"/>
                    <a:gd name="connsiteX13" fmla="*/ 66558 w 192120"/>
                    <a:gd name="connsiteY13" fmla="*/ 175204 h 324274"/>
                    <a:gd name="connsiteX14" fmla="*/ 84640 w 192120"/>
                    <a:gd name="connsiteY14" fmla="*/ 183311 h 324274"/>
                    <a:gd name="connsiteX15" fmla="*/ 84640 w 192120"/>
                    <a:gd name="connsiteY15" fmla="*/ 197498 h 324274"/>
                    <a:gd name="connsiteX16" fmla="*/ 84640 w 192120"/>
                    <a:gd name="connsiteY16" fmla="*/ 211685 h 324274"/>
                    <a:gd name="connsiteX17" fmla="*/ 64298 w 192120"/>
                    <a:gd name="connsiteY17" fmla="*/ 224859 h 324274"/>
                    <a:gd name="connsiteX18" fmla="*/ 63167 w 192120"/>
                    <a:gd name="connsiteY18" fmla="*/ 274513 h 324274"/>
                    <a:gd name="connsiteX19" fmla="*/ 73338 w 192120"/>
                    <a:gd name="connsiteY19" fmla="*/ 294780 h 324274"/>
                    <a:gd name="connsiteX20" fmla="*/ 90290 w 192120"/>
                    <a:gd name="connsiteY20" fmla="*/ 307954 h 324274"/>
                    <a:gd name="connsiteX21" fmla="*/ 104982 w 192120"/>
                    <a:gd name="connsiteY21" fmla="*/ 318087 h 324274"/>
                    <a:gd name="connsiteX22" fmla="*/ 120804 w 192120"/>
                    <a:gd name="connsiteY22" fmla="*/ 306941 h 324274"/>
                    <a:gd name="connsiteX23" fmla="*/ 132105 w 192120"/>
                    <a:gd name="connsiteY23" fmla="*/ 296807 h 324274"/>
                    <a:gd name="connsiteX24" fmla="*/ 146796 w 192120"/>
                    <a:gd name="connsiteY24" fmla="*/ 290727 h 324274"/>
                    <a:gd name="connsiteX25" fmla="*/ 164878 w 192120"/>
                    <a:gd name="connsiteY25" fmla="*/ 291740 h 324274"/>
                    <a:gd name="connsiteX26" fmla="*/ 159228 w 192120"/>
                    <a:gd name="connsiteY26" fmla="*/ 273500 h 324274"/>
                    <a:gd name="connsiteX27" fmla="*/ 154707 w 192120"/>
                    <a:gd name="connsiteY27" fmla="*/ 245126 h 324274"/>
                    <a:gd name="connsiteX28" fmla="*/ 154707 w 192120"/>
                    <a:gd name="connsiteY28" fmla="*/ 224859 h 324274"/>
                    <a:gd name="connsiteX29" fmla="*/ 144536 w 192120"/>
                    <a:gd name="connsiteY29" fmla="*/ 216752 h 324274"/>
                    <a:gd name="connsiteX30" fmla="*/ 147926 w 192120"/>
                    <a:gd name="connsiteY30" fmla="*/ 192431 h 324274"/>
                    <a:gd name="connsiteX31" fmla="*/ 143406 w 192120"/>
                    <a:gd name="connsiteY31" fmla="*/ 169124 h 324274"/>
                    <a:gd name="connsiteX32" fmla="*/ 161488 w 192120"/>
                    <a:gd name="connsiteY32" fmla="*/ 153924 h 324274"/>
                    <a:gd name="connsiteX33" fmla="*/ 162618 w 192120"/>
                    <a:gd name="connsiteY33" fmla="*/ 134670 h 324274"/>
                    <a:gd name="connsiteX34" fmla="*/ 184090 w 192120"/>
                    <a:gd name="connsiteY34" fmla="*/ 107309 h 324274"/>
                    <a:gd name="connsiteX35" fmla="*/ 171659 w 192120"/>
                    <a:gd name="connsiteY35" fmla="*/ 82989 h 324274"/>
                    <a:gd name="connsiteX36" fmla="*/ 158097 w 192120"/>
                    <a:gd name="connsiteY36" fmla="*/ 80962 h 324274"/>
                    <a:gd name="connsiteX37" fmla="*/ 146796 w 192120"/>
                    <a:gd name="connsiteY37" fmla="*/ 70828 h 324274"/>
                    <a:gd name="connsiteX38" fmla="*/ 135495 w 192120"/>
                    <a:gd name="connsiteY38" fmla="*/ 72855 h 324274"/>
                    <a:gd name="connsiteX39" fmla="*/ 133235 w 192120"/>
                    <a:gd name="connsiteY39" fmla="*/ 67788 h 324274"/>
                    <a:gd name="connsiteX40" fmla="*/ 125324 w 192120"/>
                    <a:gd name="connsiteY40" fmla="*/ 97176 h 324274"/>
                    <a:gd name="connsiteX41" fmla="*/ 114023 w 192120"/>
                    <a:gd name="connsiteY41" fmla="*/ 92109 h 324274"/>
                    <a:gd name="connsiteX42" fmla="*/ 111763 w 192120"/>
                    <a:gd name="connsiteY42" fmla="*/ 94136 h 324274"/>
                    <a:gd name="connsiteX43" fmla="*/ 111763 w 192120"/>
                    <a:gd name="connsiteY43" fmla="*/ 87042 h 324274"/>
                    <a:gd name="connsiteX44" fmla="*/ 109502 w 192120"/>
                    <a:gd name="connsiteY44" fmla="*/ 79948 h 324274"/>
                    <a:gd name="connsiteX45" fmla="*/ 120804 w 192120"/>
                    <a:gd name="connsiteY45" fmla="*/ 74882 h 324274"/>
                    <a:gd name="connsiteX46" fmla="*/ 123064 w 192120"/>
                    <a:gd name="connsiteY46" fmla="*/ 72855 h 324274"/>
                    <a:gd name="connsiteX47" fmla="*/ 128715 w 192120"/>
                    <a:gd name="connsiteY47" fmla="*/ 43468 h 324274"/>
                    <a:gd name="connsiteX48" fmla="*/ 85770 w 192120"/>
                    <a:gd name="connsiteY48" fmla="*/ 9013 h 324274"/>
                    <a:gd name="connsiteX49" fmla="*/ 74469 w 192120"/>
                    <a:gd name="connsiteY49" fmla="*/ 11040 h 324274"/>
                    <a:gd name="connsiteX50" fmla="*/ 69948 w 192120"/>
                    <a:gd name="connsiteY50" fmla="*/ 9013 h 32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2120" h="324274">
                      <a:moveTo>
                        <a:pt x="69948" y="9013"/>
                      </a:moveTo>
                      <a:lnTo>
                        <a:pt x="68818" y="23201"/>
                      </a:lnTo>
                      <a:cubicBezTo>
                        <a:pt x="68818" y="23201"/>
                        <a:pt x="69948" y="26241"/>
                        <a:pt x="62037" y="31307"/>
                      </a:cubicBezTo>
                      <a:cubicBezTo>
                        <a:pt x="54127" y="36374"/>
                        <a:pt x="41695" y="39414"/>
                        <a:pt x="34914" y="39414"/>
                      </a:cubicBezTo>
                      <a:cubicBezTo>
                        <a:pt x="28134" y="39414"/>
                        <a:pt x="30394" y="50561"/>
                        <a:pt x="36045" y="52588"/>
                      </a:cubicBezTo>
                      <a:cubicBezTo>
                        <a:pt x="41695" y="54614"/>
                        <a:pt x="45085" y="67788"/>
                        <a:pt x="45085" y="67788"/>
                      </a:cubicBezTo>
                      <a:cubicBezTo>
                        <a:pt x="45085" y="67788"/>
                        <a:pt x="57517" y="68802"/>
                        <a:pt x="57517" y="76908"/>
                      </a:cubicBezTo>
                      <a:cubicBezTo>
                        <a:pt x="57517" y="85015"/>
                        <a:pt x="34914" y="87042"/>
                        <a:pt x="25874" y="87042"/>
                      </a:cubicBezTo>
                      <a:cubicBezTo>
                        <a:pt x="16832" y="87042"/>
                        <a:pt x="24743" y="101229"/>
                        <a:pt x="24743" y="101229"/>
                      </a:cubicBezTo>
                      <a:lnTo>
                        <a:pt x="10052" y="107309"/>
                      </a:lnTo>
                      <a:lnTo>
                        <a:pt x="41695" y="150883"/>
                      </a:lnTo>
                      <a:cubicBezTo>
                        <a:pt x="41695" y="150883"/>
                        <a:pt x="62037" y="158990"/>
                        <a:pt x="68818" y="155950"/>
                      </a:cubicBezTo>
                      <a:cubicBezTo>
                        <a:pt x="75599" y="152910"/>
                        <a:pt x="77859" y="165071"/>
                        <a:pt x="77859" y="165071"/>
                      </a:cubicBezTo>
                      <a:lnTo>
                        <a:pt x="66558" y="175204"/>
                      </a:lnTo>
                      <a:cubicBezTo>
                        <a:pt x="66558" y="175204"/>
                        <a:pt x="78989" y="181284"/>
                        <a:pt x="84640" y="183311"/>
                      </a:cubicBezTo>
                      <a:cubicBezTo>
                        <a:pt x="90290" y="184324"/>
                        <a:pt x="78989" y="191418"/>
                        <a:pt x="84640" y="197498"/>
                      </a:cubicBezTo>
                      <a:cubicBezTo>
                        <a:pt x="90290" y="203578"/>
                        <a:pt x="91420" y="205605"/>
                        <a:pt x="84640" y="211685"/>
                      </a:cubicBezTo>
                      <a:cubicBezTo>
                        <a:pt x="77859" y="217765"/>
                        <a:pt x="64298" y="224859"/>
                        <a:pt x="64298" y="224859"/>
                      </a:cubicBezTo>
                      <a:cubicBezTo>
                        <a:pt x="64298" y="224859"/>
                        <a:pt x="67688" y="264379"/>
                        <a:pt x="63167" y="274513"/>
                      </a:cubicBezTo>
                      <a:cubicBezTo>
                        <a:pt x="58647" y="284647"/>
                        <a:pt x="68818" y="289713"/>
                        <a:pt x="73338" y="294780"/>
                      </a:cubicBezTo>
                      <a:cubicBezTo>
                        <a:pt x="77859" y="299847"/>
                        <a:pt x="90290" y="300860"/>
                        <a:pt x="90290" y="307954"/>
                      </a:cubicBezTo>
                      <a:cubicBezTo>
                        <a:pt x="90290" y="315047"/>
                        <a:pt x="99331" y="318087"/>
                        <a:pt x="104982" y="318087"/>
                      </a:cubicBezTo>
                      <a:cubicBezTo>
                        <a:pt x="110633" y="318087"/>
                        <a:pt x="114023" y="303900"/>
                        <a:pt x="120804" y="306941"/>
                      </a:cubicBezTo>
                      <a:cubicBezTo>
                        <a:pt x="127584" y="309981"/>
                        <a:pt x="124194" y="295794"/>
                        <a:pt x="132105" y="296807"/>
                      </a:cubicBezTo>
                      <a:cubicBezTo>
                        <a:pt x="141146" y="297820"/>
                        <a:pt x="136625" y="285660"/>
                        <a:pt x="146796" y="290727"/>
                      </a:cubicBezTo>
                      <a:cubicBezTo>
                        <a:pt x="156968" y="295794"/>
                        <a:pt x="164878" y="291740"/>
                        <a:pt x="164878" y="291740"/>
                      </a:cubicBezTo>
                      <a:lnTo>
                        <a:pt x="159228" y="273500"/>
                      </a:lnTo>
                      <a:lnTo>
                        <a:pt x="154707" y="245126"/>
                      </a:lnTo>
                      <a:cubicBezTo>
                        <a:pt x="154707" y="245126"/>
                        <a:pt x="160358" y="228912"/>
                        <a:pt x="154707" y="224859"/>
                      </a:cubicBezTo>
                      <a:cubicBezTo>
                        <a:pt x="149057" y="220805"/>
                        <a:pt x="144536" y="216752"/>
                        <a:pt x="144536" y="216752"/>
                      </a:cubicBezTo>
                      <a:cubicBezTo>
                        <a:pt x="144536" y="216752"/>
                        <a:pt x="145666" y="200538"/>
                        <a:pt x="147926" y="192431"/>
                      </a:cubicBezTo>
                      <a:cubicBezTo>
                        <a:pt x="150187" y="184324"/>
                        <a:pt x="136625" y="174191"/>
                        <a:pt x="143406" y="169124"/>
                      </a:cubicBezTo>
                      <a:cubicBezTo>
                        <a:pt x="150187" y="164057"/>
                        <a:pt x="160358" y="161017"/>
                        <a:pt x="161488" y="153924"/>
                      </a:cubicBezTo>
                      <a:cubicBezTo>
                        <a:pt x="162618" y="146830"/>
                        <a:pt x="161488" y="139737"/>
                        <a:pt x="162618" y="134670"/>
                      </a:cubicBezTo>
                      <a:cubicBezTo>
                        <a:pt x="163748" y="129603"/>
                        <a:pt x="184090" y="107309"/>
                        <a:pt x="184090" y="107309"/>
                      </a:cubicBezTo>
                      <a:cubicBezTo>
                        <a:pt x="181830" y="98189"/>
                        <a:pt x="178440" y="86029"/>
                        <a:pt x="171659" y="82989"/>
                      </a:cubicBezTo>
                      <a:cubicBezTo>
                        <a:pt x="166008" y="80962"/>
                        <a:pt x="162618" y="82989"/>
                        <a:pt x="158097" y="80962"/>
                      </a:cubicBezTo>
                      <a:cubicBezTo>
                        <a:pt x="154707" y="78935"/>
                        <a:pt x="151317" y="71842"/>
                        <a:pt x="146796" y="70828"/>
                      </a:cubicBezTo>
                      <a:cubicBezTo>
                        <a:pt x="140016" y="69815"/>
                        <a:pt x="143406" y="73869"/>
                        <a:pt x="135495" y="72855"/>
                      </a:cubicBezTo>
                      <a:cubicBezTo>
                        <a:pt x="134365" y="68802"/>
                        <a:pt x="137755" y="68802"/>
                        <a:pt x="133235" y="67788"/>
                      </a:cubicBezTo>
                      <a:cubicBezTo>
                        <a:pt x="128715" y="77922"/>
                        <a:pt x="126454" y="81975"/>
                        <a:pt x="125324" y="97176"/>
                      </a:cubicBezTo>
                      <a:cubicBezTo>
                        <a:pt x="116283" y="92109"/>
                        <a:pt x="114023" y="92109"/>
                        <a:pt x="114023" y="92109"/>
                      </a:cubicBezTo>
                      <a:cubicBezTo>
                        <a:pt x="111763" y="94136"/>
                        <a:pt x="111763" y="94136"/>
                        <a:pt x="111763" y="94136"/>
                      </a:cubicBezTo>
                      <a:cubicBezTo>
                        <a:pt x="111763" y="94136"/>
                        <a:pt x="111763" y="87042"/>
                        <a:pt x="111763" y="87042"/>
                      </a:cubicBezTo>
                      <a:cubicBezTo>
                        <a:pt x="108372" y="90082"/>
                        <a:pt x="109502" y="80962"/>
                        <a:pt x="109502" y="79948"/>
                      </a:cubicBezTo>
                      <a:cubicBezTo>
                        <a:pt x="114023" y="77922"/>
                        <a:pt x="116283" y="77922"/>
                        <a:pt x="120804" y="74882"/>
                      </a:cubicBezTo>
                      <a:lnTo>
                        <a:pt x="123064" y="72855"/>
                      </a:lnTo>
                      <a:cubicBezTo>
                        <a:pt x="128715" y="63735"/>
                        <a:pt x="126454" y="56641"/>
                        <a:pt x="128715" y="43468"/>
                      </a:cubicBezTo>
                      <a:cubicBezTo>
                        <a:pt x="111763" y="35361"/>
                        <a:pt x="97071" y="23201"/>
                        <a:pt x="85770" y="9013"/>
                      </a:cubicBezTo>
                      <a:cubicBezTo>
                        <a:pt x="82380" y="10027"/>
                        <a:pt x="75599" y="12054"/>
                        <a:pt x="74469" y="11040"/>
                      </a:cubicBezTo>
                      <a:lnTo>
                        <a:pt x="69948"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7" name="Freeform: Shape 386">
                  <a:extLst>
                    <a:ext uri="{FF2B5EF4-FFF2-40B4-BE49-F238E27FC236}">
                      <a16:creationId xmlns:a16="http://schemas.microsoft.com/office/drawing/2014/main" id="{BB7D7F60-1F3F-43CA-87A9-B9FDD7E35BFE}"/>
                    </a:ext>
                  </a:extLst>
                </p:cNvPr>
                <p:cNvSpPr/>
                <p:nvPr/>
              </p:nvSpPr>
              <p:spPr>
                <a:xfrm>
                  <a:off x="5304132" y="3759039"/>
                  <a:ext cx="113012" cy="81069"/>
                </a:xfrm>
                <a:custGeom>
                  <a:avLst/>
                  <a:gdLst>
                    <a:gd name="connsiteX0" fmla="*/ 65797 w 113011"/>
                    <a:gd name="connsiteY0" fmla="*/ 77922 h 81068"/>
                    <a:gd name="connsiteX1" fmla="*/ 64667 w 113011"/>
                    <a:gd name="connsiteY1" fmla="*/ 66775 h 81068"/>
                    <a:gd name="connsiteX2" fmla="*/ 79358 w 113011"/>
                    <a:gd name="connsiteY2" fmla="*/ 66775 h 81068"/>
                    <a:gd name="connsiteX3" fmla="*/ 95180 w 113011"/>
                    <a:gd name="connsiteY3" fmla="*/ 56641 h 81068"/>
                    <a:gd name="connsiteX4" fmla="*/ 96310 w 113011"/>
                    <a:gd name="connsiteY4" fmla="*/ 41441 h 81068"/>
                    <a:gd name="connsiteX5" fmla="*/ 100831 w 113011"/>
                    <a:gd name="connsiteY5" fmla="*/ 31307 h 81068"/>
                    <a:gd name="connsiteX6" fmla="*/ 101961 w 113011"/>
                    <a:gd name="connsiteY6" fmla="*/ 12053 h 81068"/>
                    <a:gd name="connsiteX7" fmla="*/ 46585 w 113011"/>
                    <a:gd name="connsiteY7" fmla="*/ 9013 h 81068"/>
                    <a:gd name="connsiteX8" fmla="*/ 28503 w 113011"/>
                    <a:gd name="connsiteY8" fmla="*/ 20160 h 81068"/>
                    <a:gd name="connsiteX9" fmla="*/ 12682 w 113011"/>
                    <a:gd name="connsiteY9" fmla="*/ 23200 h 81068"/>
                    <a:gd name="connsiteX10" fmla="*/ 10421 w 113011"/>
                    <a:gd name="connsiteY10" fmla="*/ 30294 h 81068"/>
                    <a:gd name="connsiteX11" fmla="*/ 43194 w 113011"/>
                    <a:gd name="connsiteY11" fmla="*/ 44481 h 81068"/>
                    <a:gd name="connsiteX12" fmla="*/ 43194 w 113011"/>
                    <a:gd name="connsiteY12" fmla="*/ 63735 h 81068"/>
                    <a:gd name="connsiteX13" fmla="*/ 56756 w 113011"/>
                    <a:gd name="connsiteY13" fmla="*/ 68801 h 81068"/>
                    <a:gd name="connsiteX14" fmla="*/ 59016 w 113011"/>
                    <a:gd name="connsiteY14" fmla="*/ 75895 h 81068"/>
                    <a:gd name="connsiteX15" fmla="*/ 65797 w 113011"/>
                    <a:gd name="connsiteY15" fmla="*/ 77922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011" h="81068">
                      <a:moveTo>
                        <a:pt x="65797" y="77922"/>
                      </a:moveTo>
                      <a:cubicBezTo>
                        <a:pt x="65797" y="77922"/>
                        <a:pt x="66927" y="75895"/>
                        <a:pt x="64667" y="66775"/>
                      </a:cubicBezTo>
                      <a:cubicBezTo>
                        <a:pt x="64667" y="66775"/>
                        <a:pt x="71447" y="66775"/>
                        <a:pt x="79358" y="66775"/>
                      </a:cubicBezTo>
                      <a:cubicBezTo>
                        <a:pt x="86139" y="66775"/>
                        <a:pt x="95180" y="56641"/>
                        <a:pt x="95180" y="56641"/>
                      </a:cubicBezTo>
                      <a:cubicBezTo>
                        <a:pt x="95180" y="56641"/>
                        <a:pt x="104221" y="46507"/>
                        <a:pt x="96310" y="41441"/>
                      </a:cubicBezTo>
                      <a:cubicBezTo>
                        <a:pt x="89530" y="36374"/>
                        <a:pt x="92920" y="31307"/>
                        <a:pt x="100831" y="31307"/>
                      </a:cubicBezTo>
                      <a:cubicBezTo>
                        <a:pt x="107611" y="31307"/>
                        <a:pt x="101961" y="12053"/>
                        <a:pt x="101961" y="12053"/>
                      </a:cubicBezTo>
                      <a:cubicBezTo>
                        <a:pt x="91790" y="9013"/>
                        <a:pt x="46585" y="9013"/>
                        <a:pt x="46585" y="9013"/>
                      </a:cubicBezTo>
                      <a:lnTo>
                        <a:pt x="28503" y="20160"/>
                      </a:lnTo>
                      <a:lnTo>
                        <a:pt x="12682" y="23200"/>
                      </a:lnTo>
                      <a:cubicBezTo>
                        <a:pt x="17202" y="26240"/>
                        <a:pt x="8161" y="28267"/>
                        <a:pt x="10421" y="30294"/>
                      </a:cubicBezTo>
                      <a:cubicBezTo>
                        <a:pt x="17202" y="39414"/>
                        <a:pt x="29633" y="41441"/>
                        <a:pt x="43194" y="44481"/>
                      </a:cubicBezTo>
                      <a:cubicBezTo>
                        <a:pt x="43194" y="46507"/>
                        <a:pt x="42064" y="61708"/>
                        <a:pt x="43194" y="63735"/>
                      </a:cubicBezTo>
                      <a:cubicBezTo>
                        <a:pt x="45455" y="67788"/>
                        <a:pt x="51105" y="65761"/>
                        <a:pt x="56756" y="68801"/>
                      </a:cubicBezTo>
                      <a:cubicBezTo>
                        <a:pt x="57886" y="69815"/>
                        <a:pt x="57886" y="75895"/>
                        <a:pt x="59016" y="75895"/>
                      </a:cubicBezTo>
                      <a:cubicBezTo>
                        <a:pt x="60146" y="78935"/>
                        <a:pt x="63537" y="77922"/>
                        <a:pt x="65797" y="779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8" name="Freeform: Shape 387">
                  <a:extLst>
                    <a:ext uri="{FF2B5EF4-FFF2-40B4-BE49-F238E27FC236}">
                      <a16:creationId xmlns:a16="http://schemas.microsoft.com/office/drawing/2014/main" id="{EFD7BC9A-A4D6-4471-80FC-D9F2F059CC76}"/>
                    </a:ext>
                  </a:extLst>
                </p:cNvPr>
                <p:cNvSpPr/>
                <p:nvPr/>
              </p:nvSpPr>
              <p:spPr>
                <a:xfrm>
                  <a:off x="5357618" y="3758026"/>
                  <a:ext cx="271229" cy="222938"/>
                </a:xfrm>
                <a:custGeom>
                  <a:avLst/>
                  <a:gdLst>
                    <a:gd name="connsiteX0" fmla="*/ 62037 w 271228"/>
                    <a:gd name="connsiteY0" fmla="*/ 155950 h 222938"/>
                    <a:gd name="connsiteX1" fmla="*/ 69948 w 271228"/>
                    <a:gd name="connsiteY1" fmla="*/ 155950 h 222938"/>
                    <a:gd name="connsiteX2" fmla="*/ 81249 w 271228"/>
                    <a:gd name="connsiteY2" fmla="*/ 143790 h 222938"/>
                    <a:gd name="connsiteX3" fmla="*/ 91420 w 271228"/>
                    <a:gd name="connsiteY3" fmla="*/ 118456 h 222938"/>
                    <a:gd name="connsiteX4" fmla="*/ 117413 w 271228"/>
                    <a:gd name="connsiteY4" fmla="*/ 114402 h 222938"/>
                    <a:gd name="connsiteX5" fmla="*/ 138885 w 271228"/>
                    <a:gd name="connsiteY5" fmla="*/ 114402 h 222938"/>
                    <a:gd name="connsiteX6" fmla="*/ 149057 w 271228"/>
                    <a:gd name="connsiteY6" fmla="*/ 132643 h 222938"/>
                    <a:gd name="connsiteX7" fmla="*/ 161488 w 271228"/>
                    <a:gd name="connsiteY7" fmla="*/ 147843 h 222938"/>
                    <a:gd name="connsiteX8" fmla="*/ 168269 w 271228"/>
                    <a:gd name="connsiteY8" fmla="*/ 162030 h 222938"/>
                    <a:gd name="connsiteX9" fmla="*/ 162618 w 271228"/>
                    <a:gd name="connsiteY9" fmla="*/ 182298 h 222938"/>
                    <a:gd name="connsiteX10" fmla="*/ 178439 w 271228"/>
                    <a:gd name="connsiteY10" fmla="*/ 179257 h 222938"/>
                    <a:gd name="connsiteX11" fmla="*/ 195391 w 271228"/>
                    <a:gd name="connsiteY11" fmla="*/ 179257 h 222938"/>
                    <a:gd name="connsiteX12" fmla="*/ 201042 w 271228"/>
                    <a:gd name="connsiteY12" fmla="*/ 169124 h 222938"/>
                    <a:gd name="connsiteX13" fmla="*/ 211213 w 271228"/>
                    <a:gd name="connsiteY13" fmla="*/ 189391 h 222938"/>
                    <a:gd name="connsiteX14" fmla="*/ 204432 w 271228"/>
                    <a:gd name="connsiteY14" fmla="*/ 213712 h 222938"/>
                    <a:gd name="connsiteX15" fmla="*/ 213474 w 271228"/>
                    <a:gd name="connsiteY15" fmla="*/ 221818 h 222938"/>
                    <a:gd name="connsiteX16" fmla="*/ 228165 w 271228"/>
                    <a:gd name="connsiteY16" fmla="*/ 202565 h 222938"/>
                    <a:gd name="connsiteX17" fmla="*/ 240596 w 271228"/>
                    <a:gd name="connsiteY17" fmla="*/ 203578 h 222938"/>
                    <a:gd name="connsiteX18" fmla="*/ 251897 w 271228"/>
                    <a:gd name="connsiteY18" fmla="*/ 195471 h 222938"/>
                    <a:gd name="connsiteX19" fmla="*/ 247377 w 271228"/>
                    <a:gd name="connsiteY19" fmla="*/ 185337 h 222938"/>
                    <a:gd name="connsiteX20" fmla="*/ 269980 w 271228"/>
                    <a:gd name="connsiteY20" fmla="*/ 172164 h 222938"/>
                    <a:gd name="connsiteX21" fmla="*/ 260938 w 271228"/>
                    <a:gd name="connsiteY21" fmla="*/ 151897 h 222938"/>
                    <a:gd name="connsiteX22" fmla="*/ 271109 w 271228"/>
                    <a:gd name="connsiteY22" fmla="*/ 135683 h 222938"/>
                    <a:gd name="connsiteX23" fmla="*/ 259808 w 271228"/>
                    <a:gd name="connsiteY23" fmla="*/ 130616 h 222938"/>
                    <a:gd name="connsiteX24" fmla="*/ 243986 w 271228"/>
                    <a:gd name="connsiteY24" fmla="*/ 112376 h 222938"/>
                    <a:gd name="connsiteX25" fmla="*/ 225905 w 271228"/>
                    <a:gd name="connsiteY25" fmla="*/ 104269 h 222938"/>
                    <a:gd name="connsiteX26" fmla="*/ 213474 w 271228"/>
                    <a:gd name="connsiteY26" fmla="*/ 104269 h 222938"/>
                    <a:gd name="connsiteX27" fmla="*/ 204432 w 271228"/>
                    <a:gd name="connsiteY27" fmla="*/ 98189 h 222938"/>
                    <a:gd name="connsiteX28" fmla="*/ 231555 w 271228"/>
                    <a:gd name="connsiteY28" fmla="*/ 84002 h 222938"/>
                    <a:gd name="connsiteX29" fmla="*/ 216864 w 271228"/>
                    <a:gd name="connsiteY29" fmla="*/ 80962 h 222938"/>
                    <a:gd name="connsiteX30" fmla="*/ 206692 w 271228"/>
                    <a:gd name="connsiteY30" fmla="*/ 64748 h 222938"/>
                    <a:gd name="connsiteX31" fmla="*/ 212343 w 271228"/>
                    <a:gd name="connsiteY31" fmla="*/ 44481 h 222938"/>
                    <a:gd name="connsiteX32" fmla="*/ 206692 w 271228"/>
                    <a:gd name="connsiteY32" fmla="*/ 26241 h 222938"/>
                    <a:gd name="connsiteX33" fmla="*/ 192001 w 271228"/>
                    <a:gd name="connsiteY33" fmla="*/ 23200 h 222938"/>
                    <a:gd name="connsiteX34" fmla="*/ 173919 w 271228"/>
                    <a:gd name="connsiteY34" fmla="*/ 18134 h 222938"/>
                    <a:gd name="connsiteX35" fmla="*/ 163748 w 271228"/>
                    <a:gd name="connsiteY35" fmla="*/ 29281 h 222938"/>
                    <a:gd name="connsiteX36" fmla="*/ 149057 w 271228"/>
                    <a:gd name="connsiteY36" fmla="*/ 21174 h 222938"/>
                    <a:gd name="connsiteX37" fmla="*/ 136625 w 271228"/>
                    <a:gd name="connsiteY37" fmla="*/ 26241 h 222938"/>
                    <a:gd name="connsiteX38" fmla="*/ 127584 w 271228"/>
                    <a:gd name="connsiteY38" fmla="*/ 26241 h 222938"/>
                    <a:gd name="connsiteX39" fmla="*/ 126454 w 271228"/>
                    <a:gd name="connsiteY39" fmla="*/ 12053 h 222938"/>
                    <a:gd name="connsiteX40" fmla="*/ 92551 w 271228"/>
                    <a:gd name="connsiteY40" fmla="*/ 16107 h 222938"/>
                    <a:gd name="connsiteX41" fmla="*/ 71078 w 271228"/>
                    <a:gd name="connsiteY41" fmla="*/ 12053 h 222938"/>
                    <a:gd name="connsiteX42" fmla="*/ 47346 w 271228"/>
                    <a:gd name="connsiteY42" fmla="*/ 9013 h 222938"/>
                    <a:gd name="connsiteX43" fmla="*/ 46215 w 271228"/>
                    <a:gd name="connsiteY43" fmla="*/ 28267 h 222938"/>
                    <a:gd name="connsiteX44" fmla="*/ 41695 w 271228"/>
                    <a:gd name="connsiteY44" fmla="*/ 38401 h 222938"/>
                    <a:gd name="connsiteX45" fmla="*/ 40565 w 271228"/>
                    <a:gd name="connsiteY45" fmla="*/ 53601 h 222938"/>
                    <a:gd name="connsiteX46" fmla="*/ 24743 w 271228"/>
                    <a:gd name="connsiteY46" fmla="*/ 63735 h 222938"/>
                    <a:gd name="connsiteX47" fmla="*/ 10052 w 271228"/>
                    <a:gd name="connsiteY47" fmla="*/ 63735 h 222938"/>
                    <a:gd name="connsiteX48" fmla="*/ 11182 w 271228"/>
                    <a:gd name="connsiteY48" fmla="*/ 74882 h 222938"/>
                    <a:gd name="connsiteX49" fmla="*/ 12312 w 271228"/>
                    <a:gd name="connsiteY49" fmla="*/ 74882 h 222938"/>
                    <a:gd name="connsiteX50" fmla="*/ 12312 w 271228"/>
                    <a:gd name="connsiteY50" fmla="*/ 79948 h 222938"/>
                    <a:gd name="connsiteX51" fmla="*/ 23613 w 271228"/>
                    <a:gd name="connsiteY51" fmla="*/ 87042 h 222938"/>
                    <a:gd name="connsiteX52" fmla="*/ 21353 w 271228"/>
                    <a:gd name="connsiteY52" fmla="*/ 97176 h 222938"/>
                    <a:gd name="connsiteX53" fmla="*/ 29263 w 271228"/>
                    <a:gd name="connsiteY53" fmla="*/ 104269 h 222938"/>
                    <a:gd name="connsiteX54" fmla="*/ 29263 w 271228"/>
                    <a:gd name="connsiteY54" fmla="*/ 109336 h 222938"/>
                    <a:gd name="connsiteX55" fmla="*/ 42825 w 271228"/>
                    <a:gd name="connsiteY55" fmla="*/ 111363 h 222938"/>
                    <a:gd name="connsiteX56" fmla="*/ 45085 w 271228"/>
                    <a:gd name="connsiteY56" fmla="*/ 145817 h 222938"/>
                    <a:gd name="connsiteX57" fmla="*/ 60907 w 271228"/>
                    <a:gd name="connsiteY57" fmla="*/ 150883 h 222938"/>
                    <a:gd name="connsiteX58" fmla="*/ 62037 w 271228"/>
                    <a:gd name="connsiteY58" fmla="*/ 155950 h 22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71228" h="222938">
                      <a:moveTo>
                        <a:pt x="62037" y="155950"/>
                      </a:moveTo>
                      <a:cubicBezTo>
                        <a:pt x="63167" y="155950"/>
                        <a:pt x="65427" y="156964"/>
                        <a:pt x="69948" y="155950"/>
                      </a:cubicBezTo>
                      <a:cubicBezTo>
                        <a:pt x="78989" y="154937"/>
                        <a:pt x="74468" y="147843"/>
                        <a:pt x="81249" y="143790"/>
                      </a:cubicBezTo>
                      <a:cubicBezTo>
                        <a:pt x="88030" y="139736"/>
                        <a:pt x="86900" y="128589"/>
                        <a:pt x="91420" y="118456"/>
                      </a:cubicBezTo>
                      <a:cubicBezTo>
                        <a:pt x="95941" y="108322"/>
                        <a:pt x="103852" y="108322"/>
                        <a:pt x="117413" y="114402"/>
                      </a:cubicBezTo>
                      <a:cubicBezTo>
                        <a:pt x="129844" y="120483"/>
                        <a:pt x="132105" y="114402"/>
                        <a:pt x="138885" y="114402"/>
                      </a:cubicBezTo>
                      <a:cubicBezTo>
                        <a:pt x="145666" y="114402"/>
                        <a:pt x="149057" y="122510"/>
                        <a:pt x="149057" y="132643"/>
                      </a:cubicBezTo>
                      <a:cubicBezTo>
                        <a:pt x="149057" y="142777"/>
                        <a:pt x="158097" y="137710"/>
                        <a:pt x="161488" y="147843"/>
                      </a:cubicBezTo>
                      <a:cubicBezTo>
                        <a:pt x="164878" y="157977"/>
                        <a:pt x="166008" y="153923"/>
                        <a:pt x="168269" y="162030"/>
                      </a:cubicBezTo>
                      <a:cubicBezTo>
                        <a:pt x="170528" y="170137"/>
                        <a:pt x="162618" y="182298"/>
                        <a:pt x="162618" y="182298"/>
                      </a:cubicBezTo>
                      <a:lnTo>
                        <a:pt x="178439" y="179257"/>
                      </a:lnTo>
                      <a:cubicBezTo>
                        <a:pt x="178439" y="179257"/>
                        <a:pt x="189741" y="182298"/>
                        <a:pt x="195391" y="179257"/>
                      </a:cubicBezTo>
                      <a:cubicBezTo>
                        <a:pt x="201042" y="176217"/>
                        <a:pt x="201042" y="169124"/>
                        <a:pt x="201042" y="169124"/>
                      </a:cubicBezTo>
                      <a:cubicBezTo>
                        <a:pt x="201042" y="169124"/>
                        <a:pt x="206692" y="179257"/>
                        <a:pt x="211213" y="189391"/>
                      </a:cubicBezTo>
                      <a:cubicBezTo>
                        <a:pt x="215733" y="199524"/>
                        <a:pt x="204432" y="213712"/>
                        <a:pt x="204432" y="213712"/>
                      </a:cubicBezTo>
                      <a:lnTo>
                        <a:pt x="213474" y="221818"/>
                      </a:lnTo>
                      <a:cubicBezTo>
                        <a:pt x="213474" y="221818"/>
                        <a:pt x="219124" y="212698"/>
                        <a:pt x="228165" y="202565"/>
                      </a:cubicBezTo>
                      <a:cubicBezTo>
                        <a:pt x="237206" y="192431"/>
                        <a:pt x="240596" y="203578"/>
                        <a:pt x="240596" y="203578"/>
                      </a:cubicBezTo>
                      <a:lnTo>
                        <a:pt x="251897" y="195471"/>
                      </a:lnTo>
                      <a:cubicBezTo>
                        <a:pt x="251897" y="195471"/>
                        <a:pt x="248507" y="190404"/>
                        <a:pt x="247377" y="185337"/>
                      </a:cubicBezTo>
                      <a:cubicBezTo>
                        <a:pt x="246247" y="180271"/>
                        <a:pt x="264329" y="182298"/>
                        <a:pt x="269980" y="172164"/>
                      </a:cubicBezTo>
                      <a:cubicBezTo>
                        <a:pt x="275630" y="162030"/>
                        <a:pt x="266589" y="158990"/>
                        <a:pt x="260938" y="151897"/>
                      </a:cubicBezTo>
                      <a:cubicBezTo>
                        <a:pt x="255287" y="144803"/>
                        <a:pt x="271109" y="135683"/>
                        <a:pt x="271109" y="135683"/>
                      </a:cubicBezTo>
                      <a:cubicBezTo>
                        <a:pt x="271109" y="135683"/>
                        <a:pt x="266589" y="130616"/>
                        <a:pt x="259808" y="130616"/>
                      </a:cubicBezTo>
                      <a:cubicBezTo>
                        <a:pt x="253028" y="130616"/>
                        <a:pt x="248507" y="121496"/>
                        <a:pt x="243986" y="112376"/>
                      </a:cubicBezTo>
                      <a:cubicBezTo>
                        <a:pt x="239466" y="103255"/>
                        <a:pt x="231555" y="112376"/>
                        <a:pt x="225905" y="104269"/>
                      </a:cubicBezTo>
                      <a:cubicBezTo>
                        <a:pt x="220254" y="96162"/>
                        <a:pt x="220254" y="104269"/>
                        <a:pt x="213474" y="104269"/>
                      </a:cubicBezTo>
                      <a:cubicBezTo>
                        <a:pt x="206692" y="104269"/>
                        <a:pt x="204432" y="98189"/>
                        <a:pt x="204432" y="98189"/>
                      </a:cubicBezTo>
                      <a:lnTo>
                        <a:pt x="231555" y="84002"/>
                      </a:lnTo>
                      <a:cubicBezTo>
                        <a:pt x="231555" y="84002"/>
                        <a:pt x="215733" y="87042"/>
                        <a:pt x="216864" y="80962"/>
                      </a:cubicBezTo>
                      <a:cubicBezTo>
                        <a:pt x="217994" y="74882"/>
                        <a:pt x="212343" y="66775"/>
                        <a:pt x="206692" y="64748"/>
                      </a:cubicBezTo>
                      <a:cubicBezTo>
                        <a:pt x="201042" y="61708"/>
                        <a:pt x="213474" y="53601"/>
                        <a:pt x="212343" y="44481"/>
                      </a:cubicBezTo>
                      <a:cubicBezTo>
                        <a:pt x="211213" y="35361"/>
                        <a:pt x="206692" y="26241"/>
                        <a:pt x="206692" y="26241"/>
                      </a:cubicBezTo>
                      <a:cubicBezTo>
                        <a:pt x="206692" y="26241"/>
                        <a:pt x="205563" y="20160"/>
                        <a:pt x="192001" y="23200"/>
                      </a:cubicBezTo>
                      <a:cubicBezTo>
                        <a:pt x="179570" y="27254"/>
                        <a:pt x="173919" y="18134"/>
                        <a:pt x="173919" y="18134"/>
                      </a:cubicBezTo>
                      <a:cubicBezTo>
                        <a:pt x="173919" y="18134"/>
                        <a:pt x="169399" y="28267"/>
                        <a:pt x="163748" y="29281"/>
                      </a:cubicBezTo>
                      <a:cubicBezTo>
                        <a:pt x="158097" y="30294"/>
                        <a:pt x="158097" y="23200"/>
                        <a:pt x="149057" y="21174"/>
                      </a:cubicBezTo>
                      <a:cubicBezTo>
                        <a:pt x="140016" y="19147"/>
                        <a:pt x="136625" y="26241"/>
                        <a:pt x="136625" y="26241"/>
                      </a:cubicBezTo>
                      <a:lnTo>
                        <a:pt x="127584" y="26241"/>
                      </a:lnTo>
                      <a:lnTo>
                        <a:pt x="126454" y="12053"/>
                      </a:lnTo>
                      <a:cubicBezTo>
                        <a:pt x="126454" y="12053"/>
                        <a:pt x="99331" y="20160"/>
                        <a:pt x="92551" y="16107"/>
                      </a:cubicBezTo>
                      <a:cubicBezTo>
                        <a:pt x="85769" y="12053"/>
                        <a:pt x="80119" y="8000"/>
                        <a:pt x="71078" y="12053"/>
                      </a:cubicBezTo>
                      <a:cubicBezTo>
                        <a:pt x="62037" y="16107"/>
                        <a:pt x="56387" y="12053"/>
                        <a:pt x="47346" y="9013"/>
                      </a:cubicBezTo>
                      <a:cubicBezTo>
                        <a:pt x="47346" y="9013"/>
                        <a:pt x="52996" y="28267"/>
                        <a:pt x="46215" y="28267"/>
                      </a:cubicBezTo>
                      <a:cubicBezTo>
                        <a:pt x="39435" y="28267"/>
                        <a:pt x="34914" y="33334"/>
                        <a:pt x="41695" y="38401"/>
                      </a:cubicBezTo>
                      <a:cubicBezTo>
                        <a:pt x="48476" y="43468"/>
                        <a:pt x="40565" y="53601"/>
                        <a:pt x="40565" y="53601"/>
                      </a:cubicBezTo>
                      <a:cubicBezTo>
                        <a:pt x="40565" y="53601"/>
                        <a:pt x="31524" y="63735"/>
                        <a:pt x="24743" y="63735"/>
                      </a:cubicBezTo>
                      <a:cubicBezTo>
                        <a:pt x="17962" y="63735"/>
                        <a:pt x="10052" y="63735"/>
                        <a:pt x="10052" y="63735"/>
                      </a:cubicBezTo>
                      <a:cubicBezTo>
                        <a:pt x="13442" y="72855"/>
                        <a:pt x="11182" y="74882"/>
                        <a:pt x="11182" y="74882"/>
                      </a:cubicBezTo>
                      <a:lnTo>
                        <a:pt x="12312" y="74882"/>
                      </a:lnTo>
                      <a:lnTo>
                        <a:pt x="12312" y="79948"/>
                      </a:lnTo>
                      <a:cubicBezTo>
                        <a:pt x="13442" y="82988"/>
                        <a:pt x="22483" y="85015"/>
                        <a:pt x="23613" y="87042"/>
                      </a:cubicBezTo>
                      <a:cubicBezTo>
                        <a:pt x="25873" y="92109"/>
                        <a:pt x="20223" y="94135"/>
                        <a:pt x="21353" y="97176"/>
                      </a:cubicBezTo>
                      <a:cubicBezTo>
                        <a:pt x="21353" y="98189"/>
                        <a:pt x="29263" y="104269"/>
                        <a:pt x="29263" y="104269"/>
                      </a:cubicBezTo>
                      <a:lnTo>
                        <a:pt x="29263" y="109336"/>
                      </a:lnTo>
                      <a:cubicBezTo>
                        <a:pt x="33784" y="112376"/>
                        <a:pt x="38305" y="109336"/>
                        <a:pt x="42825" y="111363"/>
                      </a:cubicBezTo>
                      <a:cubicBezTo>
                        <a:pt x="41695" y="117443"/>
                        <a:pt x="40565" y="140750"/>
                        <a:pt x="45085" y="145817"/>
                      </a:cubicBezTo>
                      <a:lnTo>
                        <a:pt x="60907" y="150883"/>
                      </a:lnTo>
                      <a:lnTo>
                        <a:pt x="62037" y="15595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9" name="Freeform: Shape 388">
                  <a:extLst>
                    <a:ext uri="{FF2B5EF4-FFF2-40B4-BE49-F238E27FC236}">
                      <a16:creationId xmlns:a16="http://schemas.microsoft.com/office/drawing/2014/main" id="{815F4C9F-7CAB-4F9B-877A-907E36592D19}"/>
                    </a:ext>
                  </a:extLst>
                </p:cNvPr>
                <p:cNvSpPr/>
                <p:nvPr/>
              </p:nvSpPr>
              <p:spPr>
                <a:xfrm>
                  <a:off x="2629509" y="3549274"/>
                  <a:ext cx="158217" cy="182404"/>
                </a:xfrm>
                <a:custGeom>
                  <a:avLst/>
                  <a:gdLst>
                    <a:gd name="connsiteX0" fmla="*/ 83510 w 158216"/>
                    <a:gd name="connsiteY0" fmla="*/ 174191 h 182404"/>
                    <a:gd name="connsiteX1" fmla="*/ 101592 w 158216"/>
                    <a:gd name="connsiteY1" fmla="*/ 163044 h 182404"/>
                    <a:gd name="connsiteX2" fmla="*/ 118544 w 158216"/>
                    <a:gd name="connsiteY2" fmla="*/ 144803 h 182404"/>
                    <a:gd name="connsiteX3" fmla="*/ 127584 w 158216"/>
                    <a:gd name="connsiteY3" fmla="*/ 124536 h 182404"/>
                    <a:gd name="connsiteX4" fmla="*/ 142276 w 158216"/>
                    <a:gd name="connsiteY4" fmla="*/ 111363 h 182404"/>
                    <a:gd name="connsiteX5" fmla="*/ 154707 w 158216"/>
                    <a:gd name="connsiteY5" fmla="*/ 100216 h 182404"/>
                    <a:gd name="connsiteX6" fmla="*/ 134365 w 158216"/>
                    <a:gd name="connsiteY6" fmla="*/ 100216 h 182404"/>
                    <a:gd name="connsiteX7" fmla="*/ 136626 w 158216"/>
                    <a:gd name="connsiteY7" fmla="*/ 98189 h 182404"/>
                    <a:gd name="connsiteX8" fmla="*/ 123064 w 158216"/>
                    <a:gd name="connsiteY8" fmla="*/ 98189 h 182404"/>
                    <a:gd name="connsiteX9" fmla="*/ 126454 w 158216"/>
                    <a:gd name="connsiteY9" fmla="*/ 9013 h 182404"/>
                    <a:gd name="connsiteX10" fmla="*/ 65428 w 158216"/>
                    <a:gd name="connsiteY10" fmla="*/ 9013 h 182404"/>
                    <a:gd name="connsiteX11" fmla="*/ 60907 w 158216"/>
                    <a:gd name="connsiteY11" fmla="*/ 25227 h 182404"/>
                    <a:gd name="connsiteX12" fmla="*/ 48476 w 158216"/>
                    <a:gd name="connsiteY12" fmla="*/ 25227 h 182404"/>
                    <a:gd name="connsiteX13" fmla="*/ 49606 w 158216"/>
                    <a:gd name="connsiteY13" fmla="*/ 36374 h 182404"/>
                    <a:gd name="connsiteX14" fmla="*/ 67688 w 158216"/>
                    <a:gd name="connsiteY14" fmla="*/ 56641 h 182404"/>
                    <a:gd name="connsiteX15" fmla="*/ 76729 w 158216"/>
                    <a:gd name="connsiteY15" fmla="*/ 75895 h 182404"/>
                    <a:gd name="connsiteX16" fmla="*/ 33785 w 158216"/>
                    <a:gd name="connsiteY16" fmla="*/ 74882 h 182404"/>
                    <a:gd name="connsiteX17" fmla="*/ 12312 w 158216"/>
                    <a:gd name="connsiteY17" fmla="*/ 105282 h 182404"/>
                    <a:gd name="connsiteX18" fmla="*/ 10052 w 158216"/>
                    <a:gd name="connsiteY18" fmla="*/ 123523 h 182404"/>
                    <a:gd name="connsiteX19" fmla="*/ 12312 w 158216"/>
                    <a:gd name="connsiteY19" fmla="*/ 126563 h 182404"/>
                    <a:gd name="connsiteX20" fmla="*/ 23614 w 158216"/>
                    <a:gd name="connsiteY20" fmla="*/ 131630 h 182404"/>
                    <a:gd name="connsiteX21" fmla="*/ 39435 w 158216"/>
                    <a:gd name="connsiteY21" fmla="*/ 150883 h 182404"/>
                    <a:gd name="connsiteX22" fmla="*/ 52996 w 158216"/>
                    <a:gd name="connsiteY22" fmla="*/ 155950 h 182404"/>
                    <a:gd name="connsiteX23" fmla="*/ 60907 w 158216"/>
                    <a:gd name="connsiteY23" fmla="*/ 166084 h 182404"/>
                    <a:gd name="connsiteX24" fmla="*/ 60907 w 158216"/>
                    <a:gd name="connsiteY24" fmla="*/ 168111 h 182404"/>
                    <a:gd name="connsiteX25" fmla="*/ 76729 w 158216"/>
                    <a:gd name="connsiteY25" fmla="*/ 168111 h 182404"/>
                    <a:gd name="connsiteX26" fmla="*/ 83510 w 158216"/>
                    <a:gd name="connsiteY26" fmla="*/ 172164 h 182404"/>
                    <a:gd name="connsiteX27" fmla="*/ 83510 w 158216"/>
                    <a:gd name="connsiteY27" fmla="*/ 174191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8216" h="182404">
                      <a:moveTo>
                        <a:pt x="83510" y="174191"/>
                      </a:moveTo>
                      <a:cubicBezTo>
                        <a:pt x="82380" y="164057"/>
                        <a:pt x="102722" y="172164"/>
                        <a:pt x="101592" y="163044"/>
                      </a:cubicBezTo>
                      <a:cubicBezTo>
                        <a:pt x="100462" y="153924"/>
                        <a:pt x="118544" y="144803"/>
                        <a:pt x="118544" y="144803"/>
                      </a:cubicBezTo>
                      <a:cubicBezTo>
                        <a:pt x="118544" y="144803"/>
                        <a:pt x="127584" y="133657"/>
                        <a:pt x="127584" y="124536"/>
                      </a:cubicBezTo>
                      <a:cubicBezTo>
                        <a:pt x="127584" y="115416"/>
                        <a:pt x="130975" y="113389"/>
                        <a:pt x="142276" y="111363"/>
                      </a:cubicBezTo>
                      <a:cubicBezTo>
                        <a:pt x="153577" y="110349"/>
                        <a:pt x="154707" y="100216"/>
                        <a:pt x="154707" y="100216"/>
                      </a:cubicBezTo>
                      <a:cubicBezTo>
                        <a:pt x="146797" y="99202"/>
                        <a:pt x="140016" y="99202"/>
                        <a:pt x="134365" y="100216"/>
                      </a:cubicBezTo>
                      <a:lnTo>
                        <a:pt x="136626" y="98189"/>
                      </a:lnTo>
                      <a:lnTo>
                        <a:pt x="123064" y="98189"/>
                      </a:lnTo>
                      <a:lnTo>
                        <a:pt x="126454" y="9013"/>
                      </a:lnTo>
                      <a:lnTo>
                        <a:pt x="65428" y="9013"/>
                      </a:lnTo>
                      <a:lnTo>
                        <a:pt x="60907" y="25227"/>
                      </a:lnTo>
                      <a:lnTo>
                        <a:pt x="48476" y="25227"/>
                      </a:lnTo>
                      <a:lnTo>
                        <a:pt x="49606" y="36374"/>
                      </a:lnTo>
                      <a:cubicBezTo>
                        <a:pt x="49606" y="36374"/>
                        <a:pt x="59777" y="51575"/>
                        <a:pt x="67688" y="56641"/>
                      </a:cubicBezTo>
                      <a:cubicBezTo>
                        <a:pt x="75599" y="61708"/>
                        <a:pt x="76729" y="75895"/>
                        <a:pt x="76729" y="75895"/>
                      </a:cubicBezTo>
                      <a:lnTo>
                        <a:pt x="33785" y="74882"/>
                      </a:lnTo>
                      <a:cubicBezTo>
                        <a:pt x="33785" y="74882"/>
                        <a:pt x="6662" y="100216"/>
                        <a:pt x="12312" y="105282"/>
                      </a:cubicBezTo>
                      <a:cubicBezTo>
                        <a:pt x="17963" y="110349"/>
                        <a:pt x="10052" y="123523"/>
                        <a:pt x="10052" y="123523"/>
                      </a:cubicBezTo>
                      <a:cubicBezTo>
                        <a:pt x="10052" y="124536"/>
                        <a:pt x="11182" y="125549"/>
                        <a:pt x="12312" y="126563"/>
                      </a:cubicBezTo>
                      <a:cubicBezTo>
                        <a:pt x="13442" y="128590"/>
                        <a:pt x="21353" y="129603"/>
                        <a:pt x="23614" y="131630"/>
                      </a:cubicBezTo>
                      <a:cubicBezTo>
                        <a:pt x="29264" y="137710"/>
                        <a:pt x="32654" y="145817"/>
                        <a:pt x="39435" y="150883"/>
                      </a:cubicBezTo>
                      <a:cubicBezTo>
                        <a:pt x="42825" y="152910"/>
                        <a:pt x="49606" y="152910"/>
                        <a:pt x="52996" y="155950"/>
                      </a:cubicBezTo>
                      <a:cubicBezTo>
                        <a:pt x="59777" y="161017"/>
                        <a:pt x="49606" y="160004"/>
                        <a:pt x="60907" y="166084"/>
                      </a:cubicBezTo>
                      <a:cubicBezTo>
                        <a:pt x="60907" y="167097"/>
                        <a:pt x="60907" y="168111"/>
                        <a:pt x="60907" y="168111"/>
                      </a:cubicBezTo>
                      <a:cubicBezTo>
                        <a:pt x="69948" y="172164"/>
                        <a:pt x="69948" y="166084"/>
                        <a:pt x="76729" y="168111"/>
                      </a:cubicBezTo>
                      <a:lnTo>
                        <a:pt x="83510" y="172164"/>
                      </a:lnTo>
                      <a:lnTo>
                        <a:pt x="83510" y="17419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0" name="Freeform: Shape 389">
                  <a:extLst>
                    <a:ext uri="{FF2B5EF4-FFF2-40B4-BE49-F238E27FC236}">
                      <a16:creationId xmlns:a16="http://schemas.microsoft.com/office/drawing/2014/main" id="{06FCACC4-1054-4B83-878A-FBAFDD9E301D}"/>
                    </a:ext>
                  </a:extLst>
                </p:cNvPr>
                <p:cNvSpPr/>
                <p:nvPr/>
              </p:nvSpPr>
              <p:spPr>
                <a:xfrm>
                  <a:off x="3341246" y="216020"/>
                  <a:ext cx="2124625" cy="1479501"/>
                </a:xfrm>
                <a:custGeom>
                  <a:avLst/>
                  <a:gdLst>
                    <a:gd name="connsiteX0" fmla="*/ 1885158 w 2124624"/>
                    <a:gd name="connsiteY0" fmla="*/ 493722 h 1479500"/>
                    <a:gd name="connsiteX1" fmla="*/ 1887418 w 2124624"/>
                    <a:gd name="connsiteY1" fmla="*/ 498789 h 1479500"/>
                    <a:gd name="connsiteX2" fmla="*/ 1885158 w 2124624"/>
                    <a:gd name="connsiteY2" fmla="*/ 493722 h 1479500"/>
                    <a:gd name="connsiteX3" fmla="*/ 1017226 w 2124624"/>
                    <a:gd name="connsiteY3" fmla="*/ 1461478 h 1479500"/>
                    <a:gd name="connsiteX4" fmla="*/ 1014966 w 2124624"/>
                    <a:gd name="connsiteY4" fmla="*/ 1471611 h 1479500"/>
                    <a:gd name="connsiteX5" fmla="*/ 1028528 w 2124624"/>
                    <a:gd name="connsiteY5" fmla="*/ 1473638 h 1479500"/>
                    <a:gd name="connsiteX6" fmla="*/ 1028528 w 2124624"/>
                    <a:gd name="connsiteY6" fmla="*/ 1466544 h 1479500"/>
                    <a:gd name="connsiteX7" fmla="*/ 1017226 w 2124624"/>
                    <a:gd name="connsiteY7" fmla="*/ 1461478 h 1479500"/>
                    <a:gd name="connsiteX8" fmla="*/ 972022 w 2124624"/>
                    <a:gd name="connsiteY8" fmla="*/ 1407770 h 1479500"/>
                    <a:gd name="connsiteX9" fmla="*/ 969761 w 2124624"/>
                    <a:gd name="connsiteY9" fmla="*/ 1414863 h 1479500"/>
                    <a:gd name="connsiteX10" fmla="*/ 972022 w 2124624"/>
                    <a:gd name="connsiteY10" fmla="*/ 1407770 h 1479500"/>
                    <a:gd name="connsiteX11" fmla="*/ 1801529 w 2124624"/>
                    <a:gd name="connsiteY11" fmla="*/ 634579 h 1479500"/>
                    <a:gd name="connsiteX12" fmla="*/ 1799269 w 2124624"/>
                    <a:gd name="connsiteY12" fmla="*/ 651806 h 1479500"/>
                    <a:gd name="connsiteX13" fmla="*/ 1807180 w 2124624"/>
                    <a:gd name="connsiteY13" fmla="*/ 656872 h 1479500"/>
                    <a:gd name="connsiteX14" fmla="*/ 1834303 w 2124624"/>
                    <a:gd name="connsiteY14" fmla="*/ 651806 h 1479500"/>
                    <a:gd name="connsiteX15" fmla="*/ 1801529 w 2124624"/>
                    <a:gd name="connsiteY15" fmla="*/ 634579 h 1479500"/>
                    <a:gd name="connsiteX16" fmla="*/ 1606019 w 2124624"/>
                    <a:gd name="connsiteY16" fmla="*/ 236329 h 1479500"/>
                    <a:gd name="connsiteX17" fmla="*/ 1598108 w 2124624"/>
                    <a:gd name="connsiteY17" fmla="*/ 243423 h 1479500"/>
                    <a:gd name="connsiteX18" fmla="*/ 1592457 w 2124624"/>
                    <a:gd name="connsiteY18" fmla="*/ 253556 h 1479500"/>
                    <a:gd name="connsiteX19" fmla="*/ 1606019 w 2124624"/>
                    <a:gd name="connsiteY19" fmla="*/ 236329 h 1479500"/>
                    <a:gd name="connsiteX20" fmla="*/ 1104245 w 2124624"/>
                    <a:gd name="connsiteY20" fmla="*/ 118780 h 1479500"/>
                    <a:gd name="connsiteX21" fmla="*/ 1106506 w 2124624"/>
                    <a:gd name="connsiteY21" fmla="*/ 125873 h 1479500"/>
                    <a:gd name="connsiteX22" fmla="*/ 1104245 w 2124624"/>
                    <a:gd name="connsiteY22" fmla="*/ 118780 h 1479500"/>
                    <a:gd name="connsiteX23" fmla="*/ 1253421 w 2124624"/>
                    <a:gd name="connsiteY23" fmla="*/ 1118963 h 1479500"/>
                    <a:gd name="connsiteX24" fmla="*/ 1269243 w 2124624"/>
                    <a:gd name="connsiteY24" fmla="*/ 1120990 h 1479500"/>
                    <a:gd name="connsiteX25" fmla="*/ 1261332 w 2124624"/>
                    <a:gd name="connsiteY25" fmla="*/ 1133150 h 1479500"/>
                    <a:gd name="connsiteX26" fmla="*/ 1247771 w 2124624"/>
                    <a:gd name="connsiteY26" fmla="*/ 1135177 h 1479500"/>
                    <a:gd name="connsiteX27" fmla="*/ 1245510 w 2124624"/>
                    <a:gd name="connsiteY27" fmla="*/ 1123017 h 1479500"/>
                    <a:gd name="connsiteX28" fmla="*/ 1253421 w 2124624"/>
                    <a:gd name="connsiteY28" fmla="*/ 1118963 h 1479500"/>
                    <a:gd name="connsiteX29" fmla="*/ 718875 w 2124624"/>
                    <a:gd name="connsiteY29" fmla="*/ 1101736 h 1479500"/>
                    <a:gd name="connsiteX30" fmla="*/ 721135 w 2124624"/>
                    <a:gd name="connsiteY30" fmla="*/ 1108830 h 1479500"/>
                    <a:gd name="connsiteX31" fmla="*/ 718875 w 2124624"/>
                    <a:gd name="connsiteY31" fmla="*/ 1101736 h 1479500"/>
                    <a:gd name="connsiteX32" fmla="*/ 817195 w 2124624"/>
                    <a:gd name="connsiteY32" fmla="*/ 1091602 h 1479500"/>
                    <a:gd name="connsiteX33" fmla="*/ 817195 w 2124624"/>
                    <a:gd name="connsiteY33" fmla="*/ 1096669 h 1479500"/>
                    <a:gd name="connsiteX34" fmla="*/ 817195 w 2124624"/>
                    <a:gd name="connsiteY34" fmla="*/ 1103763 h 1479500"/>
                    <a:gd name="connsiteX35" fmla="*/ 790072 w 2124624"/>
                    <a:gd name="connsiteY35" fmla="*/ 1113896 h 1479500"/>
                    <a:gd name="connsiteX36" fmla="*/ 790072 w 2124624"/>
                    <a:gd name="connsiteY36" fmla="*/ 1108830 h 1479500"/>
                    <a:gd name="connsiteX37" fmla="*/ 797983 w 2124624"/>
                    <a:gd name="connsiteY37" fmla="*/ 1101736 h 1479500"/>
                    <a:gd name="connsiteX38" fmla="*/ 817195 w 2124624"/>
                    <a:gd name="connsiteY38" fmla="*/ 1091602 h 1479500"/>
                    <a:gd name="connsiteX39" fmla="*/ 803634 w 2124624"/>
                    <a:gd name="connsiteY39" fmla="*/ 1053095 h 1479500"/>
                    <a:gd name="connsiteX40" fmla="*/ 801374 w 2124624"/>
                    <a:gd name="connsiteY40" fmla="*/ 1058162 h 1479500"/>
                    <a:gd name="connsiteX41" fmla="*/ 803634 w 2124624"/>
                    <a:gd name="connsiteY41" fmla="*/ 1053095 h 1479500"/>
                    <a:gd name="connsiteX42" fmla="*/ 805894 w 2124624"/>
                    <a:gd name="connsiteY42" fmla="*/ 1042961 h 1479500"/>
                    <a:gd name="connsiteX43" fmla="*/ 808154 w 2124624"/>
                    <a:gd name="connsiteY43" fmla="*/ 1048028 h 1479500"/>
                    <a:gd name="connsiteX44" fmla="*/ 805894 w 2124624"/>
                    <a:gd name="connsiteY44" fmla="*/ 1042961 h 1479500"/>
                    <a:gd name="connsiteX45" fmla="*/ 1619580 w 2124624"/>
                    <a:gd name="connsiteY45" fmla="*/ 884878 h 1479500"/>
                    <a:gd name="connsiteX46" fmla="*/ 1621840 w 2124624"/>
                    <a:gd name="connsiteY46" fmla="*/ 895011 h 1479500"/>
                    <a:gd name="connsiteX47" fmla="*/ 1602628 w 2124624"/>
                    <a:gd name="connsiteY47" fmla="*/ 889944 h 1479500"/>
                    <a:gd name="connsiteX48" fmla="*/ 1610539 w 2124624"/>
                    <a:gd name="connsiteY48" fmla="*/ 889944 h 1479500"/>
                    <a:gd name="connsiteX49" fmla="*/ 1619580 w 2124624"/>
                    <a:gd name="connsiteY49" fmla="*/ 884878 h 1479500"/>
                    <a:gd name="connsiteX50" fmla="*/ 718875 w 2124624"/>
                    <a:gd name="connsiteY50" fmla="*/ 822049 h 1479500"/>
                    <a:gd name="connsiteX51" fmla="*/ 726786 w 2124624"/>
                    <a:gd name="connsiteY51" fmla="*/ 827116 h 1479500"/>
                    <a:gd name="connsiteX52" fmla="*/ 718875 w 2124624"/>
                    <a:gd name="connsiteY52" fmla="*/ 822049 h 1479500"/>
                    <a:gd name="connsiteX53" fmla="*/ 683841 w 2124624"/>
                    <a:gd name="connsiteY53" fmla="*/ 814956 h 1479500"/>
                    <a:gd name="connsiteX54" fmla="*/ 675930 w 2124624"/>
                    <a:gd name="connsiteY54" fmla="*/ 825090 h 1479500"/>
                    <a:gd name="connsiteX55" fmla="*/ 681581 w 2124624"/>
                    <a:gd name="connsiteY55" fmla="*/ 830156 h 1479500"/>
                    <a:gd name="connsiteX56" fmla="*/ 689492 w 2124624"/>
                    <a:gd name="connsiteY56" fmla="*/ 830156 h 1479500"/>
                    <a:gd name="connsiteX57" fmla="*/ 683841 w 2124624"/>
                    <a:gd name="connsiteY57" fmla="*/ 814956 h 1479500"/>
                    <a:gd name="connsiteX58" fmla="*/ 1712250 w 2124624"/>
                    <a:gd name="connsiteY58" fmla="*/ 698420 h 1479500"/>
                    <a:gd name="connsiteX59" fmla="*/ 1709990 w 2124624"/>
                    <a:gd name="connsiteY59" fmla="*/ 703487 h 1479500"/>
                    <a:gd name="connsiteX60" fmla="*/ 1690778 w 2124624"/>
                    <a:gd name="connsiteY60" fmla="*/ 708554 h 1479500"/>
                    <a:gd name="connsiteX61" fmla="*/ 1688517 w 2124624"/>
                    <a:gd name="connsiteY61" fmla="*/ 715647 h 1479500"/>
                    <a:gd name="connsiteX62" fmla="*/ 1696428 w 2124624"/>
                    <a:gd name="connsiteY62" fmla="*/ 722741 h 1479500"/>
                    <a:gd name="connsiteX63" fmla="*/ 1647833 w 2124624"/>
                    <a:gd name="connsiteY63" fmla="*/ 720714 h 1479500"/>
                    <a:gd name="connsiteX64" fmla="*/ 1639922 w 2124624"/>
                    <a:gd name="connsiteY64" fmla="*/ 727807 h 1479500"/>
                    <a:gd name="connsiteX65" fmla="*/ 1639922 w 2124624"/>
                    <a:gd name="connsiteY65" fmla="*/ 739968 h 1479500"/>
                    <a:gd name="connsiteX66" fmla="*/ 1653484 w 2124624"/>
                    <a:gd name="connsiteY66" fmla="*/ 739968 h 1479500"/>
                    <a:gd name="connsiteX67" fmla="*/ 1659134 w 2124624"/>
                    <a:gd name="connsiteY67" fmla="*/ 750101 h 1479500"/>
                    <a:gd name="connsiteX68" fmla="*/ 1672696 w 2124624"/>
                    <a:gd name="connsiteY68" fmla="*/ 748074 h 1479500"/>
                    <a:gd name="connsiteX69" fmla="*/ 1683997 w 2124624"/>
                    <a:gd name="connsiteY69" fmla="*/ 737941 h 1479500"/>
                    <a:gd name="connsiteX70" fmla="*/ 1695298 w 2124624"/>
                    <a:gd name="connsiteY70" fmla="*/ 737941 h 1479500"/>
                    <a:gd name="connsiteX71" fmla="*/ 1700949 w 2124624"/>
                    <a:gd name="connsiteY71" fmla="*/ 725781 h 1479500"/>
                    <a:gd name="connsiteX72" fmla="*/ 1708859 w 2124624"/>
                    <a:gd name="connsiteY72" fmla="*/ 725781 h 1479500"/>
                    <a:gd name="connsiteX73" fmla="*/ 1716770 w 2124624"/>
                    <a:gd name="connsiteY73" fmla="*/ 735914 h 1479500"/>
                    <a:gd name="connsiteX74" fmla="*/ 1746153 w 2124624"/>
                    <a:gd name="connsiteY74" fmla="*/ 737941 h 1479500"/>
                    <a:gd name="connsiteX75" fmla="*/ 1748414 w 2124624"/>
                    <a:gd name="connsiteY75" fmla="*/ 743008 h 1479500"/>
                    <a:gd name="connsiteX76" fmla="*/ 1740503 w 2124624"/>
                    <a:gd name="connsiteY76" fmla="*/ 750101 h 1479500"/>
                    <a:gd name="connsiteX77" fmla="*/ 1746153 w 2124624"/>
                    <a:gd name="connsiteY77" fmla="*/ 752128 h 1479500"/>
                    <a:gd name="connsiteX78" fmla="*/ 1781187 w 2124624"/>
                    <a:gd name="connsiteY78" fmla="*/ 783542 h 1479500"/>
                    <a:gd name="connsiteX79" fmla="*/ 1797009 w 2124624"/>
                    <a:gd name="connsiteY79" fmla="*/ 795702 h 1479500"/>
                    <a:gd name="connsiteX80" fmla="*/ 1816221 w 2124624"/>
                    <a:gd name="connsiteY80" fmla="*/ 795702 h 1479500"/>
                    <a:gd name="connsiteX81" fmla="*/ 1816221 w 2124624"/>
                    <a:gd name="connsiteY81" fmla="*/ 785569 h 1479500"/>
                    <a:gd name="connsiteX82" fmla="*/ 1810570 w 2124624"/>
                    <a:gd name="connsiteY82" fmla="*/ 771382 h 1479500"/>
                    <a:gd name="connsiteX83" fmla="*/ 1810570 w 2124624"/>
                    <a:gd name="connsiteY83" fmla="*/ 766315 h 1479500"/>
                    <a:gd name="connsiteX84" fmla="*/ 1785707 w 2124624"/>
                    <a:gd name="connsiteY84" fmla="*/ 761248 h 1479500"/>
                    <a:gd name="connsiteX85" fmla="*/ 1774406 w 2124624"/>
                    <a:gd name="connsiteY85" fmla="*/ 754155 h 1479500"/>
                    <a:gd name="connsiteX86" fmla="*/ 1785707 w 2124624"/>
                    <a:gd name="connsiteY86" fmla="*/ 752128 h 1479500"/>
                    <a:gd name="connsiteX87" fmla="*/ 1791358 w 2124624"/>
                    <a:gd name="connsiteY87" fmla="*/ 759221 h 1479500"/>
                    <a:gd name="connsiteX88" fmla="*/ 1807180 w 2124624"/>
                    <a:gd name="connsiteY88" fmla="*/ 757195 h 1479500"/>
                    <a:gd name="connsiteX89" fmla="*/ 1812831 w 2124624"/>
                    <a:gd name="connsiteY89" fmla="*/ 739968 h 1479500"/>
                    <a:gd name="connsiteX90" fmla="*/ 1760845 w 2124624"/>
                    <a:gd name="connsiteY90" fmla="*/ 739968 h 1479500"/>
                    <a:gd name="connsiteX91" fmla="*/ 1772147 w 2124624"/>
                    <a:gd name="connsiteY91" fmla="*/ 729834 h 1479500"/>
                    <a:gd name="connsiteX92" fmla="*/ 1783448 w 2124624"/>
                    <a:gd name="connsiteY92" fmla="*/ 729834 h 1479500"/>
                    <a:gd name="connsiteX93" fmla="*/ 1785707 w 2124624"/>
                    <a:gd name="connsiteY93" fmla="*/ 722741 h 1479500"/>
                    <a:gd name="connsiteX94" fmla="*/ 1756325 w 2124624"/>
                    <a:gd name="connsiteY94" fmla="*/ 722741 h 1479500"/>
                    <a:gd name="connsiteX95" fmla="*/ 1764236 w 2124624"/>
                    <a:gd name="connsiteY95" fmla="*/ 712607 h 1479500"/>
                    <a:gd name="connsiteX96" fmla="*/ 1712250 w 2124624"/>
                    <a:gd name="connsiteY96" fmla="*/ 698420 h 1479500"/>
                    <a:gd name="connsiteX97" fmla="*/ 561788 w 2124624"/>
                    <a:gd name="connsiteY97" fmla="*/ 620391 h 1479500"/>
                    <a:gd name="connsiteX98" fmla="*/ 556137 w 2124624"/>
                    <a:gd name="connsiteY98" fmla="*/ 630525 h 1479500"/>
                    <a:gd name="connsiteX99" fmla="*/ 569699 w 2124624"/>
                    <a:gd name="connsiteY99" fmla="*/ 623432 h 1479500"/>
                    <a:gd name="connsiteX100" fmla="*/ 561788 w 2124624"/>
                    <a:gd name="connsiteY100" fmla="*/ 620391 h 1479500"/>
                    <a:gd name="connsiteX101" fmla="*/ 1910021 w 2124624"/>
                    <a:gd name="connsiteY101" fmla="*/ 615325 h 1479500"/>
                    <a:gd name="connsiteX102" fmla="*/ 1907761 w 2124624"/>
                    <a:gd name="connsiteY102" fmla="*/ 620391 h 1479500"/>
                    <a:gd name="connsiteX103" fmla="*/ 1915671 w 2124624"/>
                    <a:gd name="connsiteY103" fmla="*/ 622418 h 1479500"/>
                    <a:gd name="connsiteX104" fmla="*/ 1910021 w 2124624"/>
                    <a:gd name="connsiteY104" fmla="*/ 615325 h 1479500"/>
                    <a:gd name="connsiteX105" fmla="*/ 1861426 w 2124624"/>
                    <a:gd name="connsiteY105" fmla="*/ 598098 h 1479500"/>
                    <a:gd name="connsiteX106" fmla="*/ 1863686 w 2124624"/>
                    <a:gd name="connsiteY106" fmla="*/ 620391 h 1479500"/>
                    <a:gd name="connsiteX107" fmla="*/ 1871597 w 2124624"/>
                    <a:gd name="connsiteY107" fmla="*/ 622418 h 1479500"/>
                    <a:gd name="connsiteX108" fmla="*/ 1879508 w 2124624"/>
                    <a:gd name="connsiteY108" fmla="*/ 617351 h 1479500"/>
                    <a:gd name="connsiteX109" fmla="*/ 1881768 w 2124624"/>
                    <a:gd name="connsiteY109" fmla="*/ 607218 h 1479500"/>
                    <a:gd name="connsiteX110" fmla="*/ 1870466 w 2124624"/>
                    <a:gd name="connsiteY110" fmla="*/ 607218 h 1479500"/>
                    <a:gd name="connsiteX111" fmla="*/ 1868207 w 2124624"/>
                    <a:gd name="connsiteY111" fmla="*/ 600124 h 1479500"/>
                    <a:gd name="connsiteX112" fmla="*/ 1861426 w 2124624"/>
                    <a:gd name="connsiteY112" fmla="*/ 598098 h 1479500"/>
                    <a:gd name="connsiteX113" fmla="*/ 1787968 w 2124624"/>
                    <a:gd name="connsiteY113" fmla="*/ 580871 h 1479500"/>
                    <a:gd name="connsiteX114" fmla="*/ 1795879 w 2124624"/>
                    <a:gd name="connsiteY114" fmla="*/ 600124 h 1479500"/>
                    <a:gd name="connsiteX115" fmla="*/ 1787968 w 2124624"/>
                    <a:gd name="connsiteY115" fmla="*/ 600124 h 1479500"/>
                    <a:gd name="connsiteX116" fmla="*/ 1787968 w 2124624"/>
                    <a:gd name="connsiteY116" fmla="*/ 580871 h 1479500"/>
                    <a:gd name="connsiteX117" fmla="*/ 1915671 w 2124624"/>
                    <a:gd name="connsiteY117" fmla="*/ 556550 h 1479500"/>
                    <a:gd name="connsiteX118" fmla="*/ 1910021 w 2124624"/>
                    <a:gd name="connsiteY118" fmla="*/ 563644 h 1479500"/>
                    <a:gd name="connsiteX119" fmla="*/ 1898719 w 2124624"/>
                    <a:gd name="connsiteY119" fmla="*/ 563644 h 1479500"/>
                    <a:gd name="connsiteX120" fmla="*/ 1925843 w 2124624"/>
                    <a:gd name="connsiteY120" fmla="*/ 595058 h 1479500"/>
                    <a:gd name="connsiteX121" fmla="*/ 1933753 w 2124624"/>
                    <a:gd name="connsiteY121" fmla="*/ 584924 h 1479500"/>
                    <a:gd name="connsiteX122" fmla="*/ 1941664 w 2124624"/>
                    <a:gd name="connsiteY122" fmla="*/ 584924 h 1479500"/>
                    <a:gd name="connsiteX123" fmla="*/ 1949575 w 2124624"/>
                    <a:gd name="connsiteY123" fmla="*/ 584924 h 1479500"/>
                    <a:gd name="connsiteX124" fmla="*/ 1947315 w 2124624"/>
                    <a:gd name="connsiteY124" fmla="*/ 570737 h 1479500"/>
                    <a:gd name="connsiteX125" fmla="*/ 1939404 w 2124624"/>
                    <a:gd name="connsiteY125" fmla="*/ 577831 h 1479500"/>
                    <a:gd name="connsiteX126" fmla="*/ 1920192 w 2124624"/>
                    <a:gd name="connsiteY126" fmla="*/ 555537 h 1479500"/>
                    <a:gd name="connsiteX127" fmla="*/ 1915671 w 2124624"/>
                    <a:gd name="connsiteY127" fmla="*/ 555537 h 1479500"/>
                    <a:gd name="connsiteX128" fmla="*/ 1888549 w 2124624"/>
                    <a:gd name="connsiteY128" fmla="*/ 500815 h 1479500"/>
                    <a:gd name="connsiteX129" fmla="*/ 1886288 w 2124624"/>
                    <a:gd name="connsiteY129" fmla="*/ 505882 h 1479500"/>
                    <a:gd name="connsiteX130" fmla="*/ 1902110 w 2124624"/>
                    <a:gd name="connsiteY130" fmla="*/ 528176 h 1479500"/>
                    <a:gd name="connsiteX131" fmla="*/ 1902110 w 2124624"/>
                    <a:gd name="connsiteY131" fmla="*/ 518042 h 1479500"/>
                    <a:gd name="connsiteX132" fmla="*/ 1894199 w 2124624"/>
                    <a:gd name="connsiteY132" fmla="*/ 510949 h 1479500"/>
                    <a:gd name="connsiteX133" fmla="*/ 1896460 w 2124624"/>
                    <a:gd name="connsiteY133" fmla="*/ 503855 h 1479500"/>
                    <a:gd name="connsiteX134" fmla="*/ 1888549 w 2124624"/>
                    <a:gd name="connsiteY134" fmla="*/ 500815 h 1479500"/>
                    <a:gd name="connsiteX135" fmla="*/ 49844 w 2124624"/>
                    <a:gd name="connsiteY135" fmla="*/ 440014 h 1479500"/>
                    <a:gd name="connsiteX136" fmla="*/ 52104 w 2124624"/>
                    <a:gd name="connsiteY136" fmla="*/ 445081 h 1479500"/>
                    <a:gd name="connsiteX137" fmla="*/ 54364 w 2124624"/>
                    <a:gd name="connsiteY137" fmla="*/ 443054 h 1479500"/>
                    <a:gd name="connsiteX138" fmla="*/ 49844 w 2124624"/>
                    <a:gd name="connsiteY138" fmla="*/ 440014 h 1479500"/>
                    <a:gd name="connsiteX139" fmla="*/ 14810 w 2124624"/>
                    <a:gd name="connsiteY139" fmla="*/ 434947 h 1479500"/>
                    <a:gd name="connsiteX140" fmla="*/ 14810 w 2124624"/>
                    <a:gd name="connsiteY140" fmla="*/ 445081 h 1479500"/>
                    <a:gd name="connsiteX141" fmla="*/ 28372 w 2124624"/>
                    <a:gd name="connsiteY141" fmla="*/ 437987 h 1479500"/>
                    <a:gd name="connsiteX142" fmla="*/ 14810 w 2124624"/>
                    <a:gd name="connsiteY142" fmla="*/ 434947 h 1479500"/>
                    <a:gd name="connsiteX143" fmla="*/ 1871597 w 2124624"/>
                    <a:gd name="connsiteY143" fmla="*/ 260650 h 1479500"/>
                    <a:gd name="connsiteX144" fmla="*/ 1869337 w 2124624"/>
                    <a:gd name="connsiteY144" fmla="*/ 270783 h 1479500"/>
                    <a:gd name="connsiteX145" fmla="*/ 1871597 w 2124624"/>
                    <a:gd name="connsiteY145" fmla="*/ 260650 h 1479500"/>
                    <a:gd name="connsiteX146" fmla="*/ 1641052 w 2124624"/>
                    <a:gd name="connsiteY146" fmla="*/ 224169 h 1479500"/>
                    <a:gd name="connsiteX147" fmla="*/ 1621840 w 2124624"/>
                    <a:gd name="connsiteY147" fmla="*/ 236329 h 1479500"/>
                    <a:gd name="connsiteX148" fmla="*/ 1610539 w 2124624"/>
                    <a:gd name="connsiteY148" fmla="*/ 234303 h 1479500"/>
                    <a:gd name="connsiteX149" fmla="*/ 1624100 w 2124624"/>
                    <a:gd name="connsiteY149" fmla="*/ 232276 h 1479500"/>
                    <a:gd name="connsiteX150" fmla="*/ 1641052 w 2124624"/>
                    <a:gd name="connsiteY150" fmla="*/ 224169 h 1479500"/>
                    <a:gd name="connsiteX151" fmla="*/ 1896460 w 2124624"/>
                    <a:gd name="connsiteY151" fmla="*/ 141074 h 1479500"/>
                    <a:gd name="connsiteX152" fmla="*/ 1896460 w 2124624"/>
                    <a:gd name="connsiteY152" fmla="*/ 148167 h 1479500"/>
                    <a:gd name="connsiteX153" fmla="*/ 1896460 w 2124624"/>
                    <a:gd name="connsiteY153" fmla="*/ 141074 h 1479500"/>
                    <a:gd name="connsiteX154" fmla="*/ 1865946 w 2124624"/>
                    <a:gd name="connsiteY154" fmla="*/ 139047 h 1479500"/>
                    <a:gd name="connsiteX155" fmla="*/ 1865946 w 2124624"/>
                    <a:gd name="connsiteY155" fmla="*/ 156274 h 1479500"/>
                    <a:gd name="connsiteX156" fmla="*/ 1871597 w 2124624"/>
                    <a:gd name="connsiteY156" fmla="*/ 156274 h 1479500"/>
                    <a:gd name="connsiteX157" fmla="*/ 1871597 w 2124624"/>
                    <a:gd name="connsiteY157" fmla="*/ 142087 h 1479500"/>
                    <a:gd name="connsiteX158" fmla="*/ 1865946 w 2124624"/>
                    <a:gd name="connsiteY158" fmla="*/ 139047 h 1479500"/>
                    <a:gd name="connsiteX159" fmla="*/ 687231 w 2124624"/>
                    <a:gd name="connsiteY159" fmla="*/ 114726 h 1479500"/>
                    <a:gd name="connsiteX160" fmla="*/ 689492 w 2124624"/>
                    <a:gd name="connsiteY160" fmla="*/ 131954 h 1479500"/>
                    <a:gd name="connsiteX161" fmla="*/ 768600 w 2124624"/>
                    <a:gd name="connsiteY161" fmla="*/ 161341 h 1479500"/>
                    <a:gd name="connsiteX162" fmla="*/ 770860 w 2124624"/>
                    <a:gd name="connsiteY162" fmla="*/ 156274 h 1479500"/>
                    <a:gd name="connsiteX163" fmla="*/ 768600 w 2124624"/>
                    <a:gd name="connsiteY163" fmla="*/ 149181 h 1479500"/>
                    <a:gd name="connsiteX164" fmla="*/ 743737 w 2124624"/>
                    <a:gd name="connsiteY164" fmla="*/ 139047 h 1479500"/>
                    <a:gd name="connsiteX165" fmla="*/ 730176 w 2124624"/>
                    <a:gd name="connsiteY165" fmla="*/ 139047 h 1479500"/>
                    <a:gd name="connsiteX166" fmla="*/ 722265 w 2124624"/>
                    <a:gd name="connsiteY166" fmla="*/ 128913 h 1479500"/>
                    <a:gd name="connsiteX167" fmla="*/ 708704 w 2124624"/>
                    <a:gd name="connsiteY167" fmla="*/ 126887 h 1479500"/>
                    <a:gd name="connsiteX168" fmla="*/ 687231 w 2124624"/>
                    <a:gd name="connsiteY168" fmla="*/ 114726 h 1479500"/>
                    <a:gd name="connsiteX169" fmla="*/ 1342701 w 2124624"/>
                    <a:gd name="connsiteY169" fmla="*/ 70139 h 1479500"/>
                    <a:gd name="connsiteX170" fmla="*/ 1331400 w 2124624"/>
                    <a:gd name="connsiteY170" fmla="*/ 77232 h 1479500"/>
                    <a:gd name="connsiteX171" fmla="*/ 1329140 w 2124624"/>
                    <a:gd name="connsiteY171" fmla="*/ 84326 h 1479500"/>
                    <a:gd name="connsiteX172" fmla="*/ 1313318 w 2124624"/>
                    <a:gd name="connsiteY172" fmla="*/ 79259 h 1479500"/>
                    <a:gd name="connsiteX173" fmla="*/ 1311058 w 2124624"/>
                    <a:gd name="connsiteY173" fmla="*/ 86352 h 1479500"/>
                    <a:gd name="connsiteX174" fmla="*/ 1311058 w 2124624"/>
                    <a:gd name="connsiteY174" fmla="*/ 74192 h 1479500"/>
                    <a:gd name="connsiteX175" fmla="*/ 1342701 w 2124624"/>
                    <a:gd name="connsiteY175" fmla="*/ 70139 h 1479500"/>
                    <a:gd name="connsiteX176" fmla="*/ 1500917 w 2124624"/>
                    <a:gd name="connsiteY176" fmla="*/ 57978 h 1479500"/>
                    <a:gd name="connsiteX177" fmla="*/ 1530301 w 2124624"/>
                    <a:gd name="connsiteY177" fmla="*/ 60005 h 1479500"/>
                    <a:gd name="connsiteX178" fmla="*/ 1570985 w 2124624"/>
                    <a:gd name="connsiteY178" fmla="*/ 57978 h 1479500"/>
                    <a:gd name="connsiteX179" fmla="*/ 1606019 w 2124624"/>
                    <a:gd name="connsiteY179" fmla="*/ 63045 h 1479500"/>
                    <a:gd name="connsiteX180" fmla="*/ 1532561 w 2124624"/>
                    <a:gd name="connsiteY180" fmla="*/ 70139 h 1479500"/>
                    <a:gd name="connsiteX181" fmla="*/ 1491877 w 2124624"/>
                    <a:gd name="connsiteY181" fmla="*/ 68112 h 1479500"/>
                    <a:gd name="connsiteX182" fmla="*/ 1486226 w 2124624"/>
                    <a:gd name="connsiteY182" fmla="*/ 73179 h 1479500"/>
                    <a:gd name="connsiteX183" fmla="*/ 1447802 w 2124624"/>
                    <a:gd name="connsiteY183" fmla="*/ 73179 h 1479500"/>
                    <a:gd name="connsiteX184" fmla="*/ 1450062 w 2124624"/>
                    <a:gd name="connsiteY184" fmla="*/ 68112 h 1479500"/>
                    <a:gd name="connsiteX185" fmla="*/ 1461363 w 2124624"/>
                    <a:gd name="connsiteY185" fmla="*/ 68112 h 1479500"/>
                    <a:gd name="connsiteX186" fmla="*/ 1500917 w 2124624"/>
                    <a:gd name="connsiteY186" fmla="*/ 57978 h 1479500"/>
                    <a:gd name="connsiteX187" fmla="*/ 1375474 w 2124624"/>
                    <a:gd name="connsiteY187" fmla="*/ 48858 h 1479500"/>
                    <a:gd name="connsiteX188" fmla="*/ 1381125 w 2124624"/>
                    <a:gd name="connsiteY188" fmla="*/ 48858 h 1479500"/>
                    <a:gd name="connsiteX189" fmla="*/ 1381125 w 2124624"/>
                    <a:gd name="connsiteY189" fmla="*/ 61019 h 1479500"/>
                    <a:gd name="connsiteX190" fmla="*/ 1392426 w 2124624"/>
                    <a:gd name="connsiteY190" fmla="*/ 71152 h 1479500"/>
                    <a:gd name="connsiteX191" fmla="*/ 1444412 w 2124624"/>
                    <a:gd name="connsiteY191" fmla="*/ 73179 h 1479500"/>
                    <a:gd name="connsiteX192" fmla="*/ 1422939 w 2124624"/>
                    <a:gd name="connsiteY192" fmla="*/ 71152 h 1479500"/>
                    <a:gd name="connsiteX193" fmla="*/ 1393556 w 2124624"/>
                    <a:gd name="connsiteY193" fmla="*/ 73179 h 1479500"/>
                    <a:gd name="connsiteX194" fmla="*/ 1393556 w 2124624"/>
                    <a:gd name="connsiteY194" fmla="*/ 80272 h 1479500"/>
                    <a:gd name="connsiteX195" fmla="*/ 1387906 w 2124624"/>
                    <a:gd name="connsiteY195" fmla="*/ 82299 h 1479500"/>
                    <a:gd name="connsiteX196" fmla="*/ 1382255 w 2124624"/>
                    <a:gd name="connsiteY196" fmla="*/ 75206 h 1479500"/>
                    <a:gd name="connsiteX197" fmla="*/ 1370954 w 2124624"/>
                    <a:gd name="connsiteY197" fmla="*/ 73179 h 1479500"/>
                    <a:gd name="connsiteX198" fmla="*/ 1370954 w 2124624"/>
                    <a:gd name="connsiteY198" fmla="*/ 70139 h 1479500"/>
                    <a:gd name="connsiteX199" fmla="*/ 1375474 w 2124624"/>
                    <a:gd name="connsiteY199" fmla="*/ 48858 h 1479500"/>
                    <a:gd name="connsiteX200" fmla="*/ 1803790 w 2124624"/>
                    <a:gd name="connsiteY200" fmla="*/ 128913 h 1479500"/>
                    <a:gd name="connsiteX201" fmla="*/ 1819611 w 2124624"/>
                    <a:gd name="connsiteY201" fmla="*/ 114726 h 1479500"/>
                    <a:gd name="connsiteX202" fmla="*/ 1830912 w 2124624"/>
                    <a:gd name="connsiteY202" fmla="*/ 114726 h 1479500"/>
                    <a:gd name="connsiteX203" fmla="*/ 1850124 w 2124624"/>
                    <a:gd name="connsiteY203" fmla="*/ 104593 h 1479500"/>
                    <a:gd name="connsiteX204" fmla="*/ 1847864 w 2124624"/>
                    <a:gd name="connsiteY204" fmla="*/ 97499 h 1479500"/>
                    <a:gd name="connsiteX205" fmla="*/ 1823002 w 2124624"/>
                    <a:gd name="connsiteY205" fmla="*/ 92433 h 1479500"/>
                    <a:gd name="connsiteX206" fmla="*/ 1815091 w 2124624"/>
                    <a:gd name="connsiteY206" fmla="*/ 85339 h 1479500"/>
                    <a:gd name="connsiteX207" fmla="*/ 1772147 w 2124624"/>
                    <a:gd name="connsiteY207" fmla="*/ 87366 h 1479500"/>
                    <a:gd name="connsiteX208" fmla="*/ 1772147 w 2124624"/>
                    <a:gd name="connsiteY208" fmla="*/ 80272 h 1479500"/>
                    <a:gd name="connsiteX209" fmla="*/ 1758585 w 2124624"/>
                    <a:gd name="connsiteY209" fmla="*/ 73179 h 1479500"/>
                    <a:gd name="connsiteX210" fmla="*/ 1750674 w 2124624"/>
                    <a:gd name="connsiteY210" fmla="*/ 73179 h 1479500"/>
                    <a:gd name="connsiteX211" fmla="*/ 1742763 w 2124624"/>
                    <a:gd name="connsiteY211" fmla="*/ 80272 h 1479500"/>
                    <a:gd name="connsiteX212" fmla="*/ 1742763 w 2124624"/>
                    <a:gd name="connsiteY212" fmla="*/ 70139 h 1479500"/>
                    <a:gd name="connsiteX213" fmla="*/ 1737112 w 2124624"/>
                    <a:gd name="connsiteY213" fmla="*/ 68112 h 1479500"/>
                    <a:gd name="connsiteX214" fmla="*/ 1682867 w 2124624"/>
                    <a:gd name="connsiteY214" fmla="*/ 85339 h 1479500"/>
                    <a:gd name="connsiteX215" fmla="*/ 1682867 w 2124624"/>
                    <a:gd name="connsiteY215" fmla="*/ 80272 h 1479500"/>
                    <a:gd name="connsiteX216" fmla="*/ 1709990 w 2124624"/>
                    <a:gd name="connsiteY216" fmla="*/ 75206 h 1479500"/>
                    <a:gd name="connsiteX217" fmla="*/ 1715641 w 2124624"/>
                    <a:gd name="connsiteY217" fmla="*/ 70139 h 1479500"/>
                    <a:gd name="connsiteX218" fmla="*/ 1715641 w 2124624"/>
                    <a:gd name="connsiteY218" fmla="*/ 57978 h 1479500"/>
                    <a:gd name="connsiteX219" fmla="*/ 1680606 w 2124624"/>
                    <a:gd name="connsiteY219" fmla="*/ 38725 h 1479500"/>
                    <a:gd name="connsiteX220" fmla="*/ 1667045 w 2124624"/>
                    <a:gd name="connsiteY220" fmla="*/ 50885 h 1479500"/>
                    <a:gd name="connsiteX221" fmla="*/ 1615060 w 2124624"/>
                    <a:gd name="connsiteY221" fmla="*/ 61019 h 1479500"/>
                    <a:gd name="connsiteX222" fmla="*/ 1634272 w 2124624"/>
                    <a:gd name="connsiteY222" fmla="*/ 43791 h 1479500"/>
                    <a:gd name="connsiteX223" fmla="*/ 1650093 w 2124624"/>
                    <a:gd name="connsiteY223" fmla="*/ 38725 h 1479500"/>
                    <a:gd name="connsiteX224" fmla="*/ 1655744 w 2124624"/>
                    <a:gd name="connsiteY224" fmla="*/ 28591 h 1479500"/>
                    <a:gd name="connsiteX225" fmla="*/ 1642182 w 2124624"/>
                    <a:gd name="connsiteY225" fmla="*/ 23524 h 1479500"/>
                    <a:gd name="connsiteX226" fmla="*/ 1582286 w 2124624"/>
                    <a:gd name="connsiteY226" fmla="*/ 23524 h 1479500"/>
                    <a:gd name="connsiteX227" fmla="*/ 1543862 w 2124624"/>
                    <a:gd name="connsiteY227" fmla="*/ 16431 h 1479500"/>
                    <a:gd name="connsiteX228" fmla="*/ 1541602 w 2124624"/>
                    <a:gd name="connsiteY228" fmla="*/ 21498 h 1479500"/>
                    <a:gd name="connsiteX229" fmla="*/ 1522390 w 2124624"/>
                    <a:gd name="connsiteY229" fmla="*/ 19471 h 1479500"/>
                    <a:gd name="connsiteX230" fmla="*/ 1493007 w 2124624"/>
                    <a:gd name="connsiteY230" fmla="*/ 26564 h 1479500"/>
                    <a:gd name="connsiteX231" fmla="*/ 1444412 w 2124624"/>
                    <a:gd name="connsiteY231" fmla="*/ 9337 h 1479500"/>
                    <a:gd name="connsiteX232" fmla="*/ 1430850 w 2124624"/>
                    <a:gd name="connsiteY232" fmla="*/ 16431 h 1479500"/>
                    <a:gd name="connsiteX233" fmla="*/ 1398077 w 2124624"/>
                    <a:gd name="connsiteY233" fmla="*/ 11364 h 1479500"/>
                    <a:gd name="connsiteX234" fmla="*/ 1341571 w 2124624"/>
                    <a:gd name="connsiteY234" fmla="*/ 16431 h 1479500"/>
                    <a:gd name="connsiteX235" fmla="*/ 1268113 w 2124624"/>
                    <a:gd name="connsiteY235" fmla="*/ 9337 h 1479500"/>
                    <a:gd name="connsiteX236" fmla="*/ 1265853 w 2124624"/>
                    <a:gd name="connsiteY236" fmla="*/ 21498 h 1479500"/>
                    <a:gd name="connsiteX237" fmla="*/ 1233079 w 2124624"/>
                    <a:gd name="connsiteY237" fmla="*/ 11364 h 1479500"/>
                    <a:gd name="connsiteX238" fmla="*/ 1230819 w 2124624"/>
                    <a:gd name="connsiteY238" fmla="*/ 21498 h 1479500"/>
                    <a:gd name="connsiteX239" fmla="*/ 1236470 w 2124624"/>
                    <a:gd name="connsiteY239" fmla="*/ 26564 h 1479500"/>
                    <a:gd name="connsiteX240" fmla="*/ 1198046 w 2124624"/>
                    <a:gd name="connsiteY240" fmla="*/ 26564 h 1479500"/>
                    <a:gd name="connsiteX241" fmla="*/ 1195785 w 2124624"/>
                    <a:gd name="connsiteY241" fmla="*/ 24538 h 1479500"/>
                    <a:gd name="connsiteX242" fmla="*/ 1193525 w 2124624"/>
                    <a:gd name="connsiteY242" fmla="*/ 31631 h 1479500"/>
                    <a:gd name="connsiteX243" fmla="*/ 1185614 w 2124624"/>
                    <a:gd name="connsiteY243" fmla="*/ 41765 h 1479500"/>
                    <a:gd name="connsiteX244" fmla="*/ 1199176 w 2124624"/>
                    <a:gd name="connsiteY244" fmla="*/ 41765 h 1479500"/>
                    <a:gd name="connsiteX245" fmla="*/ 1204826 w 2124624"/>
                    <a:gd name="connsiteY245" fmla="*/ 46832 h 1479500"/>
                    <a:gd name="connsiteX246" fmla="*/ 1185614 w 2124624"/>
                    <a:gd name="connsiteY246" fmla="*/ 76219 h 1479500"/>
                    <a:gd name="connsiteX247" fmla="*/ 1174313 w 2124624"/>
                    <a:gd name="connsiteY247" fmla="*/ 76219 h 1479500"/>
                    <a:gd name="connsiteX248" fmla="*/ 1155101 w 2124624"/>
                    <a:gd name="connsiteY248" fmla="*/ 56965 h 1479500"/>
                    <a:gd name="connsiteX249" fmla="*/ 1141540 w 2124624"/>
                    <a:gd name="connsiteY249" fmla="*/ 56965 h 1479500"/>
                    <a:gd name="connsiteX250" fmla="*/ 1149450 w 2124624"/>
                    <a:gd name="connsiteY250" fmla="*/ 62032 h 1479500"/>
                    <a:gd name="connsiteX251" fmla="*/ 1151711 w 2124624"/>
                    <a:gd name="connsiteY251" fmla="*/ 72165 h 1479500"/>
                    <a:gd name="connsiteX252" fmla="*/ 1130238 w 2124624"/>
                    <a:gd name="connsiteY252" fmla="*/ 79259 h 1479500"/>
                    <a:gd name="connsiteX253" fmla="*/ 1100855 w 2124624"/>
                    <a:gd name="connsiteY253" fmla="*/ 65072 h 1479500"/>
                    <a:gd name="connsiteX254" fmla="*/ 1100855 w 2124624"/>
                    <a:gd name="connsiteY254" fmla="*/ 50885 h 1479500"/>
                    <a:gd name="connsiteX255" fmla="*/ 1052260 w 2124624"/>
                    <a:gd name="connsiteY255" fmla="*/ 45818 h 1479500"/>
                    <a:gd name="connsiteX256" fmla="*/ 1050000 w 2124624"/>
                    <a:gd name="connsiteY256" fmla="*/ 57978 h 1479500"/>
                    <a:gd name="connsiteX257" fmla="*/ 1025137 w 2124624"/>
                    <a:gd name="connsiteY257" fmla="*/ 52912 h 1479500"/>
                    <a:gd name="connsiteX258" fmla="*/ 1019486 w 2124624"/>
                    <a:gd name="connsiteY258" fmla="*/ 52912 h 1479500"/>
                    <a:gd name="connsiteX259" fmla="*/ 1021747 w 2124624"/>
                    <a:gd name="connsiteY259" fmla="*/ 57978 h 1479500"/>
                    <a:gd name="connsiteX260" fmla="*/ 1021747 w 2124624"/>
                    <a:gd name="connsiteY260" fmla="*/ 63045 h 1479500"/>
                    <a:gd name="connsiteX261" fmla="*/ 1029658 w 2124624"/>
                    <a:gd name="connsiteY261" fmla="*/ 68112 h 1479500"/>
                    <a:gd name="connsiteX262" fmla="*/ 1031918 w 2124624"/>
                    <a:gd name="connsiteY262" fmla="*/ 73179 h 1479500"/>
                    <a:gd name="connsiteX263" fmla="*/ 1018357 w 2124624"/>
                    <a:gd name="connsiteY263" fmla="*/ 73179 h 1479500"/>
                    <a:gd name="connsiteX264" fmla="*/ 1018357 w 2124624"/>
                    <a:gd name="connsiteY264" fmla="*/ 85339 h 1479500"/>
                    <a:gd name="connsiteX265" fmla="*/ 1043219 w 2124624"/>
                    <a:gd name="connsiteY265" fmla="*/ 87366 h 1479500"/>
                    <a:gd name="connsiteX266" fmla="*/ 1048870 w 2124624"/>
                    <a:gd name="connsiteY266" fmla="*/ 92433 h 1479500"/>
                    <a:gd name="connsiteX267" fmla="*/ 1083903 w 2124624"/>
                    <a:gd name="connsiteY267" fmla="*/ 92433 h 1479500"/>
                    <a:gd name="connsiteX268" fmla="*/ 1089554 w 2124624"/>
                    <a:gd name="connsiteY268" fmla="*/ 109660 h 1479500"/>
                    <a:gd name="connsiteX269" fmla="*/ 1103116 w 2124624"/>
                    <a:gd name="connsiteY269" fmla="*/ 121820 h 1479500"/>
                    <a:gd name="connsiteX270" fmla="*/ 1087294 w 2124624"/>
                    <a:gd name="connsiteY270" fmla="*/ 111686 h 1479500"/>
                    <a:gd name="connsiteX271" fmla="*/ 1087294 w 2124624"/>
                    <a:gd name="connsiteY271" fmla="*/ 104593 h 1479500"/>
                    <a:gd name="connsiteX272" fmla="*/ 1040959 w 2124624"/>
                    <a:gd name="connsiteY272" fmla="*/ 90406 h 1479500"/>
                    <a:gd name="connsiteX273" fmla="*/ 998014 w 2124624"/>
                    <a:gd name="connsiteY273" fmla="*/ 104593 h 1479500"/>
                    <a:gd name="connsiteX274" fmla="*/ 1009315 w 2124624"/>
                    <a:gd name="connsiteY274" fmla="*/ 109660 h 1479500"/>
                    <a:gd name="connsiteX275" fmla="*/ 1011576 w 2124624"/>
                    <a:gd name="connsiteY275" fmla="*/ 119793 h 1479500"/>
                    <a:gd name="connsiteX276" fmla="*/ 986713 w 2124624"/>
                    <a:gd name="connsiteY276" fmla="*/ 97499 h 1479500"/>
                    <a:gd name="connsiteX277" fmla="*/ 938118 w 2124624"/>
                    <a:gd name="connsiteY277" fmla="*/ 102566 h 1479500"/>
                    <a:gd name="connsiteX278" fmla="*/ 908735 w 2124624"/>
                    <a:gd name="connsiteY278" fmla="*/ 100539 h 1479500"/>
                    <a:gd name="connsiteX279" fmla="*/ 908735 w 2124624"/>
                    <a:gd name="connsiteY279" fmla="*/ 110673 h 1479500"/>
                    <a:gd name="connsiteX280" fmla="*/ 920036 w 2124624"/>
                    <a:gd name="connsiteY280" fmla="*/ 117767 h 1479500"/>
                    <a:gd name="connsiteX281" fmla="*/ 922296 w 2124624"/>
                    <a:gd name="connsiteY281" fmla="*/ 127900 h 1479500"/>
                    <a:gd name="connsiteX282" fmla="*/ 933598 w 2124624"/>
                    <a:gd name="connsiteY282" fmla="*/ 129927 h 1479500"/>
                    <a:gd name="connsiteX283" fmla="*/ 941508 w 2124624"/>
                    <a:gd name="connsiteY283" fmla="*/ 140060 h 1479500"/>
                    <a:gd name="connsiteX284" fmla="*/ 966371 w 2124624"/>
                    <a:gd name="connsiteY284" fmla="*/ 154247 h 1479500"/>
                    <a:gd name="connsiteX285" fmla="*/ 977672 w 2124624"/>
                    <a:gd name="connsiteY285" fmla="*/ 166408 h 1479500"/>
                    <a:gd name="connsiteX286" fmla="*/ 1026267 w 2124624"/>
                    <a:gd name="connsiteY286" fmla="*/ 183635 h 1479500"/>
                    <a:gd name="connsiteX287" fmla="*/ 1034178 w 2124624"/>
                    <a:gd name="connsiteY287" fmla="*/ 195795 h 1479500"/>
                    <a:gd name="connsiteX288" fmla="*/ 1012706 w 2124624"/>
                    <a:gd name="connsiteY288" fmla="*/ 183635 h 1479500"/>
                    <a:gd name="connsiteX289" fmla="*/ 1001405 w 2124624"/>
                    <a:gd name="connsiteY289" fmla="*/ 185661 h 1479500"/>
                    <a:gd name="connsiteX290" fmla="*/ 995754 w 2124624"/>
                    <a:gd name="connsiteY290" fmla="*/ 180595 h 1479500"/>
                    <a:gd name="connsiteX291" fmla="*/ 962980 w 2124624"/>
                    <a:gd name="connsiteY291" fmla="*/ 197822 h 1479500"/>
                    <a:gd name="connsiteX292" fmla="*/ 949419 w 2124624"/>
                    <a:gd name="connsiteY292" fmla="*/ 195795 h 1479500"/>
                    <a:gd name="connsiteX293" fmla="*/ 941508 w 2124624"/>
                    <a:gd name="connsiteY293" fmla="*/ 185661 h 1479500"/>
                    <a:gd name="connsiteX294" fmla="*/ 927947 w 2124624"/>
                    <a:gd name="connsiteY294" fmla="*/ 187688 h 1479500"/>
                    <a:gd name="connsiteX295" fmla="*/ 895173 w 2124624"/>
                    <a:gd name="connsiteY295" fmla="*/ 158301 h 1479500"/>
                    <a:gd name="connsiteX296" fmla="*/ 892913 w 2124624"/>
                    <a:gd name="connsiteY296" fmla="*/ 139047 h 1479500"/>
                    <a:gd name="connsiteX297" fmla="*/ 890653 w 2124624"/>
                    <a:gd name="connsiteY297" fmla="*/ 139047 h 1479500"/>
                    <a:gd name="connsiteX298" fmla="*/ 855619 w 2124624"/>
                    <a:gd name="connsiteY298" fmla="*/ 109660 h 1479500"/>
                    <a:gd name="connsiteX299" fmla="*/ 817195 w 2124624"/>
                    <a:gd name="connsiteY299" fmla="*/ 99526 h 1479500"/>
                    <a:gd name="connsiteX300" fmla="*/ 803634 w 2124624"/>
                    <a:gd name="connsiteY300" fmla="*/ 99526 h 1479500"/>
                    <a:gd name="connsiteX301" fmla="*/ 805894 w 2124624"/>
                    <a:gd name="connsiteY301" fmla="*/ 128913 h 1479500"/>
                    <a:gd name="connsiteX302" fmla="*/ 813805 w 2124624"/>
                    <a:gd name="connsiteY302" fmla="*/ 139047 h 1479500"/>
                    <a:gd name="connsiteX303" fmla="*/ 808154 w 2124624"/>
                    <a:gd name="connsiteY303" fmla="*/ 144114 h 1479500"/>
                    <a:gd name="connsiteX304" fmla="*/ 800243 w 2124624"/>
                    <a:gd name="connsiteY304" fmla="*/ 142087 h 1479500"/>
                    <a:gd name="connsiteX305" fmla="*/ 800243 w 2124624"/>
                    <a:gd name="connsiteY305" fmla="*/ 152221 h 1479500"/>
                    <a:gd name="connsiteX306" fmla="*/ 802504 w 2124624"/>
                    <a:gd name="connsiteY306" fmla="*/ 164381 h 1479500"/>
                    <a:gd name="connsiteX307" fmla="*/ 804764 w 2124624"/>
                    <a:gd name="connsiteY307" fmla="*/ 178568 h 1479500"/>
                    <a:gd name="connsiteX308" fmla="*/ 799113 w 2124624"/>
                    <a:gd name="connsiteY308" fmla="*/ 185661 h 1479500"/>
                    <a:gd name="connsiteX309" fmla="*/ 791202 w 2124624"/>
                    <a:gd name="connsiteY309" fmla="*/ 185661 h 1479500"/>
                    <a:gd name="connsiteX310" fmla="*/ 752778 w 2124624"/>
                    <a:gd name="connsiteY310" fmla="*/ 166408 h 1479500"/>
                    <a:gd name="connsiteX311" fmla="*/ 744868 w 2124624"/>
                    <a:gd name="connsiteY311" fmla="*/ 168434 h 1479500"/>
                    <a:gd name="connsiteX312" fmla="*/ 744868 w 2124624"/>
                    <a:gd name="connsiteY312" fmla="*/ 161341 h 1479500"/>
                    <a:gd name="connsiteX313" fmla="*/ 739217 w 2124624"/>
                    <a:gd name="connsiteY313" fmla="*/ 166408 h 1479500"/>
                    <a:gd name="connsiteX314" fmla="*/ 706444 w 2124624"/>
                    <a:gd name="connsiteY314" fmla="*/ 154247 h 1479500"/>
                    <a:gd name="connsiteX315" fmla="*/ 700793 w 2124624"/>
                    <a:gd name="connsiteY315" fmla="*/ 164381 h 1479500"/>
                    <a:gd name="connsiteX316" fmla="*/ 679321 w 2124624"/>
                    <a:gd name="connsiteY316" fmla="*/ 178568 h 1479500"/>
                    <a:gd name="connsiteX317" fmla="*/ 681581 w 2124624"/>
                    <a:gd name="connsiteY317" fmla="*/ 185661 h 1479500"/>
                    <a:gd name="connsiteX318" fmla="*/ 675930 w 2124624"/>
                    <a:gd name="connsiteY318" fmla="*/ 185661 h 1479500"/>
                    <a:gd name="connsiteX319" fmla="*/ 643157 w 2124624"/>
                    <a:gd name="connsiteY319" fmla="*/ 117767 h 1479500"/>
                    <a:gd name="connsiteX320" fmla="*/ 621685 w 2124624"/>
                    <a:gd name="connsiteY320" fmla="*/ 124860 h 1479500"/>
                    <a:gd name="connsiteX321" fmla="*/ 621685 w 2124624"/>
                    <a:gd name="connsiteY321" fmla="*/ 139047 h 1479500"/>
                    <a:gd name="connsiteX322" fmla="*/ 602472 w 2124624"/>
                    <a:gd name="connsiteY322" fmla="*/ 126887 h 1479500"/>
                    <a:gd name="connsiteX323" fmla="*/ 594562 w 2124624"/>
                    <a:gd name="connsiteY323" fmla="*/ 128913 h 1479500"/>
                    <a:gd name="connsiteX324" fmla="*/ 592301 w 2124624"/>
                    <a:gd name="connsiteY324" fmla="*/ 139047 h 1479500"/>
                    <a:gd name="connsiteX325" fmla="*/ 584390 w 2124624"/>
                    <a:gd name="connsiteY325" fmla="*/ 141074 h 1479500"/>
                    <a:gd name="connsiteX326" fmla="*/ 573089 w 2124624"/>
                    <a:gd name="connsiteY326" fmla="*/ 128913 h 1479500"/>
                    <a:gd name="connsiteX327" fmla="*/ 532405 w 2124624"/>
                    <a:gd name="connsiteY327" fmla="*/ 136007 h 1479500"/>
                    <a:gd name="connsiteX328" fmla="*/ 475899 w 2124624"/>
                    <a:gd name="connsiteY328" fmla="*/ 141074 h 1479500"/>
                    <a:gd name="connsiteX329" fmla="*/ 456687 w 2124624"/>
                    <a:gd name="connsiteY329" fmla="*/ 153234 h 1479500"/>
                    <a:gd name="connsiteX330" fmla="*/ 443125 w 2124624"/>
                    <a:gd name="connsiteY330" fmla="*/ 153234 h 1479500"/>
                    <a:gd name="connsiteX331" fmla="*/ 451036 w 2124624"/>
                    <a:gd name="connsiteY331" fmla="*/ 163368 h 1479500"/>
                    <a:gd name="connsiteX332" fmla="*/ 453297 w 2124624"/>
                    <a:gd name="connsiteY332" fmla="*/ 185661 h 1479500"/>
                    <a:gd name="connsiteX333" fmla="*/ 461207 w 2124624"/>
                    <a:gd name="connsiteY333" fmla="*/ 192755 h 1479500"/>
                    <a:gd name="connsiteX334" fmla="*/ 445386 w 2124624"/>
                    <a:gd name="connsiteY334" fmla="*/ 182621 h 1479500"/>
                    <a:gd name="connsiteX335" fmla="*/ 434085 w 2124624"/>
                    <a:gd name="connsiteY335" fmla="*/ 158301 h 1479500"/>
                    <a:gd name="connsiteX336" fmla="*/ 414872 w 2124624"/>
                    <a:gd name="connsiteY336" fmla="*/ 153234 h 1479500"/>
                    <a:gd name="connsiteX337" fmla="*/ 399051 w 2124624"/>
                    <a:gd name="connsiteY337" fmla="*/ 158301 h 1479500"/>
                    <a:gd name="connsiteX338" fmla="*/ 387750 w 2124624"/>
                    <a:gd name="connsiteY338" fmla="*/ 184648 h 1479500"/>
                    <a:gd name="connsiteX339" fmla="*/ 385490 w 2124624"/>
                    <a:gd name="connsiteY339" fmla="*/ 184648 h 1479500"/>
                    <a:gd name="connsiteX340" fmla="*/ 387750 w 2124624"/>
                    <a:gd name="connsiteY340" fmla="*/ 194782 h 1479500"/>
                    <a:gd name="connsiteX341" fmla="*/ 399051 w 2124624"/>
                    <a:gd name="connsiteY341" fmla="*/ 206942 h 1479500"/>
                    <a:gd name="connsiteX342" fmla="*/ 393400 w 2124624"/>
                    <a:gd name="connsiteY342" fmla="*/ 208969 h 1479500"/>
                    <a:gd name="connsiteX343" fmla="*/ 391140 w 2124624"/>
                    <a:gd name="connsiteY343" fmla="*/ 210995 h 1479500"/>
                    <a:gd name="connsiteX344" fmla="*/ 383229 w 2124624"/>
                    <a:gd name="connsiteY344" fmla="*/ 200862 h 1479500"/>
                    <a:gd name="connsiteX345" fmla="*/ 344805 w 2124624"/>
                    <a:gd name="connsiteY345" fmla="*/ 193768 h 1479500"/>
                    <a:gd name="connsiteX346" fmla="*/ 257786 w 2124624"/>
                    <a:gd name="connsiteY346" fmla="*/ 223156 h 1479500"/>
                    <a:gd name="connsiteX347" fmla="*/ 197890 w 2124624"/>
                    <a:gd name="connsiteY347" fmla="*/ 237343 h 1479500"/>
                    <a:gd name="connsiteX348" fmla="*/ 192239 w 2124624"/>
                    <a:gd name="connsiteY348" fmla="*/ 251530 h 1479500"/>
                    <a:gd name="connsiteX349" fmla="*/ 194499 w 2124624"/>
                    <a:gd name="connsiteY349" fmla="*/ 273823 h 1479500"/>
                    <a:gd name="connsiteX350" fmla="*/ 237444 w 2124624"/>
                    <a:gd name="connsiteY350" fmla="*/ 263690 h 1479500"/>
                    <a:gd name="connsiteX351" fmla="*/ 248745 w 2124624"/>
                    <a:gd name="connsiteY351" fmla="*/ 275850 h 1479500"/>
                    <a:gd name="connsiteX352" fmla="*/ 267957 w 2124624"/>
                    <a:gd name="connsiteY352" fmla="*/ 265717 h 1479500"/>
                    <a:gd name="connsiteX353" fmla="*/ 281518 w 2124624"/>
                    <a:gd name="connsiteY353" fmla="*/ 267743 h 1479500"/>
                    <a:gd name="connsiteX354" fmla="*/ 310902 w 2124624"/>
                    <a:gd name="connsiteY354" fmla="*/ 262677 h 1479500"/>
                    <a:gd name="connsiteX355" fmla="*/ 310902 w 2124624"/>
                    <a:gd name="connsiteY355" fmla="*/ 281930 h 1479500"/>
                    <a:gd name="connsiteX356" fmla="*/ 299600 w 2124624"/>
                    <a:gd name="connsiteY356" fmla="*/ 292064 h 1479500"/>
                    <a:gd name="connsiteX357" fmla="*/ 301860 w 2124624"/>
                    <a:gd name="connsiteY357" fmla="*/ 311318 h 1479500"/>
                    <a:gd name="connsiteX358" fmla="*/ 269087 w 2124624"/>
                    <a:gd name="connsiteY358" fmla="*/ 335638 h 1479500"/>
                    <a:gd name="connsiteX359" fmla="*/ 257786 w 2124624"/>
                    <a:gd name="connsiteY359" fmla="*/ 335638 h 1479500"/>
                    <a:gd name="connsiteX360" fmla="*/ 249875 w 2124624"/>
                    <a:gd name="connsiteY360" fmla="*/ 345772 h 1479500"/>
                    <a:gd name="connsiteX361" fmla="*/ 238574 w 2124624"/>
                    <a:gd name="connsiteY361" fmla="*/ 338678 h 1479500"/>
                    <a:gd name="connsiteX362" fmla="*/ 189979 w 2124624"/>
                    <a:gd name="connsiteY362" fmla="*/ 338678 h 1479500"/>
                    <a:gd name="connsiteX363" fmla="*/ 149294 w 2124624"/>
                    <a:gd name="connsiteY363" fmla="*/ 352865 h 1479500"/>
                    <a:gd name="connsiteX364" fmla="*/ 127822 w 2124624"/>
                    <a:gd name="connsiteY364" fmla="*/ 350839 h 1479500"/>
                    <a:gd name="connsiteX365" fmla="*/ 89398 w 2124624"/>
                    <a:gd name="connsiteY365" fmla="*/ 357932 h 1479500"/>
                    <a:gd name="connsiteX366" fmla="*/ 67926 w 2124624"/>
                    <a:gd name="connsiteY366" fmla="*/ 357932 h 1479500"/>
                    <a:gd name="connsiteX367" fmla="*/ 62275 w 2124624"/>
                    <a:gd name="connsiteY367" fmla="*/ 362999 h 1479500"/>
                    <a:gd name="connsiteX368" fmla="*/ 29502 w 2124624"/>
                    <a:gd name="connsiteY368" fmla="*/ 362999 h 1479500"/>
                    <a:gd name="connsiteX369" fmla="*/ 10290 w 2124624"/>
                    <a:gd name="connsiteY369" fmla="*/ 380226 h 1479500"/>
                    <a:gd name="connsiteX370" fmla="*/ 10290 w 2124624"/>
                    <a:gd name="connsiteY370" fmla="*/ 387319 h 1479500"/>
                    <a:gd name="connsiteX371" fmla="*/ 18201 w 2124624"/>
                    <a:gd name="connsiteY371" fmla="*/ 389346 h 1479500"/>
                    <a:gd name="connsiteX372" fmla="*/ 23851 w 2124624"/>
                    <a:gd name="connsiteY372" fmla="*/ 403533 h 1479500"/>
                    <a:gd name="connsiteX373" fmla="*/ 35153 w 2124624"/>
                    <a:gd name="connsiteY373" fmla="*/ 405560 h 1479500"/>
                    <a:gd name="connsiteX374" fmla="*/ 37413 w 2124624"/>
                    <a:gd name="connsiteY374" fmla="*/ 415693 h 1479500"/>
                    <a:gd name="connsiteX375" fmla="*/ 53234 w 2124624"/>
                    <a:gd name="connsiteY375" fmla="*/ 415693 h 1479500"/>
                    <a:gd name="connsiteX376" fmla="*/ 53234 w 2124624"/>
                    <a:gd name="connsiteY376" fmla="*/ 417720 h 1479500"/>
                    <a:gd name="connsiteX377" fmla="*/ 64535 w 2124624"/>
                    <a:gd name="connsiteY377" fmla="*/ 422787 h 1479500"/>
                    <a:gd name="connsiteX378" fmla="*/ 66796 w 2124624"/>
                    <a:gd name="connsiteY378" fmla="*/ 429880 h 1479500"/>
                    <a:gd name="connsiteX379" fmla="*/ 86008 w 2124624"/>
                    <a:gd name="connsiteY379" fmla="*/ 429880 h 1479500"/>
                    <a:gd name="connsiteX380" fmla="*/ 124432 w 2124624"/>
                    <a:gd name="connsiteY380" fmla="*/ 410627 h 1479500"/>
                    <a:gd name="connsiteX381" fmla="*/ 135733 w 2124624"/>
                    <a:gd name="connsiteY381" fmla="*/ 412653 h 1479500"/>
                    <a:gd name="connsiteX382" fmla="*/ 147034 w 2124624"/>
                    <a:gd name="connsiteY382" fmla="*/ 431907 h 1479500"/>
                    <a:gd name="connsiteX383" fmla="*/ 241964 w 2124624"/>
                    <a:gd name="connsiteY383" fmla="*/ 424814 h 1479500"/>
                    <a:gd name="connsiteX384" fmla="*/ 247615 w 2124624"/>
                    <a:gd name="connsiteY384" fmla="*/ 436974 h 1479500"/>
                    <a:gd name="connsiteX385" fmla="*/ 236314 w 2124624"/>
                    <a:gd name="connsiteY385" fmla="*/ 442041 h 1479500"/>
                    <a:gd name="connsiteX386" fmla="*/ 236314 w 2124624"/>
                    <a:gd name="connsiteY386" fmla="*/ 447107 h 1479500"/>
                    <a:gd name="connsiteX387" fmla="*/ 230663 w 2124624"/>
                    <a:gd name="connsiteY387" fmla="*/ 447107 h 1479500"/>
                    <a:gd name="connsiteX388" fmla="*/ 222752 w 2124624"/>
                    <a:gd name="connsiteY388" fmla="*/ 436974 h 1479500"/>
                    <a:gd name="connsiteX389" fmla="*/ 179808 w 2124624"/>
                    <a:gd name="connsiteY389" fmla="*/ 439001 h 1479500"/>
                    <a:gd name="connsiteX390" fmla="*/ 174157 w 2124624"/>
                    <a:gd name="connsiteY390" fmla="*/ 444067 h 1479500"/>
                    <a:gd name="connsiteX391" fmla="*/ 147034 w 2124624"/>
                    <a:gd name="connsiteY391" fmla="*/ 442041 h 1479500"/>
                    <a:gd name="connsiteX392" fmla="*/ 98439 w 2124624"/>
                    <a:gd name="connsiteY392" fmla="*/ 456228 h 1479500"/>
                    <a:gd name="connsiteX393" fmla="*/ 98439 w 2124624"/>
                    <a:gd name="connsiteY393" fmla="*/ 463321 h 1479500"/>
                    <a:gd name="connsiteX394" fmla="*/ 109740 w 2124624"/>
                    <a:gd name="connsiteY394" fmla="*/ 468388 h 1479500"/>
                    <a:gd name="connsiteX395" fmla="*/ 76967 w 2124624"/>
                    <a:gd name="connsiteY395" fmla="*/ 468388 h 1479500"/>
                    <a:gd name="connsiteX396" fmla="*/ 38543 w 2124624"/>
                    <a:gd name="connsiteY396" fmla="*/ 463321 h 1479500"/>
                    <a:gd name="connsiteX397" fmla="*/ 49844 w 2124624"/>
                    <a:gd name="connsiteY397" fmla="*/ 485615 h 1479500"/>
                    <a:gd name="connsiteX398" fmla="*/ 65666 w 2124624"/>
                    <a:gd name="connsiteY398" fmla="*/ 483588 h 1479500"/>
                    <a:gd name="connsiteX399" fmla="*/ 71316 w 2124624"/>
                    <a:gd name="connsiteY399" fmla="*/ 490682 h 1479500"/>
                    <a:gd name="connsiteX400" fmla="*/ 100699 w 2124624"/>
                    <a:gd name="connsiteY400" fmla="*/ 495749 h 1479500"/>
                    <a:gd name="connsiteX401" fmla="*/ 87138 w 2124624"/>
                    <a:gd name="connsiteY401" fmla="*/ 502842 h 1479500"/>
                    <a:gd name="connsiteX402" fmla="*/ 114261 w 2124624"/>
                    <a:gd name="connsiteY402" fmla="*/ 532229 h 1479500"/>
                    <a:gd name="connsiteX403" fmla="*/ 139123 w 2124624"/>
                    <a:gd name="connsiteY403" fmla="*/ 530203 h 1479500"/>
                    <a:gd name="connsiteX404" fmla="*/ 174157 w 2124624"/>
                    <a:gd name="connsiteY404" fmla="*/ 537296 h 1479500"/>
                    <a:gd name="connsiteX405" fmla="*/ 179808 w 2124624"/>
                    <a:gd name="connsiteY405" fmla="*/ 502842 h 1479500"/>
                    <a:gd name="connsiteX406" fmla="*/ 204670 w 2124624"/>
                    <a:gd name="connsiteY406" fmla="*/ 520069 h 1479500"/>
                    <a:gd name="connsiteX407" fmla="*/ 206931 w 2124624"/>
                    <a:gd name="connsiteY407" fmla="*/ 509936 h 1479500"/>
                    <a:gd name="connsiteX408" fmla="*/ 241964 w 2124624"/>
                    <a:gd name="connsiteY408" fmla="*/ 504869 h 1479500"/>
                    <a:gd name="connsiteX409" fmla="*/ 241964 w 2124624"/>
                    <a:gd name="connsiteY409" fmla="*/ 515002 h 1479500"/>
                    <a:gd name="connsiteX410" fmla="*/ 261176 w 2124624"/>
                    <a:gd name="connsiteY410" fmla="*/ 525136 h 1479500"/>
                    <a:gd name="connsiteX411" fmla="*/ 269087 w 2124624"/>
                    <a:gd name="connsiteY411" fmla="*/ 510949 h 1479500"/>
                    <a:gd name="connsiteX412" fmla="*/ 276998 w 2124624"/>
                    <a:gd name="connsiteY412" fmla="*/ 516016 h 1479500"/>
                    <a:gd name="connsiteX413" fmla="*/ 282649 w 2124624"/>
                    <a:gd name="connsiteY413" fmla="*/ 516016 h 1479500"/>
                    <a:gd name="connsiteX414" fmla="*/ 284909 w 2124624"/>
                    <a:gd name="connsiteY414" fmla="*/ 510949 h 1479500"/>
                    <a:gd name="connsiteX415" fmla="*/ 317682 w 2124624"/>
                    <a:gd name="connsiteY415" fmla="*/ 510949 h 1479500"/>
                    <a:gd name="connsiteX416" fmla="*/ 317682 w 2124624"/>
                    <a:gd name="connsiteY416" fmla="*/ 503855 h 1479500"/>
                    <a:gd name="connsiteX417" fmla="*/ 336894 w 2124624"/>
                    <a:gd name="connsiteY417" fmla="*/ 496762 h 1479500"/>
                    <a:gd name="connsiteX418" fmla="*/ 342545 w 2124624"/>
                    <a:gd name="connsiteY418" fmla="*/ 503855 h 1479500"/>
                    <a:gd name="connsiteX419" fmla="*/ 342545 w 2124624"/>
                    <a:gd name="connsiteY419" fmla="*/ 518042 h 1479500"/>
                    <a:gd name="connsiteX420" fmla="*/ 364017 w 2124624"/>
                    <a:gd name="connsiteY420" fmla="*/ 500815 h 1479500"/>
                    <a:gd name="connsiteX421" fmla="*/ 377579 w 2124624"/>
                    <a:gd name="connsiteY421" fmla="*/ 500815 h 1479500"/>
                    <a:gd name="connsiteX422" fmla="*/ 383229 w 2124624"/>
                    <a:gd name="connsiteY422" fmla="*/ 510949 h 1479500"/>
                    <a:gd name="connsiteX423" fmla="*/ 437475 w 2124624"/>
                    <a:gd name="connsiteY423" fmla="*/ 518042 h 1479500"/>
                    <a:gd name="connsiteX424" fmla="*/ 439735 w 2124624"/>
                    <a:gd name="connsiteY424" fmla="*/ 525136 h 1479500"/>
                    <a:gd name="connsiteX425" fmla="*/ 461207 w 2124624"/>
                    <a:gd name="connsiteY425" fmla="*/ 537296 h 1479500"/>
                    <a:gd name="connsiteX426" fmla="*/ 463468 w 2124624"/>
                    <a:gd name="connsiteY426" fmla="*/ 544390 h 1479500"/>
                    <a:gd name="connsiteX427" fmla="*/ 498502 w 2124624"/>
                    <a:gd name="connsiteY427" fmla="*/ 544390 h 1479500"/>
                    <a:gd name="connsiteX428" fmla="*/ 514323 w 2124624"/>
                    <a:gd name="connsiteY428" fmla="*/ 558577 h 1479500"/>
                    <a:gd name="connsiteX429" fmla="*/ 516583 w 2124624"/>
                    <a:gd name="connsiteY429" fmla="*/ 572764 h 1479500"/>
                    <a:gd name="connsiteX430" fmla="*/ 524494 w 2124624"/>
                    <a:gd name="connsiteY430" fmla="*/ 572764 h 1479500"/>
                    <a:gd name="connsiteX431" fmla="*/ 549357 w 2124624"/>
                    <a:gd name="connsiteY431" fmla="*/ 586951 h 1479500"/>
                    <a:gd name="connsiteX432" fmla="*/ 560658 w 2124624"/>
                    <a:gd name="connsiteY432" fmla="*/ 604178 h 1479500"/>
                    <a:gd name="connsiteX433" fmla="*/ 579870 w 2124624"/>
                    <a:gd name="connsiteY433" fmla="*/ 604178 h 1479500"/>
                    <a:gd name="connsiteX434" fmla="*/ 582130 w 2124624"/>
                    <a:gd name="connsiteY434" fmla="*/ 609245 h 1479500"/>
                    <a:gd name="connsiteX435" fmla="*/ 584390 w 2124624"/>
                    <a:gd name="connsiteY435" fmla="*/ 611271 h 1479500"/>
                    <a:gd name="connsiteX436" fmla="*/ 586651 w 2124624"/>
                    <a:gd name="connsiteY436" fmla="*/ 613298 h 1479500"/>
                    <a:gd name="connsiteX437" fmla="*/ 578740 w 2124624"/>
                    <a:gd name="connsiteY437" fmla="*/ 618365 h 1479500"/>
                    <a:gd name="connsiteX438" fmla="*/ 581000 w 2124624"/>
                    <a:gd name="connsiteY438" fmla="*/ 628498 h 1479500"/>
                    <a:gd name="connsiteX439" fmla="*/ 575350 w 2124624"/>
                    <a:gd name="connsiteY439" fmla="*/ 635592 h 1479500"/>
                    <a:gd name="connsiteX440" fmla="*/ 561788 w 2124624"/>
                    <a:gd name="connsiteY440" fmla="*/ 637619 h 1479500"/>
                    <a:gd name="connsiteX441" fmla="*/ 559528 w 2124624"/>
                    <a:gd name="connsiteY441" fmla="*/ 644712 h 1479500"/>
                    <a:gd name="connsiteX442" fmla="*/ 586651 w 2124624"/>
                    <a:gd name="connsiteY442" fmla="*/ 637619 h 1479500"/>
                    <a:gd name="connsiteX443" fmla="*/ 586651 w 2124624"/>
                    <a:gd name="connsiteY443" fmla="*/ 644712 h 1479500"/>
                    <a:gd name="connsiteX444" fmla="*/ 613774 w 2124624"/>
                    <a:gd name="connsiteY444" fmla="*/ 671059 h 1479500"/>
                    <a:gd name="connsiteX445" fmla="*/ 608123 w 2124624"/>
                    <a:gd name="connsiteY445" fmla="*/ 673086 h 1479500"/>
                    <a:gd name="connsiteX446" fmla="*/ 608123 w 2124624"/>
                    <a:gd name="connsiteY446" fmla="*/ 678153 h 1479500"/>
                    <a:gd name="connsiteX447" fmla="*/ 623945 w 2124624"/>
                    <a:gd name="connsiteY447" fmla="*/ 695380 h 1479500"/>
                    <a:gd name="connsiteX448" fmla="*/ 621685 w 2124624"/>
                    <a:gd name="connsiteY448" fmla="*/ 705513 h 1479500"/>
                    <a:gd name="connsiteX449" fmla="*/ 637506 w 2124624"/>
                    <a:gd name="connsiteY449" fmla="*/ 705513 h 1479500"/>
                    <a:gd name="connsiteX450" fmla="*/ 631856 w 2124624"/>
                    <a:gd name="connsiteY450" fmla="*/ 712607 h 1479500"/>
                    <a:gd name="connsiteX451" fmla="*/ 634116 w 2124624"/>
                    <a:gd name="connsiteY451" fmla="*/ 722741 h 1479500"/>
                    <a:gd name="connsiteX452" fmla="*/ 631856 w 2124624"/>
                    <a:gd name="connsiteY452" fmla="*/ 732874 h 1479500"/>
                    <a:gd name="connsiteX453" fmla="*/ 631856 w 2124624"/>
                    <a:gd name="connsiteY453" fmla="*/ 737941 h 1479500"/>
                    <a:gd name="connsiteX454" fmla="*/ 602472 w 2124624"/>
                    <a:gd name="connsiteY454" fmla="*/ 739968 h 1479500"/>
                    <a:gd name="connsiteX455" fmla="*/ 602472 w 2124624"/>
                    <a:gd name="connsiteY455" fmla="*/ 749088 h 1479500"/>
                    <a:gd name="connsiteX456" fmla="*/ 613774 w 2124624"/>
                    <a:gd name="connsiteY456" fmla="*/ 749088 h 1479500"/>
                    <a:gd name="connsiteX457" fmla="*/ 605863 w 2124624"/>
                    <a:gd name="connsiteY457" fmla="*/ 768342 h 1479500"/>
                    <a:gd name="connsiteX458" fmla="*/ 597952 w 2124624"/>
                    <a:gd name="connsiteY458" fmla="*/ 770368 h 1479500"/>
                    <a:gd name="connsiteX459" fmla="*/ 597952 w 2124624"/>
                    <a:gd name="connsiteY459" fmla="*/ 780502 h 1479500"/>
                    <a:gd name="connsiteX460" fmla="*/ 611514 w 2124624"/>
                    <a:gd name="connsiteY460" fmla="*/ 778475 h 1479500"/>
                    <a:gd name="connsiteX461" fmla="*/ 605863 w 2124624"/>
                    <a:gd name="connsiteY461" fmla="*/ 790635 h 1479500"/>
                    <a:gd name="connsiteX462" fmla="*/ 594562 w 2124624"/>
                    <a:gd name="connsiteY462" fmla="*/ 795702 h 1479500"/>
                    <a:gd name="connsiteX463" fmla="*/ 594562 w 2124624"/>
                    <a:gd name="connsiteY463" fmla="*/ 799756 h 1479500"/>
                    <a:gd name="connsiteX464" fmla="*/ 643157 w 2124624"/>
                    <a:gd name="connsiteY464" fmla="*/ 806849 h 1479500"/>
                    <a:gd name="connsiteX465" fmla="*/ 651068 w 2124624"/>
                    <a:gd name="connsiteY465" fmla="*/ 782529 h 1479500"/>
                    <a:gd name="connsiteX466" fmla="*/ 653328 w 2124624"/>
                    <a:gd name="connsiteY466" fmla="*/ 782529 h 1479500"/>
                    <a:gd name="connsiteX467" fmla="*/ 658978 w 2124624"/>
                    <a:gd name="connsiteY467" fmla="*/ 796716 h 1479500"/>
                    <a:gd name="connsiteX468" fmla="*/ 718875 w 2124624"/>
                    <a:gd name="connsiteY468" fmla="*/ 801782 h 1479500"/>
                    <a:gd name="connsiteX469" fmla="*/ 713224 w 2124624"/>
                    <a:gd name="connsiteY469" fmla="*/ 806849 h 1479500"/>
                    <a:gd name="connsiteX470" fmla="*/ 715484 w 2124624"/>
                    <a:gd name="connsiteY470" fmla="*/ 813943 h 1479500"/>
                    <a:gd name="connsiteX471" fmla="*/ 742607 w 2124624"/>
                    <a:gd name="connsiteY471" fmla="*/ 811916 h 1479500"/>
                    <a:gd name="connsiteX472" fmla="*/ 753908 w 2124624"/>
                    <a:gd name="connsiteY472" fmla="*/ 804822 h 1479500"/>
                    <a:gd name="connsiteX473" fmla="*/ 761819 w 2124624"/>
                    <a:gd name="connsiteY473" fmla="*/ 806849 h 1479500"/>
                    <a:gd name="connsiteX474" fmla="*/ 742607 w 2124624"/>
                    <a:gd name="connsiteY474" fmla="*/ 816983 h 1479500"/>
                    <a:gd name="connsiteX475" fmla="*/ 775381 w 2124624"/>
                    <a:gd name="connsiteY475" fmla="*/ 822049 h 1479500"/>
                    <a:gd name="connsiteX476" fmla="*/ 777641 w 2124624"/>
                    <a:gd name="connsiteY476" fmla="*/ 832183 h 1479500"/>
                    <a:gd name="connsiteX477" fmla="*/ 752778 w 2124624"/>
                    <a:gd name="connsiteY477" fmla="*/ 832183 h 1479500"/>
                    <a:gd name="connsiteX478" fmla="*/ 766340 w 2124624"/>
                    <a:gd name="connsiteY478" fmla="*/ 839277 h 1479500"/>
                    <a:gd name="connsiteX479" fmla="*/ 755039 w 2124624"/>
                    <a:gd name="connsiteY479" fmla="*/ 844343 h 1479500"/>
                    <a:gd name="connsiteX480" fmla="*/ 755039 w 2124624"/>
                    <a:gd name="connsiteY480" fmla="*/ 849410 h 1479500"/>
                    <a:gd name="connsiteX481" fmla="*/ 762950 w 2124624"/>
                    <a:gd name="connsiteY481" fmla="*/ 854477 h 1479500"/>
                    <a:gd name="connsiteX482" fmla="*/ 770860 w 2124624"/>
                    <a:gd name="connsiteY482" fmla="*/ 856504 h 1479500"/>
                    <a:gd name="connsiteX483" fmla="*/ 770860 w 2124624"/>
                    <a:gd name="connsiteY483" fmla="*/ 860557 h 1479500"/>
                    <a:gd name="connsiteX484" fmla="*/ 773121 w 2124624"/>
                    <a:gd name="connsiteY484" fmla="*/ 874744 h 1479500"/>
                    <a:gd name="connsiteX485" fmla="*/ 773121 w 2124624"/>
                    <a:gd name="connsiteY485" fmla="*/ 881838 h 1479500"/>
                    <a:gd name="connsiteX486" fmla="*/ 718875 w 2124624"/>
                    <a:gd name="connsiteY486" fmla="*/ 864611 h 1479500"/>
                    <a:gd name="connsiteX487" fmla="*/ 707574 w 2124624"/>
                    <a:gd name="connsiteY487" fmla="*/ 854477 h 1479500"/>
                    <a:gd name="connsiteX488" fmla="*/ 628465 w 2124624"/>
                    <a:gd name="connsiteY488" fmla="*/ 849410 h 1479500"/>
                    <a:gd name="connsiteX489" fmla="*/ 622815 w 2124624"/>
                    <a:gd name="connsiteY489" fmla="*/ 856504 h 1479500"/>
                    <a:gd name="connsiteX490" fmla="*/ 630725 w 2124624"/>
                    <a:gd name="connsiteY490" fmla="*/ 868664 h 1479500"/>
                    <a:gd name="connsiteX491" fmla="*/ 644287 w 2124624"/>
                    <a:gd name="connsiteY491" fmla="*/ 868664 h 1479500"/>
                    <a:gd name="connsiteX492" fmla="*/ 644287 w 2124624"/>
                    <a:gd name="connsiteY492" fmla="*/ 870691 h 1479500"/>
                    <a:gd name="connsiteX493" fmla="*/ 660109 w 2124624"/>
                    <a:gd name="connsiteY493" fmla="*/ 875757 h 1479500"/>
                    <a:gd name="connsiteX494" fmla="*/ 660109 w 2124624"/>
                    <a:gd name="connsiteY494" fmla="*/ 880824 h 1479500"/>
                    <a:gd name="connsiteX495" fmla="*/ 652198 w 2124624"/>
                    <a:gd name="connsiteY495" fmla="*/ 885891 h 1479500"/>
                    <a:gd name="connsiteX496" fmla="*/ 638636 w 2124624"/>
                    <a:gd name="connsiteY496" fmla="*/ 880824 h 1479500"/>
                    <a:gd name="connsiteX497" fmla="*/ 622815 w 2124624"/>
                    <a:gd name="connsiteY497" fmla="*/ 882851 h 1479500"/>
                    <a:gd name="connsiteX498" fmla="*/ 614904 w 2124624"/>
                    <a:gd name="connsiteY498" fmla="*/ 889944 h 1479500"/>
                    <a:gd name="connsiteX499" fmla="*/ 620554 w 2124624"/>
                    <a:gd name="connsiteY499" fmla="*/ 907171 h 1479500"/>
                    <a:gd name="connsiteX500" fmla="*/ 609253 w 2124624"/>
                    <a:gd name="connsiteY500" fmla="*/ 914265 h 1479500"/>
                    <a:gd name="connsiteX501" fmla="*/ 609253 w 2124624"/>
                    <a:gd name="connsiteY501" fmla="*/ 926425 h 1479500"/>
                    <a:gd name="connsiteX502" fmla="*/ 601342 w 2124624"/>
                    <a:gd name="connsiteY502" fmla="*/ 933519 h 1479500"/>
                    <a:gd name="connsiteX503" fmla="*/ 606993 w 2124624"/>
                    <a:gd name="connsiteY503" fmla="*/ 940612 h 1479500"/>
                    <a:gd name="connsiteX504" fmla="*/ 631856 w 2124624"/>
                    <a:gd name="connsiteY504" fmla="*/ 938586 h 1479500"/>
                    <a:gd name="connsiteX505" fmla="*/ 647677 w 2124624"/>
                    <a:gd name="connsiteY505" fmla="*/ 943652 h 1479500"/>
                    <a:gd name="connsiteX506" fmla="*/ 653328 w 2124624"/>
                    <a:gd name="connsiteY506" fmla="*/ 938586 h 1479500"/>
                    <a:gd name="connsiteX507" fmla="*/ 653328 w 2124624"/>
                    <a:gd name="connsiteY507" fmla="*/ 950746 h 1479500"/>
                    <a:gd name="connsiteX508" fmla="*/ 620554 w 2124624"/>
                    <a:gd name="connsiteY508" fmla="*/ 950746 h 1479500"/>
                    <a:gd name="connsiteX509" fmla="*/ 620554 w 2124624"/>
                    <a:gd name="connsiteY509" fmla="*/ 955813 h 1479500"/>
                    <a:gd name="connsiteX510" fmla="*/ 639767 w 2124624"/>
                    <a:gd name="connsiteY510" fmla="*/ 965946 h 1479500"/>
                    <a:gd name="connsiteX511" fmla="*/ 672540 w 2124624"/>
                    <a:gd name="connsiteY511" fmla="*/ 958853 h 1479500"/>
                    <a:gd name="connsiteX512" fmla="*/ 694012 w 2124624"/>
                    <a:gd name="connsiteY512" fmla="*/ 956826 h 1479500"/>
                    <a:gd name="connsiteX513" fmla="*/ 721135 w 2124624"/>
                    <a:gd name="connsiteY513" fmla="*/ 942639 h 1479500"/>
                    <a:gd name="connsiteX514" fmla="*/ 723395 w 2124624"/>
                    <a:gd name="connsiteY514" fmla="*/ 930479 h 1479500"/>
                    <a:gd name="connsiteX515" fmla="*/ 698533 w 2124624"/>
                    <a:gd name="connsiteY515" fmla="*/ 913252 h 1479500"/>
                    <a:gd name="connsiteX516" fmla="*/ 687231 w 2124624"/>
                    <a:gd name="connsiteY516" fmla="*/ 899065 h 1479500"/>
                    <a:gd name="connsiteX517" fmla="*/ 665759 w 2124624"/>
                    <a:gd name="connsiteY517" fmla="*/ 888931 h 1479500"/>
                    <a:gd name="connsiteX518" fmla="*/ 663499 w 2124624"/>
                    <a:gd name="connsiteY518" fmla="*/ 878798 h 1479500"/>
                    <a:gd name="connsiteX519" fmla="*/ 696273 w 2124624"/>
                    <a:gd name="connsiteY519" fmla="*/ 888931 h 1479500"/>
                    <a:gd name="connsiteX520" fmla="*/ 734697 w 2124624"/>
                    <a:gd name="connsiteY520" fmla="*/ 903118 h 1479500"/>
                    <a:gd name="connsiteX521" fmla="*/ 745998 w 2124624"/>
                    <a:gd name="connsiteY521" fmla="*/ 898051 h 1479500"/>
                    <a:gd name="connsiteX522" fmla="*/ 748258 w 2124624"/>
                    <a:gd name="connsiteY522" fmla="*/ 905145 h 1479500"/>
                    <a:gd name="connsiteX523" fmla="*/ 775381 w 2124624"/>
                    <a:gd name="connsiteY523" fmla="*/ 900078 h 1479500"/>
                    <a:gd name="connsiteX524" fmla="*/ 775381 w 2124624"/>
                    <a:gd name="connsiteY524" fmla="*/ 905145 h 1479500"/>
                    <a:gd name="connsiteX525" fmla="*/ 769730 w 2124624"/>
                    <a:gd name="connsiteY525" fmla="*/ 910212 h 1479500"/>
                    <a:gd name="connsiteX526" fmla="*/ 775381 w 2124624"/>
                    <a:gd name="connsiteY526" fmla="*/ 920345 h 1479500"/>
                    <a:gd name="connsiteX527" fmla="*/ 767470 w 2124624"/>
                    <a:gd name="connsiteY527" fmla="*/ 920345 h 1479500"/>
                    <a:gd name="connsiteX528" fmla="*/ 761819 w 2124624"/>
                    <a:gd name="connsiteY528" fmla="*/ 932505 h 1479500"/>
                    <a:gd name="connsiteX529" fmla="*/ 773121 w 2124624"/>
                    <a:gd name="connsiteY529" fmla="*/ 937572 h 1479500"/>
                    <a:gd name="connsiteX530" fmla="*/ 761819 w 2124624"/>
                    <a:gd name="connsiteY530" fmla="*/ 942639 h 1479500"/>
                    <a:gd name="connsiteX531" fmla="*/ 761819 w 2124624"/>
                    <a:gd name="connsiteY531" fmla="*/ 947706 h 1479500"/>
                    <a:gd name="connsiteX532" fmla="*/ 777641 w 2124624"/>
                    <a:gd name="connsiteY532" fmla="*/ 959866 h 1479500"/>
                    <a:gd name="connsiteX533" fmla="*/ 785552 w 2124624"/>
                    <a:gd name="connsiteY533" fmla="*/ 959866 h 1479500"/>
                    <a:gd name="connsiteX534" fmla="*/ 785552 w 2124624"/>
                    <a:gd name="connsiteY534" fmla="*/ 970000 h 1479500"/>
                    <a:gd name="connsiteX535" fmla="*/ 779901 w 2124624"/>
                    <a:gd name="connsiteY535" fmla="*/ 980133 h 1479500"/>
                    <a:gd name="connsiteX536" fmla="*/ 771990 w 2124624"/>
                    <a:gd name="connsiteY536" fmla="*/ 978106 h 1479500"/>
                    <a:gd name="connsiteX537" fmla="*/ 769730 w 2124624"/>
                    <a:gd name="connsiteY537" fmla="*/ 965946 h 1479500"/>
                    <a:gd name="connsiteX538" fmla="*/ 758429 w 2124624"/>
                    <a:gd name="connsiteY538" fmla="*/ 965946 h 1479500"/>
                    <a:gd name="connsiteX539" fmla="*/ 758429 w 2124624"/>
                    <a:gd name="connsiteY539" fmla="*/ 990267 h 1479500"/>
                    <a:gd name="connsiteX540" fmla="*/ 758429 w 2124624"/>
                    <a:gd name="connsiteY540" fmla="*/ 992293 h 1479500"/>
                    <a:gd name="connsiteX541" fmla="*/ 766340 w 2124624"/>
                    <a:gd name="connsiteY541" fmla="*/ 994320 h 1479500"/>
                    <a:gd name="connsiteX542" fmla="*/ 760689 w 2124624"/>
                    <a:gd name="connsiteY542" fmla="*/ 1008507 h 1479500"/>
                    <a:gd name="connsiteX543" fmla="*/ 731306 w 2124624"/>
                    <a:gd name="connsiteY543" fmla="*/ 1010534 h 1479500"/>
                    <a:gd name="connsiteX544" fmla="*/ 723395 w 2124624"/>
                    <a:gd name="connsiteY544" fmla="*/ 1005467 h 1479500"/>
                    <a:gd name="connsiteX545" fmla="*/ 717745 w 2124624"/>
                    <a:gd name="connsiteY545" fmla="*/ 1015601 h 1479500"/>
                    <a:gd name="connsiteX546" fmla="*/ 704183 w 2124624"/>
                    <a:gd name="connsiteY546" fmla="*/ 1020667 h 1479500"/>
                    <a:gd name="connsiteX547" fmla="*/ 692882 w 2124624"/>
                    <a:gd name="connsiteY547" fmla="*/ 1020667 h 1479500"/>
                    <a:gd name="connsiteX548" fmla="*/ 692882 w 2124624"/>
                    <a:gd name="connsiteY548" fmla="*/ 1025734 h 1479500"/>
                    <a:gd name="connsiteX549" fmla="*/ 766340 w 2124624"/>
                    <a:gd name="connsiteY549" fmla="*/ 1015601 h 1479500"/>
                    <a:gd name="connsiteX550" fmla="*/ 750518 w 2124624"/>
                    <a:gd name="connsiteY550" fmla="*/ 1032828 h 1479500"/>
                    <a:gd name="connsiteX551" fmla="*/ 721135 w 2124624"/>
                    <a:gd name="connsiteY551" fmla="*/ 1037894 h 1479500"/>
                    <a:gd name="connsiteX552" fmla="*/ 715484 w 2124624"/>
                    <a:gd name="connsiteY552" fmla="*/ 1030801 h 1479500"/>
                    <a:gd name="connsiteX553" fmla="*/ 699663 w 2124624"/>
                    <a:gd name="connsiteY553" fmla="*/ 1028774 h 1479500"/>
                    <a:gd name="connsiteX554" fmla="*/ 699663 w 2124624"/>
                    <a:gd name="connsiteY554" fmla="*/ 1038908 h 1479500"/>
                    <a:gd name="connsiteX555" fmla="*/ 721135 w 2124624"/>
                    <a:gd name="connsiteY555" fmla="*/ 1051068 h 1479500"/>
                    <a:gd name="connsiteX556" fmla="*/ 709834 w 2124624"/>
                    <a:gd name="connsiteY556" fmla="*/ 1049041 h 1479500"/>
                    <a:gd name="connsiteX557" fmla="*/ 701923 w 2124624"/>
                    <a:gd name="connsiteY557" fmla="*/ 1041948 h 1479500"/>
                    <a:gd name="connsiteX558" fmla="*/ 677060 w 2124624"/>
                    <a:gd name="connsiteY558" fmla="*/ 1054108 h 1479500"/>
                    <a:gd name="connsiteX559" fmla="*/ 665759 w 2124624"/>
                    <a:gd name="connsiteY559" fmla="*/ 1064242 h 1479500"/>
                    <a:gd name="connsiteX560" fmla="*/ 665759 w 2124624"/>
                    <a:gd name="connsiteY560" fmla="*/ 1076402 h 1479500"/>
                    <a:gd name="connsiteX561" fmla="*/ 690622 w 2124624"/>
                    <a:gd name="connsiteY561" fmla="*/ 1062215 h 1479500"/>
                    <a:gd name="connsiteX562" fmla="*/ 690622 w 2124624"/>
                    <a:gd name="connsiteY562" fmla="*/ 1060188 h 1479500"/>
                    <a:gd name="connsiteX563" fmla="*/ 704183 w 2124624"/>
                    <a:gd name="connsiteY563" fmla="*/ 1062215 h 1479500"/>
                    <a:gd name="connsiteX564" fmla="*/ 736957 w 2124624"/>
                    <a:gd name="connsiteY564" fmla="*/ 1052082 h 1479500"/>
                    <a:gd name="connsiteX565" fmla="*/ 739217 w 2124624"/>
                    <a:gd name="connsiteY565" fmla="*/ 1066269 h 1479500"/>
                    <a:gd name="connsiteX566" fmla="*/ 741477 w 2124624"/>
                    <a:gd name="connsiteY566" fmla="*/ 1071335 h 1479500"/>
                    <a:gd name="connsiteX567" fmla="*/ 760689 w 2124624"/>
                    <a:gd name="connsiteY567" fmla="*/ 1066269 h 1479500"/>
                    <a:gd name="connsiteX568" fmla="*/ 758429 w 2124624"/>
                    <a:gd name="connsiteY568" fmla="*/ 1049041 h 1479500"/>
                    <a:gd name="connsiteX569" fmla="*/ 777641 w 2124624"/>
                    <a:gd name="connsiteY569" fmla="*/ 1049041 h 1479500"/>
                    <a:gd name="connsiteX570" fmla="*/ 771990 w 2124624"/>
                    <a:gd name="connsiteY570" fmla="*/ 1059175 h 1479500"/>
                    <a:gd name="connsiteX571" fmla="*/ 769730 w 2124624"/>
                    <a:gd name="connsiteY571" fmla="*/ 1066269 h 1479500"/>
                    <a:gd name="connsiteX572" fmla="*/ 767470 w 2124624"/>
                    <a:gd name="connsiteY572" fmla="*/ 1076402 h 1479500"/>
                    <a:gd name="connsiteX573" fmla="*/ 740347 w 2124624"/>
                    <a:gd name="connsiteY573" fmla="*/ 1076402 h 1479500"/>
                    <a:gd name="connsiteX574" fmla="*/ 694012 w 2124624"/>
                    <a:gd name="connsiteY574" fmla="*/ 1064242 h 1479500"/>
                    <a:gd name="connsiteX575" fmla="*/ 694012 w 2124624"/>
                    <a:gd name="connsiteY575" fmla="*/ 1066269 h 1479500"/>
                    <a:gd name="connsiteX576" fmla="*/ 682711 w 2124624"/>
                    <a:gd name="connsiteY576" fmla="*/ 1080455 h 1479500"/>
                    <a:gd name="connsiteX577" fmla="*/ 671410 w 2124624"/>
                    <a:gd name="connsiteY577" fmla="*/ 1080455 h 1479500"/>
                    <a:gd name="connsiteX578" fmla="*/ 663499 w 2124624"/>
                    <a:gd name="connsiteY578" fmla="*/ 1087549 h 1479500"/>
                    <a:gd name="connsiteX579" fmla="*/ 671410 w 2124624"/>
                    <a:gd name="connsiteY579" fmla="*/ 1097683 h 1479500"/>
                    <a:gd name="connsiteX580" fmla="*/ 669149 w 2124624"/>
                    <a:gd name="connsiteY580" fmla="*/ 1104776 h 1479500"/>
                    <a:gd name="connsiteX581" fmla="*/ 684971 w 2124624"/>
                    <a:gd name="connsiteY581" fmla="*/ 1106803 h 1479500"/>
                    <a:gd name="connsiteX582" fmla="*/ 684971 w 2124624"/>
                    <a:gd name="connsiteY582" fmla="*/ 1116936 h 1479500"/>
                    <a:gd name="connsiteX583" fmla="*/ 690622 w 2124624"/>
                    <a:gd name="connsiteY583" fmla="*/ 1116936 h 1479500"/>
                    <a:gd name="connsiteX584" fmla="*/ 684971 w 2124624"/>
                    <a:gd name="connsiteY584" fmla="*/ 1127070 h 1479500"/>
                    <a:gd name="connsiteX585" fmla="*/ 673670 w 2124624"/>
                    <a:gd name="connsiteY585" fmla="*/ 1127070 h 1479500"/>
                    <a:gd name="connsiteX586" fmla="*/ 673670 w 2124624"/>
                    <a:gd name="connsiteY586" fmla="*/ 1134163 h 1479500"/>
                    <a:gd name="connsiteX587" fmla="*/ 673670 w 2124624"/>
                    <a:gd name="connsiteY587" fmla="*/ 1139230 h 1479500"/>
                    <a:gd name="connsiteX588" fmla="*/ 681581 w 2124624"/>
                    <a:gd name="connsiteY588" fmla="*/ 1137204 h 1479500"/>
                    <a:gd name="connsiteX589" fmla="*/ 683841 w 2124624"/>
                    <a:gd name="connsiteY589" fmla="*/ 1142270 h 1479500"/>
                    <a:gd name="connsiteX590" fmla="*/ 670280 w 2124624"/>
                    <a:gd name="connsiteY590" fmla="*/ 1152404 h 1479500"/>
                    <a:gd name="connsiteX591" fmla="*/ 672540 w 2124624"/>
                    <a:gd name="connsiteY591" fmla="*/ 1159497 h 1479500"/>
                    <a:gd name="connsiteX592" fmla="*/ 694012 w 2124624"/>
                    <a:gd name="connsiteY592" fmla="*/ 1157471 h 1479500"/>
                    <a:gd name="connsiteX593" fmla="*/ 682711 w 2124624"/>
                    <a:gd name="connsiteY593" fmla="*/ 1164564 h 1479500"/>
                    <a:gd name="connsiteX594" fmla="*/ 682711 w 2124624"/>
                    <a:gd name="connsiteY594" fmla="*/ 1174698 h 1479500"/>
                    <a:gd name="connsiteX595" fmla="*/ 698533 w 2124624"/>
                    <a:gd name="connsiteY595" fmla="*/ 1172671 h 1479500"/>
                    <a:gd name="connsiteX596" fmla="*/ 706444 w 2124624"/>
                    <a:gd name="connsiteY596" fmla="*/ 1174698 h 1479500"/>
                    <a:gd name="connsiteX597" fmla="*/ 712094 w 2124624"/>
                    <a:gd name="connsiteY597" fmla="*/ 1167604 h 1479500"/>
                    <a:gd name="connsiteX598" fmla="*/ 725655 w 2124624"/>
                    <a:gd name="connsiteY598" fmla="*/ 1165577 h 1479500"/>
                    <a:gd name="connsiteX599" fmla="*/ 704183 w 2124624"/>
                    <a:gd name="connsiteY599" fmla="*/ 1184831 h 1479500"/>
                    <a:gd name="connsiteX600" fmla="*/ 720005 w 2124624"/>
                    <a:gd name="connsiteY600" fmla="*/ 1191925 h 1479500"/>
                    <a:gd name="connsiteX601" fmla="*/ 720005 w 2124624"/>
                    <a:gd name="connsiteY601" fmla="*/ 1196992 h 1479500"/>
                    <a:gd name="connsiteX602" fmla="*/ 708704 w 2124624"/>
                    <a:gd name="connsiteY602" fmla="*/ 1199018 h 1479500"/>
                    <a:gd name="connsiteX603" fmla="*/ 708704 w 2124624"/>
                    <a:gd name="connsiteY603" fmla="*/ 1209152 h 1479500"/>
                    <a:gd name="connsiteX604" fmla="*/ 722265 w 2124624"/>
                    <a:gd name="connsiteY604" fmla="*/ 1209152 h 1479500"/>
                    <a:gd name="connsiteX605" fmla="*/ 722265 w 2124624"/>
                    <a:gd name="connsiteY605" fmla="*/ 1216245 h 1479500"/>
                    <a:gd name="connsiteX606" fmla="*/ 730176 w 2124624"/>
                    <a:gd name="connsiteY606" fmla="*/ 1218272 h 1479500"/>
                    <a:gd name="connsiteX607" fmla="*/ 724526 w 2124624"/>
                    <a:gd name="connsiteY607" fmla="*/ 1240566 h 1479500"/>
                    <a:gd name="connsiteX608" fmla="*/ 745998 w 2124624"/>
                    <a:gd name="connsiteY608" fmla="*/ 1223339 h 1479500"/>
                    <a:gd name="connsiteX609" fmla="*/ 757299 w 2124624"/>
                    <a:gd name="connsiteY609" fmla="*/ 1225366 h 1479500"/>
                    <a:gd name="connsiteX610" fmla="*/ 762950 w 2124624"/>
                    <a:gd name="connsiteY610" fmla="*/ 1215232 h 1479500"/>
                    <a:gd name="connsiteX611" fmla="*/ 776511 w 2124624"/>
                    <a:gd name="connsiteY611" fmla="*/ 1217259 h 1479500"/>
                    <a:gd name="connsiteX612" fmla="*/ 776511 w 2124624"/>
                    <a:gd name="connsiteY612" fmla="*/ 1234486 h 1479500"/>
                    <a:gd name="connsiteX613" fmla="*/ 762950 w 2124624"/>
                    <a:gd name="connsiteY613" fmla="*/ 1229419 h 1479500"/>
                    <a:gd name="connsiteX614" fmla="*/ 762950 w 2124624"/>
                    <a:gd name="connsiteY614" fmla="*/ 1236512 h 1479500"/>
                    <a:gd name="connsiteX615" fmla="*/ 765210 w 2124624"/>
                    <a:gd name="connsiteY615" fmla="*/ 1243606 h 1479500"/>
                    <a:gd name="connsiteX616" fmla="*/ 732436 w 2124624"/>
                    <a:gd name="connsiteY616" fmla="*/ 1248673 h 1479500"/>
                    <a:gd name="connsiteX617" fmla="*/ 732436 w 2124624"/>
                    <a:gd name="connsiteY617" fmla="*/ 1253740 h 1479500"/>
                    <a:gd name="connsiteX618" fmla="*/ 751648 w 2124624"/>
                    <a:gd name="connsiteY618" fmla="*/ 1253740 h 1479500"/>
                    <a:gd name="connsiteX619" fmla="*/ 751648 w 2124624"/>
                    <a:gd name="connsiteY619" fmla="*/ 1258806 h 1479500"/>
                    <a:gd name="connsiteX620" fmla="*/ 735827 w 2124624"/>
                    <a:gd name="connsiteY620" fmla="*/ 1258806 h 1479500"/>
                    <a:gd name="connsiteX621" fmla="*/ 733566 w 2124624"/>
                    <a:gd name="connsiteY621" fmla="*/ 1263873 h 1479500"/>
                    <a:gd name="connsiteX622" fmla="*/ 741477 w 2124624"/>
                    <a:gd name="connsiteY622" fmla="*/ 1270967 h 1479500"/>
                    <a:gd name="connsiteX623" fmla="*/ 741477 w 2124624"/>
                    <a:gd name="connsiteY623" fmla="*/ 1278060 h 1479500"/>
                    <a:gd name="connsiteX624" fmla="*/ 760689 w 2124624"/>
                    <a:gd name="connsiteY624" fmla="*/ 1283127 h 1479500"/>
                    <a:gd name="connsiteX625" fmla="*/ 758429 w 2124624"/>
                    <a:gd name="connsiteY625" fmla="*/ 1295287 h 1479500"/>
                    <a:gd name="connsiteX626" fmla="*/ 756169 w 2124624"/>
                    <a:gd name="connsiteY626" fmla="*/ 1302381 h 1479500"/>
                    <a:gd name="connsiteX627" fmla="*/ 767470 w 2124624"/>
                    <a:gd name="connsiteY627" fmla="*/ 1302381 h 1479500"/>
                    <a:gd name="connsiteX628" fmla="*/ 765210 w 2124624"/>
                    <a:gd name="connsiteY628" fmla="*/ 1316568 h 1479500"/>
                    <a:gd name="connsiteX629" fmla="*/ 767470 w 2124624"/>
                    <a:gd name="connsiteY629" fmla="*/ 1314541 h 1479500"/>
                    <a:gd name="connsiteX630" fmla="*/ 769730 w 2124624"/>
                    <a:gd name="connsiteY630" fmla="*/ 1309474 h 1479500"/>
                    <a:gd name="connsiteX631" fmla="*/ 785552 w 2124624"/>
                    <a:gd name="connsiteY631" fmla="*/ 1307447 h 1479500"/>
                    <a:gd name="connsiteX632" fmla="*/ 801374 w 2124624"/>
                    <a:gd name="connsiteY632" fmla="*/ 1326701 h 1479500"/>
                    <a:gd name="connsiteX633" fmla="*/ 799113 w 2124624"/>
                    <a:gd name="connsiteY633" fmla="*/ 1348995 h 1479500"/>
                    <a:gd name="connsiteX634" fmla="*/ 820586 w 2124624"/>
                    <a:gd name="connsiteY634" fmla="*/ 1338861 h 1479500"/>
                    <a:gd name="connsiteX635" fmla="*/ 831887 w 2124624"/>
                    <a:gd name="connsiteY635" fmla="*/ 1338861 h 1479500"/>
                    <a:gd name="connsiteX636" fmla="*/ 829626 w 2124624"/>
                    <a:gd name="connsiteY636" fmla="*/ 1353049 h 1479500"/>
                    <a:gd name="connsiteX637" fmla="*/ 831887 w 2124624"/>
                    <a:gd name="connsiteY637" fmla="*/ 1358115 h 1479500"/>
                    <a:gd name="connsiteX638" fmla="*/ 845448 w 2124624"/>
                    <a:gd name="connsiteY638" fmla="*/ 1351022 h 1479500"/>
                    <a:gd name="connsiteX639" fmla="*/ 845448 w 2124624"/>
                    <a:gd name="connsiteY639" fmla="*/ 1358115 h 1479500"/>
                    <a:gd name="connsiteX640" fmla="*/ 837537 w 2124624"/>
                    <a:gd name="connsiteY640" fmla="*/ 1365209 h 1479500"/>
                    <a:gd name="connsiteX641" fmla="*/ 848839 w 2124624"/>
                    <a:gd name="connsiteY641" fmla="*/ 1379396 h 1479500"/>
                    <a:gd name="connsiteX642" fmla="*/ 846578 w 2124624"/>
                    <a:gd name="connsiteY642" fmla="*/ 1386489 h 1479500"/>
                    <a:gd name="connsiteX643" fmla="*/ 854489 w 2124624"/>
                    <a:gd name="connsiteY643" fmla="*/ 1388516 h 1479500"/>
                    <a:gd name="connsiteX644" fmla="*/ 860140 w 2124624"/>
                    <a:gd name="connsiteY644" fmla="*/ 1381422 h 1479500"/>
                    <a:gd name="connsiteX645" fmla="*/ 865790 w 2124624"/>
                    <a:gd name="connsiteY645" fmla="*/ 1383449 h 1479500"/>
                    <a:gd name="connsiteX646" fmla="*/ 868050 w 2124624"/>
                    <a:gd name="connsiteY646" fmla="*/ 1385476 h 1479500"/>
                    <a:gd name="connsiteX647" fmla="*/ 865790 w 2124624"/>
                    <a:gd name="connsiteY647" fmla="*/ 1387503 h 1479500"/>
                    <a:gd name="connsiteX648" fmla="*/ 852229 w 2124624"/>
                    <a:gd name="connsiteY648" fmla="*/ 1389529 h 1479500"/>
                    <a:gd name="connsiteX649" fmla="*/ 852229 w 2124624"/>
                    <a:gd name="connsiteY649" fmla="*/ 1394596 h 1479500"/>
                    <a:gd name="connsiteX650" fmla="*/ 865790 w 2124624"/>
                    <a:gd name="connsiteY650" fmla="*/ 1394596 h 1479500"/>
                    <a:gd name="connsiteX651" fmla="*/ 863530 w 2124624"/>
                    <a:gd name="connsiteY651" fmla="*/ 1401690 h 1479500"/>
                    <a:gd name="connsiteX652" fmla="*/ 863530 w 2124624"/>
                    <a:gd name="connsiteY652" fmla="*/ 1411823 h 1479500"/>
                    <a:gd name="connsiteX653" fmla="*/ 874831 w 2124624"/>
                    <a:gd name="connsiteY653" fmla="*/ 1423984 h 1479500"/>
                    <a:gd name="connsiteX654" fmla="*/ 886132 w 2124624"/>
                    <a:gd name="connsiteY654" fmla="*/ 1423984 h 1479500"/>
                    <a:gd name="connsiteX655" fmla="*/ 894043 w 2124624"/>
                    <a:gd name="connsiteY655" fmla="*/ 1413850 h 1479500"/>
                    <a:gd name="connsiteX656" fmla="*/ 894043 w 2124624"/>
                    <a:gd name="connsiteY656" fmla="*/ 1411823 h 1479500"/>
                    <a:gd name="connsiteX657" fmla="*/ 901954 w 2124624"/>
                    <a:gd name="connsiteY657" fmla="*/ 1416890 h 1479500"/>
                    <a:gd name="connsiteX658" fmla="*/ 921166 w 2124624"/>
                    <a:gd name="connsiteY658" fmla="*/ 1409796 h 1479500"/>
                    <a:gd name="connsiteX659" fmla="*/ 936988 w 2124624"/>
                    <a:gd name="connsiteY659" fmla="*/ 1387503 h 1479500"/>
                    <a:gd name="connsiteX660" fmla="*/ 942638 w 2124624"/>
                    <a:gd name="connsiteY660" fmla="*/ 1389529 h 1479500"/>
                    <a:gd name="connsiteX661" fmla="*/ 936988 w 2124624"/>
                    <a:gd name="connsiteY661" fmla="*/ 1408783 h 1479500"/>
                    <a:gd name="connsiteX662" fmla="*/ 939248 w 2124624"/>
                    <a:gd name="connsiteY662" fmla="*/ 1413850 h 1479500"/>
                    <a:gd name="connsiteX663" fmla="*/ 952809 w 2124624"/>
                    <a:gd name="connsiteY663" fmla="*/ 1418917 h 1479500"/>
                    <a:gd name="connsiteX664" fmla="*/ 955070 w 2124624"/>
                    <a:gd name="connsiteY664" fmla="*/ 1416890 h 1479500"/>
                    <a:gd name="connsiteX665" fmla="*/ 952809 w 2124624"/>
                    <a:gd name="connsiteY665" fmla="*/ 1429050 h 1479500"/>
                    <a:gd name="connsiteX666" fmla="*/ 958460 w 2124624"/>
                    <a:gd name="connsiteY666" fmla="*/ 1431077 h 1479500"/>
                    <a:gd name="connsiteX667" fmla="*/ 966371 w 2124624"/>
                    <a:gd name="connsiteY667" fmla="*/ 1429050 h 1479500"/>
                    <a:gd name="connsiteX668" fmla="*/ 968631 w 2124624"/>
                    <a:gd name="connsiteY668" fmla="*/ 1418917 h 1479500"/>
                    <a:gd name="connsiteX669" fmla="*/ 974282 w 2124624"/>
                    <a:gd name="connsiteY669" fmla="*/ 1418917 h 1479500"/>
                    <a:gd name="connsiteX670" fmla="*/ 982193 w 2124624"/>
                    <a:gd name="connsiteY670" fmla="*/ 1426010 h 1479500"/>
                    <a:gd name="connsiteX671" fmla="*/ 990104 w 2124624"/>
                    <a:gd name="connsiteY671" fmla="*/ 1418917 h 1479500"/>
                    <a:gd name="connsiteX672" fmla="*/ 990104 w 2124624"/>
                    <a:gd name="connsiteY672" fmla="*/ 1431077 h 1479500"/>
                    <a:gd name="connsiteX673" fmla="*/ 978802 w 2124624"/>
                    <a:gd name="connsiteY673" fmla="*/ 1436144 h 1479500"/>
                    <a:gd name="connsiteX674" fmla="*/ 976542 w 2124624"/>
                    <a:gd name="connsiteY674" fmla="*/ 1446277 h 1479500"/>
                    <a:gd name="connsiteX675" fmla="*/ 995754 w 2124624"/>
                    <a:gd name="connsiteY675" fmla="*/ 1432090 h 1479500"/>
                    <a:gd name="connsiteX676" fmla="*/ 995754 w 2124624"/>
                    <a:gd name="connsiteY676" fmla="*/ 1451344 h 1479500"/>
                    <a:gd name="connsiteX677" fmla="*/ 1003665 w 2124624"/>
                    <a:gd name="connsiteY677" fmla="*/ 1451344 h 1479500"/>
                    <a:gd name="connsiteX678" fmla="*/ 1005925 w 2124624"/>
                    <a:gd name="connsiteY678" fmla="*/ 1437157 h 1479500"/>
                    <a:gd name="connsiteX679" fmla="*/ 1011576 w 2124624"/>
                    <a:gd name="connsiteY679" fmla="*/ 1435130 h 1479500"/>
                    <a:gd name="connsiteX680" fmla="*/ 1013836 w 2124624"/>
                    <a:gd name="connsiteY680" fmla="*/ 1445264 h 1479500"/>
                    <a:gd name="connsiteX681" fmla="*/ 1008185 w 2124624"/>
                    <a:gd name="connsiteY681" fmla="*/ 1447291 h 1479500"/>
                    <a:gd name="connsiteX682" fmla="*/ 1008185 w 2124624"/>
                    <a:gd name="connsiteY682" fmla="*/ 1454384 h 1479500"/>
                    <a:gd name="connsiteX683" fmla="*/ 1029658 w 2124624"/>
                    <a:gd name="connsiteY683" fmla="*/ 1466544 h 1479500"/>
                    <a:gd name="connsiteX684" fmla="*/ 1035308 w 2124624"/>
                    <a:gd name="connsiteY684" fmla="*/ 1459451 h 1479500"/>
                    <a:gd name="connsiteX685" fmla="*/ 1043219 w 2124624"/>
                    <a:gd name="connsiteY685" fmla="*/ 1459451 h 1479500"/>
                    <a:gd name="connsiteX686" fmla="*/ 1040959 w 2124624"/>
                    <a:gd name="connsiteY686" fmla="*/ 1454384 h 1479500"/>
                    <a:gd name="connsiteX687" fmla="*/ 1052260 w 2124624"/>
                    <a:gd name="connsiteY687" fmla="*/ 1452357 h 1479500"/>
                    <a:gd name="connsiteX688" fmla="*/ 1050000 w 2124624"/>
                    <a:gd name="connsiteY688" fmla="*/ 1445264 h 1479500"/>
                    <a:gd name="connsiteX689" fmla="*/ 1042089 w 2124624"/>
                    <a:gd name="connsiteY689" fmla="*/ 1438170 h 1479500"/>
                    <a:gd name="connsiteX690" fmla="*/ 1042089 w 2124624"/>
                    <a:gd name="connsiteY690" fmla="*/ 1428037 h 1479500"/>
                    <a:gd name="connsiteX691" fmla="*/ 1036438 w 2124624"/>
                    <a:gd name="connsiteY691" fmla="*/ 1422970 h 1479500"/>
                    <a:gd name="connsiteX692" fmla="*/ 1025137 w 2124624"/>
                    <a:gd name="connsiteY692" fmla="*/ 1422970 h 1479500"/>
                    <a:gd name="connsiteX693" fmla="*/ 1025137 w 2124624"/>
                    <a:gd name="connsiteY693" fmla="*/ 1415877 h 1479500"/>
                    <a:gd name="connsiteX694" fmla="*/ 1040959 w 2124624"/>
                    <a:gd name="connsiteY694" fmla="*/ 1417903 h 1479500"/>
                    <a:gd name="connsiteX695" fmla="*/ 1040959 w 2124624"/>
                    <a:gd name="connsiteY695" fmla="*/ 1410810 h 1479500"/>
                    <a:gd name="connsiteX696" fmla="*/ 1048870 w 2124624"/>
                    <a:gd name="connsiteY696" fmla="*/ 1408783 h 1479500"/>
                    <a:gd name="connsiteX697" fmla="*/ 1046610 w 2124624"/>
                    <a:gd name="connsiteY697" fmla="*/ 1394596 h 1479500"/>
                    <a:gd name="connsiteX698" fmla="*/ 1060171 w 2124624"/>
                    <a:gd name="connsiteY698" fmla="*/ 1384463 h 1479500"/>
                    <a:gd name="connsiteX699" fmla="*/ 1054520 w 2124624"/>
                    <a:gd name="connsiteY699" fmla="*/ 1370276 h 1479500"/>
                    <a:gd name="connsiteX700" fmla="*/ 1065821 w 2124624"/>
                    <a:gd name="connsiteY700" fmla="*/ 1368249 h 1479500"/>
                    <a:gd name="connsiteX701" fmla="*/ 1073732 w 2124624"/>
                    <a:gd name="connsiteY701" fmla="*/ 1354062 h 1479500"/>
                    <a:gd name="connsiteX702" fmla="*/ 1065821 w 2124624"/>
                    <a:gd name="connsiteY702" fmla="*/ 1346968 h 1479500"/>
                    <a:gd name="connsiteX703" fmla="*/ 1068082 w 2124624"/>
                    <a:gd name="connsiteY703" fmla="*/ 1329741 h 1479500"/>
                    <a:gd name="connsiteX704" fmla="*/ 1075992 w 2124624"/>
                    <a:gd name="connsiteY704" fmla="*/ 1329741 h 1479500"/>
                    <a:gd name="connsiteX705" fmla="*/ 1081643 w 2124624"/>
                    <a:gd name="connsiteY705" fmla="*/ 1331768 h 1479500"/>
                    <a:gd name="connsiteX706" fmla="*/ 1083903 w 2124624"/>
                    <a:gd name="connsiteY706" fmla="*/ 1321634 h 1479500"/>
                    <a:gd name="connsiteX707" fmla="*/ 1083903 w 2124624"/>
                    <a:gd name="connsiteY707" fmla="*/ 1314541 h 1479500"/>
                    <a:gd name="connsiteX708" fmla="*/ 1075992 w 2124624"/>
                    <a:gd name="connsiteY708" fmla="*/ 1314541 h 1479500"/>
                    <a:gd name="connsiteX709" fmla="*/ 1075992 w 2124624"/>
                    <a:gd name="connsiteY709" fmla="*/ 1307447 h 1479500"/>
                    <a:gd name="connsiteX710" fmla="*/ 1081643 w 2124624"/>
                    <a:gd name="connsiteY710" fmla="*/ 1300354 h 1479500"/>
                    <a:gd name="connsiteX711" fmla="*/ 1103116 w 2124624"/>
                    <a:gd name="connsiteY711" fmla="*/ 1307447 h 1479500"/>
                    <a:gd name="connsiteX712" fmla="*/ 1100855 w 2124624"/>
                    <a:gd name="connsiteY712" fmla="*/ 1295287 h 1479500"/>
                    <a:gd name="connsiteX713" fmla="*/ 1106506 w 2124624"/>
                    <a:gd name="connsiteY713" fmla="*/ 1293260 h 1479500"/>
                    <a:gd name="connsiteX714" fmla="*/ 1095205 w 2124624"/>
                    <a:gd name="connsiteY714" fmla="*/ 1270967 h 1479500"/>
                    <a:gd name="connsiteX715" fmla="*/ 1103116 w 2124624"/>
                    <a:gd name="connsiteY715" fmla="*/ 1270967 h 1479500"/>
                    <a:gd name="connsiteX716" fmla="*/ 1111026 w 2124624"/>
                    <a:gd name="connsiteY716" fmla="*/ 1278060 h 1479500"/>
                    <a:gd name="connsiteX717" fmla="*/ 1118937 w 2124624"/>
                    <a:gd name="connsiteY717" fmla="*/ 1270967 h 1479500"/>
                    <a:gd name="connsiteX718" fmla="*/ 1130238 w 2124624"/>
                    <a:gd name="connsiteY718" fmla="*/ 1239553 h 1479500"/>
                    <a:gd name="connsiteX719" fmla="*/ 1100855 w 2124624"/>
                    <a:gd name="connsiteY719" fmla="*/ 1234486 h 1479500"/>
                    <a:gd name="connsiteX720" fmla="*/ 1100855 w 2124624"/>
                    <a:gd name="connsiteY720" fmla="*/ 1229419 h 1479500"/>
                    <a:gd name="connsiteX721" fmla="*/ 1112156 w 2124624"/>
                    <a:gd name="connsiteY721" fmla="*/ 1231446 h 1479500"/>
                    <a:gd name="connsiteX722" fmla="*/ 1133629 w 2124624"/>
                    <a:gd name="connsiteY722" fmla="*/ 1231446 h 1479500"/>
                    <a:gd name="connsiteX723" fmla="*/ 1125718 w 2124624"/>
                    <a:gd name="connsiteY723" fmla="*/ 1192938 h 1479500"/>
                    <a:gd name="connsiteX724" fmla="*/ 1120067 w 2124624"/>
                    <a:gd name="connsiteY724" fmla="*/ 1187871 h 1479500"/>
                    <a:gd name="connsiteX725" fmla="*/ 1120067 w 2124624"/>
                    <a:gd name="connsiteY725" fmla="*/ 1182805 h 1479500"/>
                    <a:gd name="connsiteX726" fmla="*/ 1131369 w 2124624"/>
                    <a:gd name="connsiteY726" fmla="*/ 1180778 h 1479500"/>
                    <a:gd name="connsiteX727" fmla="*/ 1133629 w 2124624"/>
                    <a:gd name="connsiteY727" fmla="*/ 1182805 h 1479500"/>
                    <a:gd name="connsiteX728" fmla="*/ 1144930 w 2124624"/>
                    <a:gd name="connsiteY728" fmla="*/ 1182805 h 1479500"/>
                    <a:gd name="connsiteX729" fmla="*/ 1152841 w 2124624"/>
                    <a:gd name="connsiteY729" fmla="*/ 1172671 h 1479500"/>
                    <a:gd name="connsiteX730" fmla="*/ 1150580 w 2124624"/>
                    <a:gd name="connsiteY730" fmla="*/ 1162537 h 1479500"/>
                    <a:gd name="connsiteX731" fmla="*/ 1150580 w 2124624"/>
                    <a:gd name="connsiteY731" fmla="*/ 1157471 h 1479500"/>
                    <a:gd name="connsiteX732" fmla="*/ 1172053 w 2124624"/>
                    <a:gd name="connsiteY732" fmla="*/ 1159497 h 1479500"/>
                    <a:gd name="connsiteX733" fmla="*/ 1181094 w 2124624"/>
                    <a:gd name="connsiteY733" fmla="*/ 1159497 h 1479500"/>
                    <a:gd name="connsiteX734" fmla="*/ 1181094 w 2124624"/>
                    <a:gd name="connsiteY734" fmla="*/ 1155444 h 1479500"/>
                    <a:gd name="connsiteX735" fmla="*/ 1210477 w 2124624"/>
                    <a:gd name="connsiteY735" fmla="*/ 1157471 h 1479500"/>
                    <a:gd name="connsiteX736" fmla="*/ 1224038 w 2124624"/>
                    <a:gd name="connsiteY736" fmla="*/ 1145310 h 1479500"/>
                    <a:gd name="connsiteX737" fmla="*/ 1237600 w 2124624"/>
                    <a:gd name="connsiteY737" fmla="*/ 1143284 h 1479500"/>
                    <a:gd name="connsiteX738" fmla="*/ 1245510 w 2124624"/>
                    <a:gd name="connsiteY738" fmla="*/ 1160511 h 1479500"/>
                    <a:gd name="connsiteX739" fmla="*/ 1247771 w 2124624"/>
                    <a:gd name="connsiteY739" fmla="*/ 1165577 h 1479500"/>
                    <a:gd name="connsiteX740" fmla="*/ 1250031 w 2124624"/>
                    <a:gd name="connsiteY740" fmla="*/ 1163551 h 1479500"/>
                    <a:gd name="connsiteX741" fmla="*/ 1252291 w 2124624"/>
                    <a:gd name="connsiteY741" fmla="*/ 1161524 h 1479500"/>
                    <a:gd name="connsiteX742" fmla="*/ 1263592 w 2124624"/>
                    <a:gd name="connsiteY742" fmla="*/ 1154431 h 1479500"/>
                    <a:gd name="connsiteX743" fmla="*/ 1265853 w 2124624"/>
                    <a:gd name="connsiteY743" fmla="*/ 1142270 h 1479500"/>
                    <a:gd name="connsiteX744" fmla="*/ 1285065 w 2124624"/>
                    <a:gd name="connsiteY744" fmla="*/ 1142270 h 1479500"/>
                    <a:gd name="connsiteX745" fmla="*/ 1287325 w 2124624"/>
                    <a:gd name="connsiteY745" fmla="*/ 1147337 h 1479500"/>
                    <a:gd name="connsiteX746" fmla="*/ 1287325 w 2124624"/>
                    <a:gd name="connsiteY746" fmla="*/ 1152404 h 1479500"/>
                    <a:gd name="connsiteX747" fmla="*/ 1292976 w 2124624"/>
                    <a:gd name="connsiteY747" fmla="*/ 1152404 h 1479500"/>
                    <a:gd name="connsiteX748" fmla="*/ 1300887 w 2124624"/>
                    <a:gd name="connsiteY748" fmla="*/ 1140244 h 1479500"/>
                    <a:gd name="connsiteX749" fmla="*/ 1298626 w 2124624"/>
                    <a:gd name="connsiteY749" fmla="*/ 1130110 h 1479500"/>
                    <a:gd name="connsiteX750" fmla="*/ 1314448 w 2124624"/>
                    <a:gd name="connsiteY750" fmla="*/ 1125043 h 1479500"/>
                    <a:gd name="connsiteX751" fmla="*/ 1322359 w 2124624"/>
                    <a:gd name="connsiteY751" fmla="*/ 1102749 h 1479500"/>
                    <a:gd name="connsiteX752" fmla="*/ 1333660 w 2124624"/>
                    <a:gd name="connsiteY752" fmla="*/ 1102749 h 1479500"/>
                    <a:gd name="connsiteX753" fmla="*/ 1347221 w 2124624"/>
                    <a:gd name="connsiteY753" fmla="*/ 1090589 h 1479500"/>
                    <a:gd name="connsiteX754" fmla="*/ 1372084 w 2124624"/>
                    <a:gd name="connsiteY754" fmla="*/ 1083496 h 1479500"/>
                    <a:gd name="connsiteX755" fmla="*/ 1399207 w 2124624"/>
                    <a:gd name="connsiteY755" fmla="*/ 1052082 h 1479500"/>
                    <a:gd name="connsiteX756" fmla="*/ 1412768 w 2124624"/>
                    <a:gd name="connsiteY756" fmla="*/ 1054108 h 1479500"/>
                    <a:gd name="connsiteX757" fmla="*/ 1415028 w 2124624"/>
                    <a:gd name="connsiteY757" fmla="*/ 1049041 h 1479500"/>
                    <a:gd name="connsiteX758" fmla="*/ 1420679 w 2124624"/>
                    <a:gd name="connsiteY758" fmla="*/ 1041948 h 1479500"/>
                    <a:gd name="connsiteX759" fmla="*/ 1407118 w 2124624"/>
                    <a:gd name="connsiteY759" fmla="*/ 1022694 h 1479500"/>
                    <a:gd name="connsiteX760" fmla="*/ 1401467 w 2124624"/>
                    <a:gd name="connsiteY760" fmla="*/ 993307 h 1479500"/>
                    <a:gd name="connsiteX761" fmla="*/ 1467014 w 2124624"/>
                    <a:gd name="connsiteY761" fmla="*/ 1024721 h 1479500"/>
                    <a:gd name="connsiteX762" fmla="*/ 1467014 w 2124624"/>
                    <a:gd name="connsiteY762" fmla="*/ 1019654 h 1479500"/>
                    <a:gd name="connsiteX763" fmla="*/ 1482836 w 2124624"/>
                    <a:gd name="connsiteY763" fmla="*/ 1017627 h 1479500"/>
                    <a:gd name="connsiteX764" fmla="*/ 1482836 w 2124624"/>
                    <a:gd name="connsiteY764" fmla="*/ 1005467 h 1479500"/>
                    <a:gd name="connsiteX765" fmla="*/ 1490746 w 2124624"/>
                    <a:gd name="connsiteY765" fmla="*/ 1005467 h 1479500"/>
                    <a:gd name="connsiteX766" fmla="*/ 1493007 w 2124624"/>
                    <a:gd name="connsiteY766" fmla="*/ 1015601 h 1479500"/>
                    <a:gd name="connsiteX767" fmla="*/ 1506568 w 2124624"/>
                    <a:gd name="connsiteY767" fmla="*/ 1010534 h 1479500"/>
                    <a:gd name="connsiteX768" fmla="*/ 1514479 w 2124624"/>
                    <a:gd name="connsiteY768" fmla="*/ 1010534 h 1479500"/>
                    <a:gd name="connsiteX769" fmla="*/ 1516739 w 2124624"/>
                    <a:gd name="connsiteY769" fmla="*/ 1000400 h 1479500"/>
                    <a:gd name="connsiteX770" fmla="*/ 1524650 w 2124624"/>
                    <a:gd name="connsiteY770" fmla="*/ 1000400 h 1479500"/>
                    <a:gd name="connsiteX771" fmla="*/ 1530301 w 2124624"/>
                    <a:gd name="connsiteY771" fmla="*/ 1007494 h 1479500"/>
                    <a:gd name="connsiteX772" fmla="*/ 1557423 w 2124624"/>
                    <a:gd name="connsiteY772" fmla="*/ 1005467 h 1479500"/>
                    <a:gd name="connsiteX773" fmla="*/ 1559684 w 2124624"/>
                    <a:gd name="connsiteY773" fmla="*/ 998374 h 1479500"/>
                    <a:gd name="connsiteX774" fmla="*/ 1570985 w 2124624"/>
                    <a:gd name="connsiteY774" fmla="*/ 1000400 h 1479500"/>
                    <a:gd name="connsiteX775" fmla="*/ 1584546 w 2124624"/>
                    <a:gd name="connsiteY775" fmla="*/ 990267 h 1479500"/>
                    <a:gd name="connsiteX776" fmla="*/ 1598108 w 2124624"/>
                    <a:gd name="connsiteY776" fmla="*/ 990267 h 1479500"/>
                    <a:gd name="connsiteX777" fmla="*/ 1625231 w 2124624"/>
                    <a:gd name="connsiteY777" fmla="*/ 980133 h 1479500"/>
                    <a:gd name="connsiteX778" fmla="*/ 1625231 w 2124624"/>
                    <a:gd name="connsiteY778" fmla="*/ 962906 h 1479500"/>
                    <a:gd name="connsiteX779" fmla="*/ 1636532 w 2124624"/>
                    <a:gd name="connsiteY779" fmla="*/ 970000 h 1479500"/>
                    <a:gd name="connsiteX780" fmla="*/ 1647833 w 2124624"/>
                    <a:gd name="connsiteY780" fmla="*/ 970000 h 1479500"/>
                    <a:gd name="connsiteX781" fmla="*/ 1663655 w 2124624"/>
                    <a:gd name="connsiteY781" fmla="*/ 947706 h 1479500"/>
                    <a:gd name="connsiteX782" fmla="*/ 1674956 w 2124624"/>
                    <a:gd name="connsiteY782" fmla="*/ 949732 h 1479500"/>
                    <a:gd name="connsiteX783" fmla="*/ 1677216 w 2124624"/>
                    <a:gd name="connsiteY783" fmla="*/ 954799 h 1479500"/>
                    <a:gd name="connsiteX784" fmla="*/ 1685127 w 2124624"/>
                    <a:gd name="connsiteY784" fmla="*/ 947706 h 1479500"/>
                    <a:gd name="connsiteX785" fmla="*/ 1693038 w 2124624"/>
                    <a:gd name="connsiteY785" fmla="*/ 947706 h 1479500"/>
                    <a:gd name="connsiteX786" fmla="*/ 1695298 w 2124624"/>
                    <a:gd name="connsiteY786" fmla="*/ 940612 h 1479500"/>
                    <a:gd name="connsiteX787" fmla="*/ 1711120 w 2124624"/>
                    <a:gd name="connsiteY787" fmla="*/ 942639 h 1479500"/>
                    <a:gd name="connsiteX788" fmla="*/ 1724681 w 2124624"/>
                    <a:gd name="connsiteY788" fmla="*/ 935545 h 1479500"/>
                    <a:gd name="connsiteX789" fmla="*/ 1740503 w 2124624"/>
                    <a:gd name="connsiteY789" fmla="*/ 935545 h 1479500"/>
                    <a:gd name="connsiteX790" fmla="*/ 1756325 w 2124624"/>
                    <a:gd name="connsiteY790" fmla="*/ 921358 h 1479500"/>
                    <a:gd name="connsiteX791" fmla="*/ 1754064 w 2124624"/>
                    <a:gd name="connsiteY791" fmla="*/ 909198 h 1479500"/>
                    <a:gd name="connsiteX792" fmla="*/ 1765365 w 2124624"/>
                    <a:gd name="connsiteY792" fmla="*/ 899065 h 1479500"/>
                    <a:gd name="connsiteX793" fmla="*/ 1781187 w 2124624"/>
                    <a:gd name="connsiteY793" fmla="*/ 897038 h 1479500"/>
                    <a:gd name="connsiteX794" fmla="*/ 1783448 w 2124624"/>
                    <a:gd name="connsiteY794" fmla="*/ 886904 h 1479500"/>
                    <a:gd name="connsiteX795" fmla="*/ 1726942 w 2124624"/>
                    <a:gd name="connsiteY795" fmla="*/ 884878 h 1479500"/>
                    <a:gd name="connsiteX796" fmla="*/ 1711120 w 2124624"/>
                    <a:gd name="connsiteY796" fmla="*/ 874744 h 1479500"/>
                    <a:gd name="connsiteX797" fmla="*/ 1699819 w 2124624"/>
                    <a:gd name="connsiteY797" fmla="*/ 876771 h 1479500"/>
                    <a:gd name="connsiteX798" fmla="*/ 1697558 w 2124624"/>
                    <a:gd name="connsiteY798" fmla="*/ 871704 h 1479500"/>
                    <a:gd name="connsiteX799" fmla="*/ 1664785 w 2124624"/>
                    <a:gd name="connsiteY799" fmla="*/ 883864 h 1479500"/>
                    <a:gd name="connsiteX800" fmla="*/ 1621840 w 2124624"/>
                    <a:gd name="connsiteY800" fmla="*/ 883864 h 1479500"/>
                    <a:gd name="connsiteX801" fmla="*/ 1561944 w 2124624"/>
                    <a:gd name="connsiteY801" fmla="*/ 871704 h 1479500"/>
                    <a:gd name="connsiteX802" fmla="*/ 1554033 w 2124624"/>
                    <a:gd name="connsiteY802" fmla="*/ 854477 h 1479500"/>
                    <a:gd name="connsiteX803" fmla="*/ 1556293 w 2124624"/>
                    <a:gd name="connsiteY803" fmla="*/ 849410 h 1479500"/>
                    <a:gd name="connsiteX804" fmla="*/ 1564204 w 2124624"/>
                    <a:gd name="connsiteY804" fmla="*/ 847383 h 1479500"/>
                    <a:gd name="connsiteX805" fmla="*/ 1566465 w 2124624"/>
                    <a:gd name="connsiteY805" fmla="*/ 866637 h 1479500"/>
                    <a:gd name="connsiteX806" fmla="*/ 1636532 w 2124624"/>
                    <a:gd name="connsiteY806" fmla="*/ 859544 h 1479500"/>
                    <a:gd name="connsiteX807" fmla="*/ 1658004 w 2124624"/>
                    <a:gd name="connsiteY807" fmla="*/ 864611 h 1479500"/>
                    <a:gd name="connsiteX808" fmla="*/ 1663655 w 2124624"/>
                    <a:gd name="connsiteY808" fmla="*/ 859544 h 1479500"/>
                    <a:gd name="connsiteX809" fmla="*/ 1658004 w 2124624"/>
                    <a:gd name="connsiteY809" fmla="*/ 840290 h 1479500"/>
                    <a:gd name="connsiteX810" fmla="*/ 1592457 w 2124624"/>
                    <a:gd name="connsiteY810" fmla="*/ 845357 h 1479500"/>
                    <a:gd name="connsiteX811" fmla="*/ 1567594 w 2124624"/>
                    <a:gd name="connsiteY811" fmla="*/ 843330 h 1479500"/>
                    <a:gd name="connsiteX812" fmla="*/ 1575505 w 2124624"/>
                    <a:gd name="connsiteY812" fmla="*/ 836236 h 1479500"/>
                    <a:gd name="connsiteX813" fmla="*/ 1575505 w 2124624"/>
                    <a:gd name="connsiteY813" fmla="*/ 834210 h 1479500"/>
                    <a:gd name="connsiteX814" fmla="*/ 1586807 w 2124624"/>
                    <a:gd name="connsiteY814" fmla="*/ 839277 h 1479500"/>
                    <a:gd name="connsiteX815" fmla="*/ 1633142 w 2124624"/>
                    <a:gd name="connsiteY815" fmla="*/ 841303 h 1479500"/>
                    <a:gd name="connsiteX816" fmla="*/ 1644443 w 2124624"/>
                    <a:gd name="connsiteY816" fmla="*/ 834210 h 1479500"/>
                    <a:gd name="connsiteX817" fmla="*/ 1669305 w 2124624"/>
                    <a:gd name="connsiteY817" fmla="*/ 834210 h 1479500"/>
                    <a:gd name="connsiteX818" fmla="*/ 1669305 w 2124624"/>
                    <a:gd name="connsiteY818" fmla="*/ 829143 h 1479500"/>
                    <a:gd name="connsiteX819" fmla="*/ 1667045 w 2124624"/>
                    <a:gd name="connsiteY819" fmla="*/ 819009 h 1479500"/>
                    <a:gd name="connsiteX820" fmla="*/ 1639922 w 2124624"/>
                    <a:gd name="connsiteY820" fmla="*/ 813943 h 1479500"/>
                    <a:gd name="connsiteX821" fmla="*/ 1637662 w 2124624"/>
                    <a:gd name="connsiteY821" fmla="*/ 806849 h 1479500"/>
                    <a:gd name="connsiteX822" fmla="*/ 1561944 w 2124624"/>
                    <a:gd name="connsiteY822" fmla="*/ 813943 h 1479500"/>
                    <a:gd name="connsiteX823" fmla="*/ 1559684 w 2124624"/>
                    <a:gd name="connsiteY823" fmla="*/ 808876 h 1479500"/>
                    <a:gd name="connsiteX824" fmla="*/ 1575505 w 2124624"/>
                    <a:gd name="connsiteY824" fmla="*/ 806849 h 1479500"/>
                    <a:gd name="connsiteX825" fmla="*/ 1575505 w 2124624"/>
                    <a:gd name="connsiteY825" fmla="*/ 796716 h 1479500"/>
                    <a:gd name="connsiteX826" fmla="*/ 1567594 w 2124624"/>
                    <a:gd name="connsiteY826" fmla="*/ 794689 h 1479500"/>
                    <a:gd name="connsiteX827" fmla="*/ 1569855 w 2124624"/>
                    <a:gd name="connsiteY827" fmla="*/ 784555 h 1479500"/>
                    <a:gd name="connsiteX828" fmla="*/ 1589067 w 2124624"/>
                    <a:gd name="connsiteY828" fmla="*/ 798742 h 1479500"/>
                    <a:gd name="connsiteX829" fmla="*/ 1635402 w 2124624"/>
                    <a:gd name="connsiteY829" fmla="*/ 796716 h 1479500"/>
                    <a:gd name="connsiteX830" fmla="*/ 1641052 w 2124624"/>
                    <a:gd name="connsiteY830" fmla="*/ 801782 h 1479500"/>
                    <a:gd name="connsiteX831" fmla="*/ 1656874 w 2124624"/>
                    <a:gd name="connsiteY831" fmla="*/ 801782 h 1479500"/>
                    <a:gd name="connsiteX832" fmla="*/ 1664785 w 2124624"/>
                    <a:gd name="connsiteY832" fmla="*/ 813943 h 1479500"/>
                    <a:gd name="connsiteX833" fmla="*/ 1694168 w 2124624"/>
                    <a:gd name="connsiteY833" fmla="*/ 815969 h 1479500"/>
                    <a:gd name="connsiteX834" fmla="*/ 1699819 w 2124624"/>
                    <a:gd name="connsiteY834" fmla="*/ 828130 h 1479500"/>
                    <a:gd name="connsiteX835" fmla="*/ 1734852 w 2124624"/>
                    <a:gd name="connsiteY835" fmla="*/ 866637 h 1479500"/>
                    <a:gd name="connsiteX836" fmla="*/ 1756325 w 2124624"/>
                    <a:gd name="connsiteY836" fmla="*/ 876771 h 1479500"/>
                    <a:gd name="connsiteX837" fmla="*/ 1756325 w 2124624"/>
                    <a:gd name="connsiteY837" fmla="*/ 880824 h 1479500"/>
                    <a:gd name="connsiteX838" fmla="*/ 1764236 w 2124624"/>
                    <a:gd name="connsiteY838" fmla="*/ 873731 h 1479500"/>
                    <a:gd name="connsiteX839" fmla="*/ 1795879 w 2124624"/>
                    <a:gd name="connsiteY839" fmla="*/ 881838 h 1479500"/>
                    <a:gd name="connsiteX840" fmla="*/ 1799269 w 2124624"/>
                    <a:gd name="connsiteY840" fmla="*/ 882851 h 1479500"/>
                    <a:gd name="connsiteX841" fmla="*/ 1793618 w 2124624"/>
                    <a:gd name="connsiteY841" fmla="*/ 865624 h 1479500"/>
                    <a:gd name="connsiteX842" fmla="*/ 1801529 w 2124624"/>
                    <a:gd name="connsiteY842" fmla="*/ 860557 h 1479500"/>
                    <a:gd name="connsiteX843" fmla="*/ 1799269 w 2124624"/>
                    <a:gd name="connsiteY843" fmla="*/ 855490 h 1479500"/>
                    <a:gd name="connsiteX844" fmla="*/ 1793618 w 2124624"/>
                    <a:gd name="connsiteY844" fmla="*/ 826103 h 1479500"/>
                    <a:gd name="connsiteX845" fmla="*/ 1787968 w 2124624"/>
                    <a:gd name="connsiteY845" fmla="*/ 826103 h 1479500"/>
                    <a:gd name="connsiteX846" fmla="*/ 1785707 w 2124624"/>
                    <a:gd name="connsiteY846" fmla="*/ 811916 h 1479500"/>
                    <a:gd name="connsiteX847" fmla="*/ 1777797 w 2124624"/>
                    <a:gd name="connsiteY847" fmla="*/ 811916 h 1479500"/>
                    <a:gd name="connsiteX848" fmla="*/ 1772147 w 2124624"/>
                    <a:gd name="connsiteY848" fmla="*/ 819009 h 1479500"/>
                    <a:gd name="connsiteX849" fmla="*/ 1772147 w 2124624"/>
                    <a:gd name="connsiteY849" fmla="*/ 806849 h 1479500"/>
                    <a:gd name="connsiteX850" fmla="*/ 1774406 w 2124624"/>
                    <a:gd name="connsiteY850" fmla="*/ 801782 h 1479500"/>
                    <a:gd name="connsiteX851" fmla="*/ 1760845 w 2124624"/>
                    <a:gd name="connsiteY851" fmla="*/ 803809 h 1479500"/>
                    <a:gd name="connsiteX852" fmla="*/ 1763105 w 2124624"/>
                    <a:gd name="connsiteY852" fmla="*/ 793676 h 1479500"/>
                    <a:gd name="connsiteX853" fmla="*/ 1747284 w 2124624"/>
                    <a:gd name="connsiteY853" fmla="*/ 781515 h 1479500"/>
                    <a:gd name="connsiteX854" fmla="*/ 1731462 w 2124624"/>
                    <a:gd name="connsiteY854" fmla="*/ 779489 h 1479500"/>
                    <a:gd name="connsiteX855" fmla="*/ 1712250 w 2124624"/>
                    <a:gd name="connsiteY855" fmla="*/ 765302 h 1479500"/>
                    <a:gd name="connsiteX856" fmla="*/ 1671566 w 2124624"/>
                    <a:gd name="connsiteY856" fmla="*/ 767328 h 1479500"/>
                    <a:gd name="connsiteX857" fmla="*/ 1673826 w 2124624"/>
                    <a:gd name="connsiteY857" fmla="*/ 762261 h 1479500"/>
                    <a:gd name="connsiteX858" fmla="*/ 1695298 w 2124624"/>
                    <a:gd name="connsiteY858" fmla="*/ 757195 h 1479500"/>
                    <a:gd name="connsiteX859" fmla="*/ 1676086 w 2124624"/>
                    <a:gd name="connsiteY859" fmla="*/ 739968 h 1479500"/>
                    <a:gd name="connsiteX860" fmla="*/ 1670435 w 2124624"/>
                    <a:gd name="connsiteY860" fmla="*/ 741994 h 1479500"/>
                    <a:gd name="connsiteX861" fmla="*/ 1662525 w 2124624"/>
                    <a:gd name="connsiteY861" fmla="*/ 749088 h 1479500"/>
                    <a:gd name="connsiteX862" fmla="*/ 1646703 w 2124624"/>
                    <a:gd name="connsiteY862" fmla="*/ 751114 h 1479500"/>
                    <a:gd name="connsiteX863" fmla="*/ 1644443 w 2124624"/>
                    <a:gd name="connsiteY863" fmla="*/ 756181 h 1479500"/>
                    <a:gd name="connsiteX864" fmla="*/ 1630881 w 2124624"/>
                    <a:gd name="connsiteY864" fmla="*/ 754155 h 1479500"/>
                    <a:gd name="connsiteX865" fmla="*/ 1633142 w 2124624"/>
                    <a:gd name="connsiteY865" fmla="*/ 747061 h 1479500"/>
                    <a:gd name="connsiteX866" fmla="*/ 1621840 w 2124624"/>
                    <a:gd name="connsiteY866" fmla="*/ 741994 h 1479500"/>
                    <a:gd name="connsiteX867" fmla="*/ 1613929 w 2124624"/>
                    <a:gd name="connsiteY867" fmla="*/ 744021 h 1479500"/>
                    <a:gd name="connsiteX868" fmla="*/ 1616190 w 2124624"/>
                    <a:gd name="connsiteY868" fmla="*/ 733887 h 1479500"/>
                    <a:gd name="connsiteX869" fmla="*/ 1604889 w 2124624"/>
                    <a:gd name="connsiteY869" fmla="*/ 731861 h 1479500"/>
                    <a:gd name="connsiteX870" fmla="*/ 1602628 w 2124624"/>
                    <a:gd name="connsiteY870" fmla="*/ 724767 h 1479500"/>
                    <a:gd name="connsiteX871" fmla="*/ 1602628 w 2124624"/>
                    <a:gd name="connsiteY871" fmla="*/ 722741 h 1479500"/>
                    <a:gd name="connsiteX872" fmla="*/ 1616190 w 2124624"/>
                    <a:gd name="connsiteY872" fmla="*/ 720714 h 1479500"/>
                    <a:gd name="connsiteX873" fmla="*/ 1621840 w 2124624"/>
                    <a:gd name="connsiteY873" fmla="*/ 713620 h 1479500"/>
                    <a:gd name="connsiteX874" fmla="*/ 1613929 w 2124624"/>
                    <a:gd name="connsiteY874" fmla="*/ 711594 h 1479500"/>
                    <a:gd name="connsiteX875" fmla="*/ 1648963 w 2124624"/>
                    <a:gd name="connsiteY875" fmla="*/ 711594 h 1479500"/>
                    <a:gd name="connsiteX876" fmla="*/ 1668175 w 2124624"/>
                    <a:gd name="connsiteY876" fmla="*/ 699433 h 1479500"/>
                    <a:gd name="connsiteX877" fmla="*/ 1676086 w 2124624"/>
                    <a:gd name="connsiteY877" fmla="*/ 699433 h 1479500"/>
                    <a:gd name="connsiteX878" fmla="*/ 1678346 w 2124624"/>
                    <a:gd name="connsiteY878" fmla="*/ 692340 h 1479500"/>
                    <a:gd name="connsiteX879" fmla="*/ 1697558 w 2124624"/>
                    <a:gd name="connsiteY879" fmla="*/ 690313 h 1479500"/>
                    <a:gd name="connsiteX880" fmla="*/ 1697558 w 2124624"/>
                    <a:gd name="connsiteY880" fmla="*/ 676126 h 1479500"/>
                    <a:gd name="connsiteX881" fmla="*/ 1708859 w 2124624"/>
                    <a:gd name="connsiteY881" fmla="*/ 676126 h 1479500"/>
                    <a:gd name="connsiteX882" fmla="*/ 1708859 w 2124624"/>
                    <a:gd name="connsiteY882" fmla="*/ 695380 h 1479500"/>
                    <a:gd name="connsiteX883" fmla="*/ 1735983 w 2124624"/>
                    <a:gd name="connsiteY883" fmla="*/ 697407 h 1479500"/>
                    <a:gd name="connsiteX884" fmla="*/ 1741633 w 2124624"/>
                    <a:gd name="connsiteY884" fmla="*/ 702473 h 1479500"/>
                    <a:gd name="connsiteX885" fmla="*/ 1760845 w 2124624"/>
                    <a:gd name="connsiteY885" fmla="*/ 702473 h 1479500"/>
                    <a:gd name="connsiteX886" fmla="*/ 1772147 w 2124624"/>
                    <a:gd name="connsiteY886" fmla="*/ 709567 h 1479500"/>
                    <a:gd name="connsiteX887" fmla="*/ 1810570 w 2124624"/>
                    <a:gd name="connsiteY887" fmla="*/ 697407 h 1479500"/>
                    <a:gd name="connsiteX888" fmla="*/ 1810570 w 2124624"/>
                    <a:gd name="connsiteY888" fmla="*/ 690313 h 1479500"/>
                    <a:gd name="connsiteX889" fmla="*/ 1837693 w 2124624"/>
                    <a:gd name="connsiteY889" fmla="*/ 685246 h 1479500"/>
                    <a:gd name="connsiteX890" fmla="*/ 1837693 w 2124624"/>
                    <a:gd name="connsiteY890" fmla="*/ 665993 h 1479500"/>
                    <a:gd name="connsiteX891" fmla="*/ 1824132 w 2124624"/>
                    <a:gd name="connsiteY891" fmla="*/ 665993 h 1479500"/>
                    <a:gd name="connsiteX892" fmla="*/ 1791358 w 2124624"/>
                    <a:gd name="connsiteY892" fmla="*/ 676126 h 1479500"/>
                    <a:gd name="connsiteX893" fmla="*/ 1785707 w 2124624"/>
                    <a:gd name="connsiteY893" fmla="*/ 661939 h 1479500"/>
                    <a:gd name="connsiteX894" fmla="*/ 1777797 w 2124624"/>
                    <a:gd name="connsiteY894" fmla="*/ 661939 h 1479500"/>
                    <a:gd name="connsiteX895" fmla="*/ 1780057 w 2124624"/>
                    <a:gd name="connsiteY895" fmla="*/ 642685 h 1479500"/>
                    <a:gd name="connsiteX896" fmla="*/ 1780057 w 2124624"/>
                    <a:gd name="connsiteY896" fmla="*/ 625458 h 1479500"/>
                    <a:gd name="connsiteX897" fmla="*/ 1799269 w 2124624"/>
                    <a:gd name="connsiteY897" fmla="*/ 635592 h 1479500"/>
                    <a:gd name="connsiteX898" fmla="*/ 1847864 w 2124624"/>
                    <a:gd name="connsiteY898" fmla="*/ 640659 h 1479500"/>
                    <a:gd name="connsiteX899" fmla="*/ 1877248 w 2124624"/>
                    <a:gd name="connsiteY899" fmla="*/ 650792 h 1479500"/>
                    <a:gd name="connsiteX900" fmla="*/ 1885158 w 2124624"/>
                    <a:gd name="connsiteY900" fmla="*/ 643699 h 1479500"/>
                    <a:gd name="connsiteX901" fmla="*/ 1887418 w 2124624"/>
                    <a:gd name="connsiteY901" fmla="*/ 633565 h 1479500"/>
                    <a:gd name="connsiteX902" fmla="*/ 1865946 w 2124624"/>
                    <a:gd name="connsiteY902" fmla="*/ 628498 h 1479500"/>
                    <a:gd name="connsiteX903" fmla="*/ 1858035 w 2124624"/>
                    <a:gd name="connsiteY903" fmla="*/ 633565 h 1479500"/>
                    <a:gd name="connsiteX904" fmla="*/ 1825262 w 2124624"/>
                    <a:gd name="connsiteY904" fmla="*/ 633565 h 1479500"/>
                    <a:gd name="connsiteX905" fmla="*/ 1827522 w 2124624"/>
                    <a:gd name="connsiteY905" fmla="*/ 626472 h 1479500"/>
                    <a:gd name="connsiteX906" fmla="*/ 1816221 w 2124624"/>
                    <a:gd name="connsiteY906" fmla="*/ 614311 h 1479500"/>
                    <a:gd name="connsiteX907" fmla="*/ 1813960 w 2124624"/>
                    <a:gd name="connsiteY907" fmla="*/ 621405 h 1479500"/>
                    <a:gd name="connsiteX908" fmla="*/ 1798139 w 2124624"/>
                    <a:gd name="connsiteY908" fmla="*/ 619378 h 1479500"/>
                    <a:gd name="connsiteX909" fmla="*/ 1817351 w 2124624"/>
                    <a:gd name="connsiteY909" fmla="*/ 607218 h 1479500"/>
                    <a:gd name="connsiteX910" fmla="*/ 1825262 w 2124624"/>
                    <a:gd name="connsiteY910" fmla="*/ 602151 h 1479500"/>
                    <a:gd name="connsiteX911" fmla="*/ 1786838 w 2124624"/>
                    <a:gd name="connsiteY911" fmla="*/ 582897 h 1479500"/>
                    <a:gd name="connsiteX912" fmla="*/ 1789098 w 2124624"/>
                    <a:gd name="connsiteY912" fmla="*/ 575804 h 1479500"/>
                    <a:gd name="connsiteX913" fmla="*/ 1797009 w 2124624"/>
                    <a:gd name="connsiteY913" fmla="*/ 577831 h 1479500"/>
                    <a:gd name="connsiteX914" fmla="*/ 1802659 w 2124624"/>
                    <a:gd name="connsiteY914" fmla="*/ 579857 h 1479500"/>
                    <a:gd name="connsiteX915" fmla="*/ 1827522 w 2124624"/>
                    <a:gd name="connsiteY915" fmla="*/ 581884 h 1479500"/>
                    <a:gd name="connsiteX916" fmla="*/ 1841084 w 2124624"/>
                    <a:gd name="connsiteY916" fmla="*/ 576817 h 1479500"/>
                    <a:gd name="connsiteX917" fmla="*/ 1841084 w 2124624"/>
                    <a:gd name="connsiteY917" fmla="*/ 583911 h 1479500"/>
                    <a:gd name="connsiteX918" fmla="*/ 1846734 w 2124624"/>
                    <a:gd name="connsiteY918" fmla="*/ 585937 h 1479500"/>
                    <a:gd name="connsiteX919" fmla="*/ 1846734 w 2124624"/>
                    <a:gd name="connsiteY919" fmla="*/ 587964 h 1479500"/>
                    <a:gd name="connsiteX920" fmla="*/ 1858035 w 2124624"/>
                    <a:gd name="connsiteY920" fmla="*/ 587964 h 1479500"/>
                    <a:gd name="connsiteX921" fmla="*/ 1855775 w 2124624"/>
                    <a:gd name="connsiteY921" fmla="*/ 537296 h 1479500"/>
                    <a:gd name="connsiteX922" fmla="*/ 1844474 w 2124624"/>
                    <a:gd name="connsiteY922" fmla="*/ 535270 h 1479500"/>
                    <a:gd name="connsiteX923" fmla="*/ 1850124 w 2124624"/>
                    <a:gd name="connsiteY923" fmla="*/ 530203 h 1479500"/>
                    <a:gd name="connsiteX924" fmla="*/ 1847864 w 2124624"/>
                    <a:gd name="connsiteY924" fmla="*/ 516016 h 1479500"/>
                    <a:gd name="connsiteX925" fmla="*/ 1815091 w 2124624"/>
                    <a:gd name="connsiteY925" fmla="*/ 528176 h 1479500"/>
                    <a:gd name="connsiteX926" fmla="*/ 1809440 w 2124624"/>
                    <a:gd name="connsiteY926" fmla="*/ 521083 h 1479500"/>
                    <a:gd name="connsiteX927" fmla="*/ 1793618 w 2124624"/>
                    <a:gd name="connsiteY927" fmla="*/ 523109 h 1479500"/>
                    <a:gd name="connsiteX928" fmla="*/ 1793618 w 2124624"/>
                    <a:gd name="connsiteY928" fmla="*/ 510949 h 1479500"/>
                    <a:gd name="connsiteX929" fmla="*/ 1807180 w 2124624"/>
                    <a:gd name="connsiteY929" fmla="*/ 512976 h 1479500"/>
                    <a:gd name="connsiteX930" fmla="*/ 1812831 w 2124624"/>
                    <a:gd name="connsiteY930" fmla="*/ 505882 h 1479500"/>
                    <a:gd name="connsiteX931" fmla="*/ 1815091 w 2124624"/>
                    <a:gd name="connsiteY931" fmla="*/ 491695 h 1479500"/>
                    <a:gd name="connsiteX932" fmla="*/ 1812831 w 2124624"/>
                    <a:gd name="connsiteY932" fmla="*/ 486628 h 1479500"/>
                    <a:gd name="connsiteX933" fmla="*/ 1815091 w 2124624"/>
                    <a:gd name="connsiteY933" fmla="*/ 479535 h 1479500"/>
                    <a:gd name="connsiteX934" fmla="*/ 1869337 w 2124624"/>
                    <a:gd name="connsiteY934" fmla="*/ 484602 h 1479500"/>
                    <a:gd name="connsiteX935" fmla="*/ 1885158 w 2124624"/>
                    <a:gd name="connsiteY935" fmla="*/ 494735 h 1479500"/>
                    <a:gd name="connsiteX936" fmla="*/ 1910021 w 2124624"/>
                    <a:gd name="connsiteY936" fmla="*/ 492709 h 1479500"/>
                    <a:gd name="connsiteX937" fmla="*/ 1907761 w 2124624"/>
                    <a:gd name="connsiteY937" fmla="*/ 487642 h 1479500"/>
                    <a:gd name="connsiteX938" fmla="*/ 1902110 w 2124624"/>
                    <a:gd name="connsiteY938" fmla="*/ 468388 h 1479500"/>
                    <a:gd name="connsiteX939" fmla="*/ 1899850 w 2124624"/>
                    <a:gd name="connsiteY939" fmla="*/ 456228 h 1479500"/>
                    <a:gd name="connsiteX940" fmla="*/ 1891939 w 2124624"/>
                    <a:gd name="connsiteY940" fmla="*/ 451161 h 1479500"/>
                    <a:gd name="connsiteX941" fmla="*/ 1886288 w 2124624"/>
                    <a:gd name="connsiteY941" fmla="*/ 446094 h 1479500"/>
                    <a:gd name="connsiteX942" fmla="*/ 1878377 w 2124624"/>
                    <a:gd name="connsiteY942" fmla="*/ 446094 h 1479500"/>
                    <a:gd name="connsiteX943" fmla="*/ 1876117 w 2124624"/>
                    <a:gd name="connsiteY943" fmla="*/ 456228 h 1479500"/>
                    <a:gd name="connsiteX944" fmla="*/ 1860296 w 2124624"/>
                    <a:gd name="connsiteY944" fmla="*/ 454201 h 1479500"/>
                    <a:gd name="connsiteX945" fmla="*/ 1841084 w 2124624"/>
                    <a:gd name="connsiteY945" fmla="*/ 456228 h 1479500"/>
                    <a:gd name="connsiteX946" fmla="*/ 1841084 w 2124624"/>
                    <a:gd name="connsiteY946" fmla="*/ 429880 h 1479500"/>
                    <a:gd name="connsiteX947" fmla="*/ 1868207 w 2124624"/>
                    <a:gd name="connsiteY947" fmla="*/ 434947 h 1479500"/>
                    <a:gd name="connsiteX948" fmla="*/ 1854645 w 2124624"/>
                    <a:gd name="connsiteY948" fmla="*/ 420760 h 1479500"/>
                    <a:gd name="connsiteX949" fmla="*/ 1848995 w 2124624"/>
                    <a:gd name="connsiteY949" fmla="*/ 413667 h 1479500"/>
                    <a:gd name="connsiteX950" fmla="*/ 1829782 w 2124624"/>
                    <a:gd name="connsiteY950" fmla="*/ 418734 h 1479500"/>
                    <a:gd name="connsiteX951" fmla="*/ 1800400 w 2124624"/>
                    <a:gd name="connsiteY951" fmla="*/ 408600 h 1479500"/>
                    <a:gd name="connsiteX952" fmla="*/ 1792489 w 2124624"/>
                    <a:gd name="connsiteY952" fmla="*/ 413667 h 1479500"/>
                    <a:gd name="connsiteX953" fmla="*/ 1792489 w 2124624"/>
                    <a:gd name="connsiteY953" fmla="*/ 406573 h 1479500"/>
                    <a:gd name="connsiteX954" fmla="*/ 1794749 w 2124624"/>
                    <a:gd name="connsiteY954" fmla="*/ 392386 h 1479500"/>
                    <a:gd name="connsiteX955" fmla="*/ 1846734 w 2124624"/>
                    <a:gd name="connsiteY955" fmla="*/ 406573 h 1479500"/>
                    <a:gd name="connsiteX956" fmla="*/ 1852385 w 2124624"/>
                    <a:gd name="connsiteY956" fmla="*/ 384279 h 1479500"/>
                    <a:gd name="connsiteX957" fmla="*/ 1877248 w 2124624"/>
                    <a:gd name="connsiteY957" fmla="*/ 370092 h 1479500"/>
                    <a:gd name="connsiteX958" fmla="*/ 1874987 w 2124624"/>
                    <a:gd name="connsiteY958" fmla="*/ 362999 h 1479500"/>
                    <a:gd name="connsiteX959" fmla="*/ 1874987 w 2124624"/>
                    <a:gd name="connsiteY959" fmla="*/ 350839 h 1479500"/>
                    <a:gd name="connsiteX960" fmla="*/ 1874987 w 2124624"/>
                    <a:gd name="connsiteY960" fmla="*/ 324491 h 1479500"/>
                    <a:gd name="connsiteX961" fmla="*/ 1926972 w 2124624"/>
                    <a:gd name="connsiteY961" fmla="*/ 319425 h 1479500"/>
                    <a:gd name="connsiteX962" fmla="*/ 1926972 w 2124624"/>
                    <a:gd name="connsiteY962" fmla="*/ 305238 h 1479500"/>
                    <a:gd name="connsiteX963" fmla="*/ 1921322 w 2124624"/>
                    <a:gd name="connsiteY963" fmla="*/ 278890 h 1479500"/>
                    <a:gd name="connsiteX964" fmla="*/ 1888549 w 2124624"/>
                    <a:gd name="connsiteY964" fmla="*/ 276864 h 1479500"/>
                    <a:gd name="connsiteX965" fmla="*/ 1880638 w 2124624"/>
                    <a:gd name="connsiteY965" fmla="*/ 283957 h 1479500"/>
                    <a:gd name="connsiteX966" fmla="*/ 1851255 w 2124624"/>
                    <a:gd name="connsiteY966" fmla="*/ 296117 h 1479500"/>
                    <a:gd name="connsiteX967" fmla="*/ 1848995 w 2124624"/>
                    <a:gd name="connsiteY967" fmla="*/ 283957 h 1479500"/>
                    <a:gd name="connsiteX968" fmla="*/ 1846734 w 2124624"/>
                    <a:gd name="connsiteY968" fmla="*/ 264703 h 1479500"/>
                    <a:gd name="connsiteX969" fmla="*/ 1928103 w 2124624"/>
                    <a:gd name="connsiteY969" fmla="*/ 269770 h 1479500"/>
                    <a:gd name="connsiteX970" fmla="*/ 1957486 w 2124624"/>
                    <a:gd name="connsiteY970" fmla="*/ 269770 h 1479500"/>
                    <a:gd name="connsiteX971" fmla="*/ 1971047 w 2124624"/>
                    <a:gd name="connsiteY971" fmla="*/ 271797 h 1479500"/>
                    <a:gd name="connsiteX972" fmla="*/ 2003821 w 2124624"/>
                    <a:gd name="connsiteY972" fmla="*/ 240383 h 1479500"/>
                    <a:gd name="connsiteX973" fmla="*/ 2006081 w 2124624"/>
                    <a:gd name="connsiteY973" fmla="*/ 233289 h 1479500"/>
                    <a:gd name="connsiteX974" fmla="*/ 1976698 w 2124624"/>
                    <a:gd name="connsiteY974" fmla="*/ 231262 h 1479500"/>
                    <a:gd name="connsiteX975" fmla="*/ 1968787 w 2124624"/>
                    <a:gd name="connsiteY975" fmla="*/ 241396 h 1479500"/>
                    <a:gd name="connsiteX976" fmla="*/ 1947315 w 2124624"/>
                    <a:gd name="connsiteY976" fmla="*/ 239369 h 1479500"/>
                    <a:gd name="connsiteX977" fmla="*/ 1912281 w 2124624"/>
                    <a:gd name="connsiteY977" fmla="*/ 246463 h 1479500"/>
                    <a:gd name="connsiteX978" fmla="*/ 1890809 w 2124624"/>
                    <a:gd name="connsiteY978" fmla="*/ 234303 h 1479500"/>
                    <a:gd name="connsiteX979" fmla="*/ 1923582 w 2124624"/>
                    <a:gd name="connsiteY979" fmla="*/ 232276 h 1479500"/>
                    <a:gd name="connsiteX980" fmla="*/ 1929233 w 2124624"/>
                    <a:gd name="connsiteY980" fmla="*/ 225182 h 1479500"/>
                    <a:gd name="connsiteX981" fmla="*/ 1975568 w 2124624"/>
                    <a:gd name="connsiteY981" fmla="*/ 230249 h 1479500"/>
                    <a:gd name="connsiteX982" fmla="*/ 1994780 w 2124624"/>
                    <a:gd name="connsiteY982" fmla="*/ 225182 h 1479500"/>
                    <a:gd name="connsiteX983" fmla="*/ 2019642 w 2124624"/>
                    <a:gd name="connsiteY983" fmla="*/ 230249 h 1479500"/>
                    <a:gd name="connsiteX984" fmla="*/ 2025293 w 2124624"/>
                    <a:gd name="connsiteY984" fmla="*/ 220116 h 1479500"/>
                    <a:gd name="connsiteX985" fmla="*/ 2058067 w 2124624"/>
                    <a:gd name="connsiteY985" fmla="*/ 215049 h 1479500"/>
                    <a:gd name="connsiteX986" fmla="*/ 2060327 w 2124624"/>
                    <a:gd name="connsiteY986" fmla="*/ 202888 h 1479500"/>
                    <a:gd name="connsiteX987" fmla="*/ 2076148 w 2124624"/>
                    <a:gd name="connsiteY987" fmla="*/ 202888 h 1479500"/>
                    <a:gd name="connsiteX988" fmla="*/ 2091970 w 2124624"/>
                    <a:gd name="connsiteY988" fmla="*/ 190728 h 1479500"/>
                    <a:gd name="connsiteX989" fmla="*/ 2113442 w 2124624"/>
                    <a:gd name="connsiteY989" fmla="*/ 192755 h 1479500"/>
                    <a:gd name="connsiteX990" fmla="*/ 2121353 w 2124624"/>
                    <a:gd name="connsiteY990" fmla="*/ 185661 h 1479500"/>
                    <a:gd name="connsiteX991" fmla="*/ 2102141 w 2124624"/>
                    <a:gd name="connsiteY991" fmla="*/ 168434 h 1479500"/>
                    <a:gd name="connsiteX992" fmla="*/ 2059196 w 2124624"/>
                    <a:gd name="connsiteY992" fmla="*/ 170461 h 1479500"/>
                    <a:gd name="connsiteX993" fmla="*/ 2002691 w 2124624"/>
                    <a:gd name="connsiteY993" fmla="*/ 160327 h 1479500"/>
                    <a:gd name="connsiteX994" fmla="*/ 1962006 w 2124624"/>
                    <a:gd name="connsiteY994" fmla="*/ 162354 h 1479500"/>
                    <a:gd name="connsiteX995" fmla="*/ 1934883 w 2124624"/>
                    <a:gd name="connsiteY995" fmla="*/ 160327 h 1479500"/>
                    <a:gd name="connsiteX996" fmla="*/ 1932623 w 2124624"/>
                    <a:gd name="connsiteY996" fmla="*/ 172488 h 1479500"/>
                    <a:gd name="connsiteX997" fmla="*/ 1894199 w 2124624"/>
                    <a:gd name="connsiteY997" fmla="*/ 177555 h 1479500"/>
                    <a:gd name="connsiteX998" fmla="*/ 1894199 w 2124624"/>
                    <a:gd name="connsiteY998" fmla="*/ 187688 h 1479500"/>
                    <a:gd name="connsiteX999" fmla="*/ 1882898 w 2124624"/>
                    <a:gd name="connsiteY999" fmla="*/ 182621 h 1479500"/>
                    <a:gd name="connsiteX1000" fmla="*/ 1855775 w 2124624"/>
                    <a:gd name="connsiteY1000" fmla="*/ 187688 h 1479500"/>
                    <a:gd name="connsiteX1001" fmla="*/ 1844474 w 2124624"/>
                    <a:gd name="connsiteY1001" fmla="*/ 168434 h 1479500"/>
                    <a:gd name="connsiteX1002" fmla="*/ 1809440 w 2124624"/>
                    <a:gd name="connsiteY1002" fmla="*/ 192755 h 1479500"/>
                    <a:gd name="connsiteX1003" fmla="*/ 1795879 w 2124624"/>
                    <a:gd name="connsiteY1003" fmla="*/ 192755 h 1479500"/>
                    <a:gd name="connsiteX1004" fmla="*/ 1782317 w 2124624"/>
                    <a:gd name="connsiteY1004" fmla="*/ 206942 h 1479500"/>
                    <a:gd name="connsiteX1005" fmla="*/ 1730332 w 2124624"/>
                    <a:gd name="connsiteY1005" fmla="*/ 214035 h 1479500"/>
                    <a:gd name="connsiteX1006" fmla="*/ 1716770 w 2124624"/>
                    <a:gd name="connsiteY1006" fmla="*/ 212009 h 1479500"/>
                    <a:gd name="connsiteX1007" fmla="*/ 1705469 w 2124624"/>
                    <a:gd name="connsiteY1007" fmla="*/ 217075 h 1479500"/>
                    <a:gd name="connsiteX1008" fmla="*/ 1691908 w 2124624"/>
                    <a:gd name="connsiteY1008" fmla="*/ 209982 h 1479500"/>
                    <a:gd name="connsiteX1009" fmla="*/ 1721291 w 2124624"/>
                    <a:gd name="connsiteY1009" fmla="*/ 197822 h 1479500"/>
                    <a:gd name="connsiteX1010" fmla="*/ 1734852 w 2124624"/>
                    <a:gd name="connsiteY1010" fmla="*/ 199848 h 1479500"/>
                    <a:gd name="connsiteX1011" fmla="*/ 1740503 w 2124624"/>
                    <a:gd name="connsiteY1011" fmla="*/ 192755 h 1479500"/>
                    <a:gd name="connsiteX1012" fmla="*/ 1759715 w 2124624"/>
                    <a:gd name="connsiteY1012" fmla="*/ 187688 h 1479500"/>
                    <a:gd name="connsiteX1013" fmla="*/ 1781187 w 2124624"/>
                    <a:gd name="connsiteY1013" fmla="*/ 158301 h 1479500"/>
                    <a:gd name="connsiteX1014" fmla="*/ 1778927 w 2124624"/>
                    <a:gd name="connsiteY1014" fmla="*/ 146141 h 1479500"/>
                    <a:gd name="connsiteX1015" fmla="*/ 1735983 w 2124624"/>
                    <a:gd name="connsiteY1015" fmla="*/ 148167 h 1479500"/>
                    <a:gd name="connsiteX1016" fmla="*/ 1716770 w 2124624"/>
                    <a:gd name="connsiteY1016" fmla="*/ 146141 h 1479500"/>
                    <a:gd name="connsiteX1017" fmla="*/ 1711120 w 2124624"/>
                    <a:gd name="connsiteY1017" fmla="*/ 151207 h 1479500"/>
                    <a:gd name="connsiteX1018" fmla="*/ 1711120 w 2124624"/>
                    <a:gd name="connsiteY1018" fmla="*/ 170461 h 1479500"/>
                    <a:gd name="connsiteX1019" fmla="*/ 1629751 w 2124624"/>
                    <a:gd name="connsiteY1019" fmla="*/ 172488 h 1479500"/>
                    <a:gd name="connsiteX1020" fmla="*/ 1635402 w 2124624"/>
                    <a:gd name="connsiteY1020" fmla="*/ 167421 h 1479500"/>
                    <a:gd name="connsiteX1021" fmla="*/ 1635402 w 2124624"/>
                    <a:gd name="connsiteY1021" fmla="*/ 148167 h 1479500"/>
                    <a:gd name="connsiteX1022" fmla="*/ 1629751 w 2124624"/>
                    <a:gd name="connsiteY1022" fmla="*/ 146141 h 1479500"/>
                    <a:gd name="connsiteX1023" fmla="*/ 1540472 w 2124624"/>
                    <a:gd name="connsiteY1023" fmla="*/ 148167 h 1479500"/>
                    <a:gd name="connsiteX1024" fmla="*/ 1521260 w 2124624"/>
                    <a:gd name="connsiteY1024" fmla="*/ 153234 h 1479500"/>
                    <a:gd name="connsiteX1025" fmla="*/ 1496397 w 2124624"/>
                    <a:gd name="connsiteY1025" fmla="*/ 148167 h 1479500"/>
                    <a:gd name="connsiteX1026" fmla="*/ 1480575 w 2124624"/>
                    <a:gd name="connsiteY1026" fmla="*/ 153234 h 1479500"/>
                    <a:gd name="connsiteX1027" fmla="*/ 1467014 w 2124624"/>
                    <a:gd name="connsiteY1027" fmla="*/ 151207 h 1479500"/>
                    <a:gd name="connsiteX1028" fmla="*/ 1426330 w 2124624"/>
                    <a:gd name="connsiteY1028" fmla="*/ 168434 h 1479500"/>
                    <a:gd name="connsiteX1029" fmla="*/ 1393556 w 2124624"/>
                    <a:gd name="connsiteY1029" fmla="*/ 168434 h 1479500"/>
                    <a:gd name="connsiteX1030" fmla="*/ 1385645 w 2124624"/>
                    <a:gd name="connsiteY1030" fmla="*/ 180595 h 1479500"/>
                    <a:gd name="connsiteX1031" fmla="*/ 1372084 w 2124624"/>
                    <a:gd name="connsiteY1031" fmla="*/ 178568 h 1479500"/>
                    <a:gd name="connsiteX1032" fmla="*/ 1377735 w 2124624"/>
                    <a:gd name="connsiteY1032" fmla="*/ 168434 h 1479500"/>
                    <a:gd name="connsiteX1033" fmla="*/ 1426330 w 2124624"/>
                    <a:gd name="connsiteY1033" fmla="*/ 161341 h 1479500"/>
                    <a:gd name="connsiteX1034" fmla="*/ 1434241 w 2124624"/>
                    <a:gd name="connsiteY1034" fmla="*/ 154247 h 1479500"/>
                    <a:gd name="connsiteX1035" fmla="*/ 1434241 w 2124624"/>
                    <a:gd name="connsiteY1035" fmla="*/ 152221 h 1479500"/>
                    <a:gd name="connsiteX1036" fmla="*/ 1461363 w 2124624"/>
                    <a:gd name="connsiteY1036" fmla="*/ 150194 h 1479500"/>
                    <a:gd name="connsiteX1037" fmla="*/ 1463624 w 2124624"/>
                    <a:gd name="connsiteY1037" fmla="*/ 140060 h 1479500"/>
                    <a:gd name="connsiteX1038" fmla="*/ 1485096 w 2124624"/>
                    <a:gd name="connsiteY1038" fmla="*/ 132967 h 1479500"/>
                    <a:gd name="connsiteX1039" fmla="*/ 1512219 w 2124624"/>
                    <a:gd name="connsiteY1039" fmla="*/ 134994 h 1479500"/>
                    <a:gd name="connsiteX1040" fmla="*/ 1574375 w 2124624"/>
                    <a:gd name="connsiteY1040" fmla="*/ 132967 h 1479500"/>
                    <a:gd name="connsiteX1041" fmla="*/ 1603758 w 2124624"/>
                    <a:gd name="connsiteY1041" fmla="*/ 130940 h 1479500"/>
                    <a:gd name="connsiteX1042" fmla="*/ 1696428 w 2124624"/>
                    <a:gd name="connsiteY1042" fmla="*/ 128913 h 1479500"/>
                    <a:gd name="connsiteX1043" fmla="*/ 1737112 w 2124624"/>
                    <a:gd name="connsiteY1043" fmla="*/ 133980 h 1479500"/>
                    <a:gd name="connsiteX1044" fmla="*/ 1764236 w 2124624"/>
                    <a:gd name="connsiteY1044" fmla="*/ 126887 h 1479500"/>
                    <a:gd name="connsiteX1045" fmla="*/ 1803790 w 2124624"/>
                    <a:gd name="connsiteY1045" fmla="*/ 128913 h 147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Lst>
                  <a:rect l="l" t="t" r="r" b="b"/>
                  <a:pathLst>
                    <a:path w="2124624" h="1479500">
                      <a:moveTo>
                        <a:pt x="1885158" y="493722"/>
                      </a:moveTo>
                      <a:lnTo>
                        <a:pt x="1887418" y="498789"/>
                      </a:lnTo>
                      <a:cubicBezTo>
                        <a:pt x="1887418" y="494735"/>
                        <a:pt x="1890809" y="493722"/>
                        <a:pt x="1885158" y="493722"/>
                      </a:cubicBezTo>
                      <a:close/>
                      <a:moveTo>
                        <a:pt x="1017226" y="1461478"/>
                      </a:moveTo>
                      <a:lnTo>
                        <a:pt x="1014966" y="1471611"/>
                      </a:lnTo>
                      <a:cubicBezTo>
                        <a:pt x="1018357" y="1471611"/>
                        <a:pt x="1021747" y="1475665"/>
                        <a:pt x="1028528" y="1473638"/>
                      </a:cubicBezTo>
                      <a:cubicBezTo>
                        <a:pt x="1031918" y="1472625"/>
                        <a:pt x="1028528" y="1466544"/>
                        <a:pt x="1028528" y="1466544"/>
                      </a:cubicBezTo>
                      <a:cubicBezTo>
                        <a:pt x="1025137" y="1464518"/>
                        <a:pt x="1020617" y="1463504"/>
                        <a:pt x="1017226" y="1461478"/>
                      </a:cubicBezTo>
                      <a:close/>
                      <a:moveTo>
                        <a:pt x="972022" y="1407770"/>
                      </a:moveTo>
                      <a:cubicBezTo>
                        <a:pt x="970891" y="1407770"/>
                        <a:pt x="970891" y="1414863"/>
                        <a:pt x="969761" y="1414863"/>
                      </a:cubicBezTo>
                      <a:cubicBezTo>
                        <a:pt x="962980" y="1417903"/>
                        <a:pt x="969761" y="1408783"/>
                        <a:pt x="972022" y="1407770"/>
                      </a:cubicBezTo>
                      <a:close/>
                      <a:moveTo>
                        <a:pt x="1801529" y="634579"/>
                      </a:moveTo>
                      <a:cubicBezTo>
                        <a:pt x="1801529" y="634579"/>
                        <a:pt x="1799269" y="647752"/>
                        <a:pt x="1799269" y="651806"/>
                      </a:cubicBezTo>
                      <a:cubicBezTo>
                        <a:pt x="1802659" y="653832"/>
                        <a:pt x="1806050" y="652819"/>
                        <a:pt x="1807180" y="656872"/>
                      </a:cubicBezTo>
                      <a:cubicBezTo>
                        <a:pt x="1816221" y="655859"/>
                        <a:pt x="1826392" y="654846"/>
                        <a:pt x="1834303" y="651806"/>
                      </a:cubicBezTo>
                      <a:cubicBezTo>
                        <a:pt x="1855775" y="643699"/>
                        <a:pt x="1807180" y="636605"/>
                        <a:pt x="1801529" y="634579"/>
                      </a:cubicBezTo>
                      <a:close/>
                      <a:moveTo>
                        <a:pt x="1606019" y="236329"/>
                      </a:moveTo>
                      <a:cubicBezTo>
                        <a:pt x="1627491" y="230249"/>
                        <a:pt x="1598108" y="243423"/>
                        <a:pt x="1598108" y="243423"/>
                      </a:cubicBezTo>
                      <a:cubicBezTo>
                        <a:pt x="1596978" y="244436"/>
                        <a:pt x="1593587" y="252543"/>
                        <a:pt x="1592457" y="253556"/>
                      </a:cubicBezTo>
                      <a:cubicBezTo>
                        <a:pt x="1580026" y="258623"/>
                        <a:pt x="1589067" y="240383"/>
                        <a:pt x="1606019" y="236329"/>
                      </a:cubicBezTo>
                      <a:close/>
                      <a:moveTo>
                        <a:pt x="1104245" y="118780"/>
                      </a:moveTo>
                      <a:cubicBezTo>
                        <a:pt x="1108766" y="119793"/>
                        <a:pt x="1121197" y="130940"/>
                        <a:pt x="1106506" y="125873"/>
                      </a:cubicBezTo>
                      <a:cubicBezTo>
                        <a:pt x="1107636" y="126887"/>
                        <a:pt x="1097465" y="116753"/>
                        <a:pt x="1104245" y="118780"/>
                      </a:cubicBezTo>
                      <a:close/>
                      <a:moveTo>
                        <a:pt x="1253421" y="1118963"/>
                      </a:moveTo>
                      <a:cubicBezTo>
                        <a:pt x="1259072" y="1120990"/>
                        <a:pt x="1261332" y="1119976"/>
                        <a:pt x="1269243" y="1120990"/>
                      </a:cubicBezTo>
                      <a:cubicBezTo>
                        <a:pt x="1265853" y="1123017"/>
                        <a:pt x="1263592" y="1130110"/>
                        <a:pt x="1261332" y="1133150"/>
                      </a:cubicBezTo>
                      <a:cubicBezTo>
                        <a:pt x="1256812" y="1132137"/>
                        <a:pt x="1252291" y="1134163"/>
                        <a:pt x="1247771" y="1135177"/>
                      </a:cubicBezTo>
                      <a:cubicBezTo>
                        <a:pt x="1246641" y="1131123"/>
                        <a:pt x="1247771" y="1125043"/>
                        <a:pt x="1245510" y="1123017"/>
                      </a:cubicBezTo>
                      <a:cubicBezTo>
                        <a:pt x="1246641" y="1123017"/>
                        <a:pt x="1253421" y="1118963"/>
                        <a:pt x="1253421" y="1118963"/>
                      </a:cubicBezTo>
                      <a:close/>
                      <a:moveTo>
                        <a:pt x="718875" y="1101736"/>
                      </a:moveTo>
                      <a:cubicBezTo>
                        <a:pt x="722265" y="1102749"/>
                        <a:pt x="731306" y="1111870"/>
                        <a:pt x="721135" y="1108830"/>
                      </a:cubicBezTo>
                      <a:cubicBezTo>
                        <a:pt x="722265" y="1108830"/>
                        <a:pt x="710964" y="1099709"/>
                        <a:pt x="718875" y="1101736"/>
                      </a:cubicBezTo>
                      <a:close/>
                      <a:moveTo>
                        <a:pt x="817195" y="1091602"/>
                      </a:moveTo>
                      <a:cubicBezTo>
                        <a:pt x="825106" y="1090589"/>
                        <a:pt x="817195" y="1096669"/>
                        <a:pt x="817195" y="1096669"/>
                      </a:cubicBezTo>
                      <a:cubicBezTo>
                        <a:pt x="817195" y="1097683"/>
                        <a:pt x="817195" y="1102749"/>
                        <a:pt x="817195" y="1103763"/>
                      </a:cubicBezTo>
                      <a:cubicBezTo>
                        <a:pt x="809284" y="1106803"/>
                        <a:pt x="796853" y="1112883"/>
                        <a:pt x="790072" y="1113896"/>
                      </a:cubicBezTo>
                      <a:cubicBezTo>
                        <a:pt x="779901" y="1114910"/>
                        <a:pt x="787812" y="1110856"/>
                        <a:pt x="790072" y="1108830"/>
                      </a:cubicBezTo>
                      <a:cubicBezTo>
                        <a:pt x="792333" y="1106803"/>
                        <a:pt x="795723" y="1103763"/>
                        <a:pt x="797983" y="1101736"/>
                      </a:cubicBezTo>
                      <a:cubicBezTo>
                        <a:pt x="802504" y="1098696"/>
                        <a:pt x="810414" y="1092616"/>
                        <a:pt x="817195" y="1091602"/>
                      </a:cubicBezTo>
                      <a:close/>
                      <a:moveTo>
                        <a:pt x="803634" y="1053095"/>
                      </a:moveTo>
                      <a:cubicBezTo>
                        <a:pt x="812675" y="1053095"/>
                        <a:pt x="802504" y="1057148"/>
                        <a:pt x="801374" y="1058162"/>
                      </a:cubicBezTo>
                      <a:cubicBezTo>
                        <a:pt x="801374" y="1054108"/>
                        <a:pt x="797983" y="1053095"/>
                        <a:pt x="803634" y="1053095"/>
                      </a:cubicBezTo>
                      <a:close/>
                      <a:moveTo>
                        <a:pt x="805894" y="1042961"/>
                      </a:moveTo>
                      <a:cubicBezTo>
                        <a:pt x="814935" y="1041948"/>
                        <a:pt x="808154" y="1048028"/>
                        <a:pt x="808154" y="1048028"/>
                      </a:cubicBezTo>
                      <a:cubicBezTo>
                        <a:pt x="808154" y="1048028"/>
                        <a:pt x="797983" y="1043975"/>
                        <a:pt x="805894" y="1042961"/>
                      </a:cubicBezTo>
                      <a:close/>
                      <a:moveTo>
                        <a:pt x="1619580" y="884878"/>
                      </a:moveTo>
                      <a:cubicBezTo>
                        <a:pt x="1633142" y="882851"/>
                        <a:pt x="1624100" y="893998"/>
                        <a:pt x="1621840" y="895011"/>
                      </a:cubicBezTo>
                      <a:cubicBezTo>
                        <a:pt x="1619580" y="895011"/>
                        <a:pt x="1604889" y="889944"/>
                        <a:pt x="1602628" y="889944"/>
                      </a:cubicBezTo>
                      <a:cubicBezTo>
                        <a:pt x="1604889" y="889944"/>
                        <a:pt x="1609409" y="890958"/>
                        <a:pt x="1610539" y="889944"/>
                      </a:cubicBezTo>
                      <a:cubicBezTo>
                        <a:pt x="1613929" y="888931"/>
                        <a:pt x="1616190" y="885891"/>
                        <a:pt x="1619580" y="884878"/>
                      </a:cubicBezTo>
                      <a:close/>
                      <a:moveTo>
                        <a:pt x="718875" y="822049"/>
                      </a:moveTo>
                      <a:cubicBezTo>
                        <a:pt x="708704" y="823063"/>
                        <a:pt x="723395" y="826103"/>
                        <a:pt x="726786" y="827116"/>
                      </a:cubicBezTo>
                      <a:cubicBezTo>
                        <a:pt x="727916" y="827116"/>
                        <a:pt x="731306" y="820023"/>
                        <a:pt x="718875" y="822049"/>
                      </a:cubicBezTo>
                      <a:close/>
                      <a:moveTo>
                        <a:pt x="683841" y="814956"/>
                      </a:moveTo>
                      <a:cubicBezTo>
                        <a:pt x="679321" y="814956"/>
                        <a:pt x="678191" y="823063"/>
                        <a:pt x="675930" y="825090"/>
                      </a:cubicBezTo>
                      <a:cubicBezTo>
                        <a:pt x="675930" y="825090"/>
                        <a:pt x="683841" y="829143"/>
                        <a:pt x="681581" y="830156"/>
                      </a:cubicBezTo>
                      <a:cubicBezTo>
                        <a:pt x="682711" y="829143"/>
                        <a:pt x="688362" y="830156"/>
                        <a:pt x="689492" y="830156"/>
                      </a:cubicBezTo>
                      <a:cubicBezTo>
                        <a:pt x="688362" y="823063"/>
                        <a:pt x="691752" y="814956"/>
                        <a:pt x="683841" y="814956"/>
                      </a:cubicBezTo>
                      <a:close/>
                      <a:moveTo>
                        <a:pt x="1712250" y="698420"/>
                      </a:moveTo>
                      <a:lnTo>
                        <a:pt x="1709990" y="703487"/>
                      </a:lnTo>
                      <a:cubicBezTo>
                        <a:pt x="1705469" y="706527"/>
                        <a:pt x="1695298" y="705513"/>
                        <a:pt x="1690778" y="708554"/>
                      </a:cubicBezTo>
                      <a:cubicBezTo>
                        <a:pt x="1689648" y="709567"/>
                        <a:pt x="1688517" y="715647"/>
                        <a:pt x="1688517" y="715647"/>
                      </a:cubicBezTo>
                      <a:cubicBezTo>
                        <a:pt x="1691908" y="718687"/>
                        <a:pt x="1694168" y="718687"/>
                        <a:pt x="1696428" y="722741"/>
                      </a:cubicBezTo>
                      <a:cubicBezTo>
                        <a:pt x="1680606" y="717674"/>
                        <a:pt x="1662525" y="711594"/>
                        <a:pt x="1647833" y="720714"/>
                      </a:cubicBezTo>
                      <a:cubicBezTo>
                        <a:pt x="1644443" y="722741"/>
                        <a:pt x="1642182" y="724767"/>
                        <a:pt x="1639922" y="727807"/>
                      </a:cubicBezTo>
                      <a:cubicBezTo>
                        <a:pt x="1641052" y="728821"/>
                        <a:pt x="1639922" y="737941"/>
                        <a:pt x="1639922" y="739968"/>
                      </a:cubicBezTo>
                      <a:cubicBezTo>
                        <a:pt x="1643313" y="739968"/>
                        <a:pt x="1651224" y="738954"/>
                        <a:pt x="1653484" y="739968"/>
                      </a:cubicBezTo>
                      <a:cubicBezTo>
                        <a:pt x="1654614" y="739968"/>
                        <a:pt x="1658004" y="749088"/>
                        <a:pt x="1659134" y="750101"/>
                      </a:cubicBezTo>
                      <a:cubicBezTo>
                        <a:pt x="1664785" y="748074"/>
                        <a:pt x="1668175" y="750101"/>
                        <a:pt x="1672696" y="748074"/>
                      </a:cubicBezTo>
                      <a:cubicBezTo>
                        <a:pt x="1676086" y="746048"/>
                        <a:pt x="1679477" y="738954"/>
                        <a:pt x="1683997" y="737941"/>
                      </a:cubicBezTo>
                      <a:cubicBezTo>
                        <a:pt x="1686257" y="736928"/>
                        <a:pt x="1691908" y="738954"/>
                        <a:pt x="1695298" y="737941"/>
                      </a:cubicBezTo>
                      <a:cubicBezTo>
                        <a:pt x="1699819" y="735914"/>
                        <a:pt x="1697558" y="727807"/>
                        <a:pt x="1700949" y="725781"/>
                      </a:cubicBezTo>
                      <a:cubicBezTo>
                        <a:pt x="1703209" y="726794"/>
                        <a:pt x="1706599" y="724767"/>
                        <a:pt x="1708859" y="725781"/>
                      </a:cubicBezTo>
                      <a:cubicBezTo>
                        <a:pt x="1712250" y="726794"/>
                        <a:pt x="1714510" y="733887"/>
                        <a:pt x="1716770" y="735914"/>
                      </a:cubicBezTo>
                      <a:cubicBezTo>
                        <a:pt x="1722421" y="738954"/>
                        <a:pt x="1735983" y="736928"/>
                        <a:pt x="1746153" y="737941"/>
                      </a:cubicBezTo>
                      <a:cubicBezTo>
                        <a:pt x="1745023" y="738954"/>
                        <a:pt x="1748414" y="741994"/>
                        <a:pt x="1748414" y="743008"/>
                      </a:cubicBezTo>
                      <a:cubicBezTo>
                        <a:pt x="1743894" y="745034"/>
                        <a:pt x="1732592" y="745034"/>
                        <a:pt x="1740503" y="750101"/>
                      </a:cubicBezTo>
                      <a:cubicBezTo>
                        <a:pt x="1742763" y="751114"/>
                        <a:pt x="1740503" y="753141"/>
                        <a:pt x="1746153" y="752128"/>
                      </a:cubicBezTo>
                      <a:cubicBezTo>
                        <a:pt x="1725811" y="770368"/>
                        <a:pt x="1768756" y="778475"/>
                        <a:pt x="1781187" y="783542"/>
                      </a:cubicBezTo>
                      <a:cubicBezTo>
                        <a:pt x="1785707" y="785569"/>
                        <a:pt x="1793618" y="794689"/>
                        <a:pt x="1797009" y="795702"/>
                      </a:cubicBezTo>
                      <a:cubicBezTo>
                        <a:pt x="1802659" y="796716"/>
                        <a:pt x="1809440" y="794689"/>
                        <a:pt x="1816221" y="795702"/>
                      </a:cubicBezTo>
                      <a:cubicBezTo>
                        <a:pt x="1816221" y="795702"/>
                        <a:pt x="1819611" y="788609"/>
                        <a:pt x="1816221" y="785569"/>
                      </a:cubicBezTo>
                      <a:cubicBezTo>
                        <a:pt x="1802659" y="774422"/>
                        <a:pt x="1784578" y="788609"/>
                        <a:pt x="1810570" y="771382"/>
                      </a:cubicBezTo>
                      <a:lnTo>
                        <a:pt x="1810570" y="766315"/>
                      </a:lnTo>
                      <a:cubicBezTo>
                        <a:pt x="1800400" y="764288"/>
                        <a:pt x="1793618" y="764288"/>
                        <a:pt x="1785707" y="761248"/>
                      </a:cubicBezTo>
                      <a:cubicBezTo>
                        <a:pt x="1784578" y="760235"/>
                        <a:pt x="1775537" y="754155"/>
                        <a:pt x="1774406" y="754155"/>
                      </a:cubicBezTo>
                      <a:cubicBezTo>
                        <a:pt x="1765365" y="751114"/>
                        <a:pt x="1782317" y="752128"/>
                        <a:pt x="1785707" y="752128"/>
                      </a:cubicBezTo>
                      <a:cubicBezTo>
                        <a:pt x="1786838" y="753141"/>
                        <a:pt x="1790228" y="759221"/>
                        <a:pt x="1791358" y="759221"/>
                      </a:cubicBezTo>
                      <a:cubicBezTo>
                        <a:pt x="1800400" y="761248"/>
                        <a:pt x="1800400" y="756181"/>
                        <a:pt x="1807180" y="757195"/>
                      </a:cubicBezTo>
                      <a:cubicBezTo>
                        <a:pt x="1808310" y="751114"/>
                        <a:pt x="1809440" y="748074"/>
                        <a:pt x="1812831" y="739968"/>
                      </a:cubicBezTo>
                      <a:cubicBezTo>
                        <a:pt x="1789098" y="733887"/>
                        <a:pt x="1785707" y="733887"/>
                        <a:pt x="1760845" y="739968"/>
                      </a:cubicBezTo>
                      <a:cubicBezTo>
                        <a:pt x="1764236" y="737941"/>
                        <a:pt x="1767626" y="730847"/>
                        <a:pt x="1772147" y="729834"/>
                      </a:cubicBezTo>
                      <a:cubicBezTo>
                        <a:pt x="1775537" y="728821"/>
                        <a:pt x="1780057" y="730847"/>
                        <a:pt x="1783448" y="729834"/>
                      </a:cubicBezTo>
                      <a:cubicBezTo>
                        <a:pt x="1785707" y="728821"/>
                        <a:pt x="1784578" y="722741"/>
                        <a:pt x="1785707" y="722741"/>
                      </a:cubicBezTo>
                      <a:lnTo>
                        <a:pt x="1756325" y="722741"/>
                      </a:lnTo>
                      <a:cubicBezTo>
                        <a:pt x="1759715" y="720714"/>
                        <a:pt x="1763105" y="713620"/>
                        <a:pt x="1764236" y="712607"/>
                      </a:cubicBezTo>
                      <a:cubicBezTo>
                        <a:pt x="1750674" y="709567"/>
                        <a:pt x="1724681" y="696393"/>
                        <a:pt x="1712250" y="698420"/>
                      </a:cubicBezTo>
                      <a:close/>
                      <a:moveTo>
                        <a:pt x="561788" y="620391"/>
                      </a:moveTo>
                      <a:cubicBezTo>
                        <a:pt x="557268" y="621405"/>
                        <a:pt x="538056" y="632552"/>
                        <a:pt x="556137" y="630525"/>
                      </a:cubicBezTo>
                      <a:cubicBezTo>
                        <a:pt x="558398" y="630525"/>
                        <a:pt x="574219" y="624445"/>
                        <a:pt x="569699" y="623432"/>
                      </a:cubicBezTo>
                      <a:cubicBezTo>
                        <a:pt x="568569" y="622418"/>
                        <a:pt x="567439" y="619378"/>
                        <a:pt x="561788" y="620391"/>
                      </a:cubicBezTo>
                      <a:close/>
                      <a:moveTo>
                        <a:pt x="1910021" y="615325"/>
                      </a:moveTo>
                      <a:cubicBezTo>
                        <a:pt x="1910021" y="615325"/>
                        <a:pt x="1907761" y="619378"/>
                        <a:pt x="1907761" y="620391"/>
                      </a:cubicBezTo>
                      <a:cubicBezTo>
                        <a:pt x="1910021" y="621405"/>
                        <a:pt x="1913411" y="621405"/>
                        <a:pt x="1915671" y="622418"/>
                      </a:cubicBezTo>
                      <a:cubicBezTo>
                        <a:pt x="1911151" y="619378"/>
                        <a:pt x="1920192" y="615325"/>
                        <a:pt x="1910021" y="615325"/>
                      </a:cubicBezTo>
                      <a:close/>
                      <a:moveTo>
                        <a:pt x="1861426" y="598098"/>
                      </a:moveTo>
                      <a:cubicBezTo>
                        <a:pt x="1862556" y="605191"/>
                        <a:pt x="1856906" y="613298"/>
                        <a:pt x="1863686" y="620391"/>
                      </a:cubicBezTo>
                      <a:cubicBezTo>
                        <a:pt x="1864816" y="621405"/>
                        <a:pt x="1871597" y="622418"/>
                        <a:pt x="1871597" y="622418"/>
                      </a:cubicBezTo>
                      <a:cubicBezTo>
                        <a:pt x="1873857" y="621405"/>
                        <a:pt x="1876117" y="617351"/>
                        <a:pt x="1879508" y="617351"/>
                      </a:cubicBezTo>
                      <a:cubicBezTo>
                        <a:pt x="1880638" y="613298"/>
                        <a:pt x="1879508" y="611271"/>
                        <a:pt x="1881768" y="607218"/>
                      </a:cubicBezTo>
                      <a:cubicBezTo>
                        <a:pt x="1878377" y="606205"/>
                        <a:pt x="1873857" y="608231"/>
                        <a:pt x="1870466" y="607218"/>
                      </a:cubicBezTo>
                      <a:cubicBezTo>
                        <a:pt x="1867076" y="606205"/>
                        <a:pt x="1869337" y="601138"/>
                        <a:pt x="1868207" y="600124"/>
                      </a:cubicBezTo>
                      <a:cubicBezTo>
                        <a:pt x="1867076" y="599111"/>
                        <a:pt x="1862556" y="600124"/>
                        <a:pt x="1861426" y="598098"/>
                      </a:cubicBezTo>
                      <a:close/>
                      <a:moveTo>
                        <a:pt x="1787968" y="580871"/>
                      </a:moveTo>
                      <a:cubicBezTo>
                        <a:pt x="1798139" y="580871"/>
                        <a:pt x="1794749" y="592018"/>
                        <a:pt x="1795879" y="600124"/>
                      </a:cubicBezTo>
                      <a:cubicBezTo>
                        <a:pt x="1794749" y="600124"/>
                        <a:pt x="1787968" y="599111"/>
                        <a:pt x="1787968" y="600124"/>
                      </a:cubicBezTo>
                      <a:cubicBezTo>
                        <a:pt x="1787968" y="600124"/>
                        <a:pt x="1780057" y="580871"/>
                        <a:pt x="1787968" y="580871"/>
                      </a:cubicBezTo>
                      <a:close/>
                      <a:moveTo>
                        <a:pt x="1915671" y="556550"/>
                      </a:moveTo>
                      <a:cubicBezTo>
                        <a:pt x="1913411" y="557563"/>
                        <a:pt x="1912281" y="562630"/>
                        <a:pt x="1910021" y="563644"/>
                      </a:cubicBezTo>
                      <a:cubicBezTo>
                        <a:pt x="1906630" y="564657"/>
                        <a:pt x="1902110" y="562630"/>
                        <a:pt x="1898719" y="563644"/>
                      </a:cubicBezTo>
                      <a:cubicBezTo>
                        <a:pt x="1899850" y="580871"/>
                        <a:pt x="1897590" y="604178"/>
                        <a:pt x="1925843" y="595058"/>
                      </a:cubicBezTo>
                      <a:cubicBezTo>
                        <a:pt x="1929233" y="594044"/>
                        <a:pt x="1930363" y="585937"/>
                        <a:pt x="1933753" y="584924"/>
                      </a:cubicBezTo>
                      <a:cubicBezTo>
                        <a:pt x="1937144" y="583911"/>
                        <a:pt x="1939404" y="585937"/>
                        <a:pt x="1941664" y="584924"/>
                      </a:cubicBezTo>
                      <a:cubicBezTo>
                        <a:pt x="1939404" y="591004"/>
                        <a:pt x="1949575" y="584924"/>
                        <a:pt x="1949575" y="584924"/>
                      </a:cubicBezTo>
                      <a:cubicBezTo>
                        <a:pt x="1948445" y="580871"/>
                        <a:pt x="1946185" y="571750"/>
                        <a:pt x="1947315" y="570737"/>
                      </a:cubicBezTo>
                      <a:cubicBezTo>
                        <a:pt x="1947315" y="570737"/>
                        <a:pt x="1939404" y="577831"/>
                        <a:pt x="1939404" y="577831"/>
                      </a:cubicBezTo>
                      <a:cubicBezTo>
                        <a:pt x="1920192" y="576817"/>
                        <a:pt x="1924713" y="569724"/>
                        <a:pt x="1920192" y="555537"/>
                      </a:cubicBezTo>
                      <a:lnTo>
                        <a:pt x="1915671" y="555537"/>
                      </a:lnTo>
                      <a:close/>
                      <a:moveTo>
                        <a:pt x="1888549" y="500815"/>
                      </a:moveTo>
                      <a:cubicBezTo>
                        <a:pt x="1889679" y="502842"/>
                        <a:pt x="1884028" y="504869"/>
                        <a:pt x="1886288" y="505882"/>
                      </a:cubicBezTo>
                      <a:cubicBezTo>
                        <a:pt x="1891939" y="508922"/>
                        <a:pt x="1906630" y="546416"/>
                        <a:pt x="1902110" y="528176"/>
                      </a:cubicBezTo>
                      <a:cubicBezTo>
                        <a:pt x="1900980" y="525136"/>
                        <a:pt x="1903240" y="521083"/>
                        <a:pt x="1902110" y="518042"/>
                      </a:cubicBezTo>
                      <a:cubicBezTo>
                        <a:pt x="1902110" y="517029"/>
                        <a:pt x="1894199" y="510949"/>
                        <a:pt x="1894199" y="510949"/>
                      </a:cubicBezTo>
                      <a:cubicBezTo>
                        <a:pt x="1893069" y="507909"/>
                        <a:pt x="1897590" y="503855"/>
                        <a:pt x="1896460" y="503855"/>
                      </a:cubicBezTo>
                      <a:lnTo>
                        <a:pt x="1888549" y="500815"/>
                      </a:lnTo>
                      <a:close/>
                      <a:moveTo>
                        <a:pt x="49844" y="440014"/>
                      </a:moveTo>
                      <a:lnTo>
                        <a:pt x="52104" y="445081"/>
                      </a:lnTo>
                      <a:cubicBezTo>
                        <a:pt x="60015" y="444067"/>
                        <a:pt x="62275" y="445081"/>
                        <a:pt x="54364" y="443054"/>
                      </a:cubicBezTo>
                      <a:cubicBezTo>
                        <a:pt x="53234" y="442041"/>
                        <a:pt x="53234" y="441027"/>
                        <a:pt x="49844" y="440014"/>
                      </a:cubicBezTo>
                      <a:close/>
                      <a:moveTo>
                        <a:pt x="14810" y="434947"/>
                      </a:moveTo>
                      <a:cubicBezTo>
                        <a:pt x="14810" y="434947"/>
                        <a:pt x="8029" y="444067"/>
                        <a:pt x="14810" y="445081"/>
                      </a:cubicBezTo>
                      <a:cubicBezTo>
                        <a:pt x="26111" y="446094"/>
                        <a:pt x="26111" y="439001"/>
                        <a:pt x="28372" y="437987"/>
                      </a:cubicBezTo>
                      <a:cubicBezTo>
                        <a:pt x="20461" y="435961"/>
                        <a:pt x="19331" y="437987"/>
                        <a:pt x="14810" y="434947"/>
                      </a:cubicBezTo>
                      <a:close/>
                      <a:moveTo>
                        <a:pt x="1871597" y="260650"/>
                      </a:moveTo>
                      <a:cubicBezTo>
                        <a:pt x="1871597" y="260650"/>
                        <a:pt x="1869337" y="267743"/>
                        <a:pt x="1869337" y="270783"/>
                      </a:cubicBezTo>
                      <a:cubicBezTo>
                        <a:pt x="1886288" y="263690"/>
                        <a:pt x="1886288" y="269770"/>
                        <a:pt x="1871597" y="260650"/>
                      </a:cubicBezTo>
                      <a:close/>
                      <a:moveTo>
                        <a:pt x="1641052" y="224169"/>
                      </a:moveTo>
                      <a:cubicBezTo>
                        <a:pt x="1670435" y="219102"/>
                        <a:pt x="1622971" y="236329"/>
                        <a:pt x="1621840" y="236329"/>
                      </a:cubicBezTo>
                      <a:cubicBezTo>
                        <a:pt x="1619580" y="236329"/>
                        <a:pt x="1608279" y="234303"/>
                        <a:pt x="1610539" y="234303"/>
                      </a:cubicBezTo>
                      <a:cubicBezTo>
                        <a:pt x="1616190" y="233289"/>
                        <a:pt x="1618450" y="234303"/>
                        <a:pt x="1624100" y="232276"/>
                      </a:cubicBezTo>
                      <a:cubicBezTo>
                        <a:pt x="1629751" y="229236"/>
                        <a:pt x="1635402" y="225182"/>
                        <a:pt x="1641052" y="224169"/>
                      </a:cubicBezTo>
                      <a:close/>
                      <a:moveTo>
                        <a:pt x="1896460" y="141074"/>
                      </a:moveTo>
                      <a:cubicBezTo>
                        <a:pt x="1896460" y="141074"/>
                        <a:pt x="1896460" y="147154"/>
                        <a:pt x="1896460" y="148167"/>
                      </a:cubicBezTo>
                      <a:cubicBezTo>
                        <a:pt x="1905501" y="150194"/>
                        <a:pt x="1900980" y="142087"/>
                        <a:pt x="1896460" y="141074"/>
                      </a:cubicBezTo>
                      <a:close/>
                      <a:moveTo>
                        <a:pt x="1865946" y="139047"/>
                      </a:moveTo>
                      <a:cubicBezTo>
                        <a:pt x="1867076" y="143100"/>
                        <a:pt x="1864816" y="149181"/>
                        <a:pt x="1865946" y="156274"/>
                      </a:cubicBezTo>
                      <a:lnTo>
                        <a:pt x="1871597" y="156274"/>
                      </a:lnTo>
                      <a:cubicBezTo>
                        <a:pt x="1871597" y="151207"/>
                        <a:pt x="1870466" y="146141"/>
                        <a:pt x="1871597" y="142087"/>
                      </a:cubicBezTo>
                      <a:lnTo>
                        <a:pt x="1865946" y="139047"/>
                      </a:lnTo>
                      <a:close/>
                      <a:moveTo>
                        <a:pt x="687231" y="114726"/>
                      </a:moveTo>
                      <a:cubicBezTo>
                        <a:pt x="689492" y="121820"/>
                        <a:pt x="687231" y="125873"/>
                        <a:pt x="689492" y="131954"/>
                      </a:cubicBezTo>
                      <a:cubicBezTo>
                        <a:pt x="696273" y="145127"/>
                        <a:pt x="744868" y="158301"/>
                        <a:pt x="768600" y="161341"/>
                      </a:cubicBezTo>
                      <a:cubicBezTo>
                        <a:pt x="766340" y="162354"/>
                        <a:pt x="782161" y="162354"/>
                        <a:pt x="770860" y="156274"/>
                      </a:cubicBezTo>
                      <a:cubicBezTo>
                        <a:pt x="769730" y="155261"/>
                        <a:pt x="769730" y="150194"/>
                        <a:pt x="768600" y="149181"/>
                      </a:cubicBezTo>
                      <a:cubicBezTo>
                        <a:pt x="767470" y="149181"/>
                        <a:pt x="743737" y="139047"/>
                        <a:pt x="743737" y="139047"/>
                      </a:cubicBezTo>
                      <a:cubicBezTo>
                        <a:pt x="739217" y="138034"/>
                        <a:pt x="733566" y="141074"/>
                        <a:pt x="730176" y="139047"/>
                      </a:cubicBezTo>
                      <a:cubicBezTo>
                        <a:pt x="727916" y="138034"/>
                        <a:pt x="724526" y="130940"/>
                        <a:pt x="722265" y="128913"/>
                      </a:cubicBezTo>
                      <a:cubicBezTo>
                        <a:pt x="716615" y="125873"/>
                        <a:pt x="715484" y="128913"/>
                        <a:pt x="708704" y="126887"/>
                      </a:cubicBezTo>
                      <a:cubicBezTo>
                        <a:pt x="701923" y="123847"/>
                        <a:pt x="692882" y="117767"/>
                        <a:pt x="687231" y="114726"/>
                      </a:cubicBezTo>
                      <a:close/>
                      <a:moveTo>
                        <a:pt x="1342701" y="70139"/>
                      </a:moveTo>
                      <a:cubicBezTo>
                        <a:pt x="1360783" y="69125"/>
                        <a:pt x="1331400" y="77232"/>
                        <a:pt x="1331400" y="77232"/>
                      </a:cubicBezTo>
                      <a:cubicBezTo>
                        <a:pt x="1330269" y="78246"/>
                        <a:pt x="1331400" y="84326"/>
                        <a:pt x="1329140" y="84326"/>
                      </a:cubicBezTo>
                      <a:cubicBezTo>
                        <a:pt x="1329140" y="84326"/>
                        <a:pt x="1317838" y="80272"/>
                        <a:pt x="1313318" y="79259"/>
                      </a:cubicBezTo>
                      <a:cubicBezTo>
                        <a:pt x="1312188" y="81286"/>
                        <a:pt x="1312188" y="86352"/>
                        <a:pt x="1311058" y="86352"/>
                      </a:cubicBezTo>
                      <a:cubicBezTo>
                        <a:pt x="1303147" y="87366"/>
                        <a:pt x="1311058" y="74192"/>
                        <a:pt x="1311058" y="74192"/>
                      </a:cubicBezTo>
                      <a:cubicBezTo>
                        <a:pt x="1321229" y="74192"/>
                        <a:pt x="1334790" y="71152"/>
                        <a:pt x="1342701" y="70139"/>
                      </a:cubicBezTo>
                      <a:close/>
                      <a:moveTo>
                        <a:pt x="1500917" y="57978"/>
                      </a:moveTo>
                      <a:cubicBezTo>
                        <a:pt x="1509959" y="56965"/>
                        <a:pt x="1525780" y="60005"/>
                        <a:pt x="1530301" y="60005"/>
                      </a:cubicBezTo>
                      <a:cubicBezTo>
                        <a:pt x="1544992" y="60005"/>
                        <a:pt x="1554033" y="56965"/>
                        <a:pt x="1570985" y="57978"/>
                      </a:cubicBezTo>
                      <a:cubicBezTo>
                        <a:pt x="1576636" y="57978"/>
                        <a:pt x="1600368" y="63045"/>
                        <a:pt x="1606019" y="63045"/>
                      </a:cubicBezTo>
                      <a:cubicBezTo>
                        <a:pt x="1584546" y="65072"/>
                        <a:pt x="1552903" y="70139"/>
                        <a:pt x="1532561" y="70139"/>
                      </a:cubicBezTo>
                      <a:cubicBezTo>
                        <a:pt x="1522390" y="70139"/>
                        <a:pt x="1506568" y="66085"/>
                        <a:pt x="1491877" y="68112"/>
                      </a:cubicBezTo>
                      <a:lnTo>
                        <a:pt x="1486226" y="73179"/>
                      </a:lnTo>
                      <a:cubicBezTo>
                        <a:pt x="1470404" y="77232"/>
                        <a:pt x="1460233" y="73179"/>
                        <a:pt x="1447802" y="73179"/>
                      </a:cubicBezTo>
                      <a:lnTo>
                        <a:pt x="1450062" y="68112"/>
                      </a:lnTo>
                      <a:cubicBezTo>
                        <a:pt x="1452322" y="68112"/>
                        <a:pt x="1457973" y="69125"/>
                        <a:pt x="1461363" y="68112"/>
                      </a:cubicBezTo>
                      <a:cubicBezTo>
                        <a:pt x="1472664" y="65072"/>
                        <a:pt x="1489616" y="60005"/>
                        <a:pt x="1500917" y="57978"/>
                      </a:cubicBezTo>
                      <a:close/>
                      <a:moveTo>
                        <a:pt x="1375474" y="48858"/>
                      </a:moveTo>
                      <a:lnTo>
                        <a:pt x="1381125" y="48858"/>
                      </a:lnTo>
                      <a:cubicBezTo>
                        <a:pt x="1382255" y="51898"/>
                        <a:pt x="1379995" y="57978"/>
                        <a:pt x="1381125" y="61019"/>
                      </a:cubicBezTo>
                      <a:cubicBezTo>
                        <a:pt x="1382255" y="63045"/>
                        <a:pt x="1390166" y="68112"/>
                        <a:pt x="1392426" y="71152"/>
                      </a:cubicBezTo>
                      <a:cubicBezTo>
                        <a:pt x="1419549" y="62032"/>
                        <a:pt x="1419549" y="65072"/>
                        <a:pt x="1444412" y="73179"/>
                      </a:cubicBezTo>
                      <a:cubicBezTo>
                        <a:pt x="1437631" y="73179"/>
                        <a:pt x="1424069" y="71152"/>
                        <a:pt x="1422939" y="71152"/>
                      </a:cubicBezTo>
                      <a:cubicBezTo>
                        <a:pt x="1417289" y="71152"/>
                        <a:pt x="1401467" y="71152"/>
                        <a:pt x="1393556" y="73179"/>
                      </a:cubicBezTo>
                      <a:cubicBezTo>
                        <a:pt x="1393556" y="73179"/>
                        <a:pt x="1393556" y="80272"/>
                        <a:pt x="1393556" y="80272"/>
                      </a:cubicBezTo>
                      <a:cubicBezTo>
                        <a:pt x="1387906" y="77232"/>
                        <a:pt x="1394686" y="84326"/>
                        <a:pt x="1387906" y="82299"/>
                      </a:cubicBezTo>
                      <a:cubicBezTo>
                        <a:pt x="1385645" y="82299"/>
                        <a:pt x="1384515" y="76219"/>
                        <a:pt x="1382255" y="75206"/>
                      </a:cubicBezTo>
                      <a:cubicBezTo>
                        <a:pt x="1378865" y="74192"/>
                        <a:pt x="1373214" y="74192"/>
                        <a:pt x="1370954" y="73179"/>
                      </a:cubicBezTo>
                      <a:lnTo>
                        <a:pt x="1370954" y="70139"/>
                      </a:lnTo>
                      <a:cubicBezTo>
                        <a:pt x="1382255" y="65072"/>
                        <a:pt x="1369824" y="46832"/>
                        <a:pt x="1375474" y="48858"/>
                      </a:cubicBezTo>
                      <a:close/>
                      <a:moveTo>
                        <a:pt x="1803790" y="128913"/>
                      </a:moveTo>
                      <a:cubicBezTo>
                        <a:pt x="1810570" y="127900"/>
                        <a:pt x="1815091" y="116753"/>
                        <a:pt x="1819611" y="114726"/>
                      </a:cubicBezTo>
                      <a:cubicBezTo>
                        <a:pt x="1821871" y="113713"/>
                        <a:pt x="1827522" y="115740"/>
                        <a:pt x="1830912" y="114726"/>
                      </a:cubicBezTo>
                      <a:cubicBezTo>
                        <a:pt x="1835433" y="113713"/>
                        <a:pt x="1843344" y="107633"/>
                        <a:pt x="1850124" y="104593"/>
                      </a:cubicBezTo>
                      <a:cubicBezTo>
                        <a:pt x="1848995" y="104593"/>
                        <a:pt x="1848995" y="97499"/>
                        <a:pt x="1847864" y="97499"/>
                      </a:cubicBezTo>
                      <a:cubicBezTo>
                        <a:pt x="1841084" y="93446"/>
                        <a:pt x="1832043" y="95473"/>
                        <a:pt x="1823002" y="92433"/>
                      </a:cubicBezTo>
                      <a:cubicBezTo>
                        <a:pt x="1821871" y="92433"/>
                        <a:pt x="1815091" y="85339"/>
                        <a:pt x="1815091" y="85339"/>
                      </a:cubicBezTo>
                      <a:cubicBezTo>
                        <a:pt x="1799269" y="82299"/>
                        <a:pt x="1785707" y="92433"/>
                        <a:pt x="1772147" y="87366"/>
                      </a:cubicBezTo>
                      <a:cubicBezTo>
                        <a:pt x="1772147" y="87366"/>
                        <a:pt x="1772147" y="80272"/>
                        <a:pt x="1772147" y="80272"/>
                      </a:cubicBezTo>
                      <a:cubicBezTo>
                        <a:pt x="1767626" y="78246"/>
                        <a:pt x="1761975" y="75206"/>
                        <a:pt x="1758585" y="73179"/>
                      </a:cubicBezTo>
                      <a:cubicBezTo>
                        <a:pt x="1755195" y="74192"/>
                        <a:pt x="1752934" y="72165"/>
                        <a:pt x="1750674" y="73179"/>
                      </a:cubicBezTo>
                      <a:cubicBezTo>
                        <a:pt x="1748414" y="74192"/>
                        <a:pt x="1745023" y="79259"/>
                        <a:pt x="1742763" y="80272"/>
                      </a:cubicBezTo>
                      <a:cubicBezTo>
                        <a:pt x="1741633" y="78246"/>
                        <a:pt x="1742763" y="73179"/>
                        <a:pt x="1742763" y="70139"/>
                      </a:cubicBezTo>
                      <a:cubicBezTo>
                        <a:pt x="1741633" y="69125"/>
                        <a:pt x="1738243" y="69125"/>
                        <a:pt x="1737112" y="68112"/>
                      </a:cubicBezTo>
                      <a:cubicBezTo>
                        <a:pt x="1716770" y="74192"/>
                        <a:pt x="1711120" y="81286"/>
                        <a:pt x="1682867" y="85339"/>
                      </a:cubicBezTo>
                      <a:lnTo>
                        <a:pt x="1682867" y="80272"/>
                      </a:lnTo>
                      <a:cubicBezTo>
                        <a:pt x="1693038" y="77232"/>
                        <a:pt x="1698688" y="78246"/>
                        <a:pt x="1709990" y="75206"/>
                      </a:cubicBezTo>
                      <a:cubicBezTo>
                        <a:pt x="1711120" y="75206"/>
                        <a:pt x="1712250" y="71152"/>
                        <a:pt x="1715641" y="70139"/>
                      </a:cubicBezTo>
                      <a:cubicBezTo>
                        <a:pt x="1714510" y="67099"/>
                        <a:pt x="1716770" y="61019"/>
                        <a:pt x="1715641" y="57978"/>
                      </a:cubicBezTo>
                      <a:cubicBezTo>
                        <a:pt x="1713380" y="51898"/>
                        <a:pt x="1691908" y="36698"/>
                        <a:pt x="1680606" y="38725"/>
                      </a:cubicBezTo>
                      <a:cubicBezTo>
                        <a:pt x="1673826" y="39738"/>
                        <a:pt x="1671566" y="48858"/>
                        <a:pt x="1667045" y="50885"/>
                      </a:cubicBezTo>
                      <a:cubicBezTo>
                        <a:pt x="1652353" y="57978"/>
                        <a:pt x="1634272" y="58992"/>
                        <a:pt x="1615060" y="61019"/>
                      </a:cubicBezTo>
                      <a:cubicBezTo>
                        <a:pt x="1621840" y="55952"/>
                        <a:pt x="1627491" y="47845"/>
                        <a:pt x="1634272" y="43791"/>
                      </a:cubicBezTo>
                      <a:cubicBezTo>
                        <a:pt x="1638792" y="40751"/>
                        <a:pt x="1646703" y="41765"/>
                        <a:pt x="1650093" y="38725"/>
                      </a:cubicBezTo>
                      <a:cubicBezTo>
                        <a:pt x="1652353" y="36698"/>
                        <a:pt x="1653484" y="30618"/>
                        <a:pt x="1655744" y="28591"/>
                      </a:cubicBezTo>
                      <a:cubicBezTo>
                        <a:pt x="1653484" y="28591"/>
                        <a:pt x="1643313" y="23524"/>
                        <a:pt x="1642182" y="23524"/>
                      </a:cubicBezTo>
                      <a:cubicBezTo>
                        <a:pt x="1625231" y="22511"/>
                        <a:pt x="1603758" y="26564"/>
                        <a:pt x="1582286" y="23524"/>
                      </a:cubicBezTo>
                      <a:cubicBezTo>
                        <a:pt x="1572115" y="22511"/>
                        <a:pt x="1557423" y="15417"/>
                        <a:pt x="1543862" y="16431"/>
                      </a:cubicBezTo>
                      <a:cubicBezTo>
                        <a:pt x="1543862" y="16431"/>
                        <a:pt x="1541602" y="20484"/>
                        <a:pt x="1541602" y="21498"/>
                      </a:cubicBezTo>
                      <a:cubicBezTo>
                        <a:pt x="1532561" y="20484"/>
                        <a:pt x="1530301" y="18458"/>
                        <a:pt x="1522390" y="19471"/>
                      </a:cubicBezTo>
                      <a:cubicBezTo>
                        <a:pt x="1513349" y="20484"/>
                        <a:pt x="1505438" y="27578"/>
                        <a:pt x="1493007" y="26564"/>
                      </a:cubicBezTo>
                      <a:cubicBezTo>
                        <a:pt x="1477185" y="25551"/>
                        <a:pt x="1459103" y="8324"/>
                        <a:pt x="1444412" y="9337"/>
                      </a:cubicBezTo>
                      <a:cubicBezTo>
                        <a:pt x="1442151" y="9337"/>
                        <a:pt x="1433110" y="16431"/>
                        <a:pt x="1430850" y="16431"/>
                      </a:cubicBezTo>
                      <a:cubicBezTo>
                        <a:pt x="1416159" y="18458"/>
                        <a:pt x="1407118" y="12377"/>
                        <a:pt x="1398077" y="11364"/>
                      </a:cubicBezTo>
                      <a:cubicBezTo>
                        <a:pt x="1376604" y="9337"/>
                        <a:pt x="1366433" y="17444"/>
                        <a:pt x="1341571" y="16431"/>
                      </a:cubicBezTo>
                      <a:cubicBezTo>
                        <a:pt x="1330269" y="15417"/>
                        <a:pt x="1276024" y="7311"/>
                        <a:pt x="1268113" y="9337"/>
                      </a:cubicBezTo>
                      <a:cubicBezTo>
                        <a:pt x="1264723" y="10351"/>
                        <a:pt x="1265853" y="17444"/>
                        <a:pt x="1265853" y="21498"/>
                      </a:cubicBezTo>
                      <a:cubicBezTo>
                        <a:pt x="1253421" y="17444"/>
                        <a:pt x="1244381" y="15417"/>
                        <a:pt x="1233079" y="11364"/>
                      </a:cubicBezTo>
                      <a:cubicBezTo>
                        <a:pt x="1233079" y="11364"/>
                        <a:pt x="1230819" y="18458"/>
                        <a:pt x="1230819" y="21498"/>
                      </a:cubicBezTo>
                      <a:cubicBezTo>
                        <a:pt x="1233079" y="23524"/>
                        <a:pt x="1235339" y="23524"/>
                        <a:pt x="1236470" y="26564"/>
                      </a:cubicBezTo>
                      <a:cubicBezTo>
                        <a:pt x="1229689" y="26564"/>
                        <a:pt x="1210477" y="30618"/>
                        <a:pt x="1198046" y="26564"/>
                      </a:cubicBezTo>
                      <a:cubicBezTo>
                        <a:pt x="1193525" y="25551"/>
                        <a:pt x="1203696" y="21498"/>
                        <a:pt x="1195785" y="24538"/>
                      </a:cubicBezTo>
                      <a:cubicBezTo>
                        <a:pt x="1193525" y="25551"/>
                        <a:pt x="1194655" y="29604"/>
                        <a:pt x="1193525" y="31631"/>
                      </a:cubicBezTo>
                      <a:cubicBezTo>
                        <a:pt x="1192395" y="32645"/>
                        <a:pt x="1176573" y="39738"/>
                        <a:pt x="1185614" y="41765"/>
                      </a:cubicBezTo>
                      <a:cubicBezTo>
                        <a:pt x="1190135" y="42778"/>
                        <a:pt x="1194655" y="40751"/>
                        <a:pt x="1199176" y="41765"/>
                      </a:cubicBezTo>
                      <a:lnTo>
                        <a:pt x="1204826" y="46832"/>
                      </a:lnTo>
                      <a:cubicBezTo>
                        <a:pt x="1141540" y="46832"/>
                        <a:pt x="1160751" y="53925"/>
                        <a:pt x="1185614" y="76219"/>
                      </a:cubicBezTo>
                      <a:cubicBezTo>
                        <a:pt x="1182224" y="75206"/>
                        <a:pt x="1177703" y="77232"/>
                        <a:pt x="1174313" y="76219"/>
                      </a:cubicBezTo>
                      <a:cubicBezTo>
                        <a:pt x="1169793" y="75206"/>
                        <a:pt x="1157361" y="56965"/>
                        <a:pt x="1155101" y="56965"/>
                      </a:cubicBezTo>
                      <a:cubicBezTo>
                        <a:pt x="1150580" y="54938"/>
                        <a:pt x="1146060" y="58992"/>
                        <a:pt x="1141540" y="56965"/>
                      </a:cubicBezTo>
                      <a:cubicBezTo>
                        <a:pt x="1144930" y="57978"/>
                        <a:pt x="1142670" y="62032"/>
                        <a:pt x="1149450" y="62032"/>
                      </a:cubicBezTo>
                      <a:cubicBezTo>
                        <a:pt x="1150580" y="66085"/>
                        <a:pt x="1149450" y="68112"/>
                        <a:pt x="1151711" y="72165"/>
                      </a:cubicBezTo>
                      <a:cubicBezTo>
                        <a:pt x="1134759" y="65072"/>
                        <a:pt x="1138149" y="57978"/>
                        <a:pt x="1130238" y="79259"/>
                      </a:cubicBezTo>
                      <a:cubicBezTo>
                        <a:pt x="1123458" y="77232"/>
                        <a:pt x="1104245" y="70139"/>
                        <a:pt x="1100855" y="65072"/>
                      </a:cubicBezTo>
                      <a:cubicBezTo>
                        <a:pt x="1099725" y="62032"/>
                        <a:pt x="1100855" y="53925"/>
                        <a:pt x="1100855" y="50885"/>
                      </a:cubicBezTo>
                      <a:cubicBezTo>
                        <a:pt x="1090684" y="48858"/>
                        <a:pt x="1068082" y="40751"/>
                        <a:pt x="1052260" y="45818"/>
                      </a:cubicBezTo>
                      <a:cubicBezTo>
                        <a:pt x="1044349" y="47845"/>
                        <a:pt x="1064691" y="56965"/>
                        <a:pt x="1050000" y="57978"/>
                      </a:cubicBezTo>
                      <a:cubicBezTo>
                        <a:pt x="1047739" y="57978"/>
                        <a:pt x="1030788" y="52912"/>
                        <a:pt x="1025137" y="52912"/>
                      </a:cubicBezTo>
                      <a:cubicBezTo>
                        <a:pt x="1029658" y="50885"/>
                        <a:pt x="1019486" y="52912"/>
                        <a:pt x="1019486" y="52912"/>
                      </a:cubicBezTo>
                      <a:cubicBezTo>
                        <a:pt x="1019486" y="53925"/>
                        <a:pt x="1018357" y="61019"/>
                        <a:pt x="1021747" y="57978"/>
                      </a:cubicBezTo>
                      <a:lnTo>
                        <a:pt x="1021747" y="63045"/>
                      </a:lnTo>
                      <a:cubicBezTo>
                        <a:pt x="1024007" y="64059"/>
                        <a:pt x="1028528" y="66085"/>
                        <a:pt x="1029658" y="68112"/>
                      </a:cubicBezTo>
                      <a:cubicBezTo>
                        <a:pt x="1028528" y="68112"/>
                        <a:pt x="1031918" y="72165"/>
                        <a:pt x="1031918" y="73179"/>
                      </a:cubicBezTo>
                      <a:cubicBezTo>
                        <a:pt x="1029658" y="74192"/>
                        <a:pt x="1020617" y="73179"/>
                        <a:pt x="1018357" y="73179"/>
                      </a:cubicBezTo>
                      <a:cubicBezTo>
                        <a:pt x="1019486" y="76219"/>
                        <a:pt x="1018357" y="82299"/>
                        <a:pt x="1018357" y="85339"/>
                      </a:cubicBezTo>
                      <a:cubicBezTo>
                        <a:pt x="1021747" y="85339"/>
                        <a:pt x="1036438" y="86352"/>
                        <a:pt x="1043219" y="87366"/>
                      </a:cubicBezTo>
                      <a:lnTo>
                        <a:pt x="1048870" y="92433"/>
                      </a:lnTo>
                      <a:cubicBezTo>
                        <a:pt x="1062431" y="92433"/>
                        <a:pt x="1071472" y="83312"/>
                        <a:pt x="1083903" y="92433"/>
                      </a:cubicBezTo>
                      <a:cubicBezTo>
                        <a:pt x="1089554" y="96486"/>
                        <a:pt x="1085034" y="102566"/>
                        <a:pt x="1089554" y="109660"/>
                      </a:cubicBezTo>
                      <a:cubicBezTo>
                        <a:pt x="1090684" y="111686"/>
                        <a:pt x="1100855" y="119793"/>
                        <a:pt x="1103116" y="121820"/>
                      </a:cubicBezTo>
                      <a:cubicBezTo>
                        <a:pt x="1096335" y="117767"/>
                        <a:pt x="1091814" y="117767"/>
                        <a:pt x="1087294" y="111686"/>
                      </a:cubicBezTo>
                      <a:lnTo>
                        <a:pt x="1087294" y="104593"/>
                      </a:lnTo>
                      <a:cubicBezTo>
                        <a:pt x="1083903" y="94459"/>
                        <a:pt x="1053390" y="92433"/>
                        <a:pt x="1040959" y="90406"/>
                      </a:cubicBezTo>
                      <a:cubicBezTo>
                        <a:pt x="1026267" y="88379"/>
                        <a:pt x="982193" y="80272"/>
                        <a:pt x="998014" y="104593"/>
                      </a:cubicBezTo>
                      <a:cubicBezTo>
                        <a:pt x="999144" y="106620"/>
                        <a:pt x="1007055" y="107633"/>
                        <a:pt x="1009315" y="109660"/>
                      </a:cubicBezTo>
                      <a:cubicBezTo>
                        <a:pt x="1011576" y="113713"/>
                        <a:pt x="1009315" y="115740"/>
                        <a:pt x="1011576" y="119793"/>
                      </a:cubicBezTo>
                      <a:cubicBezTo>
                        <a:pt x="1007055" y="116753"/>
                        <a:pt x="986713" y="97499"/>
                        <a:pt x="986713" y="97499"/>
                      </a:cubicBezTo>
                      <a:cubicBezTo>
                        <a:pt x="965241" y="90406"/>
                        <a:pt x="950549" y="100539"/>
                        <a:pt x="938118" y="102566"/>
                      </a:cubicBezTo>
                      <a:cubicBezTo>
                        <a:pt x="929077" y="103580"/>
                        <a:pt x="918906" y="101553"/>
                        <a:pt x="908735" y="100539"/>
                      </a:cubicBezTo>
                      <a:cubicBezTo>
                        <a:pt x="909865" y="102566"/>
                        <a:pt x="907605" y="107633"/>
                        <a:pt x="908735" y="110673"/>
                      </a:cubicBezTo>
                      <a:cubicBezTo>
                        <a:pt x="909865" y="112700"/>
                        <a:pt x="917776" y="115740"/>
                        <a:pt x="920036" y="117767"/>
                      </a:cubicBezTo>
                      <a:cubicBezTo>
                        <a:pt x="921166" y="119793"/>
                        <a:pt x="921166" y="125873"/>
                        <a:pt x="922296" y="127900"/>
                      </a:cubicBezTo>
                      <a:cubicBezTo>
                        <a:pt x="925687" y="129927"/>
                        <a:pt x="929077" y="127900"/>
                        <a:pt x="933598" y="129927"/>
                      </a:cubicBezTo>
                      <a:cubicBezTo>
                        <a:pt x="935858" y="130940"/>
                        <a:pt x="939248" y="138034"/>
                        <a:pt x="941508" y="140060"/>
                      </a:cubicBezTo>
                      <a:cubicBezTo>
                        <a:pt x="949419" y="146141"/>
                        <a:pt x="958460" y="148167"/>
                        <a:pt x="966371" y="154247"/>
                      </a:cubicBezTo>
                      <a:cubicBezTo>
                        <a:pt x="969761" y="156274"/>
                        <a:pt x="973152" y="164381"/>
                        <a:pt x="977672" y="166408"/>
                      </a:cubicBezTo>
                      <a:cubicBezTo>
                        <a:pt x="991233" y="174514"/>
                        <a:pt x="1012706" y="175528"/>
                        <a:pt x="1026267" y="183635"/>
                      </a:cubicBezTo>
                      <a:cubicBezTo>
                        <a:pt x="1030788" y="186675"/>
                        <a:pt x="1030788" y="192755"/>
                        <a:pt x="1034178" y="195795"/>
                      </a:cubicBezTo>
                      <a:cubicBezTo>
                        <a:pt x="1028528" y="192755"/>
                        <a:pt x="1018357" y="184648"/>
                        <a:pt x="1012706" y="183635"/>
                      </a:cubicBezTo>
                      <a:cubicBezTo>
                        <a:pt x="1009315" y="183635"/>
                        <a:pt x="1008185" y="187688"/>
                        <a:pt x="1001405" y="185661"/>
                      </a:cubicBezTo>
                      <a:lnTo>
                        <a:pt x="995754" y="180595"/>
                      </a:lnTo>
                      <a:cubicBezTo>
                        <a:pt x="975412" y="175528"/>
                        <a:pt x="972022" y="186675"/>
                        <a:pt x="962980" y="197822"/>
                      </a:cubicBezTo>
                      <a:cubicBezTo>
                        <a:pt x="960720" y="196808"/>
                        <a:pt x="953940" y="196808"/>
                        <a:pt x="949419" y="195795"/>
                      </a:cubicBezTo>
                      <a:cubicBezTo>
                        <a:pt x="947159" y="194782"/>
                        <a:pt x="943769" y="186675"/>
                        <a:pt x="941508" y="185661"/>
                      </a:cubicBezTo>
                      <a:cubicBezTo>
                        <a:pt x="934727" y="184648"/>
                        <a:pt x="935858" y="190728"/>
                        <a:pt x="927947" y="187688"/>
                      </a:cubicBezTo>
                      <a:cubicBezTo>
                        <a:pt x="923426" y="186675"/>
                        <a:pt x="897434" y="162354"/>
                        <a:pt x="895173" y="158301"/>
                      </a:cubicBezTo>
                      <a:cubicBezTo>
                        <a:pt x="891783" y="151207"/>
                        <a:pt x="896303" y="145127"/>
                        <a:pt x="892913" y="139047"/>
                      </a:cubicBezTo>
                      <a:lnTo>
                        <a:pt x="890653" y="139047"/>
                      </a:lnTo>
                      <a:cubicBezTo>
                        <a:pt x="879352" y="133980"/>
                        <a:pt x="865790" y="114726"/>
                        <a:pt x="855619" y="109660"/>
                      </a:cubicBezTo>
                      <a:cubicBezTo>
                        <a:pt x="854489" y="108646"/>
                        <a:pt x="817195" y="99526"/>
                        <a:pt x="817195" y="99526"/>
                      </a:cubicBezTo>
                      <a:cubicBezTo>
                        <a:pt x="812675" y="99526"/>
                        <a:pt x="808154" y="99526"/>
                        <a:pt x="803634" y="99526"/>
                      </a:cubicBezTo>
                      <a:cubicBezTo>
                        <a:pt x="804764" y="108646"/>
                        <a:pt x="803634" y="117767"/>
                        <a:pt x="805894" y="128913"/>
                      </a:cubicBezTo>
                      <a:cubicBezTo>
                        <a:pt x="805894" y="129927"/>
                        <a:pt x="813805" y="137020"/>
                        <a:pt x="813805" y="139047"/>
                      </a:cubicBezTo>
                      <a:cubicBezTo>
                        <a:pt x="813805" y="139047"/>
                        <a:pt x="809284" y="150194"/>
                        <a:pt x="808154" y="144114"/>
                      </a:cubicBezTo>
                      <a:cubicBezTo>
                        <a:pt x="812675" y="141074"/>
                        <a:pt x="800243" y="142087"/>
                        <a:pt x="800243" y="142087"/>
                      </a:cubicBezTo>
                      <a:cubicBezTo>
                        <a:pt x="799113" y="146141"/>
                        <a:pt x="797983" y="153234"/>
                        <a:pt x="800243" y="152221"/>
                      </a:cubicBezTo>
                      <a:cubicBezTo>
                        <a:pt x="800243" y="156274"/>
                        <a:pt x="802504" y="163368"/>
                        <a:pt x="802504" y="164381"/>
                      </a:cubicBezTo>
                      <a:cubicBezTo>
                        <a:pt x="799113" y="164381"/>
                        <a:pt x="804764" y="178568"/>
                        <a:pt x="804764" y="178568"/>
                      </a:cubicBezTo>
                      <a:cubicBezTo>
                        <a:pt x="799113" y="181608"/>
                        <a:pt x="802504" y="180595"/>
                        <a:pt x="799113" y="185661"/>
                      </a:cubicBezTo>
                      <a:cubicBezTo>
                        <a:pt x="797983" y="185661"/>
                        <a:pt x="791202" y="184648"/>
                        <a:pt x="791202" y="185661"/>
                      </a:cubicBezTo>
                      <a:cubicBezTo>
                        <a:pt x="782161" y="179581"/>
                        <a:pt x="766340" y="167421"/>
                        <a:pt x="752778" y="166408"/>
                      </a:cubicBezTo>
                      <a:cubicBezTo>
                        <a:pt x="747128" y="166408"/>
                        <a:pt x="748258" y="169448"/>
                        <a:pt x="744868" y="168434"/>
                      </a:cubicBezTo>
                      <a:lnTo>
                        <a:pt x="744868" y="161341"/>
                      </a:lnTo>
                      <a:cubicBezTo>
                        <a:pt x="736957" y="160327"/>
                        <a:pt x="742607" y="165394"/>
                        <a:pt x="739217" y="166408"/>
                      </a:cubicBezTo>
                      <a:cubicBezTo>
                        <a:pt x="729046" y="169448"/>
                        <a:pt x="710964" y="157287"/>
                        <a:pt x="706444" y="154247"/>
                      </a:cubicBezTo>
                      <a:cubicBezTo>
                        <a:pt x="704183" y="156274"/>
                        <a:pt x="704183" y="162354"/>
                        <a:pt x="700793" y="164381"/>
                      </a:cubicBezTo>
                      <a:cubicBezTo>
                        <a:pt x="694012" y="169448"/>
                        <a:pt x="686101" y="173501"/>
                        <a:pt x="679321" y="178568"/>
                      </a:cubicBezTo>
                      <a:cubicBezTo>
                        <a:pt x="680451" y="181608"/>
                        <a:pt x="683841" y="181608"/>
                        <a:pt x="681581" y="185661"/>
                      </a:cubicBezTo>
                      <a:lnTo>
                        <a:pt x="675930" y="185661"/>
                      </a:lnTo>
                      <a:cubicBezTo>
                        <a:pt x="671410" y="164381"/>
                        <a:pt x="677060" y="115740"/>
                        <a:pt x="643157" y="117767"/>
                      </a:cubicBezTo>
                      <a:cubicBezTo>
                        <a:pt x="639767" y="117767"/>
                        <a:pt x="623945" y="122833"/>
                        <a:pt x="621685" y="124860"/>
                      </a:cubicBezTo>
                      <a:lnTo>
                        <a:pt x="621685" y="139047"/>
                      </a:lnTo>
                      <a:cubicBezTo>
                        <a:pt x="617164" y="136007"/>
                        <a:pt x="606993" y="126887"/>
                        <a:pt x="602472" y="126887"/>
                      </a:cubicBezTo>
                      <a:cubicBezTo>
                        <a:pt x="597952" y="125873"/>
                        <a:pt x="601342" y="130940"/>
                        <a:pt x="594562" y="128913"/>
                      </a:cubicBezTo>
                      <a:cubicBezTo>
                        <a:pt x="593432" y="131954"/>
                        <a:pt x="593432" y="137020"/>
                        <a:pt x="592301" y="139047"/>
                      </a:cubicBezTo>
                      <a:cubicBezTo>
                        <a:pt x="590041" y="141074"/>
                        <a:pt x="585521" y="139047"/>
                        <a:pt x="584390" y="141074"/>
                      </a:cubicBezTo>
                      <a:cubicBezTo>
                        <a:pt x="579870" y="138034"/>
                        <a:pt x="579870" y="129927"/>
                        <a:pt x="573089" y="128913"/>
                      </a:cubicBezTo>
                      <a:cubicBezTo>
                        <a:pt x="559528" y="125873"/>
                        <a:pt x="541446" y="134994"/>
                        <a:pt x="532405" y="136007"/>
                      </a:cubicBezTo>
                      <a:cubicBezTo>
                        <a:pt x="512063" y="139047"/>
                        <a:pt x="495111" y="136007"/>
                        <a:pt x="475899" y="141074"/>
                      </a:cubicBezTo>
                      <a:cubicBezTo>
                        <a:pt x="469118" y="143100"/>
                        <a:pt x="463468" y="151207"/>
                        <a:pt x="456687" y="153234"/>
                      </a:cubicBezTo>
                      <a:cubicBezTo>
                        <a:pt x="452167" y="154247"/>
                        <a:pt x="447646" y="152221"/>
                        <a:pt x="443125" y="153234"/>
                      </a:cubicBezTo>
                      <a:cubicBezTo>
                        <a:pt x="445386" y="156274"/>
                        <a:pt x="451036" y="161341"/>
                        <a:pt x="451036" y="163368"/>
                      </a:cubicBezTo>
                      <a:cubicBezTo>
                        <a:pt x="454427" y="171474"/>
                        <a:pt x="449906" y="178568"/>
                        <a:pt x="453297" y="185661"/>
                      </a:cubicBezTo>
                      <a:cubicBezTo>
                        <a:pt x="454427" y="187688"/>
                        <a:pt x="458947" y="189715"/>
                        <a:pt x="461207" y="192755"/>
                      </a:cubicBezTo>
                      <a:cubicBezTo>
                        <a:pt x="455557" y="188701"/>
                        <a:pt x="448776" y="187688"/>
                        <a:pt x="445386" y="182621"/>
                      </a:cubicBezTo>
                      <a:cubicBezTo>
                        <a:pt x="439735" y="174514"/>
                        <a:pt x="443125" y="163368"/>
                        <a:pt x="434085" y="158301"/>
                      </a:cubicBezTo>
                      <a:cubicBezTo>
                        <a:pt x="428434" y="154247"/>
                        <a:pt x="422783" y="156274"/>
                        <a:pt x="414872" y="153234"/>
                      </a:cubicBezTo>
                      <a:cubicBezTo>
                        <a:pt x="419393" y="151207"/>
                        <a:pt x="403571" y="150194"/>
                        <a:pt x="399051" y="158301"/>
                      </a:cubicBezTo>
                      <a:cubicBezTo>
                        <a:pt x="395661" y="163368"/>
                        <a:pt x="391140" y="178568"/>
                        <a:pt x="387750" y="184648"/>
                      </a:cubicBezTo>
                      <a:lnTo>
                        <a:pt x="385490" y="184648"/>
                      </a:lnTo>
                      <a:cubicBezTo>
                        <a:pt x="384359" y="187688"/>
                        <a:pt x="387750" y="195795"/>
                        <a:pt x="387750" y="194782"/>
                      </a:cubicBezTo>
                      <a:cubicBezTo>
                        <a:pt x="391140" y="198835"/>
                        <a:pt x="395661" y="202888"/>
                        <a:pt x="399051" y="206942"/>
                      </a:cubicBezTo>
                      <a:cubicBezTo>
                        <a:pt x="399051" y="206942"/>
                        <a:pt x="395661" y="213022"/>
                        <a:pt x="393400" y="208969"/>
                      </a:cubicBezTo>
                      <a:lnTo>
                        <a:pt x="391140" y="210995"/>
                      </a:lnTo>
                      <a:cubicBezTo>
                        <a:pt x="384359" y="209982"/>
                        <a:pt x="387750" y="203902"/>
                        <a:pt x="383229" y="200862"/>
                      </a:cubicBezTo>
                      <a:cubicBezTo>
                        <a:pt x="378709" y="197822"/>
                        <a:pt x="351586" y="193768"/>
                        <a:pt x="344805" y="193768"/>
                      </a:cubicBezTo>
                      <a:cubicBezTo>
                        <a:pt x="310902" y="194782"/>
                        <a:pt x="287169" y="217075"/>
                        <a:pt x="257786" y="223156"/>
                      </a:cubicBezTo>
                      <a:cubicBezTo>
                        <a:pt x="238574" y="227209"/>
                        <a:pt x="209191" y="228222"/>
                        <a:pt x="197890" y="237343"/>
                      </a:cubicBezTo>
                      <a:cubicBezTo>
                        <a:pt x="196759" y="238356"/>
                        <a:pt x="193369" y="250516"/>
                        <a:pt x="192239" y="251530"/>
                      </a:cubicBezTo>
                      <a:cubicBezTo>
                        <a:pt x="184328" y="267743"/>
                        <a:pt x="188849" y="260650"/>
                        <a:pt x="194499" y="273823"/>
                      </a:cubicBezTo>
                      <a:cubicBezTo>
                        <a:pt x="205800" y="270783"/>
                        <a:pt x="223882" y="260650"/>
                        <a:pt x="237444" y="263690"/>
                      </a:cubicBezTo>
                      <a:cubicBezTo>
                        <a:pt x="240834" y="264703"/>
                        <a:pt x="245355" y="273823"/>
                        <a:pt x="248745" y="275850"/>
                      </a:cubicBezTo>
                      <a:cubicBezTo>
                        <a:pt x="254396" y="273823"/>
                        <a:pt x="263436" y="266730"/>
                        <a:pt x="267957" y="265717"/>
                      </a:cubicBezTo>
                      <a:cubicBezTo>
                        <a:pt x="273608" y="264703"/>
                        <a:pt x="280388" y="267743"/>
                        <a:pt x="281518" y="267743"/>
                      </a:cubicBezTo>
                      <a:cubicBezTo>
                        <a:pt x="291689" y="268757"/>
                        <a:pt x="300731" y="265717"/>
                        <a:pt x="310902" y="262677"/>
                      </a:cubicBezTo>
                      <a:cubicBezTo>
                        <a:pt x="302991" y="278890"/>
                        <a:pt x="301860" y="264703"/>
                        <a:pt x="310902" y="281930"/>
                      </a:cubicBezTo>
                      <a:cubicBezTo>
                        <a:pt x="307511" y="284970"/>
                        <a:pt x="300731" y="286997"/>
                        <a:pt x="299600" y="292064"/>
                      </a:cubicBezTo>
                      <a:cubicBezTo>
                        <a:pt x="299600" y="293077"/>
                        <a:pt x="306381" y="302197"/>
                        <a:pt x="301860" y="311318"/>
                      </a:cubicBezTo>
                      <a:lnTo>
                        <a:pt x="269087" y="335638"/>
                      </a:lnTo>
                      <a:cubicBezTo>
                        <a:pt x="265697" y="336652"/>
                        <a:pt x="261176" y="334625"/>
                        <a:pt x="257786" y="335638"/>
                      </a:cubicBezTo>
                      <a:cubicBezTo>
                        <a:pt x="255526" y="336652"/>
                        <a:pt x="252135" y="344758"/>
                        <a:pt x="249875" y="345772"/>
                      </a:cubicBezTo>
                      <a:cubicBezTo>
                        <a:pt x="245355" y="346785"/>
                        <a:pt x="240834" y="338678"/>
                        <a:pt x="238574" y="338678"/>
                      </a:cubicBezTo>
                      <a:cubicBezTo>
                        <a:pt x="237444" y="338678"/>
                        <a:pt x="192239" y="338678"/>
                        <a:pt x="189979" y="338678"/>
                      </a:cubicBezTo>
                      <a:cubicBezTo>
                        <a:pt x="178678" y="339692"/>
                        <a:pt x="156075" y="351852"/>
                        <a:pt x="149294" y="352865"/>
                      </a:cubicBezTo>
                      <a:cubicBezTo>
                        <a:pt x="140254" y="353879"/>
                        <a:pt x="137993" y="349825"/>
                        <a:pt x="127822" y="350839"/>
                      </a:cubicBezTo>
                      <a:cubicBezTo>
                        <a:pt x="119912" y="351852"/>
                        <a:pt x="99569" y="356919"/>
                        <a:pt x="89398" y="357932"/>
                      </a:cubicBezTo>
                      <a:cubicBezTo>
                        <a:pt x="82617" y="358945"/>
                        <a:pt x="74707" y="355905"/>
                        <a:pt x="67926" y="357932"/>
                      </a:cubicBezTo>
                      <a:lnTo>
                        <a:pt x="62275" y="362999"/>
                      </a:lnTo>
                      <a:cubicBezTo>
                        <a:pt x="52104" y="364012"/>
                        <a:pt x="39673" y="359959"/>
                        <a:pt x="29502" y="362999"/>
                      </a:cubicBezTo>
                      <a:cubicBezTo>
                        <a:pt x="23851" y="364012"/>
                        <a:pt x="13680" y="376173"/>
                        <a:pt x="10290" y="380226"/>
                      </a:cubicBezTo>
                      <a:cubicBezTo>
                        <a:pt x="12550" y="382253"/>
                        <a:pt x="9160" y="385293"/>
                        <a:pt x="10290" y="387319"/>
                      </a:cubicBezTo>
                      <a:cubicBezTo>
                        <a:pt x="10290" y="387319"/>
                        <a:pt x="18201" y="389346"/>
                        <a:pt x="18201" y="389346"/>
                      </a:cubicBezTo>
                      <a:cubicBezTo>
                        <a:pt x="21591" y="392386"/>
                        <a:pt x="19331" y="401506"/>
                        <a:pt x="23851" y="403533"/>
                      </a:cubicBezTo>
                      <a:cubicBezTo>
                        <a:pt x="27242" y="405560"/>
                        <a:pt x="31762" y="403533"/>
                        <a:pt x="35153" y="405560"/>
                      </a:cubicBezTo>
                      <a:cubicBezTo>
                        <a:pt x="36282" y="406573"/>
                        <a:pt x="36282" y="414680"/>
                        <a:pt x="37413" y="415693"/>
                      </a:cubicBezTo>
                      <a:cubicBezTo>
                        <a:pt x="41933" y="417720"/>
                        <a:pt x="48714" y="414680"/>
                        <a:pt x="53234" y="415693"/>
                      </a:cubicBezTo>
                      <a:lnTo>
                        <a:pt x="53234" y="417720"/>
                      </a:lnTo>
                      <a:cubicBezTo>
                        <a:pt x="53234" y="420760"/>
                        <a:pt x="62275" y="420760"/>
                        <a:pt x="64535" y="422787"/>
                      </a:cubicBezTo>
                      <a:cubicBezTo>
                        <a:pt x="66796" y="424814"/>
                        <a:pt x="64535" y="428867"/>
                        <a:pt x="66796" y="429880"/>
                      </a:cubicBezTo>
                      <a:cubicBezTo>
                        <a:pt x="72446" y="431907"/>
                        <a:pt x="80357" y="428867"/>
                        <a:pt x="86008" y="429880"/>
                      </a:cubicBezTo>
                      <a:cubicBezTo>
                        <a:pt x="115391" y="433934"/>
                        <a:pt x="115391" y="440014"/>
                        <a:pt x="124432" y="410627"/>
                      </a:cubicBezTo>
                      <a:cubicBezTo>
                        <a:pt x="126692" y="412653"/>
                        <a:pt x="132343" y="410627"/>
                        <a:pt x="135733" y="412653"/>
                      </a:cubicBezTo>
                      <a:cubicBezTo>
                        <a:pt x="136863" y="413667"/>
                        <a:pt x="145904" y="429880"/>
                        <a:pt x="147034" y="431907"/>
                      </a:cubicBezTo>
                      <a:cubicBezTo>
                        <a:pt x="178678" y="429880"/>
                        <a:pt x="205800" y="424814"/>
                        <a:pt x="241964" y="424814"/>
                      </a:cubicBezTo>
                      <a:cubicBezTo>
                        <a:pt x="243094" y="426840"/>
                        <a:pt x="245355" y="435961"/>
                        <a:pt x="247615" y="436974"/>
                      </a:cubicBezTo>
                      <a:cubicBezTo>
                        <a:pt x="244225" y="439001"/>
                        <a:pt x="240834" y="440014"/>
                        <a:pt x="236314" y="442041"/>
                      </a:cubicBezTo>
                      <a:lnTo>
                        <a:pt x="236314" y="447107"/>
                      </a:lnTo>
                      <a:lnTo>
                        <a:pt x="230663" y="447107"/>
                      </a:lnTo>
                      <a:cubicBezTo>
                        <a:pt x="227273" y="446094"/>
                        <a:pt x="226143" y="437987"/>
                        <a:pt x="222752" y="436974"/>
                      </a:cubicBezTo>
                      <a:cubicBezTo>
                        <a:pt x="218232" y="435961"/>
                        <a:pt x="187719" y="436974"/>
                        <a:pt x="179808" y="439001"/>
                      </a:cubicBezTo>
                      <a:lnTo>
                        <a:pt x="174157" y="444067"/>
                      </a:lnTo>
                      <a:cubicBezTo>
                        <a:pt x="165116" y="445081"/>
                        <a:pt x="158336" y="440014"/>
                        <a:pt x="147034" y="442041"/>
                      </a:cubicBezTo>
                      <a:cubicBezTo>
                        <a:pt x="134603" y="443054"/>
                        <a:pt x="115391" y="453188"/>
                        <a:pt x="98439" y="456228"/>
                      </a:cubicBezTo>
                      <a:cubicBezTo>
                        <a:pt x="98439" y="456228"/>
                        <a:pt x="98439" y="463321"/>
                        <a:pt x="98439" y="463321"/>
                      </a:cubicBezTo>
                      <a:cubicBezTo>
                        <a:pt x="104090" y="465348"/>
                        <a:pt x="105220" y="465348"/>
                        <a:pt x="109740" y="468388"/>
                      </a:cubicBezTo>
                      <a:cubicBezTo>
                        <a:pt x="99569" y="468388"/>
                        <a:pt x="87138" y="470415"/>
                        <a:pt x="76967" y="468388"/>
                      </a:cubicBezTo>
                      <a:cubicBezTo>
                        <a:pt x="57755" y="463321"/>
                        <a:pt x="70186" y="449134"/>
                        <a:pt x="38543" y="463321"/>
                      </a:cubicBezTo>
                      <a:cubicBezTo>
                        <a:pt x="41933" y="470415"/>
                        <a:pt x="46454" y="477508"/>
                        <a:pt x="49844" y="485615"/>
                      </a:cubicBezTo>
                      <a:cubicBezTo>
                        <a:pt x="56625" y="485615"/>
                        <a:pt x="56625" y="481562"/>
                        <a:pt x="65666" y="483588"/>
                      </a:cubicBezTo>
                      <a:cubicBezTo>
                        <a:pt x="66796" y="483588"/>
                        <a:pt x="70186" y="490682"/>
                        <a:pt x="71316" y="490682"/>
                      </a:cubicBezTo>
                      <a:cubicBezTo>
                        <a:pt x="80357" y="495749"/>
                        <a:pt x="88268" y="493722"/>
                        <a:pt x="100699" y="495749"/>
                      </a:cubicBezTo>
                      <a:cubicBezTo>
                        <a:pt x="96179" y="497775"/>
                        <a:pt x="92788" y="500815"/>
                        <a:pt x="87138" y="502842"/>
                      </a:cubicBezTo>
                      <a:cubicBezTo>
                        <a:pt x="93919" y="510949"/>
                        <a:pt x="101830" y="529189"/>
                        <a:pt x="114261" y="532229"/>
                      </a:cubicBezTo>
                      <a:cubicBezTo>
                        <a:pt x="125562" y="534256"/>
                        <a:pt x="127822" y="529189"/>
                        <a:pt x="139123" y="530203"/>
                      </a:cubicBezTo>
                      <a:cubicBezTo>
                        <a:pt x="148164" y="531216"/>
                        <a:pt x="162856" y="536283"/>
                        <a:pt x="174157" y="537296"/>
                      </a:cubicBezTo>
                      <a:cubicBezTo>
                        <a:pt x="169637" y="517029"/>
                        <a:pt x="167376" y="517029"/>
                        <a:pt x="179808" y="502842"/>
                      </a:cubicBezTo>
                      <a:cubicBezTo>
                        <a:pt x="187719" y="508922"/>
                        <a:pt x="195629" y="513989"/>
                        <a:pt x="204670" y="520069"/>
                      </a:cubicBezTo>
                      <a:cubicBezTo>
                        <a:pt x="206931" y="516016"/>
                        <a:pt x="204670" y="513989"/>
                        <a:pt x="206931" y="509936"/>
                      </a:cubicBezTo>
                      <a:cubicBezTo>
                        <a:pt x="211451" y="502842"/>
                        <a:pt x="229533" y="504869"/>
                        <a:pt x="241964" y="504869"/>
                      </a:cubicBezTo>
                      <a:cubicBezTo>
                        <a:pt x="243094" y="506896"/>
                        <a:pt x="240834" y="511962"/>
                        <a:pt x="241964" y="515002"/>
                      </a:cubicBezTo>
                      <a:cubicBezTo>
                        <a:pt x="244225" y="520069"/>
                        <a:pt x="255526" y="522096"/>
                        <a:pt x="261176" y="525136"/>
                      </a:cubicBezTo>
                      <a:cubicBezTo>
                        <a:pt x="263436" y="521083"/>
                        <a:pt x="266827" y="515002"/>
                        <a:pt x="269087" y="510949"/>
                      </a:cubicBezTo>
                      <a:cubicBezTo>
                        <a:pt x="271347" y="510949"/>
                        <a:pt x="275868" y="516016"/>
                        <a:pt x="276998" y="516016"/>
                      </a:cubicBezTo>
                      <a:lnTo>
                        <a:pt x="282649" y="516016"/>
                      </a:lnTo>
                      <a:lnTo>
                        <a:pt x="284909" y="510949"/>
                      </a:lnTo>
                      <a:cubicBezTo>
                        <a:pt x="293950" y="510949"/>
                        <a:pt x="308641" y="513989"/>
                        <a:pt x="317682" y="510949"/>
                      </a:cubicBezTo>
                      <a:cubicBezTo>
                        <a:pt x="317682" y="510949"/>
                        <a:pt x="317682" y="503855"/>
                        <a:pt x="317682" y="503855"/>
                      </a:cubicBezTo>
                      <a:cubicBezTo>
                        <a:pt x="324463" y="500815"/>
                        <a:pt x="330113" y="498789"/>
                        <a:pt x="336894" y="496762"/>
                      </a:cubicBezTo>
                      <a:cubicBezTo>
                        <a:pt x="336894" y="498789"/>
                        <a:pt x="342545" y="503855"/>
                        <a:pt x="342545" y="503855"/>
                      </a:cubicBezTo>
                      <a:cubicBezTo>
                        <a:pt x="343675" y="507909"/>
                        <a:pt x="342545" y="513989"/>
                        <a:pt x="342545" y="518042"/>
                      </a:cubicBezTo>
                      <a:cubicBezTo>
                        <a:pt x="352716" y="512976"/>
                        <a:pt x="357237" y="508922"/>
                        <a:pt x="364017" y="500815"/>
                      </a:cubicBezTo>
                      <a:cubicBezTo>
                        <a:pt x="367408" y="501829"/>
                        <a:pt x="374188" y="500815"/>
                        <a:pt x="377579" y="500815"/>
                      </a:cubicBezTo>
                      <a:lnTo>
                        <a:pt x="383229" y="510949"/>
                      </a:lnTo>
                      <a:cubicBezTo>
                        <a:pt x="399051" y="516016"/>
                        <a:pt x="422783" y="510949"/>
                        <a:pt x="437475" y="518042"/>
                      </a:cubicBezTo>
                      <a:cubicBezTo>
                        <a:pt x="439735" y="519056"/>
                        <a:pt x="438605" y="524123"/>
                        <a:pt x="439735" y="525136"/>
                      </a:cubicBezTo>
                      <a:cubicBezTo>
                        <a:pt x="446516" y="530203"/>
                        <a:pt x="454427" y="531216"/>
                        <a:pt x="461207" y="537296"/>
                      </a:cubicBezTo>
                      <a:cubicBezTo>
                        <a:pt x="462338" y="538310"/>
                        <a:pt x="461207" y="544390"/>
                        <a:pt x="463468" y="544390"/>
                      </a:cubicBezTo>
                      <a:cubicBezTo>
                        <a:pt x="470249" y="546416"/>
                        <a:pt x="487200" y="540336"/>
                        <a:pt x="498502" y="544390"/>
                      </a:cubicBezTo>
                      <a:cubicBezTo>
                        <a:pt x="499631" y="545403"/>
                        <a:pt x="514323" y="557563"/>
                        <a:pt x="514323" y="558577"/>
                      </a:cubicBezTo>
                      <a:cubicBezTo>
                        <a:pt x="517713" y="564657"/>
                        <a:pt x="512063" y="568710"/>
                        <a:pt x="516583" y="572764"/>
                      </a:cubicBezTo>
                      <a:cubicBezTo>
                        <a:pt x="517713" y="573777"/>
                        <a:pt x="523364" y="572764"/>
                        <a:pt x="524494" y="572764"/>
                      </a:cubicBezTo>
                      <a:cubicBezTo>
                        <a:pt x="524494" y="572764"/>
                        <a:pt x="547097" y="585937"/>
                        <a:pt x="549357" y="586951"/>
                      </a:cubicBezTo>
                      <a:cubicBezTo>
                        <a:pt x="550487" y="587964"/>
                        <a:pt x="560658" y="604178"/>
                        <a:pt x="560658" y="604178"/>
                      </a:cubicBezTo>
                      <a:cubicBezTo>
                        <a:pt x="566309" y="607218"/>
                        <a:pt x="574219" y="602151"/>
                        <a:pt x="579870" y="604178"/>
                      </a:cubicBezTo>
                      <a:cubicBezTo>
                        <a:pt x="579870" y="604178"/>
                        <a:pt x="582130" y="608231"/>
                        <a:pt x="582130" y="609245"/>
                      </a:cubicBezTo>
                      <a:cubicBezTo>
                        <a:pt x="586651" y="606205"/>
                        <a:pt x="583261" y="611271"/>
                        <a:pt x="584390" y="611271"/>
                      </a:cubicBezTo>
                      <a:cubicBezTo>
                        <a:pt x="587781" y="608231"/>
                        <a:pt x="586651" y="613298"/>
                        <a:pt x="586651" y="613298"/>
                      </a:cubicBezTo>
                      <a:cubicBezTo>
                        <a:pt x="585521" y="614311"/>
                        <a:pt x="578740" y="617351"/>
                        <a:pt x="578740" y="618365"/>
                      </a:cubicBezTo>
                      <a:cubicBezTo>
                        <a:pt x="577610" y="620391"/>
                        <a:pt x="582130" y="622418"/>
                        <a:pt x="581000" y="628498"/>
                      </a:cubicBezTo>
                      <a:cubicBezTo>
                        <a:pt x="581000" y="630525"/>
                        <a:pt x="576480" y="632552"/>
                        <a:pt x="575350" y="635592"/>
                      </a:cubicBezTo>
                      <a:cubicBezTo>
                        <a:pt x="569699" y="636605"/>
                        <a:pt x="566309" y="635592"/>
                        <a:pt x="561788" y="637619"/>
                      </a:cubicBezTo>
                      <a:cubicBezTo>
                        <a:pt x="560658" y="638632"/>
                        <a:pt x="559528" y="644712"/>
                        <a:pt x="559528" y="644712"/>
                      </a:cubicBezTo>
                      <a:cubicBezTo>
                        <a:pt x="567439" y="642685"/>
                        <a:pt x="577610" y="639645"/>
                        <a:pt x="586651" y="637619"/>
                      </a:cubicBezTo>
                      <a:cubicBezTo>
                        <a:pt x="587781" y="639645"/>
                        <a:pt x="585521" y="642685"/>
                        <a:pt x="586651" y="644712"/>
                      </a:cubicBezTo>
                      <a:cubicBezTo>
                        <a:pt x="586651" y="644712"/>
                        <a:pt x="611514" y="670046"/>
                        <a:pt x="613774" y="671059"/>
                      </a:cubicBezTo>
                      <a:cubicBezTo>
                        <a:pt x="613774" y="671059"/>
                        <a:pt x="611514" y="676126"/>
                        <a:pt x="608123" y="673086"/>
                      </a:cubicBezTo>
                      <a:lnTo>
                        <a:pt x="608123" y="678153"/>
                      </a:lnTo>
                      <a:cubicBezTo>
                        <a:pt x="611514" y="681193"/>
                        <a:pt x="623945" y="690313"/>
                        <a:pt x="623945" y="695380"/>
                      </a:cubicBezTo>
                      <a:cubicBezTo>
                        <a:pt x="625075" y="701460"/>
                        <a:pt x="620554" y="698420"/>
                        <a:pt x="621685" y="705513"/>
                      </a:cubicBezTo>
                      <a:cubicBezTo>
                        <a:pt x="627335" y="705513"/>
                        <a:pt x="632986" y="704500"/>
                        <a:pt x="637506" y="705513"/>
                      </a:cubicBezTo>
                      <a:cubicBezTo>
                        <a:pt x="634116" y="707540"/>
                        <a:pt x="642027" y="715647"/>
                        <a:pt x="631856" y="712607"/>
                      </a:cubicBezTo>
                      <a:cubicBezTo>
                        <a:pt x="631856" y="713620"/>
                        <a:pt x="634116" y="719700"/>
                        <a:pt x="634116" y="722741"/>
                      </a:cubicBezTo>
                      <a:cubicBezTo>
                        <a:pt x="627335" y="727807"/>
                        <a:pt x="629595" y="725781"/>
                        <a:pt x="631856" y="732874"/>
                      </a:cubicBezTo>
                      <a:lnTo>
                        <a:pt x="631856" y="737941"/>
                      </a:lnTo>
                      <a:cubicBezTo>
                        <a:pt x="626205" y="739968"/>
                        <a:pt x="604733" y="739968"/>
                        <a:pt x="602472" y="739968"/>
                      </a:cubicBezTo>
                      <a:lnTo>
                        <a:pt x="602472" y="749088"/>
                      </a:lnTo>
                      <a:cubicBezTo>
                        <a:pt x="604733" y="750101"/>
                        <a:pt x="610383" y="749088"/>
                        <a:pt x="613774" y="749088"/>
                      </a:cubicBezTo>
                      <a:cubicBezTo>
                        <a:pt x="610383" y="756181"/>
                        <a:pt x="611514" y="763275"/>
                        <a:pt x="605863" y="768342"/>
                      </a:cubicBezTo>
                      <a:cubicBezTo>
                        <a:pt x="604733" y="769355"/>
                        <a:pt x="599082" y="769355"/>
                        <a:pt x="597952" y="770368"/>
                      </a:cubicBezTo>
                      <a:cubicBezTo>
                        <a:pt x="597952" y="770368"/>
                        <a:pt x="597952" y="779489"/>
                        <a:pt x="597952" y="780502"/>
                      </a:cubicBezTo>
                      <a:cubicBezTo>
                        <a:pt x="604733" y="780502"/>
                        <a:pt x="606993" y="778475"/>
                        <a:pt x="611514" y="778475"/>
                      </a:cubicBezTo>
                      <a:cubicBezTo>
                        <a:pt x="609253" y="781515"/>
                        <a:pt x="609253" y="787595"/>
                        <a:pt x="605863" y="790635"/>
                      </a:cubicBezTo>
                      <a:cubicBezTo>
                        <a:pt x="603603" y="792662"/>
                        <a:pt x="595692" y="793676"/>
                        <a:pt x="594562" y="795702"/>
                      </a:cubicBezTo>
                      <a:lnTo>
                        <a:pt x="594562" y="799756"/>
                      </a:lnTo>
                      <a:cubicBezTo>
                        <a:pt x="604733" y="806849"/>
                        <a:pt x="628465" y="819009"/>
                        <a:pt x="643157" y="806849"/>
                      </a:cubicBezTo>
                      <a:cubicBezTo>
                        <a:pt x="644287" y="805836"/>
                        <a:pt x="649938" y="785569"/>
                        <a:pt x="651068" y="782529"/>
                      </a:cubicBezTo>
                      <a:lnTo>
                        <a:pt x="653328" y="782529"/>
                      </a:lnTo>
                      <a:cubicBezTo>
                        <a:pt x="656718" y="788609"/>
                        <a:pt x="655588" y="789622"/>
                        <a:pt x="658978" y="796716"/>
                      </a:cubicBezTo>
                      <a:cubicBezTo>
                        <a:pt x="679321" y="791649"/>
                        <a:pt x="692882" y="797729"/>
                        <a:pt x="718875" y="801782"/>
                      </a:cubicBezTo>
                      <a:cubicBezTo>
                        <a:pt x="716615" y="802796"/>
                        <a:pt x="717745" y="806849"/>
                        <a:pt x="713224" y="806849"/>
                      </a:cubicBezTo>
                      <a:lnTo>
                        <a:pt x="715484" y="813943"/>
                      </a:lnTo>
                      <a:cubicBezTo>
                        <a:pt x="722265" y="812929"/>
                        <a:pt x="733566" y="813943"/>
                        <a:pt x="742607" y="811916"/>
                      </a:cubicBezTo>
                      <a:cubicBezTo>
                        <a:pt x="743737" y="811916"/>
                        <a:pt x="750518" y="804822"/>
                        <a:pt x="753908" y="804822"/>
                      </a:cubicBezTo>
                      <a:cubicBezTo>
                        <a:pt x="759559" y="804822"/>
                        <a:pt x="758429" y="807863"/>
                        <a:pt x="761819" y="806849"/>
                      </a:cubicBezTo>
                      <a:cubicBezTo>
                        <a:pt x="757299" y="807863"/>
                        <a:pt x="745998" y="814956"/>
                        <a:pt x="742607" y="816983"/>
                      </a:cubicBezTo>
                      <a:cubicBezTo>
                        <a:pt x="727916" y="823063"/>
                        <a:pt x="766340" y="821036"/>
                        <a:pt x="775381" y="822049"/>
                      </a:cubicBezTo>
                      <a:cubicBezTo>
                        <a:pt x="774251" y="822049"/>
                        <a:pt x="777641" y="830156"/>
                        <a:pt x="777641" y="832183"/>
                      </a:cubicBezTo>
                      <a:cubicBezTo>
                        <a:pt x="769730" y="832183"/>
                        <a:pt x="760689" y="832183"/>
                        <a:pt x="752778" y="832183"/>
                      </a:cubicBezTo>
                      <a:cubicBezTo>
                        <a:pt x="753908" y="832183"/>
                        <a:pt x="764080" y="838263"/>
                        <a:pt x="766340" y="839277"/>
                      </a:cubicBezTo>
                      <a:cubicBezTo>
                        <a:pt x="778771" y="845357"/>
                        <a:pt x="764080" y="843330"/>
                        <a:pt x="755039" y="844343"/>
                      </a:cubicBezTo>
                      <a:lnTo>
                        <a:pt x="755039" y="849410"/>
                      </a:lnTo>
                      <a:cubicBezTo>
                        <a:pt x="742607" y="855490"/>
                        <a:pt x="759559" y="853464"/>
                        <a:pt x="762950" y="854477"/>
                      </a:cubicBezTo>
                      <a:cubicBezTo>
                        <a:pt x="762950" y="854477"/>
                        <a:pt x="768600" y="856504"/>
                        <a:pt x="770860" y="856504"/>
                      </a:cubicBezTo>
                      <a:lnTo>
                        <a:pt x="770860" y="860557"/>
                      </a:lnTo>
                      <a:cubicBezTo>
                        <a:pt x="740347" y="862584"/>
                        <a:pt x="755039" y="867651"/>
                        <a:pt x="773121" y="874744"/>
                      </a:cubicBezTo>
                      <a:cubicBezTo>
                        <a:pt x="773121" y="875757"/>
                        <a:pt x="771990" y="881838"/>
                        <a:pt x="773121" y="881838"/>
                      </a:cubicBezTo>
                      <a:cubicBezTo>
                        <a:pt x="756169" y="878798"/>
                        <a:pt x="731306" y="871704"/>
                        <a:pt x="718875" y="864611"/>
                      </a:cubicBezTo>
                      <a:cubicBezTo>
                        <a:pt x="715484" y="862584"/>
                        <a:pt x="712094" y="856504"/>
                        <a:pt x="707574" y="854477"/>
                      </a:cubicBezTo>
                      <a:cubicBezTo>
                        <a:pt x="688362" y="846370"/>
                        <a:pt x="649938" y="847383"/>
                        <a:pt x="628465" y="849410"/>
                      </a:cubicBezTo>
                      <a:cubicBezTo>
                        <a:pt x="628465" y="849410"/>
                        <a:pt x="622815" y="856504"/>
                        <a:pt x="622815" y="856504"/>
                      </a:cubicBezTo>
                      <a:cubicBezTo>
                        <a:pt x="623945" y="858530"/>
                        <a:pt x="629595" y="867651"/>
                        <a:pt x="630725" y="868664"/>
                      </a:cubicBezTo>
                      <a:cubicBezTo>
                        <a:pt x="634116" y="870691"/>
                        <a:pt x="640896" y="867651"/>
                        <a:pt x="644287" y="868664"/>
                      </a:cubicBezTo>
                      <a:lnTo>
                        <a:pt x="644287" y="870691"/>
                      </a:lnTo>
                      <a:cubicBezTo>
                        <a:pt x="648807" y="871704"/>
                        <a:pt x="655588" y="873731"/>
                        <a:pt x="660109" y="875757"/>
                      </a:cubicBezTo>
                      <a:lnTo>
                        <a:pt x="660109" y="880824"/>
                      </a:lnTo>
                      <a:cubicBezTo>
                        <a:pt x="655588" y="882851"/>
                        <a:pt x="658978" y="884878"/>
                        <a:pt x="652198" y="885891"/>
                      </a:cubicBezTo>
                      <a:lnTo>
                        <a:pt x="638636" y="880824"/>
                      </a:lnTo>
                      <a:cubicBezTo>
                        <a:pt x="630725" y="879811"/>
                        <a:pt x="628465" y="882851"/>
                        <a:pt x="622815" y="882851"/>
                      </a:cubicBezTo>
                      <a:cubicBezTo>
                        <a:pt x="620554" y="886904"/>
                        <a:pt x="618294" y="887918"/>
                        <a:pt x="614904" y="889944"/>
                      </a:cubicBezTo>
                      <a:cubicBezTo>
                        <a:pt x="617164" y="895011"/>
                        <a:pt x="621685" y="903118"/>
                        <a:pt x="620554" y="907171"/>
                      </a:cubicBezTo>
                      <a:lnTo>
                        <a:pt x="609253" y="914265"/>
                      </a:lnTo>
                      <a:cubicBezTo>
                        <a:pt x="608123" y="917305"/>
                        <a:pt x="609253" y="923385"/>
                        <a:pt x="609253" y="926425"/>
                      </a:cubicBezTo>
                      <a:cubicBezTo>
                        <a:pt x="600212" y="930479"/>
                        <a:pt x="604733" y="931492"/>
                        <a:pt x="601342" y="933519"/>
                      </a:cubicBezTo>
                      <a:cubicBezTo>
                        <a:pt x="603603" y="934532"/>
                        <a:pt x="604733" y="939599"/>
                        <a:pt x="606993" y="940612"/>
                      </a:cubicBezTo>
                      <a:cubicBezTo>
                        <a:pt x="614904" y="942639"/>
                        <a:pt x="628465" y="937572"/>
                        <a:pt x="631856" y="938586"/>
                      </a:cubicBezTo>
                      <a:cubicBezTo>
                        <a:pt x="638636" y="938586"/>
                        <a:pt x="639767" y="945679"/>
                        <a:pt x="647677" y="943652"/>
                      </a:cubicBezTo>
                      <a:cubicBezTo>
                        <a:pt x="649938" y="942639"/>
                        <a:pt x="645417" y="939599"/>
                        <a:pt x="653328" y="938586"/>
                      </a:cubicBezTo>
                      <a:cubicBezTo>
                        <a:pt x="652198" y="939599"/>
                        <a:pt x="653328" y="948719"/>
                        <a:pt x="653328" y="950746"/>
                      </a:cubicBezTo>
                      <a:lnTo>
                        <a:pt x="620554" y="950746"/>
                      </a:lnTo>
                      <a:lnTo>
                        <a:pt x="620554" y="955813"/>
                      </a:lnTo>
                      <a:cubicBezTo>
                        <a:pt x="626205" y="958853"/>
                        <a:pt x="632986" y="963919"/>
                        <a:pt x="639767" y="965946"/>
                      </a:cubicBezTo>
                      <a:cubicBezTo>
                        <a:pt x="660109" y="970000"/>
                        <a:pt x="663499" y="960879"/>
                        <a:pt x="672540" y="958853"/>
                      </a:cubicBezTo>
                      <a:cubicBezTo>
                        <a:pt x="680451" y="956826"/>
                        <a:pt x="687231" y="958853"/>
                        <a:pt x="694012" y="956826"/>
                      </a:cubicBezTo>
                      <a:lnTo>
                        <a:pt x="721135" y="942639"/>
                      </a:lnTo>
                      <a:cubicBezTo>
                        <a:pt x="724526" y="938586"/>
                        <a:pt x="721135" y="934532"/>
                        <a:pt x="723395" y="930479"/>
                      </a:cubicBezTo>
                      <a:cubicBezTo>
                        <a:pt x="714354" y="925412"/>
                        <a:pt x="705313" y="920345"/>
                        <a:pt x="698533" y="913252"/>
                      </a:cubicBezTo>
                      <a:cubicBezTo>
                        <a:pt x="694012" y="908185"/>
                        <a:pt x="692882" y="902105"/>
                        <a:pt x="687231" y="899065"/>
                      </a:cubicBezTo>
                      <a:cubicBezTo>
                        <a:pt x="680451" y="893998"/>
                        <a:pt x="672540" y="892984"/>
                        <a:pt x="665759" y="888931"/>
                      </a:cubicBezTo>
                      <a:cubicBezTo>
                        <a:pt x="669149" y="887918"/>
                        <a:pt x="663499" y="878798"/>
                        <a:pt x="663499" y="878798"/>
                      </a:cubicBezTo>
                      <a:cubicBezTo>
                        <a:pt x="679321" y="881838"/>
                        <a:pt x="684971" y="881838"/>
                        <a:pt x="696273" y="888931"/>
                      </a:cubicBezTo>
                      <a:cubicBezTo>
                        <a:pt x="706444" y="895011"/>
                        <a:pt x="713224" y="908185"/>
                        <a:pt x="734697" y="903118"/>
                      </a:cubicBezTo>
                      <a:cubicBezTo>
                        <a:pt x="736957" y="902105"/>
                        <a:pt x="740347" y="898051"/>
                        <a:pt x="745998" y="898051"/>
                      </a:cubicBezTo>
                      <a:lnTo>
                        <a:pt x="748258" y="905145"/>
                      </a:lnTo>
                      <a:cubicBezTo>
                        <a:pt x="758429" y="902105"/>
                        <a:pt x="764080" y="903118"/>
                        <a:pt x="775381" y="900078"/>
                      </a:cubicBezTo>
                      <a:lnTo>
                        <a:pt x="775381" y="905145"/>
                      </a:lnTo>
                      <a:cubicBezTo>
                        <a:pt x="775381" y="903118"/>
                        <a:pt x="769730" y="910212"/>
                        <a:pt x="769730" y="910212"/>
                      </a:cubicBezTo>
                      <a:cubicBezTo>
                        <a:pt x="770860" y="912238"/>
                        <a:pt x="777641" y="914265"/>
                        <a:pt x="775381" y="920345"/>
                      </a:cubicBezTo>
                      <a:cubicBezTo>
                        <a:pt x="775381" y="920345"/>
                        <a:pt x="767470" y="920345"/>
                        <a:pt x="767470" y="920345"/>
                      </a:cubicBezTo>
                      <a:cubicBezTo>
                        <a:pt x="764080" y="926425"/>
                        <a:pt x="765210" y="928452"/>
                        <a:pt x="761819" y="932505"/>
                      </a:cubicBezTo>
                      <a:cubicBezTo>
                        <a:pt x="764080" y="933519"/>
                        <a:pt x="770860" y="936559"/>
                        <a:pt x="773121" y="937572"/>
                      </a:cubicBezTo>
                      <a:cubicBezTo>
                        <a:pt x="770860" y="939599"/>
                        <a:pt x="765210" y="940612"/>
                        <a:pt x="761819" y="942639"/>
                      </a:cubicBezTo>
                      <a:lnTo>
                        <a:pt x="761819" y="947706"/>
                      </a:lnTo>
                      <a:cubicBezTo>
                        <a:pt x="782161" y="944666"/>
                        <a:pt x="782161" y="942639"/>
                        <a:pt x="777641" y="959866"/>
                      </a:cubicBezTo>
                      <a:cubicBezTo>
                        <a:pt x="778771" y="959866"/>
                        <a:pt x="784422" y="959866"/>
                        <a:pt x="785552" y="959866"/>
                      </a:cubicBezTo>
                      <a:cubicBezTo>
                        <a:pt x="785552" y="961893"/>
                        <a:pt x="784422" y="967973"/>
                        <a:pt x="785552" y="970000"/>
                      </a:cubicBezTo>
                      <a:cubicBezTo>
                        <a:pt x="779901" y="974053"/>
                        <a:pt x="783292" y="973040"/>
                        <a:pt x="779901" y="980133"/>
                      </a:cubicBezTo>
                      <a:lnTo>
                        <a:pt x="771990" y="978106"/>
                      </a:lnTo>
                      <a:cubicBezTo>
                        <a:pt x="768600" y="975066"/>
                        <a:pt x="770860" y="972026"/>
                        <a:pt x="769730" y="965946"/>
                      </a:cubicBezTo>
                      <a:cubicBezTo>
                        <a:pt x="768600" y="966960"/>
                        <a:pt x="760689" y="965946"/>
                        <a:pt x="758429" y="965946"/>
                      </a:cubicBezTo>
                      <a:cubicBezTo>
                        <a:pt x="757299" y="976080"/>
                        <a:pt x="758429" y="990267"/>
                        <a:pt x="758429" y="990267"/>
                      </a:cubicBezTo>
                      <a:lnTo>
                        <a:pt x="758429" y="992293"/>
                      </a:lnTo>
                      <a:cubicBezTo>
                        <a:pt x="760689" y="993307"/>
                        <a:pt x="766340" y="992293"/>
                        <a:pt x="766340" y="994320"/>
                      </a:cubicBezTo>
                      <a:cubicBezTo>
                        <a:pt x="767470" y="999387"/>
                        <a:pt x="761819" y="1004454"/>
                        <a:pt x="760689" y="1008507"/>
                      </a:cubicBezTo>
                      <a:cubicBezTo>
                        <a:pt x="752778" y="1009520"/>
                        <a:pt x="741477" y="1013574"/>
                        <a:pt x="731306" y="1010534"/>
                      </a:cubicBezTo>
                      <a:cubicBezTo>
                        <a:pt x="730176" y="1010534"/>
                        <a:pt x="725655" y="1005467"/>
                        <a:pt x="723395" y="1005467"/>
                      </a:cubicBezTo>
                      <a:cubicBezTo>
                        <a:pt x="717745" y="1006480"/>
                        <a:pt x="721135" y="1012561"/>
                        <a:pt x="717745" y="1015601"/>
                      </a:cubicBezTo>
                      <a:cubicBezTo>
                        <a:pt x="714354" y="1017627"/>
                        <a:pt x="707574" y="1018641"/>
                        <a:pt x="704183" y="1020667"/>
                      </a:cubicBezTo>
                      <a:cubicBezTo>
                        <a:pt x="706444" y="1019654"/>
                        <a:pt x="695142" y="1020667"/>
                        <a:pt x="692882" y="1020667"/>
                      </a:cubicBezTo>
                      <a:lnTo>
                        <a:pt x="692882" y="1025734"/>
                      </a:lnTo>
                      <a:cubicBezTo>
                        <a:pt x="726786" y="1026748"/>
                        <a:pt x="744868" y="1030801"/>
                        <a:pt x="766340" y="1015601"/>
                      </a:cubicBezTo>
                      <a:cubicBezTo>
                        <a:pt x="771990" y="1039921"/>
                        <a:pt x="776511" y="1030801"/>
                        <a:pt x="750518" y="1032828"/>
                      </a:cubicBezTo>
                      <a:cubicBezTo>
                        <a:pt x="743737" y="1032828"/>
                        <a:pt x="729046" y="1038908"/>
                        <a:pt x="721135" y="1037894"/>
                      </a:cubicBezTo>
                      <a:cubicBezTo>
                        <a:pt x="720005" y="1037894"/>
                        <a:pt x="716615" y="1030801"/>
                        <a:pt x="715484" y="1030801"/>
                      </a:cubicBezTo>
                      <a:cubicBezTo>
                        <a:pt x="709834" y="1027761"/>
                        <a:pt x="705313" y="1029788"/>
                        <a:pt x="699663" y="1028774"/>
                      </a:cubicBezTo>
                      <a:lnTo>
                        <a:pt x="699663" y="1038908"/>
                      </a:lnTo>
                      <a:cubicBezTo>
                        <a:pt x="704183" y="1040935"/>
                        <a:pt x="732436" y="1052082"/>
                        <a:pt x="721135" y="1051068"/>
                      </a:cubicBezTo>
                      <a:cubicBezTo>
                        <a:pt x="715484" y="1051068"/>
                        <a:pt x="715484" y="1050055"/>
                        <a:pt x="709834" y="1049041"/>
                      </a:cubicBezTo>
                      <a:cubicBezTo>
                        <a:pt x="707574" y="1048028"/>
                        <a:pt x="703053" y="1041948"/>
                        <a:pt x="701923" y="1041948"/>
                      </a:cubicBezTo>
                      <a:cubicBezTo>
                        <a:pt x="687231" y="1037894"/>
                        <a:pt x="682711" y="1049041"/>
                        <a:pt x="677060" y="1054108"/>
                      </a:cubicBezTo>
                      <a:cubicBezTo>
                        <a:pt x="674800" y="1056135"/>
                        <a:pt x="666889" y="1062215"/>
                        <a:pt x="665759" y="1064242"/>
                      </a:cubicBezTo>
                      <a:cubicBezTo>
                        <a:pt x="664629" y="1068295"/>
                        <a:pt x="666889" y="1072349"/>
                        <a:pt x="665759" y="1076402"/>
                      </a:cubicBezTo>
                      <a:cubicBezTo>
                        <a:pt x="673670" y="1071335"/>
                        <a:pt x="681581" y="1065255"/>
                        <a:pt x="690622" y="1062215"/>
                      </a:cubicBezTo>
                      <a:lnTo>
                        <a:pt x="690622" y="1060188"/>
                      </a:lnTo>
                      <a:cubicBezTo>
                        <a:pt x="696273" y="1058162"/>
                        <a:pt x="697402" y="1063228"/>
                        <a:pt x="704183" y="1062215"/>
                      </a:cubicBezTo>
                      <a:cubicBezTo>
                        <a:pt x="713224" y="1061202"/>
                        <a:pt x="726786" y="1055122"/>
                        <a:pt x="736957" y="1052082"/>
                      </a:cubicBezTo>
                      <a:cubicBezTo>
                        <a:pt x="725655" y="1059175"/>
                        <a:pt x="729046" y="1061202"/>
                        <a:pt x="739217" y="1066269"/>
                      </a:cubicBezTo>
                      <a:lnTo>
                        <a:pt x="741477" y="1071335"/>
                      </a:lnTo>
                      <a:cubicBezTo>
                        <a:pt x="747128" y="1072349"/>
                        <a:pt x="756169" y="1067282"/>
                        <a:pt x="760689" y="1066269"/>
                      </a:cubicBezTo>
                      <a:cubicBezTo>
                        <a:pt x="760689" y="1059175"/>
                        <a:pt x="759559" y="1056135"/>
                        <a:pt x="758429" y="1049041"/>
                      </a:cubicBezTo>
                      <a:cubicBezTo>
                        <a:pt x="762950" y="1049041"/>
                        <a:pt x="771990" y="1049041"/>
                        <a:pt x="777641" y="1049041"/>
                      </a:cubicBezTo>
                      <a:cubicBezTo>
                        <a:pt x="774251" y="1052082"/>
                        <a:pt x="764080" y="1065255"/>
                        <a:pt x="771990" y="1059175"/>
                      </a:cubicBezTo>
                      <a:cubicBezTo>
                        <a:pt x="771990" y="1059175"/>
                        <a:pt x="774251" y="1069309"/>
                        <a:pt x="769730" y="1066269"/>
                      </a:cubicBezTo>
                      <a:cubicBezTo>
                        <a:pt x="769730" y="1067282"/>
                        <a:pt x="768600" y="1073362"/>
                        <a:pt x="767470" y="1076402"/>
                      </a:cubicBezTo>
                      <a:cubicBezTo>
                        <a:pt x="759559" y="1076402"/>
                        <a:pt x="748258" y="1077415"/>
                        <a:pt x="740347" y="1076402"/>
                      </a:cubicBezTo>
                      <a:cubicBezTo>
                        <a:pt x="727916" y="1074375"/>
                        <a:pt x="715484" y="1058162"/>
                        <a:pt x="694012" y="1064242"/>
                      </a:cubicBezTo>
                      <a:lnTo>
                        <a:pt x="694012" y="1066269"/>
                      </a:lnTo>
                      <a:cubicBezTo>
                        <a:pt x="683841" y="1070322"/>
                        <a:pt x="684971" y="1079442"/>
                        <a:pt x="682711" y="1080455"/>
                      </a:cubicBezTo>
                      <a:cubicBezTo>
                        <a:pt x="680451" y="1081469"/>
                        <a:pt x="674800" y="1079442"/>
                        <a:pt x="671410" y="1080455"/>
                      </a:cubicBezTo>
                      <a:cubicBezTo>
                        <a:pt x="670280" y="1080455"/>
                        <a:pt x="665759" y="1086536"/>
                        <a:pt x="663499" y="1087549"/>
                      </a:cubicBezTo>
                      <a:cubicBezTo>
                        <a:pt x="664629" y="1090589"/>
                        <a:pt x="671410" y="1093629"/>
                        <a:pt x="671410" y="1097683"/>
                      </a:cubicBezTo>
                      <a:cubicBezTo>
                        <a:pt x="671410" y="1100723"/>
                        <a:pt x="668020" y="1104776"/>
                        <a:pt x="669149" y="1104776"/>
                      </a:cubicBezTo>
                      <a:cubicBezTo>
                        <a:pt x="673670" y="1108830"/>
                        <a:pt x="679321" y="1103763"/>
                        <a:pt x="684971" y="1106803"/>
                      </a:cubicBezTo>
                      <a:cubicBezTo>
                        <a:pt x="687231" y="1107816"/>
                        <a:pt x="687231" y="1114910"/>
                        <a:pt x="684971" y="1116936"/>
                      </a:cubicBezTo>
                      <a:lnTo>
                        <a:pt x="690622" y="1116936"/>
                      </a:lnTo>
                      <a:cubicBezTo>
                        <a:pt x="687231" y="1117950"/>
                        <a:pt x="688362" y="1125043"/>
                        <a:pt x="684971" y="1127070"/>
                      </a:cubicBezTo>
                      <a:cubicBezTo>
                        <a:pt x="682711" y="1128083"/>
                        <a:pt x="675930" y="1127070"/>
                        <a:pt x="673670" y="1127070"/>
                      </a:cubicBezTo>
                      <a:cubicBezTo>
                        <a:pt x="677060" y="1129097"/>
                        <a:pt x="673670" y="1135177"/>
                        <a:pt x="673670" y="1134163"/>
                      </a:cubicBezTo>
                      <a:lnTo>
                        <a:pt x="673670" y="1139230"/>
                      </a:lnTo>
                      <a:cubicBezTo>
                        <a:pt x="673670" y="1139230"/>
                        <a:pt x="686101" y="1139230"/>
                        <a:pt x="681581" y="1137204"/>
                      </a:cubicBezTo>
                      <a:lnTo>
                        <a:pt x="683841" y="1142270"/>
                      </a:lnTo>
                      <a:cubicBezTo>
                        <a:pt x="677060" y="1144297"/>
                        <a:pt x="657848" y="1146324"/>
                        <a:pt x="670280" y="1152404"/>
                      </a:cubicBezTo>
                      <a:lnTo>
                        <a:pt x="672540" y="1159497"/>
                      </a:lnTo>
                      <a:cubicBezTo>
                        <a:pt x="681581" y="1158484"/>
                        <a:pt x="686101" y="1157471"/>
                        <a:pt x="694012" y="1157471"/>
                      </a:cubicBezTo>
                      <a:cubicBezTo>
                        <a:pt x="692882" y="1158484"/>
                        <a:pt x="683841" y="1163551"/>
                        <a:pt x="682711" y="1164564"/>
                      </a:cubicBezTo>
                      <a:cubicBezTo>
                        <a:pt x="681581" y="1166591"/>
                        <a:pt x="683841" y="1171658"/>
                        <a:pt x="682711" y="1174698"/>
                      </a:cubicBezTo>
                      <a:cubicBezTo>
                        <a:pt x="688362" y="1173684"/>
                        <a:pt x="690622" y="1170644"/>
                        <a:pt x="698533" y="1172671"/>
                      </a:cubicBezTo>
                      <a:cubicBezTo>
                        <a:pt x="699663" y="1172671"/>
                        <a:pt x="700793" y="1176724"/>
                        <a:pt x="706444" y="1174698"/>
                      </a:cubicBezTo>
                      <a:cubicBezTo>
                        <a:pt x="707574" y="1174698"/>
                        <a:pt x="710964" y="1167604"/>
                        <a:pt x="712094" y="1167604"/>
                      </a:cubicBezTo>
                      <a:cubicBezTo>
                        <a:pt x="716615" y="1164564"/>
                        <a:pt x="720005" y="1167604"/>
                        <a:pt x="725655" y="1165577"/>
                      </a:cubicBezTo>
                      <a:cubicBezTo>
                        <a:pt x="717745" y="1170644"/>
                        <a:pt x="710964" y="1178751"/>
                        <a:pt x="704183" y="1184831"/>
                      </a:cubicBezTo>
                      <a:cubicBezTo>
                        <a:pt x="709834" y="1187871"/>
                        <a:pt x="715484" y="1188885"/>
                        <a:pt x="720005" y="1191925"/>
                      </a:cubicBezTo>
                      <a:lnTo>
                        <a:pt x="720005" y="1196992"/>
                      </a:lnTo>
                      <a:cubicBezTo>
                        <a:pt x="715484" y="1198005"/>
                        <a:pt x="713224" y="1196992"/>
                        <a:pt x="708704" y="1199018"/>
                      </a:cubicBezTo>
                      <a:cubicBezTo>
                        <a:pt x="708704" y="1199018"/>
                        <a:pt x="708704" y="1208138"/>
                        <a:pt x="708704" y="1209152"/>
                      </a:cubicBezTo>
                      <a:cubicBezTo>
                        <a:pt x="712094" y="1209152"/>
                        <a:pt x="720005" y="1208138"/>
                        <a:pt x="722265" y="1209152"/>
                      </a:cubicBezTo>
                      <a:cubicBezTo>
                        <a:pt x="722265" y="1209152"/>
                        <a:pt x="722265" y="1216245"/>
                        <a:pt x="722265" y="1216245"/>
                      </a:cubicBezTo>
                      <a:cubicBezTo>
                        <a:pt x="723395" y="1216245"/>
                        <a:pt x="729046" y="1217259"/>
                        <a:pt x="730176" y="1218272"/>
                      </a:cubicBezTo>
                      <a:cubicBezTo>
                        <a:pt x="723395" y="1230432"/>
                        <a:pt x="725655" y="1226379"/>
                        <a:pt x="724526" y="1240566"/>
                      </a:cubicBezTo>
                      <a:lnTo>
                        <a:pt x="745998" y="1223339"/>
                      </a:lnTo>
                      <a:cubicBezTo>
                        <a:pt x="749388" y="1222325"/>
                        <a:pt x="750518" y="1227392"/>
                        <a:pt x="757299" y="1225366"/>
                      </a:cubicBezTo>
                      <a:cubicBezTo>
                        <a:pt x="759559" y="1224352"/>
                        <a:pt x="761819" y="1216245"/>
                        <a:pt x="762950" y="1215232"/>
                      </a:cubicBezTo>
                      <a:cubicBezTo>
                        <a:pt x="768600" y="1213205"/>
                        <a:pt x="768600" y="1219285"/>
                        <a:pt x="776511" y="1217259"/>
                      </a:cubicBezTo>
                      <a:cubicBezTo>
                        <a:pt x="771990" y="1220299"/>
                        <a:pt x="777641" y="1233472"/>
                        <a:pt x="776511" y="1234486"/>
                      </a:cubicBezTo>
                      <a:cubicBezTo>
                        <a:pt x="773121" y="1235499"/>
                        <a:pt x="770860" y="1228406"/>
                        <a:pt x="762950" y="1229419"/>
                      </a:cubicBezTo>
                      <a:cubicBezTo>
                        <a:pt x="762950" y="1229419"/>
                        <a:pt x="762950" y="1236512"/>
                        <a:pt x="762950" y="1236512"/>
                      </a:cubicBezTo>
                      <a:cubicBezTo>
                        <a:pt x="768600" y="1235499"/>
                        <a:pt x="765210" y="1241579"/>
                        <a:pt x="765210" y="1243606"/>
                      </a:cubicBezTo>
                      <a:cubicBezTo>
                        <a:pt x="750518" y="1245633"/>
                        <a:pt x="745998" y="1244619"/>
                        <a:pt x="732436" y="1248673"/>
                      </a:cubicBezTo>
                      <a:lnTo>
                        <a:pt x="732436" y="1253740"/>
                      </a:lnTo>
                      <a:cubicBezTo>
                        <a:pt x="739217" y="1253740"/>
                        <a:pt x="744868" y="1252726"/>
                        <a:pt x="751648" y="1253740"/>
                      </a:cubicBezTo>
                      <a:lnTo>
                        <a:pt x="751648" y="1258806"/>
                      </a:lnTo>
                      <a:cubicBezTo>
                        <a:pt x="747128" y="1258806"/>
                        <a:pt x="740347" y="1257793"/>
                        <a:pt x="735827" y="1258806"/>
                      </a:cubicBezTo>
                      <a:cubicBezTo>
                        <a:pt x="735827" y="1258806"/>
                        <a:pt x="724526" y="1265900"/>
                        <a:pt x="733566" y="1263873"/>
                      </a:cubicBezTo>
                      <a:cubicBezTo>
                        <a:pt x="733566" y="1264886"/>
                        <a:pt x="743737" y="1277047"/>
                        <a:pt x="741477" y="1270967"/>
                      </a:cubicBezTo>
                      <a:cubicBezTo>
                        <a:pt x="741477" y="1270967"/>
                        <a:pt x="747128" y="1254753"/>
                        <a:pt x="741477" y="1278060"/>
                      </a:cubicBezTo>
                      <a:cubicBezTo>
                        <a:pt x="739217" y="1288194"/>
                        <a:pt x="747128" y="1284140"/>
                        <a:pt x="760689" y="1283127"/>
                      </a:cubicBezTo>
                      <a:cubicBezTo>
                        <a:pt x="759559" y="1286167"/>
                        <a:pt x="758429" y="1294274"/>
                        <a:pt x="758429" y="1295287"/>
                      </a:cubicBezTo>
                      <a:cubicBezTo>
                        <a:pt x="749388" y="1291234"/>
                        <a:pt x="756169" y="1302381"/>
                        <a:pt x="756169" y="1302381"/>
                      </a:cubicBezTo>
                      <a:cubicBezTo>
                        <a:pt x="758429" y="1302381"/>
                        <a:pt x="765210" y="1301367"/>
                        <a:pt x="767470" y="1302381"/>
                      </a:cubicBezTo>
                      <a:cubicBezTo>
                        <a:pt x="757299" y="1304407"/>
                        <a:pt x="766340" y="1315554"/>
                        <a:pt x="765210" y="1316568"/>
                      </a:cubicBezTo>
                      <a:cubicBezTo>
                        <a:pt x="765210" y="1316568"/>
                        <a:pt x="773121" y="1316568"/>
                        <a:pt x="767470" y="1314541"/>
                      </a:cubicBezTo>
                      <a:cubicBezTo>
                        <a:pt x="767470" y="1314541"/>
                        <a:pt x="774251" y="1310487"/>
                        <a:pt x="769730" y="1309474"/>
                      </a:cubicBezTo>
                      <a:cubicBezTo>
                        <a:pt x="771990" y="1309474"/>
                        <a:pt x="782161" y="1308461"/>
                        <a:pt x="785552" y="1307447"/>
                      </a:cubicBezTo>
                      <a:cubicBezTo>
                        <a:pt x="777641" y="1325688"/>
                        <a:pt x="775381" y="1339875"/>
                        <a:pt x="801374" y="1326701"/>
                      </a:cubicBezTo>
                      <a:cubicBezTo>
                        <a:pt x="801374" y="1327715"/>
                        <a:pt x="794593" y="1346968"/>
                        <a:pt x="799113" y="1348995"/>
                      </a:cubicBezTo>
                      <a:cubicBezTo>
                        <a:pt x="807024" y="1352035"/>
                        <a:pt x="811545" y="1340888"/>
                        <a:pt x="820586" y="1338861"/>
                      </a:cubicBezTo>
                      <a:cubicBezTo>
                        <a:pt x="823976" y="1337848"/>
                        <a:pt x="828496" y="1339875"/>
                        <a:pt x="831887" y="1338861"/>
                      </a:cubicBezTo>
                      <a:cubicBezTo>
                        <a:pt x="831887" y="1338861"/>
                        <a:pt x="825106" y="1352035"/>
                        <a:pt x="829626" y="1353049"/>
                      </a:cubicBezTo>
                      <a:cubicBezTo>
                        <a:pt x="821716" y="1352035"/>
                        <a:pt x="831887" y="1358115"/>
                        <a:pt x="831887" y="1358115"/>
                      </a:cubicBezTo>
                      <a:cubicBezTo>
                        <a:pt x="836407" y="1355075"/>
                        <a:pt x="840928" y="1352035"/>
                        <a:pt x="845448" y="1351022"/>
                      </a:cubicBezTo>
                      <a:cubicBezTo>
                        <a:pt x="843188" y="1353049"/>
                        <a:pt x="846578" y="1356088"/>
                        <a:pt x="845448" y="1358115"/>
                      </a:cubicBezTo>
                      <a:cubicBezTo>
                        <a:pt x="844318" y="1360142"/>
                        <a:pt x="838667" y="1363182"/>
                        <a:pt x="837537" y="1365209"/>
                      </a:cubicBezTo>
                      <a:cubicBezTo>
                        <a:pt x="831887" y="1377369"/>
                        <a:pt x="856749" y="1355075"/>
                        <a:pt x="848839" y="1379396"/>
                      </a:cubicBezTo>
                      <a:cubicBezTo>
                        <a:pt x="848839" y="1379396"/>
                        <a:pt x="844318" y="1389529"/>
                        <a:pt x="846578" y="1386489"/>
                      </a:cubicBezTo>
                      <a:cubicBezTo>
                        <a:pt x="843188" y="1387503"/>
                        <a:pt x="853359" y="1389529"/>
                        <a:pt x="854489" y="1388516"/>
                      </a:cubicBezTo>
                      <a:cubicBezTo>
                        <a:pt x="855619" y="1388516"/>
                        <a:pt x="860140" y="1381422"/>
                        <a:pt x="860140" y="1381422"/>
                      </a:cubicBezTo>
                      <a:cubicBezTo>
                        <a:pt x="860140" y="1381422"/>
                        <a:pt x="870311" y="1381422"/>
                        <a:pt x="865790" y="1383449"/>
                      </a:cubicBezTo>
                      <a:cubicBezTo>
                        <a:pt x="865790" y="1383449"/>
                        <a:pt x="873701" y="1383449"/>
                        <a:pt x="868050" y="1385476"/>
                      </a:cubicBezTo>
                      <a:cubicBezTo>
                        <a:pt x="868050" y="1385476"/>
                        <a:pt x="855619" y="1387503"/>
                        <a:pt x="865790" y="1387503"/>
                      </a:cubicBezTo>
                      <a:cubicBezTo>
                        <a:pt x="857879" y="1391556"/>
                        <a:pt x="857879" y="1387503"/>
                        <a:pt x="852229" y="1389529"/>
                      </a:cubicBezTo>
                      <a:lnTo>
                        <a:pt x="852229" y="1394596"/>
                      </a:lnTo>
                      <a:cubicBezTo>
                        <a:pt x="855619" y="1395610"/>
                        <a:pt x="862400" y="1394596"/>
                        <a:pt x="865790" y="1394596"/>
                      </a:cubicBezTo>
                      <a:cubicBezTo>
                        <a:pt x="865790" y="1396623"/>
                        <a:pt x="868050" y="1403716"/>
                        <a:pt x="863530" y="1401690"/>
                      </a:cubicBezTo>
                      <a:cubicBezTo>
                        <a:pt x="863530" y="1401690"/>
                        <a:pt x="863530" y="1410810"/>
                        <a:pt x="863530" y="1411823"/>
                      </a:cubicBezTo>
                      <a:cubicBezTo>
                        <a:pt x="882742" y="1411823"/>
                        <a:pt x="879352" y="1407770"/>
                        <a:pt x="874831" y="1423984"/>
                      </a:cubicBezTo>
                      <a:cubicBezTo>
                        <a:pt x="877092" y="1421957"/>
                        <a:pt x="882742" y="1424997"/>
                        <a:pt x="886132" y="1423984"/>
                      </a:cubicBezTo>
                      <a:cubicBezTo>
                        <a:pt x="886132" y="1423984"/>
                        <a:pt x="888393" y="1416890"/>
                        <a:pt x="894043" y="1413850"/>
                      </a:cubicBezTo>
                      <a:lnTo>
                        <a:pt x="894043" y="1411823"/>
                      </a:lnTo>
                      <a:cubicBezTo>
                        <a:pt x="900824" y="1409796"/>
                        <a:pt x="899694" y="1415877"/>
                        <a:pt x="901954" y="1416890"/>
                      </a:cubicBezTo>
                      <a:cubicBezTo>
                        <a:pt x="904214" y="1416890"/>
                        <a:pt x="918906" y="1410810"/>
                        <a:pt x="921166" y="1409796"/>
                      </a:cubicBezTo>
                      <a:cubicBezTo>
                        <a:pt x="924556" y="1406756"/>
                        <a:pt x="933598" y="1392569"/>
                        <a:pt x="936988" y="1387503"/>
                      </a:cubicBezTo>
                      <a:cubicBezTo>
                        <a:pt x="938118" y="1388516"/>
                        <a:pt x="940378" y="1390543"/>
                        <a:pt x="942638" y="1389529"/>
                      </a:cubicBezTo>
                      <a:cubicBezTo>
                        <a:pt x="939248" y="1398650"/>
                        <a:pt x="939248" y="1402703"/>
                        <a:pt x="936988" y="1408783"/>
                      </a:cubicBezTo>
                      <a:cubicBezTo>
                        <a:pt x="947159" y="1406756"/>
                        <a:pt x="947159" y="1409796"/>
                        <a:pt x="939248" y="1413850"/>
                      </a:cubicBezTo>
                      <a:cubicBezTo>
                        <a:pt x="924556" y="1420943"/>
                        <a:pt x="939248" y="1417903"/>
                        <a:pt x="952809" y="1418917"/>
                      </a:cubicBezTo>
                      <a:cubicBezTo>
                        <a:pt x="950549" y="1417903"/>
                        <a:pt x="952809" y="1415877"/>
                        <a:pt x="955070" y="1416890"/>
                      </a:cubicBezTo>
                      <a:cubicBezTo>
                        <a:pt x="957330" y="1417903"/>
                        <a:pt x="952809" y="1428037"/>
                        <a:pt x="952809" y="1429050"/>
                      </a:cubicBezTo>
                      <a:cubicBezTo>
                        <a:pt x="958460" y="1430064"/>
                        <a:pt x="955070" y="1429050"/>
                        <a:pt x="958460" y="1431077"/>
                      </a:cubicBezTo>
                      <a:cubicBezTo>
                        <a:pt x="958460" y="1431077"/>
                        <a:pt x="966371" y="1429050"/>
                        <a:pt x="966371" y="1429050"/>
                      </a:cubicBezTo>
                      <a:cubicBezTo>
                        <a:pt x="969761" y="1427023"/>
                        <a:pt x="967501" y="1423984"/>
                        <a:pt x="968631" y="1418917"/>
                      </a:cubicBezTo>
                      <a:lnTo>
                        <a:pt x="974282" y="1418917"/>
                      </a:lnTo>
                      <a:cubicBezTo>
                        <a:pt x="977672" y="1421957"/>
                        <a:pt x="974282" y="1421957"/>
                        <a:pt x="982193" y="1426010"/>
                      </a:cubicBezTo>
                      <a:cubicBezTo>
                        <a:pt x="984453" y="1424997"/>
                        <a:pt x="987843" y="1419930"/>
                        <a:pt x="990104" y="1418917"/>
                      </a:cubicBezTo>
                      <a:cubicBezTo>
                        <a:pt x="988973" y="1421957"/>
                        <a:pt x="991233" y="1428037"/>
                        <a:pt x="990104" y="1431077"/>
                      </a:cubicBezTo>
                      <a:cubicBezTo>
                        <a:pt x="990104" y="1431077"/>
                        <a:pt x="979932" y="1435130"/>
                        <a:pt x="978802" y="1436144"/>
                      </a:cubicBezTo>
                      <a:cubicBezTo>
                        <a:pt x="976542" y="1439184"/>
                        <a:pt x="978802" y="1443237"/>
                        <a:pt x="976542" y="1446277"/>
                      </a:cubicBezTo>
                      <a:cubicBezTo>
                        <a:pt x="973152" y="1449317"/>
                        <a:pt x="991233" y="1437157"/>
                        <a:pt x="995754" y="1432090"/>
                      </a:cubicBezTo>
                      <a:cubicBezTo>
                        <a:pt x="994624" y="1434117"/>
                        <a:pt x="986713" y="1455397"/>
                        <a:pt x="995754" y="1451344"/>
                      </a:cubicBezTo>
                      <a:cubicBezTo>
                        <a:pt x="992364" y="1453371"/>
                        <a:pt x="1001405" y="1451344"/>
                        <a:pt x="1003665" y="1451344"/>
                      </a:cubicBezTo>
                      <a:cubicBezTo>
                        <a:pt x="1004795" y="1446277"/>
                        <a:pt x="1003665" y="1442224"/>
                        <a:pt x="1005925" y="1437157"/>
                      </a:cubicBezTo>
                      <a:lnTo>
                        <a:pt x="1011576" y="1435130"/>
                      </a:lnTo>
                      <a:cubicBezTo>
                        <a:pt x="1010446" y="1441211"/>
                        <a:pt x="1012706" y="1441211"/>
                        <a:pt x="1013836" y="1445264"/>
                      </a:cubicBezTo>
                      <a:cubicBezTo>
                        <a:pt x="1011576" y="1444251"/>
                        <a:pt x="1010446" y="1447291"/>
                        <a:pt x="1008185" y="1447291"/>
                      </a:cubicBezTo>
                      <a:cubicBezTo>
                        <a:pt x="1009315" y="1448304"/>
                        <a:pt x="1007055" y="1453371"/>
                        <a:pt x="1008185" y="1454384"/>
                      </a:cubicBezTo>
                      <a:cubicBezTo>
                        <a:pt x="1008185" y="1454384"/>
                        <a:pt x="1028528" y="1465531"/>
                        <a:pt x="1029658" y="1466544"/>
                      </a:cubicBezTo>
                      <a:cubicBezTo>
                        <a:pt x="1030788" y="1465531"/>
                        <a:pt x="1033048" y="1459451"/>
                        <a:pt x="1035308" y="1459451"/>
                      </a:cubicBezTo>
                      <a:cubicBezTo>
                        <a:pt x="1036438" y="1458438"/>
                        <a:pt x="1042089" y="1460464"/>
                        <a:pt x="1043219" y="1459451"/>
                      </a:cubicBezTo>
                      <a:cubicBezTo>
                        <a:pt x="1043219" y="1458438"/>
                        <a:pt x="1039829" y="1455397"/>
                        <a:pt x="1040959" y="1454384"/>
                      </a:cubicBezTo>
                      <a:cubicBezTo>
                        <a:pt x="1039829" y="1454384"/>
                        <a:pt x="1047739" y="1452357"/>
                        <a:pt x="1052260" y="1452357"/>
                      </a:cubicBezTo>
                      <a:cubicBezTo>
                        <a:pt x="1051130" y="1451344"/>
                        <a:pt x="1051130" y="1446277"/>
                        <a:pt x="1050000" y="1445264"/>
                      </a:cubicBezTo>
                      <a:cubicBezTo>
                        <a:pt x="1046610" y="1443237"/>
                        <a:pt x="1031918" y="1443237"/>
                        <a:pt x="1042089" y="1438170"/>
                      </a:cubicBezTo>
                      <a:cubicBezTo>
                        <a:pt x="1051130" y="1433104"/>
                        <a:pt x="1052260" y="1433104"/>
                        <a:pt x="1042089" y="1428037"/>
                      </a:cubicBezTo>
                      <a:lnTo>
                        <a:pt x="1036438" y="1422970"/>
                      </a:lnTo>
                      <a:cubicBezTo>
                        <a:pt x="1034178" y="1421957"/>
                        <a:pt x="1028528" y="1422970"/>
                        <a:pt x="1025137" y="1422970"/>
                      </a:cubicBezTo>
                      <a:lnTo>
                        <a:pt x="1025137" y="1415877"/>
                      </a:lnTo>
                      <a:cubicBezTo>
                        <a:pt x="1029658" y="1415877"/>
                        <a:pt x="1035308" y="1416890"/>
                        <a:pt x="1040959" y="1417903"/>
                      </a:cubicBezTo>
                      <a:cubicBezTo>
                        <a:pt x="1042089" y="1416890"/>
                        <a:pt x="1044349" y="1410810"/>
                        <a:pt x="1040959" y="1410810"/>
                      </a:cubicBezTo>
                      <a:lnTo>
                        <a:pt x="1048870" y="1408783"/>
                      </a:lnTo>
                      <a:cubicBezTo>
                        <a:pt x="1051130" y="1400676"/>
                        <a:pt x="1043219" y="1401690"/>
                        <a:pt x="1046610" y="1394596"/>
                      </a:cubicBezTo>
                      <a:lnTo>
                        <a:pt x="1060171" y="1384463"/>
                      </a:lnTo>
                      <a:cubicBezTo>
                        <a:pt x="1062431" y="1376356"/>
                        <a:pt x="1056781" y="1374329"/>
                        <a:pt x="1054520" y="1370276"/>
                      </a:cubicBezTo>
                      <a:cubicBezTo>
                        <a:pt x="1056781" y="1368249"/>
                        <a:pt x="1063561" y="1369262"/>
                        <a:pt x="1065821" y="1368249"/>
                      </a:cubicBezTo>
                      <a:cubicBezTo>
                        <a:pt x="1068082" y="1366222"/>
                        <a:pt x="1069212" y="1357102"/>
                        <a:pt x="1073732" y="1354062"/>
                      </a:cubicBezTo>
                      <a:cubicBezTo>
                        <a:pt x="1075992" y="1352035"/>
                        <a:pt x="1065821" y="1346968"/>
                        <a:pt x="1065821" y="1346968"/>
                      </a:cubicBezTo>
                      <a:cubicBezTo>
                        <a:pt x="1064691" y="1342915"/>
                        <a:pt x="1068082" y="1335821"/>
                        <a:pt x="1068082" y="1329741"/>
                      </a:cubicBezTo>
                      <a:cubicBezTo>
                        <a:pt x="1069212" y="1329741"/>
                        <a:pt x="1074863" y="1329741"/>
                        <a:pt x="1075992" y="1329741"/>
                      </a:cubicBezTo>
                      <a:cubicBezTo>
                        <a:pt x="1073732" y="1333795"/>
                        <a:pt x="1079383" y="1331768"/>
                        <a:pt x="1081643" y="1331768"/>
                      </a:cubicBezTo>
                      <a:cubicBezTo>
                        <a:pt x="1082773" y="1326701"/>
                        <a:pt x="1079383" y="1323661"/>
                        <a:pt x="1083903" y="1321634"/>
                      </a:cubicBezTo>
                      <a:cubicBezTo>
                        <a:pt x="1082773" y="1320621"/>
                        <a:pt x="1083903" y="1314541"/>
                        <a:pt x="1083903" y="1314541"/>
                      </a:cubicBezTo>
                      <a:cubicBezTo>
                        <a:pt x="1082773" y="1314541"/>
                        <a:pt x="1077123" y="1315554"/>
                        <a:pt x="1075992" y="1314541"/>
                      </a:cubicBezTo>
                      <a:cubicBezTo>
                        <a:pt x="1074863" y="1313528"/>
                        <a:pt x="1077123" y="1308461"/>
                        <a:pt x="1075992" y="1307447"/>
                      </a:cubicBezTo>
                      <a:cubicBezTo>
                        <a:pt x="1081643" y="1305421"/>
                        <a:pt x="1078253" y="1305421"/>
                        <a:pt x="1081643" y="1300354"/>
                      </a:cubicBezTo>
                      <a:cubicBezTo>
                        <a:pt x="1089554" y="1304407"/>
                        <a:pt x="1094074" y="1303394"/>
                        <a:pt x="1103116" y="1307447"/>
                      </a:cubicBezTo>
                      <a:cubicBezTo>
                        <a:pt x="1103116" y="1304407"/>
                        <a:pt x="1099725" y="1301367"/>
                        <a:pt x="1100855" y="1295287"/>
                      </a:cubicBezTo>
                      <a:lnTo>
                        <a:pt x="1106506" y="1293260"/>
                      </a:lnTo>
                      <a:cubicBezTo>
                        <a:pt x="1104245" y="1280087"/>
                        <a:pt x="1103116" y="1281100"/>
                        <a:pt x="1095205" y="1270967"/>
                      </a:cubicBezTo>
                      <a:cubicBezTo>
                        <a:pt x="1097465" y="1270967"/>
                        <a:pt x="1100855" y="1269953"/>
                        <a:pt x="1103116" y="1270967"/>
                      </a:cubicBezTo>
                      <a:cubicBezTo>
                        <a:pt x="1104245" y="1270967"/>
                        <a:pt x="1108766" y="1278060"/>
                        <a:pt x="1111026" y="1278060"/>
                      </a:cubicBezTo>
                      <a:cubicBezTo>
                        <a:pt x="1124588" y="1280087"/>
                        <a:pt x="1124588" y="1269953"/>
                        <a:pt x="1118937" y="1270967"/>
                      </a:cubicBezTo>
                      <a:cubicBezTo>
                        <a:pt x="1122327" y="1253740"/>
                        <a:pt x="1121197" y="1250699"/>
                        <a:pt x="1130238" y="1239553"/>
                      </a:cubicBezTo>
                      <a:cubicBezTo>
                        <a:pt x="1116677" y="1237526"/>
                        <a:pt x="1111026" y="1237526"/>
                        <a:pt x="1100855" y="1234486"/>
                      </a:cubicBezTo>
                      <a:lnTo>
                        <a:pt x="1100855" y="1229419"/>
                      </a:lnTo>
                      <a:cubicBezTo>
                        <a:pt x="1101985" y="1229419"/>
                        <a:pt x="1114417" y="1231446"/>
                        <a:pt x="1112156" y="1231446"/>
                      </a:cubicBezTo>
                      <a:cubicBezTo>
                        <a:pt x="1118937" y="1230432"/>
                        <a:pt x="1126848" y="1231446"/>
                        <a:pt x="1133629" y="1231446"/>
                      </a:cubicBezTo>
                      <a:cubicBezTo>
                        <a:pt x="1140409" y="1208138"/>
                        <a:pt x="1138149" y="1211179"/>
                        <a:pt x="1125718" y="1192938"/>
                      </a:cubicBezTo>
                      <a:lnTo>
                        <a:pt x="1120067" y="1187871"/>
                      </a:lnTo>
                      <a:lnTo>
                        <a:pt x="1120067" y="1182805"/>
                      </a:lnTo>
                      <a:cubicBezTo>
                        <a:pt x="1126848" y="1183818"/>
                        <a:pt x="1126848" y="1181791"/>
                        <a:pt x="1131369" y="1180778"/>
                      </a:cubicBezTo>
                      <a:cubicBezTo>
                        <a:pt x="1121197" y="1181791"/>
                        <a:pt x="1133629" y="1182805"/>
                        <a:pt x="1133629" y="1182805"/>
                      </a:cubicBezTo>
                      <a:cubicBezTo>
                        <a:pt x="1131369" y="1182805"/>
                        <a:pt x="1144930" y="1182805"/>
                        <a:pt x="1144930" y="1182805"/>
                      </a:cubicBezTo>
                      <a:cubicBezTo>
                        <a:pt x="1147190" y="1179764"/>
                        <a:pt x="1152841" y="1174698"/>
                        <a:pt x="1152841" y="1172671"/>
                      </a:cubicBezTo>
                      <a:cubicBezTo>
                        <a:pt x="1153971" y="1170644"/>
                        <a:pt x="1150580" y="1160511"/>
                        <a:pt x="1150580" y="1162537"/>
                      </a:cubicBezTo>
                      <a:lnTo>
                        <a:pt x="1150580" y="1157471"/>
                      </a:lnTo>
                      <a:cubicBezTo>
                        <a:pt x="1156231" y="1154431"/>
                        <a:pt x="1170923" y="1159497"/>
                        <a:pt x="1172053" y="1159497"/>
                      </a:cubicBezTo>
                      <a:cubicBezTo>
                        <a:pt x="1178833" y="1159497"/>
                        <a:pt x="1181094" y="1159497"/>
                        <a:pt x="1181094" y="1159497"/>
                      </a:cubicBezTo>
                      <a:cubicBezTo>
                        <a:pt x="1181094" y="1159497"/>
                        <a:pt x="1161882" y="1159497"/>
                        <a:pt x="1181094" y="1155444"/>
                      </a:cubicBezTo>
                      <a:cubicBezTo>
                        <a:pt x="1190135" y="1153417"/>
                        <a:pt x="1199176" y="1160511"/>
                        <a:pt x="1210477" y="1157471"/>
                      </a:cubicBezTo>
                      <a:cubicBezTo>
                        <a:pt x="1217257" y="1156457"/>
                        <a:pt x="1219518" y="1147337"/>
                        <a:pt x="1224038" y="1145310"/>
                      </a:cubicBezTo>
                      <a:cubicBezTo>
                        <a:pt x="1228559" y="1143284"/>
                        <a:pt x="1233079" y="1144297"/>
                        <a:pt x="1237600" y="1143284"/>
                      </a:cubicBezTo>
                      <a:cubicBezTo>
                        <a:pt x="1240990" y="1150377"/>
                        <a:pt x="1243250" y="1155444"/>
                        <a:pt x="1245510" y="1160511"/>
                      </a:cubicBezTo>
                      <a:lnTo>
                        <a:pt x="1247771" y="1165577"/>
                      </a:lnTo>
                      <a:cubicBezTo>
                        <a:pt x="1247771" y="1165577"/>
                        <a:pt x="1255682" y="1165577"/>
                        <a:pt x="1250031" y="1163551"/>
                      </a:cubicBezTo>
                      <a:cubicBezTo>
                        <a:pt x="1250031" y="1163551"/>
                        <a:pt x="1259072" y="1163551"/>
                        <a:pt x="1252291" y="1161524"/>
                      </a:cubicBezTo>
                      <a:cubicBezTo>
                        <a:pt x="1254552" y="1159497"/>
                        <a:pt x="1261332" y="1157471"/>
                        <a:pt x="1263592" y="1154431"/>
                      </a:cubicBezTo>
                      <a:cubicBezTo>
                        <a:pt x="1266983" y="1150377"/>
                        <a:pt x="1264723" y="1148350"/>
                        <a:pt x="1265853" y="1142270"/>
                      </a:cubicBezTo>
                      <a:cubicBezTo>
                        <a:pt x="1270373" y="1142270"/>
                        <a:pt x="1277154" y="1142270"/>
                        <a:pt x="1285065" y="1142270"/>
                      </a:cubicBezTo>
                      <a:cubicBezTo>
                        <a:pt x="1286195" y="1147337"/>
                        <a:pt x="1282805" y="1145310"/>
                        <a:pt x="1287325" y="1147337"/>
                      </a:cubicBezTo>
                      <a:lnTo>
                        <a:pt x="1287325" y="1152404"/>
                      </a:lnTo>
                      <a:lnTo>
                        <a:pt x="1292976" y="1152404"/>
                      </a:lnTo>
                      <a:cubicBezTo>
                        <a:pt x="1294106" y="1150377"/>
                        <a:pt x="1300887" y="1140244"/>
                        <a:pt x="1300887" y="1140244"/>
                      </a:cubicBezTo>
                      <a:cubicBezTo>
                        <a:pt x="1302016" y="1136190"/>
                        <a:pt x="1297496" y="1131123"/>
                        <a:pt x="1298626" y="1130110"/>
                      </a:cubicBezTo>
                      <a:cubicBezTo>
                        <a:pt x="1302016" y="1127070"/>
                        <a:pt x="1312188" y="1129097"/>
                        <a:pt x="1314448" y="1125043"/>
                      </a:cubicBezTo>
                      <a:cubicBezTo>
                        <a:pt x="1320098" y="1117950"/>
                        <a:pt x="1315578" y="1107816"/>
                        <a:pt x="1322359" y="1102749"/>
                      </a:cubicBezTo>
                      <a:cubicBezTo>
                        <a:pt x="1324619" y="1100723"/>
                        <a:pt x="1330269" y="1103763"/>
                        <a:pt x="1333660" y="1102749"/>
                      </a:cubicBezTo>
                      <a:cubicBezTo>
                        <a:pt x="1337050" y="1101736"/>
                        <a:pt x="1343831" y="1092616"/>
                        <a:pt x="1347221" y="1090589"/>
                      </a:cubicBezTo>
                      <a:cubicBezTo>
                        <a:pt x="1355132" y="1086536"/>
                        <a:pt x="1364173" y="1088562"/>
                        <a:pt x="1372084" y="1083496"/>
                      </a:cubicBezTo>
                      <a:cubicBezTo>
                        <a:pt x="1379995" y="1078429"/>
                        <a:pt x="1389036" y="1054108"/>
                        <a:pt x="1399207" y="1052082"/>
                      </a:cubicBezTo>
                      <a:cubicBezTo>
                        <a:pt x="1405988" y="1050055"/>
                        <a:pt x="1407118" y="1056135"/>
                        <a:pt x="1412768" y="1054108"/>
                      </a:cubicBezTo>
                      <a:lnTo>
                        <a:pt x="1415028" y="1049041"/>
                      </a:lnTo>
                      <a:lnTo>
                        <a:pt x="1420679" y="1041948"/>
                      </a:lnTo>
                      <a:cubicBezTo>
                        <a:pt x="1424069" y="1021681"/>
                        <a:pt x="1411638" y="1029788"/>
                        <a:pt x="1407118" y="1022694"/>
                      </a:cubicBezTo>
                      <a:cubicBezTo>
                        <a:pt x="1402597" y="1015601"/>
                        <a:pt x="1403727" y="1002427"/>
                        <a:pt x="1401467" y="993307"/>
                      </a:cubicBezTo>
                      <a:cubicBezTo>
                        <a:pt x="1412768" y="1015601"/>
                        <a:pt x="1436501" y="1026748"/>
                        <a:pt x="1467014" y="1024721"/>
                      </a:cubicBezTo>
                      <a:lnTo>
                        <a:pt x="1467014" y="1019654"/>
                      </a:lnTo>
                      <a:cubicBezTo>
                        <a:pt x="1472664" y="1017627"/>
                        <a:pt x="1478315" y="1020667"/>
                        <a:pt x="1482836" y="1017627"/>
                      </a:cubicBezTo>
                      <a:cubicBezTo>
                        <a:pt x="1487356" y="1014587"/>
                        <a:pt x="1482836" y="1005467"/>
                        <a:pt x="1482836" y="1005467"/>
                      </a:cubicBezTo>
                      <a:cubicBezTo>
                        <a:pt x="1483966" y="1006480"/>
                        <a:pt x="1488486" y="1004454"/>
                        <a:pt x="1490746" y="1005467"/>
                      </a:cubicBezTo>
                      <a:cubicBezTo>
                        <a:pt x="1494137" y="1006480"/>
                        <a:pt x="1491877" y="1011547"/>
                        <a:pt x="1493007" y="1015601"/>
                      </a:cubicBezTo>
                      <a:cubicBezTo>
                        <a:pt x="1495267" y="1014587"/>
                        <a:pt x="1509959" y="1010534"/>
                        <a:pt x="1506568" y="1010534"/>
                      </a:cubicBezTo>
                      <a:cubicBezTo>
                        <a:pt x="1507698" y="1010534"/>
                        <a:pt x="1514479" y="1010534"/>
                        <a:pt x="1514479" y="1010534"/>
                      </a:cubicBezTo>
                      <a:cubicBezTo>
                        <a:pt x="1516739" y="1008507"/>
                        <a:pt x="1514479" y="1002427"/>
                        <a:pt x="1516739" y="1000400"/>
                      </a:cubicBezTo>
                      <a:cubicBezTo>
                        <a:pt x="1520130" y="1001414"/>
                        <a:pt x="1521260" y="999387"/>
                        <a:pt x="1524650" y="1000400"/>
                      </a:cubicBezTo>
                      <a:cubicBezTo>
                        <a:pt x="1525780" y="1000400"/>
                        <a:pt x="1529170" y="1006480"/>
                        <a:pt x="1530301" y="1007494"/>
                      </a:cubicBezTo>
                      <a:cubicBezTo>
                        <a:pt x="1544992" y="1003440"/>
                        <a:pt x="1542732" y="1005467"/>
                        <a:pt x="1557423" y="1005467"/>
                      </a:cubicBezTo>
                      <a:lnTo>
                        <a:pt x="1559684" y="998374"/>
                      </a:lnTo>
                      <a:cubicBezTo>
                        <a:pt x="1566465" y="996347"/>
                        <a:pt x="1564204" y="1003440"/>
                        <a:pt x="1570985" y="1000400"/>
                      </a:cubicBezTo>
                      <a:cubicBezTo>
                        <a:pt x="1575505" y="998374"/>
                        <a:pt x="1578896" y="992293"/>
                        <a:pt x="1584546" y="990267"/>
                      </a:cubicBezTo>
                      <a:cubicBezTo>
                        <a:pt x="1589067" y="989253"/>
                        <a:pt x="1593587" y="991280"/>
                        <a:pt x="1598108" y="990267"/>
                      </a:cubicBezTo>
                      <a:cubicBezTo>
                        <a:pt x="1606019" y="989253"/>
                        <a:pt x="1617320" y="984187"/>
                        <a:pt x="1625231" y="980133"/>
                      </a:cubicBezTo>
                      <a:lnTo>
                        <a:pt x="1625231" y="962906"/>
                      </a:lnTo>
                      <a:cubicBezTo>
                        <a:pt x="1629751" y="961893"/>
                        <a:pt x="1633142" y="968986"/>
                        <a:pt x="1636532" y="970000"/>
                      </a:cubicBezTo>
                      <a:cubicBezTo>
                        <a:pt x="1639922" y="971013"/>
                        <a:pt x="1644443" y="968986"/>
                        <a:pt x="1647833" y="970000"/>
                      </a:cubicBezTo>
                      <a:cubicBezTo>
                        <a:pt x="1653484" y="960879"/>
                        <a:pt x="1655744" y="956826"/>
                        <a:pt x="1663655" y="947706"/>
                      </a:cubicBezTo>
                      <a:cubicBezTo>
                        <a:pt x="1668175" y="949732"/>
                        <a:pt x="1669305" y="948719"/>
                        <a:pt x="1674956" y="949732"/>
                      </a:cubicBezTo>
                      <a:cubicBezTo>
                        <a:pt x="1673826" y="949732"/>
                        <a:pt x="1677216" y="953786"/>
                        <a:pt x="1677216" y="954799"/>
                      </a:cubicBezTo>
                      <a:cubicBezTo>
                        <a:pt x="1678346" y="953786"/>
                        <a:pt x="1685127" y="947706"/>
                        <a:pt x="1685127" y="947706"/>
                      </a:cubicBezTo>
                      <a:cubicBezTo>
                        <a:pt x="1688517" y="946692"/>
                        <a:pt x="1690778" y="948719"/>
                        <a:pt x="1693038" y="947706"/>
                      </a:cubicBezTo>
                      <a:cubicBezTo>
                        <a:pt x="1693038" y="947706"/>
                        <a:pt x="1695298" y="940612"/>
                        <a:pt x="1695298" y="940612"/>
                      </a:cubicBezTo>
                      <a:cubicBezTo>
                        <a:pt x="1703209" y="938586"/>
                        <a:pt x="1705469" y="943652"/>
                        <a:pt x="1711120" y="942639"/>
                      </a:cubicBezTo>
                      <a:cubicBezTo>
                        <a:pt x="1714510" y="942639"/>
                        <a:pt x="1723551" y="935545"/>
                        <a:pt x="1724681" y="935545"/>
                      </a:cubicBezTo>
                      <a:cubicBezTo>
                        <a:pt x="1726942" y="935545"/>
                        <a:pt x="1735983" y="935545"/>
                        <a:pt x="1740503" y="935545"/>
                      </a:cubicBezTo>
                      <a:cubicBezTo>
                        <a:pt x="1737112" y="919332"/>
                        <a:pt x="1740503" y="918318"/>
                        <a:pt x="1756325" y="921358"/>
                      </a:cubicBezTo>
                      <a:cubicBezTo>
                        <a:pt x="1756325" y="917305"/>
                        <a:pt x="1755195" y="914265"/>
                        <a:pt x="1754064" y="909198"/>
                      </a:cubicBezTo>
                      <a:cubicBezTo>
                        <a:pt x="1756325" y="907171"/>
                        <a:pt x="1761975" y="900078"/>
                        <a:pt x="1765365" y="899065"/>
                      </a:cubicBezTo>
                      <a:cubicBezTo>
                        <a:pt x="1772147" y="896025"/>
                        <a:pt x="1775537" y="899065"/>
                        <a:pt x="1781187" y="897038"/>
                      </a:cubicBezTo>
                      <a:cubicBezTo>
                        <a:pt x="1785707" y="895011"/>
                        <a:pt x="1783448" y="886904"/>
                        <a:pt x="1783448" y="886904"/>
                      </a:cubicBezTo>
                      <a:cubicBezTo>
                        <a:pt x="1765365" y="888931"/>
                        <a:pt x="1743894" y="889944"/>
                        <a:pt x="1726942" y="884878"/>
                      </a:cubicBezTo>
                      <a:cubicBezTo>
                        <a:pt x="1723551" y="883864"/>
                        <a:pt x="1715641" y="875757"/>
                        <a:pt x="1711120" y="874744"/>
                      </a:cubicBezTo>
                      <a:cubicBezTo>
                        <a:pt x="1704339" y="873731"/>
                        <a:pt x="1706599" y="878798"/>
                        <a:pt x="1699819" y="876771"/>
                      </a:cubicBezTo>
                      <a:lnTo>
                        <a:pt x="1697558" y="871704"/>
                      </a:lnTo>
                      <a:cubicBezTo>
                        <a:pt x="1683997" y="871704"/>
                        <a:pt x="1676086" y="882851"/>
                        <a:pt x="1664785" y="883864"/>
                      </a:cubicBezTo>
                      <a:cubicBezTo>
                        <a:pt x="1646703" y="885891"/>
                        <a:pt x="1637662" y="881838"/>
                        <a:pt x="1621840" y="883864"/>
                      </a:cubicBezTo>
                      <a:cubicBezTo>
                        <a:pt x="1670435" y="854477"/>
                        <a:pt x="1580026" y="868664"/>
                        <a:pt x="1561944" y="871704"/>
                      </a:cubicBezTo>
                      <a:cubicBezTo>
                        <a:pt x="1558554" y="865624"/>
                        <a:pt x="1557423" y="860557"/>
                        <a:pt x="1554033" y="854477"/>
                      </a:cubicBezTo>
                      <a:cubicBezTo>
                        <a:pt x="1558554" y="853464"/>
                        <a:pt x="1555163" y="853464"/>
                        <a:pt x="1556293" y="849410"/>
                      </a:cubicBezTo>
                      <a:cubicBezTo>
                        <a:pt x="1558554" y="851437"/>
                        <a:pt x="1563074" y="847383"/>
                        <a:pt x="1564204" y="847383"/>
                      </a:cubicBezTo>
                      <a:cubicBezTo>
                        <a:pt x="1565334" y="854477"/>
                        <a:pt x="1566465" y="862584"/>
                        <a:pt x="1566465" y="866637"/>
                      </a:cubicBezTo>
                      <a:cubicBezTo>
                        <a:pt x="1586807" y="861570"/>
                        <a:pt x="1612799" y="856504"/>
                        <a:pt x="1636532" y="859544"/>
                      </a:cubicBezTo>
                      <a:cubicBezTo>
                        <a:pt x="1637662" y="859544"/>
                        <a:pt x="1647833" y="867651"/>
                        <a:pt x="1658004" y="864611"/>
                      </a:cubicBezTo>
                      <a:cubicBezTo>
                        <a:pt x="1659134" y="864611"/>
                        <a:pt x="1660264" y="860557"/>
                        <a:pt x="1663655" y="859544"/>
                      </a:cubicBezTo>
                      <a:cubicBezTo>
                        <a:pt x="1661395" y="852450"/>
                        <a:pt x="1660264" y="845357"/>
                        <a:pt x="1658004" y="840290"/>
                      </a:cubicBezTo>
                      <a:cubicBezTo>
                        <a:pt x="1634272" y="845357"/>
                        <a:pt x="1621840" y="842317"/>
                        <a:pt x="1592457" y="845357"/>
                      </a:cubicBezTo>
                      <a:cubicBezTo>
                        <a:pt x="1586807" y="846370"/>
                        <a:pt x="1554033" y="854477"/>
                        <a:pt x="1567594" y="843330"/>
                      </a:cubicBezTo>
                      <a:cubicBezTo>
                        <a:pt x="1568725" y="842317"/>
                        <a:pt x="1575505" y="837250"/>
                        <a:pt x="1575505" y="836236"/>
                      </a:cubicBezTo>
                      <a:lnTo>
                        <a:pt x="1575505" y="834210"/>
                      </a:lnTo>
                      <a:cubicBezTo>
                        <a:pt x="1584546" y="832183"/>
                        <a:pt x="1583416" y="838263"/>
                        <a:pt x="1586807" y="839277"/>
                      </a:cubicBezTo>
                      <a:cubicBezTo>
                        <a:pt x="1598108" y="841303"/>
                        <a:pt x="1625231" y="842317"/>
                        <a:pt x="1633142" y="841303"/>
                      </a:cubicBezTo>
                      <a:cubicBezTo>
                        <a:pt x="1634272" y="841303"/>
                        <a:pt x="1642182" y="834210"/>
                        <a:pt x="1644443" y="834210"/>
                      </a:cubicBezTo>
                      <a:cubicBezTo>
                        <a:pt x="1651224" y="832183"/>
                        <a:pt x="1661395" y="834210"/>
                        <a:pt x="1669305" y="834210"/>
                      </a:cubicBezTo>
                      <a:lnTo>
                        <a:pt x="1669305" y="829143"/>
                      </a:lnTo>
                      <a:cubicBezTo>
                        <a:pt x="1664785" y="826103"/>
                        <a:pt x="1667045" y="825090"/>
                        <a:pt x="1667045" y="819009"/>
                      </a:cubicBezTo>
                      <a:cubicBezTo>
                        <a:pt x="1656874" y="817996"/>
                        <a:pt x="1647833" y="816983"/>
                        <a:pt x="1639922" y="813943"/>
                      </a:cubicBezTo>
                      <a:lnTo>
                        <a:pt x="1637662" y="806849"/>
                      </a:lnTo>
                      <a:cubicBezTo>
                        <a:pt x="1613929" y="809889"/>
                        <a:pt x="1583416" y="808876"/>
                        <a:pt x="1561944" y="813943"/>
                      </a:cubicBezTo>
                      <a:lnTo>
                        <a:pt x="1559684" y="808876"/>
                      </a:lnTo>
                      <a:cubicBezTo>
                        <a:pt x="1564204" y="807863"/>
                        <a:pt x="1568725" y="806849"/>
                        <a:pt x="1575505" y="806849"/>
                      </a:cubicBezTo>
                      <a:cubicBezTo>
                        <a:pt x="1574375" y="804822"/>
                        <a:pt x="1580026" y="801782"/>
                        <a:pt x="1575505" y="796716"/>
                      </a:cubicBezTo>
                      <a:lnTo>
                        <a:pt x="1567594" y="794689"/>
                      </a:lnTo>
                      <a:cubicBezTo>
                        <a:pt x="1565334" y="790635"/>
                        <a:pt x="1570985" y="786582"/>
                        <a:pt x="1569855" y="784555"/>
                      </a:cubicBezTo>
                      <a:cubicBezTo>
                        <a:pt x="1577766" y="789622"/>
                        <a:pt x="1582286" y="793676"/>
                        <a:pt x="1589067" y="798742"/>
                      </a:cubicBezTo>
                      <a:cubicBezTo>
                        <a:pt x="1603758" y="794689"/>
                        <a:pt x="1617320" y="791649"/>
                        <a:pt x="1635402" y="796716"/>
                      </a:cubicBezTo>
                      <a:lnTo>
                        <a:pt x="1641052" y="801782"/>
                      </a:lnTo>
                      <a:cubicBezTo>
                        <a:pt x="1645573" y="802796"/>
                        <a:pt x="1653484" y="799756"/>
                        <a:pt x="1656874" y="801782"/>
                      </a:cubicBezTo>
                      <a:cubicBezTo>
                        <a:pt x="1660264" y="803809"/>
                        <a:pt x="1660264" y="811916"/>
                        <a:pt x="1664785" y="813943"/>
                      </a:cubicBezTo>
                      <a:cubicBezTo>
                        <a:pt x="1673826" y="817996"/>
                        <a:pt x="1683997" y="811916"/>
                        <a:pt x="1694168" y="815969"/>
                      </a:cubicBezTo>
                      <a:cubicBezTo>
                        <a:pt x="1697558" y="816983"/>
                        <a:pt x="1697558" y="825090"/>
                        <a:pt x="1699819" y="828130"/>
                      </a:cubicBezTo>
                      <a:cubicBezTo>
                        <a:pt x="1707730" y="840290"/>
                        <a:pt x="1722421" y="859544"/>
                        <a:pt x="1734852" y="866637"/>
                      </a:cubicBezTo>
                      <a:cubicBezTo>
                        <a:pt x="1741633" y="870691"/>
                        <a:pt x="1750674" y="873731"/>
                        <a:pt x="1756325" y="876771"/>
                      </a:cubicBezTo>
                      <a:lnTo>
                        <a:pt x="1756325" y="880824"/>
                      </a:lnTo>
                      <a:cubicBezTo>
                        <a:pt x="1764236" y="881838"/>
                        <a:pt x="1760845" y="874744"/>
                        <a:pt x="1764236" y="873731"/>
                      </a:cubicBezTo>
                      <a:cubicBezTo>
                        <a:pt x="1772147" y="871704"/>
                        <a:pt x="1787968" y="878798"/>
                        <a:pt x="1795879" y="881838"/>
                      </a:cubicBezTo>
                      <a:lnTo>
                        <a:pt x="1799269" y="882851"/>
                      </a:lnTo>
                      <a:cubicBezTo>
                        <a:pt x="1813960" y="871704"/>
                        <a:pt x="1800400" y="870691"/>
                        <a:pt x="1793618" y="865624"/>
                      </a:cubicBezTo>
                      <a:cubicBezTo>
                        <a:pt x="1795879" y="862584"/>
                        <a:pt x="1800400" y="862584"/>
                        <a:pt x="1801529" y="860557"/>
                      </a:cubicBezTo>
                      <a:cubicBezTo>
                        <a:pt x="1802659" y="857517"/>
                        <a:pt x="1795879" y="856504"/>
                        <a:pt x="1799269" y="855490"/>
                      </a:cubicBezTo>
                      <a:cubicBezTo>
                        <a:pt x="1809440" y="851437"/>
                        <a:pt x="1799269" y="828130"/>
                        <a:pt x="1793618" y="826103"/>
                      </a:cubicBezTo>
                      <a:lnTo>
                        <a:pt x="1787968" y="826103"/>
                      </a:lnTo>
                      <a:cubicBezTo>
                        <a:pt x="1784578" y="821036"/>
                        <a:pt x="1786838" y="815969"/>
                        <a:pt x="1785707" y="811916"/>
                      </a:cubicBezTo>
                      <a:cubicBezTo>
                        <a:pt x="1784578" y="812929"/>
                        <a:pt x="1778927" y="811916"/>
                        <a:pt x="1777797" y="811916"/>
                      </a:cubicBezTo>
                      <a:cubicBezTo>
                        <a:pt x="1774406" y="816983"/>
                        <a:pt x="1778927" y="816983"/>
                        <a:pt x="1772147" y="819009"/>
                      </a:cubicBezTo>
                      <a:cubicBezTo>
                        <a:pt x="1773276" y="817996"/>
                        <a:pt x="1772147" y="807863"/>
                        <a:pt x="1772147" y="806849"/>
                      </a:cubicBezTo>
                      <a:cubicBezTo>
                        <a:pt x="1776667" y="806849"/>
                        <a:pt x="1773276" y="804822"/>
                        <a:pt x="1774406" y="801782"/>
                      </a:cubicBezTo>
                      <a:cubicBezTo>
                        <a:pt x="1768756" y="802796"/>
                        <a:pt x="1767626" y="804822"/>
                        <a:pt x="1760845" y="803809"/>
                      </a:cubicBezTo>
                      <a:cubicBezTo>
                        <a:pt x="1759715" y="797729"/>
                        <a:pt x="1761975" y="797729"/>
                        <a:pt x="1763105" y="793676"/>
                      </a:cubicBezTo>
                      <a:cubicBezTo>
                        <a:pt x="1758585" y="790635"/>
                        <a:pt x="1750674" y="783542"/>
                        <a:pt x="1747284" y="781515"/>
                      </a:cubicBezTo>
                      <a:cubicBezTo>
                        <a:pt x="1740503" y="778475"/>
                        <a:pt x="1737112" y="782529"/>
                        <a:pt x="1731462" y="779489"/>
                      </a:cubicBezTo>
                      <a:cubicBezTo>
                        <a:pt x="1725811" y="776448"/>
                        <a:pt x="1720161" y="766315"/>
                        <a:pt x="1712250" y="765302"/>
                      </a:cubicBezTo>
                      <a:cubicBezTo>
                        <a:pt x="1697558" y="762261"/>
                        <a:pt x="1686257" y="766315"/>
                        <a:pt x="1671566" y="767328"/>
                      </a:cubicBezTo>
                      <a:lnTo>
                        <a:pt x="1673826" y="762261"/>
                      </a:lnTo>
                      <a:cubicBezTo>
                        <a:pt x="1680606" y="760235"/>
                        <a:pt x="1689648" y="758208"/>
                        <a:pt x="1695298" y="757195"/>
                      </a:cubicBezTo>
                      <a:cubicBezTo>
                        <a:pt x="1689648" y="749088"/>
                        <a:pt x="1688517" y="741994"/>
                        <a:pt x="1676086" y="739968"/>
                      </a:cubicBezTo>
                      <a:cubicBezTo>
                        <a:pt x="1673826" y="739968"/>
                        <a:pt x="1668175" y="741994"/>
                        <a:pt x="1670435" y="741994"/>
                      </a:cubicBezTo>
                      <a:cubicBezTo>
                        <a:pt x="1668175" y="743008"/>
                        <a:pt x="1663655" y="749088"/>
                        <a:pt x="1662525" y="749088"/>
                      </a:cubicBezTo>
                      <a:cubicBezTo>
                        <a:pt x="1658004" y="751114"/>
                        <a:pt x="1648963" y="751114"/>
                        <a:pt x="1646703" y="751114"/>
                      </a:cubicBezTo>
                      <a:cubicBezTo>
                        <a:pt x="1646703" y="751114"/>
                        <a:pt x="1644443" y="755168"/>
                        <a:pt x="1644443" y="756181"/>
                      </a:cubicBezTo>
                      <a:cubicBezTo>
                        <a:pt x="1642182" y="755168"/>
                        <a:pt x="1634272" y="755168"/>
                        <a:pt x="1630881" y="754155"/>
                      </a:cubicBezTo>
                      <a:cubicBezTo>
                        <a:pt x="1630881" y="754155"/>
                        <a:pt x="1633142" y="748074"/>
                        <a:pt x="1633142" y="747061"/>
                      </a:cubicBezTo>
                      <a:cubicBezTo>
                        <a:pt x="1629751" y="745034"/>
                        <a:pt x="1625231" y="744021"/>
                        <a:pt x="1621840" y="741994"/>
                      </a:cubicBezTo>
                      <a:cubicBezTo>
                        <a:pt x="1625231" y="744021"/>
                        <a:pt x="1615060" y="745034"/>
                        <a:pt x="1613929" y="744021"/>
                      </a:cubicBezTo>
                      <a:cubicBezTo>
                        <a:pt x="1612799" y="744021"/>
                        <a:pt x="1616190" y="735914"/>
                        <a:pt x="1616190" y="733887"/>
                      </a:cubicBezTo>
                      <a:cubicBezTo>
                        <a:pt x="1611669" y="730847"/>
                        <a:pt x="1611669" y="732874"/>
                        <a:pt x="1604889" y="731861"/>
                      </a:cubicBezTo>
                      <a:cubicBezTo>
                        <a:pt x="1603758" y="726794"/>
                        <a:pt x="1606019" y="726794"/>
                        <a:pt x="1602628" y="724767"/>
                      </a:cubicBezTo>
                      <a:lnTo>
                        <a:pt x="1602628" y="722741"/>
                      </a:lnTo>
                      <a:cubicBezTo>
                        <a:pt x="1608279" y="721727"/>
                        <a:pt x="1612799" y="721727"/>
                        <a:pt x="1616190" y="720714"/>
                      </a:cubicBezTo>
                      <a:cubicBezTo>
                        <a:pt x="1628621" y="715647"/>
                        <a:pt x="1617320" y="716660"/>
                        <a:pt x="1621840" y="713620"/>
                      </a:cubicBezTo>
                      <a:cubicBezTo>
                        <a:pt x="1616190" y="714634"/>
                        <a:pt x="1615060" y="711594"/>
                        <a:pt x="1613929" y="711594"/>
                      </a:cubicBezTo>
                      <a:cubicBezTo>
                        <a:pt x="1626361" y="711594"/>
                        <a:pt x="1635402" y="713620"/>
                        <a:pt x="1648963" y="711594"/>
                      </a:cubicBezTo>
                      <a:cubicBezTo>
                        <a:pt x="1654614" y="710580"/>
                        <a:pt x="1662525" y="700447"/>
                        <a:pt x="1668175" y="699433"/>
                      </a:cubicBezTo>
                      <a:cubicBezTo>
                        <a:pt x="1670435" y="699433"/>
                        <a:pt x="1673826" y="700447"/>
                        <a:pt x="1676086" y="699433"/>
                      </a:cubicBezTo>
                      <a:cubicBezTo>
                        <a:pt x="1677216" y="698420"/>
                        <a:pt x="1678346" y="692340"/>
                        <a:pt x="1678346" y="692340"/>
                      </a:cubicBezTo>
                      <a:cubicBezTo>
                        <a:pt x="1683997" y="690313"/>
                        <a:pt x="1694168" y="690313"/>
                        <a:pt x="1697558" y="690313"/>
                      </a:cubicBezTo>
                      <a:cubicBezTo>
                        <a:pt x="1697558" y="686260"/>
                        <a:pt x="1696428" y="680180"/>
                        <a:pt x="1697558" y="676126"/>
                      </a:cubicBezTo>
                      <a:cubicBezTo>
                        <a:pt x="1699819" y="677139"/>
                        <a:pt x="1705469" y="676126"/>
                        <a:pt x="1708859" y="676126"/>
                      </a:cubicBezTo>
                      <a:cubicBezTo>
                        <a:pt x="1706599" y="683220"/>
                        <a:pt x="1700949" y="691327"/>
                        <a:pt x="1708859" y="695380"/>
                      </a:cubicBezTo>
                      <a:cubicBezTo>
                        <a:pt x="1716770" y="699433"/>
                        <a:pt x="1725811" y="696393"/>
                        <a:pt x="1735983" y="697407"/>
                      </a:cubicBezTo>
                      <a:lnTo>
                        <a:pt x="1741633" y="702473"/>
                      </a:lnTo>
                      <a:cubicBezTo>
                        <a:pt x="1747284" y="703487"/>
                        <a:pt x="1754064" y="701460"/>
                        <a:pt x="1760845" y="702473"/>
                      </a:cubicBezTo>
                      <a:cubicBezTo>
                        <a:pt x="1761975" y="702473"/>
                        <a:pt x="1771016" y="709567"/>
                        <a:pt x="1772147" y="709567"/>
                      </a:cubicBezTo>
                      <a:cubicBezTo>
                        <a:pt x="1782317" y="710580"/>
                        <a:pt x="1800400" y="700447"/>
                        <a:pt x="1810570" y="697407"/>
                      </a:cubicBezTo>
                      <a:cubicBezTo>
                        <a:pt x="1810570" y="696393"/>
                        <a:pt x="1809440" y="690313"/>
                        <a:pt x="1810570" y="690313"/>
                      </a:cubicBezTo>
                      <a:cubicBezTo>
                        <a:pt x="1817351" y="687273"/>
                        <a:pt x="1832043" y="686260"/>
                        <a:pt x="1837693" y="685246"/>
                      </a:cubicBezTo>
                      <a:cubicBezTo>
                        <a:pt x="1834303" y="683220"/>
                        <a:pt x="1837693" y="665993"/>
                        <a:pt x="1837693" y="665993"/>
                      </a:cubicBezTo>
                      <a:cubicBezTo>
                        <a:pt x="1835433" y="663966"/>
                        <a:pt x="1827522" y="665993"/>
                        <a:pt x="1824132" y="665993"/>
                      </a:cubicBezTo>
                      <a:cubicBezTo>
                        <a:pt x="1802659" y="662952"/>
                        <a:pt x="1803790" y="651806"/>
                        <a:pt x="1791358" y="676126"/>
                      </a:cubicBezTo>
                      <a:cubicBezTo>
                        <a:pt x="1790228" y="673086"/>
                        <a:pt x="1787968" y="663966"/>
                        <a:pt x="1785707" y="661939"/>
                      </a:cubicBezTo>
                      <a:cubicBezTo>
                        <a:pt x="1784578" y="660926"/>
                        <a:pt x="1778927" y="662952"/>
                        <a:pt x="1777797" y="661939"/>
                      </a:cubicBezTo>
                      <a:cubicBezTo>
                        <a:pt x="1765365" y="657886"/>
                        <a:pt x="1778927" y="646739"/>
                        <a:pt x="1780057" y="642685"/>
                      </a:cubicBezTo>
                      <a:cubicBezTo>
                        <a:pt x="1781187" y="637619"/>
                        <a:pt x="1780057" y="630525"/>
                        <a:pt x="1780057" y="625458"/>
                      </a:cubicBezTo>
                      <a:cubicBezTo>
                        <a:pt x="1785707" y="628498"/>
                        <a:pt x="1794749" y="633565"/>
                        <a:pt x="1799269" y="635592"/>
                      </a:cubicBezTo>
                      <a:cubicBezTo>
                        <a:pt x="1816221" y="640659"/>
                        <a:pt x="1832043" y="635592"/>
                        <a:pt x="1847864" y="640659"/>
                      </a:cubicBezTo>
                      <a:cubicBezTo>
                        <a:pt x="1856906" y="643699"/>
                        <a:pt x="1859165" y="654846"/>
                        <a:pt x="1877248" y="650792"/>
                      </a:cubicBezTo>
                      <a:cubicBezTo>
                        <a:pt x="1878377" y="650792"/>
                        <a:pt x="1884028" y="643699"/>
                        <a:pt x="1885158" y="643699"/>
                      </a:cubicBezTo>
                      <a:cubicBezTo>
                        <a:pt x="1888549" y="646739"/>
                        <a:pt x="1887418" y="635592"/>
                        <a:pt x="1887418" y="633565"/>
                      </a:cubicBezTo>
                      <a:cubicBezTo>
                        <a:pt x="1881768" y="632552"/>
                        <a:pt x="1873857" y="627485"/>
                        <a:pt x="1865946" y="628498"/>
                      </a:cubicBezTo>
                      <a:lnTo>
                        <a:pt x="1858035" y="633565"/>
                      </a:lnTo>
                      <a:cubicBezTo>
                        <a:pt x="1847864" y="634579"/>
                        <a:pt x="1835433" y="633565"/>
                        <a:pt x="1825262" y="633565"/>
                      </a:cubicBezTo>
                      <a:lnTo>
                        <a:pt x="1827522" y="626472"/>
                      </a:lnTo>
                      <a:cubicBezTo>
                        <a:pt x="1834303" y="626472"/>
                        <a:pt x="1839954" y="608231"/>
                        <a:pt x="1816221" y="614311"/>
                      </a:cubicBezTo>
                      <a:lnTo>
                        <a:pt x="1813960" y="621405"/>
                      </a:lnTo>
                      <a:cubicBezTo>
                        <a:pt x="1809440" y="620391"/>
                        <a:pt x="1799269" y="618365"/>
                        <a:pt x="1798139" y="619378"/>
                      </a:cubicBezTo>
                      <a:cubicBezTo>
                        <a:pt x="1808310" y="617351"/>
                        <a:pt x="1809440" y="617351"/>
                        <a:pt x="1817351" y="607218"/>
                      </a:cubicBezTo>
                      <a:cubicBezTo>
                        <a:pt x="1818481" y="605191"/>
                        <a:pt x="1823002" y="604178"/>
                        <a:pt x="1825262" y="602151"/>
                      </a:cubicBezTo>
                      <a:cubicBezTo>
                        <a:pt x="1811701" y="586951"/>
                        <a:pt x="1811701" y="587964"/>
                        <a:pt x="1786838" y="582897"/>
                      </a:cubicBezTo>
                      <a:lnTo>
                        <a:pt x="1789098" y="575804"/>
                      </a:lnTo>
                      <a:cubicBezTo>
                        <a:pt x="1789098" y="575804"/>
                        <a:pt x="1801529" y="576817"/>
                        <a:pt x="1797009" y="577831"/>
                      </a:cubicBezTo>
                      <a:cubicBezTo>
                        <a:pt x="1798139" y="577831"/>
                        <a:pt x="1802659" y="579857"/>
                        <a:pt x="1802659" y="579857"/>
                      </a:cubicBezTo>
                      <a:cubicBezTo>
                        <a:pt x="1809440" y="580871"/>
                        <a:pt x="1817351" y="583911"/>
                        <a:pt x="1827522" y="581884"/>
                      </a:cubicBezTo>
                      <a:cubicBezTo>
                        <a:pt x="1830912" y="580871"/>
                        <a:pt x="1833173" y="574790"/>
                        <a:pt x="1841084" y="576817"/>
                      </a:cubicBezTo>
                      <a:cubicBezTo>
                        <a:pt x="1841084" y="576817"/>
                        <a:pt x="1841084" y="583911"/>
                        <a:pt x="1841084" y="583911"/>
                      </a:cubicBezTo>
                      <a:lnTo>
                        <a:pt x="1846734" y="585937"/>
                      </a:lnTo>
                      <a:lnTo>
                        <a:pt x="1846734" y="587964"/>
                      </a:lnTo>
                      <a:cubicBezTo>
                        <a:pt x="1848995" y="586951"/>
                        <a:pt x="1855775" y="587964"/>
                        <a:pt x="1858035" y="587964"/>
                      </a:cubicBezTo>
                      <a:cubicBezTo>
                        <a:pt x="1863686" y="567697"/>
                        <a:pt x="1861426" y="558577"/>
                        <a:pt x="1855775" y="537296"/>
                      </a:cubicBezTo>
                      <a:lnTo>
                        <a:pt x="1844474" y="535270"/>
                      </a:lnTo>
                      <a:cubicBezTo>
                        <a:pt x="1843344" y="531216"/>
                        <a:pt x="1848995" y="531216"/>
                        <a:pt x="1850124" y="530203"/>
                      </a:cubicBezTo>
                      <a:cubicBezTo>
                        <a:pt x="1852385" y="524123"/>
                        <a:pt x="1846734" y="519056"/>
                        <a:pt x="1847864" y="516016"/>
                      </a:cubicBezTo>
                      <a:cubicBezTo>
                        <a:pt x="1824132" y="509936"/>
                        <a:pt x="1826392" y="513989"/>
                        <a:pt x="1815091" y="528176"/>
                      </a:cubicBezTo>
                      <a:cubicBezTo>
                        <a:pt x="1809440" y="526149"/>
                        <a:pt x="1812831" y="526149"/>
                        <a:pt x="1809440" y="521083"/>
                      </a:cubicBezTo>
                      <a:cubicBezTo>
                        <a:pt x="1803790" y="522096"/>
                        <a:pt x="1797009" y="524123"/>
                        <a:pt x="1793618" y="523109"/>
                      </a:cubicBezTo>
                      <a:cubicBezTo>
                        <a:pt x="1794749" y="522096"/>
                        <a:pt x="1793618" y="511962"/>
                        <a:pt x="1793618" y="510949"/>
                      </a:cubicBezTo>
                      <a:cubicBezTo>
                        <a:pt x="1801529" y="509936"/>
                        <a:pt x="1800400" y="515002"/>
                        <a:pt x="1807180" y="512976"/>
                      </a:cubicBezTo>
                      <a:cubicBezTo>
                        <a:pt x="1808310" y="512976"/>
                        <a:pt x="1811701" y="505882"/>
                        <a:pt x="1812831" y="505882"/>
                      </a:cubicBezTo>
                      <a:cubicBezTo>
                        <a:pt x="1821871" y="498789"/>
                        <a:pt x="1825262" y="499802"/>
                        <a:pt x="1815091" y="491695"/>
                      </a:cubicBezTo>
                      <a:cubicBezTo>
                        <a:pt x="1820742" y="491695"/>
                        <a:pt x="1823002" y="487642"/>
                        <a:pt x="1812831" y="486628"/>
                      </a:cubicBezTo>
                      <a:cubicBezTo>
                        <a:pt x="1812831" y="484602"/>
                        <a:pt x="1815091" y="479535"/>
                        <a:pt x="1815091" y="479535"/>
                      </a:cubicBezTo>
                      <a:cubicBezTo>
                        <a:pt x="1830912" y="481562"/>
                        <a:pt x="1852385" y="479535"/>
                        <a:pt x="1869337" y="484602"/>
                      </a:cubicBezTo>
                      <a:cubicBezTo>
                        <a:pt x="1872727" y="485615"/>
                        <a:pt x="1881768" y="493722"/>
                        <a:pt x="1885158" y="494735"/>
                      </a:cubicBezTo>
                      <a:cubicBezTo>
                        <a:pt x="1894199" y="496762"/>
                        <a:pt x="1904370" y="492709"/>
                        <a:pt x="1910021" y="492709"/>
                      </a:cubicBezTo>
                      <a:lnTo>
                        <a:pt x="1907761" y="487642"/>
                      </a:lnTo>
                      <a:cubicBezTo>
                        <a:pt x="1912281" y="470415"/>
                        <a:pt x="1907761" y="477508"/>
                        <a:pt x="1902110" y="468388"/>
                      </a:cubicBezTo>
                      <a:cubicBezTo>
                        <a:pt x="1899850" y="465348"/>
                        <a:pt x="1902110" y="460281"/>
                        <a:pt x="1899850" y="456228"/>
                      </a:cubicBezTo>
                      <a:cubicBezTo>
                        <a:pt x="1898719" y="454201"/>
                        <a:pt x="1893069" y="453188"/>
                        <a:pt x="1891939" y="451161"/>
                      </a:cubicBezTo>
                      <a:cubicBezTo>
                        <a:pt x="1893069" y="451161"/>
                        <a:pt x="1886288" y="446094"/>
                        <a:pt x="1886288" y="446094"/>
                      </a:cubicBezTo>
                      <a:cubicBezTo>
                        <a:pt x="1885158" y="446094"/>
                        <a:pt x="1879508" y="446094"/>
                        <a:pt x="1878377" y="446094"/>
                      </a:cubicBezTo>
                      <a:cubicBezTo>
                        <a:pt x="1877248" y="448121"/>
                        <a:pt x="1876117" y="455214"/>
                        <a:pt x="1876117" y="456228"/>
                      </a:cubicBezTo>
                      <a:cubicBezTo>
                        <a:pt x="1867076" y="459268"/>
                        <a:pt x="1865946" y="454201"/>
                        <a:pt x="1860296" y="454201"/>
                      </a:cubicBezTo>
                      <a:cubicBezTo>
                        <a:pt x="1853515" y="453188"/>
                        <a:pt x="1848995" y="455214"/>
                        <a:pt x="1841084" y="456228"/>
                      </a:cubicBezTo>
                      <a:cubicBezTo>
                        <a:pt x="1842213" y="449134"/>
                        <a:pt x="1842213" y="433934"/>
                        <a:pt x="1841084" y="429880"/>
                      </a:cubicBezTo>
                      <a:cubicBezTo>
                        <a:pt x="1853515" y="433934"/>
                        <a:pt x="1860296" y="434947"/>
                        <a:pt x="1868207" y="434947"/>
                      </a:cubicBezTo>
                      <a:cubicBezTo>
                        <a:pt x="1890809" y="430894"/>
                        <a:pt x="1862556" y="425827"/>
                        <a:pt x="1854645" y="420760"/>
                      </a:cubicBezTo>
                      <a:cubicBezTo>
                        <a:pt x="1853515" y="419747"/>
                        <a:pt x="1850124" y="413667"/>
                        <a:pt x="1848995" y="413667"/>
                      </a:cubicBezTo>
                      <a:cubicBezTo>
                        <a:pt x="1841084" y="412653"/>
                        <a:pt x="1834303" y="418734"/>
                        <a:pt x="1829782" y="418734"/>
                      </a:cubicBezTo>
                      <a:cubicBezTo>
                        <a:pt x="1820742" y="418734"/>
                        <a:pt x="1808310" y="411640"/>
                        <a:pt x="1800400" y="408600"/>
                      </a:cubicBezTo>
                      <a:cubicBezTo>
                        <a:pt x="1803790" y="409613"/>
                        <a:pt x="1792489" y="413667"/>
                        <a:pt x="1792489" y="413667"/>
                      </a:cubicBezTo>
                      <a:cubicBezTo>
                        <a:pt x="1791358" y="412653"/>
                        <a:pt x="1786838" y="405560"/>
                        <a:pt x="1792489" y="406573"/>
                      </a:cubicBezTo>
                      <a:cubicBezTo>
                        <a:pt x="1793618" y="400493"/>
                        <a:pt x="1794749" y="395426"/>
                        <a:pt x="1794749" y="392386"/>
                      </a:cubicBezTo>
                      <a:cubicBezTo>
                        <a:pt x="1817351" y="395426"/>
                        <a:pt x="1829782" y="399480"/>
                        <a:pt x="1846734" y="406573"/>
                      </a:cubicBezTo>
                      <a:cubicBezTo>
                        <a:pt x="1847864" y="402520"/>
                        <a:pt x="1848995" y="389346"/>
                        <a:pt x="1852385" y="384279"/>
                      </a:cubicBezTo>
                      <a:cubicBezTo>
                        <a:pt x="1855775" y="379213"/>
                        <a:pt x="1871597" y="373132"/>
                        <a:pt x="1877248" y="370092"/>
                      </a:cubicBezTo>
                      <a:cubicBezTo>
                        <a:pt x="1876117" y="367052"/>
                        <a:pt x="1872727" y="367052"/>
                        <a:pt x="1874987" y="362999"/>
                      </a:cubicBezTo>
                      <a:cubicBezTo>
                        <a:pt x="1874987" y="362999"/>
                        <a:pt x="1879508" y="353879"/>
                        <a:pt x="1874987" y="350839"/>
                      </a:cubicBezTo>
                      <a:cubicBezTo>
                        <a:pt x="1890809" y="338678"/>
                        <a:pt x="1896460" y="335638"/>
                        <a:pt x="1874987" y="324491"/>
                      </a:cubicBezTo>
                      <a:cubicBezTo>
                        <a:pt x="1888549" y="321451"/>
                        <a:pt x="1905501" y="319425"/>
                        <a:pt x="1926972" y="319425"/>
                      </a:cubicBezTo>
                      <a:cubicBezTo>
                        <a:pt x="1928103" y="315371"/>
                        <a:pt x="1926972" y="309291"/>
                        <a:pt x="1926972" y="305238"/>
                      </a:cubicBezTo>
                      <a:cubicBezTo>
                        <a:pt x="1951835" y="292064"/>
                        <a:pt x="1960876" y="283957"/>
                        <a:pt x="1921322" y="278890"/>
                      </a:cubicBezTo>
                      <a:cubicBezTo>
                        <a:pt x="1914541" y="277877"/>
                        <a:pt x="1898719" y="273823"/>
                        <a:pt x="1888549" y="276864"/>
                      </a:cubicBezTo>
                      <a:cubicBezTo>
                        <a:pt x="1885158" y="277877"/>
                        <a:pt x="1882898" y="282944"/>
                        <a:pt x="1880638" y="283957"/>
                      </a:cubicBezTo>
                      <a:cubicBezTo>
                        <a:pt x="1869337" y="289024"/>
                        <a:pt x="1860296" y="291051"/>
                        <a:pt x="1851255" y="296117"/>
                      </a:cubicBezTo>
                      <a:cubicBezTo>
                        <a:pt x="1850124" y="290037"/>
                        <a:pt x="1850124" y="286997"/>
                        <a:pt x="1848995" y="283957"/>
                      </a:cubicBezTo>
                      <a:cubicBezTo>
                        <a:pt x="1845604" y="276864"/>
                        <a:pt x="1836563" y="270783"/>
                        <a:pt x="1846734" y="264703"/>
                      </a:cubicBezTo>
                      <a:cubicBezTo>
                        <a:pt x="1868207" y="250516"/>
                        <a:pt x="1907761" y="266730"/>
                        <a:pt x="1928103" y="269770"/>
                      </a:cubicBezTo>
                      <a:cubicBezTo>
                        <a:pt x="1937144" y="270783"/>
                        <a:pt x="1948445" y="268757"/>
                        <a:pt x="1957486" y="269770"/>
                      </a:cubicBezTo>
                      <a:cubicBezTo>
                        <a:pt x="1958616" y="269770"/>
                        <a:pt x="1965397" y="273823"/>
                        <a:pt x="1971047" y="271797"/>
                      </a:cubicBezTo>
                      <a:cubicBezTo>
                        <a:pt x="1975568" y="270783"/>
                        <a:pt x="1999300" y="245449"/>
                        <a:pt x="2003821" y="240383"/>
                      </a:cubicBezTo>
                      <a:cubicBezTo>
                        <a:pt x="2009472" y="241396"/>
                        <a:pt x="2006081" y="235316"/>
                        <a:pt x="2006081" y="233289"/>
                      </a:cubicBezTo>
                      <a:cubicBezTo>
                        <a:pt x="1997040" y="233289"/>
                        <a:pt x="1981219" y="230249"/>
                        <a:pt x="1976698" y="231262"/>
                      </a:cubicBezTo>
                      <a:cubicBezTo>
                        <a:pt x="1974438" y="231262"/>
                        <a:pt x="1971047" y="240383"/>
                        <a:pt x="1968787" y="241396"/>
                      </a:cubicBezTo>
                      <a:cubicBezTo>
                        <a:pt x="1962006" y="243423"/>
                        <a:pt x="1956356" y="238356"/>
                        <a:pt x="1947315" y="239369"/>
                      </a:cubicBezTo>
                      <a:cubicBezTo>
                        <a:pt x="1937144" y="240383"/>
                        <a:pt x="1923582" y="247476"/>
                        <a:pt x="1912281" y="246463"/>
                      </a:cubicBezTo>
                      <a:cubicBezTo>
                        <a:pt x="1905501" y="245449"/>
                        <a:pt x="1896460" y="236329"/>
                        <a:pt x="1890809" y="234303"/>
                      </a:cubicBezTo>
                      <a:cubicBezTo>
                        <a:pt x="1903240" y="233289"/>
                        <a:pt x="1913411" y="235316"/>
                        <a:pt x="1923582" y="232276"/>
                      </a:cubicBezTo>
                      <a:cubicBezTo>
                        <a:pt x="1924713" y="231262"/>
                        <a:pt x="1926972" y="225182"/>
                        <a:pt x="1929233" y="225182"/>
                      </a:cubicBezTo>
                      <a:cubicBezTo>
                        <a:pt x="1945055" y="222142"/>
                        <a:pt x="1960876" y="231262"/>
                        <a:pt x="1975568" y="230249"/>
                      </a:cubicBezTo>
                      <a:cubicBezTo>
                        <a:pt x="1980088" y="230249"/>
                        <a:pt x="1986869" y="225182"/>
                        <a:pt x="1994780" y="225182"/>
                      </a:cubicBezTo>
                      <a:cubicBezTo>
                        <a:pt x="1999300" y="225182"/>
                        <a:pt x="2012862" y="231262"/>
                        <a:pt x="2019642" y="230249"/>
                      </a:cubicBezTo>
                      <a:cubicBezTo>
                        <a:pt x="2019642" y="230249"/>
                        <a:pt x="2023033" y="221129"/>
                        <a:pt x="2025293" y="220116"/>
                      </a:cubicBezTo>
                      <a:cubicBezTo>
                        <a:pt x="2035464" y="217075"/>
                        <a:pt x="2047895" y="217075"/>
                        <a:pt x="2058067" y="215049"/>
                      </a:cubicBezTo>
                      <a:cubicBezTo>
                        <a:pt x="2059196" y="209982"/>
                        <a:pt x="2056936" y="204915"/>
                        <a:pt x="2060327" y="202888"/>
                      </a:cubicBezTo>
                      <a:cubicBezTo>
                        <a:pt x="2063717" y="200862"/>
                        <a:pt x="2072758" y="203902"/>
                        <a:pt x="2076148" y="202888"/>
                      </a:cubicBezTo>
                      <a:cubicBezTo>
                        <a:pt x="2081799" y="201875"/>
                        <a:pt x="2086320" y="191742"/>
                        <a:pt x="2091970" y="190728"/>
                      </a:cubicBezTo>
                      <a:cubicBezTo>
                        <a:pt x="2099881" y="188701"/>
                        <a:pt x="2103271" y="195795"/>
                        <a:pt x="2113442" y="192755"/>
                      </a:cubicBezTo>
                      <a:cubicBezTo>
                        <a:pt x="2115703" y="191742"/>
                        <a:pt x="2119093" y="186675"/>
                        <a:pt x="2121353" y="185661"/>
                      </a:cubicBezTo>
                      <a:cubicBezTo>
                        <a:pt x="2116833" y="180595"/>
                        <a:pt x="2111182" y="170461"/>
                        <a:pt x="2102141" y="168434"/>
                      </a:cubicBezTo>
                      <a:cubicBezTo>
                        <a:pt x="2088580" y="165394"/>
                        <a:pt x="2068237" y="171474"/>
                        <a:pt x="2059196" y="170461"/>
                      </a:cubicBezTo>
                      <a:cubicBezTo>
                        <a:pt x="2044505" y="169448"/>
                        <a:pt x="2016252" y="162354"/>
                        <a:pt x="2002691" y="160327"/>
                      </a:cubicBezTo>
                      <a:cubicBezTo>
                        <a:pt x="1985739" y="158301"/>
                        <a:pt x="1976698" y="163368"/>
                        <a:pt x="1962006" y="162354"/>
                      </a:cubicBezTo>
                      <a:cubicBezTo>
                        <a:pt x="1958616" y="162354"/>
                        <a:pt x="1942794" y="157287"/>
                        <a:pt x="1934883" y="160327"/>
                      </a:cubicBezTo>
                      <a:lnTo>
                        <a:pt x="1932623" y="172488"/>
                      </a:lnTo>
                      <a:cubicBezTo>
                        <a:pt x="1917932" y="174514"/>
                        <a:pt x="1908891" y="175528"/>
                        <a:pt x="1894199" y="177555"/>
                      </a:cubicBezTo>
                      <a:cubicBezTo>
                        <a:pt x="1894199" y="178568"/>
                        <a:pt x="1894199" y="186675"/>
                        <a:pt x="1894199" y="187688"/>
                      </a:cubicBezTo>
                      <a:cubicBezTo>
                        <a:pt x="1888549" y="188701"/>
                        <a:pt x="1886288" y="183635"/>
                        <a:pt x="1882898" y="182621"/>
                      </a:cubicBezTo>
                      <a:cubicBezTo>
                        <a:pt x="1864816" y="176541"/>
                        <a:pt x="1864816" y="174514"/>
                        <a:pt x="1855775" y="187688"/>
                      </a:cubicBezTo>
                      <a:cubicBezTo>
                        <a:pt x="1852385" y="179581"/>
                        <a:pt x="1848995" y="174514"/>
                        <a:pt x="1844474" y="168434"/>
                      </a:cubicBezTo>
                      <a:cubicBezTo>
                        <a:pt x="1836563" y="173501"/>
                        <a:pt x="1818481" y="190728"/>
                        <a:pt x="1809440" y="192755"/>
                      </a:cubicBezTo>
                      <a:cubicBezTo>
                        <a:pt x="1804920" y="193768"/>
                        <a:pt x="1799269" y="190728"/>
                        <a:pt x="1795879" y="192755"/>
                      </a:cubicBezTo>
                      <a:cubicBezTo>
                        <a:pt x="1790228" y="194782"/>
                        <a:pt x="1787968" y="204915"/>
                        <a:pt x="1782317" y="206942"/>
                      </a:cubicBezTo>
                      <a:cubicBezTo>
                        <a:pt x="1772147" y="212009"/>
                        <a:pt x="1747284" y="216062"/>
                        <a:pt x="1730332" y="214035"/>
                      </a:cubicBezTo>
                      <a:cubicBezTo>
                        <a:pt x="1729201" y="214035"/>
                        <a:pt x="1722421" y="210995"/>
                        <a:pt x="1716770" y="212009"/>
                      </a:cubicBezTo>
                      <a:cubicBezTo>
                        <a:pt x="1713380" y="213022"/>
                        <a:pt x="1712250" y="217075"/>
                        <a:pt x="1705469" y="217075"/>
                      </a:cubicBezTo>
                      <a:cubicBezTo>
                        <a:pt x="1702079" y="217075"/>
                        <a:pt x="1693038" y="209982"/>
                        <a:pt x="1691908" y="209982"/>
                      </a:cubicBezTo>
                      <a:cubicBezTo>
                        <a:pt x="1699819" y="204915"/>
                        <a:pt x="1706599" y="196808"/>
                        <a:pt x="1721291" y="197822"/>
                      </a:cubicBezTo>
                      <a:cubicBezTo>
                        <a:pt x="1722421" y="197822"/>
                        <a:pt x="1729201" y="200862"/>
                        <a:pt x="1734852" y="199848"/>
                      </a:cubicBezTo>
                      <a:cubicBezTo>
                        <a:pt x="1735983" y="199848"/>
                        <a:pt x="1738243" y="193768"/>
                        <a:pt x="1740503" y="192755"/>
                      </a:cubicBezTo>
                      <a:cubicBezTo>
                        <a:pt x="1745023" y="189715"/>
                        <a:pt x="1754064" y="190728"/>
                        <a:pt x="1759715" y="187688"/>
                      </a:cubicBezTo>
                      <a:cubicBezTo>
                        <a:pt x="1763105" y="185661"/>
                        <a:pt x="1781187" y="162354"/>
                        <a:pt x="1781187" y="158301"/>
                      </a:cubicBezTo>
                      <a:cubicBezTo>
                        <a:pt x="1782317" y="151207"/>
                        <a:pt x="1777797" y="152221"/>
                        <a:pt x="1778927" y="146141"/>
                      </a:cubicBezTo>
                      <a:cubicBezTo>
                        <a:pt x="1764236" y="148167"/>
                        <a:pt x="1748414" y="148167"/>
                        <a:pt x="1735983" y="148167"/>
                      </a:cubicBezTo>
                      <a:cubicBezTo>
                        <a:pt x="1734852" y="148167"/>
                        <a:pt x="1722421" y="144114"/>
                        <a:pt x="1716770" y="146141"/>
                      </a:cubicBezTo>
                      <a:cubicBezTo>
                        <a:pt x="1715641" y="146141"/>
                        <a:pt x="1714510" y="150194"/>
                        <a:pt x="1711120" y="151207"/>
                      </a:cubicBezTo>
                      <a:cubicBezTo>
                        <a:pt x="1711120" y="158301"/>
                        <a:pt x="1711120" y="164381"/>
                        <a:pt x="1711120" y="170461"/>
                      </a:cubicBezTo>
                      <a:cubicBezTo>
                        <a:pt x="1688517" y="169448"/>
                        <a:pt x="1656874" y="171474"/>
                        <a:pt x="1629751" y="172488"/>
                      </a:cubicBezTo>
                      <a:cubicBezTo>
                        <a:pt x="1630881" y="169448"/>
                        <a:pt x="1634272" y="168434"/>
                        <a:pt x="1635402" y="167421"/>
                      </a:cubicBezTo>
                      <a:cubicBezTo>
                        <a:pt x="1637662" y="162354"/>
                        <a:pt x="1634272" y="154247"/>
                        <a:pt x="1635402" y="148167"/>
                      </a:cubicBezTo>
                      <a:cubicBezTo>
                        <a:pt x="1630881" y="147154"/>
                        <a:pt x="1630881" y="150194"/>
                        <a:pt x="1629751" y="146141"/>
                      </a:cubicBezTo>
                      <a:cubicBezTo>
                        <a:pt x="1599238" y="146141"/>
                        <a:pt x="1572115" y="146141"/>
                        <a:pt x="1540472" y="148167"/>
                      </a:cubicBezTo>
                      <a:cubicBezTo>
                        <a:pt x="1538212" y="148167"/>
                        <a:pt x="1523520" y="153234"/>
                        <a:pt x="1521260" y="153234"/>
                      </a:cubicBezTo>
                      <a:cubicBezTo>
                        <a:pt x="1509959" y="154247"/>
                        <a:pt x="1502048" y="148167"/>
                        <a:pt x="1496397" y="148167"/>
                      </a:cubicBezTo>
                      <a:cubicBezTo>
                        <a:pt x="1487356" y="148167"/>
                        <a:pt x="1483966" y="152221"/>
                        <a:pt x="1480575" y="153234"/>
                      </a:cubicBezTo>
                      <a:cubicBezTo>
                        <a:pt x="1473795" y="154247"/>
                        <a:pt x="1474925" y="149181"/>
                        <a:pt x="1467014" y="151207"/>
                      </a:cubicBezTo>
                      <a:cubicBezTo>
                        <a:pt x="1452322" y="153234"/>
                        <a:pt x="1438761" y="165394"/>
                        <a:pt x="1426330" y="168434"/>
                      </a:cubicBezTo>
                      <a:cubicBezTo>
                        <a:pt x="1416159" y="170461"/>
                        <a:pt x="1403727" y="165394"/>
                        <a:pt x="1393556" y="168434"/>
                      </a:cubicBezTo>
                      <a:cubicBezTo>
                        <a:pt x="1389036" y="169448"/>
                        <a:pt x="1387906" y="176541"/>
                        <a:pt x="1385645" y="180595"/>
                      </a:cubicBezTo>
                      <a:cubicBezTo>
                        <a:pt x="1379995" y="179581"/>
                        <a:pt x="1378865" y="176541"/>
                        <a:pt x="1372084" y="178568"/>
                      </a:cubicBezTo>
                      <a:cubicBezTo>
                        <a:pt x="1374344" y="176541"/>
                        <a:pt x="1374344" y="170461"/>
                        <a:pt x="1377735" y="168434"/>
                      </a:cubicBezTo>
                      <a:cubicBezTo>
                        <a:pt x="1390166" y="161341"/>
                        <a:pt x="1411638" y="166408"/>
                        <a:pt x="1426330" y="161341"/>
                      </a:cubicBezTo>
                      <a:cubicBezTo>
                        <a:pt x="1427460" y="160327"/>
                        <a:pt x="1434241" y="156274"/>
                        <a:pt x="1434241" y="154247"/>
                      </a:cubicBezTo>
                      <a:lnTo>
                        <a:pt x="1434241" y="152221"/>
                      </a:lnTo>
                      <a:cubicBezTo>
                        <a:pt x="1443281" y="148167"/>
                        <a:pt x="1452322" y="153234"/>
                        <a:pt x="1461363" y="150194"/>
                      </a:cubicBezTo>
                      <a:cubicBezTo>
                        <a:pt x="1464754" y="149181"/>
                        <a:pt x="1462493" y="145127"/>
                        <a:pt x="1463624" y="140060"/>
                      </a:cubicBezTo>
                      <a:cubicBezTo>
                        <a:pt x="1470404" y="138034"/>
                        <a:pt x="1480575" y="132967"/>
                        <a:pt x="1485096" y="132967"/>
                      </a:cubicBezTo>
                      <a:cubicBezTo>
                        <a:pt x="1494137" y="131954"/>
                        <a:pt x="1507698" y="134994"/>
                        <a:pt x="1512219" y="134994"/>
                      </a:cubicBezTo>
                      <a:cubicBezTo>
                        <a:pt x="1532561" y="136007"/>
                        <a:pt x="1558554" y="131954"/>
                        <a:pt x="1574375" y="132967"/>
                      </a:cubicBezTo>
                      <a:lnTo>
                        <a:pt x="1603758" y="130940"/>
                      </a:lnTo>
                      <a:cubicBezTo>
                        <a:pt x="1632011" y="131954"/>
                        <a:pt x="1662525" y="124860"/>
                        <a:pt x="1696428" y="128913"/>
                      </a:cubicBezTo>
                      <a:cubicBezTo>
                        <a:pt x="1707730" y="129927"/>
                        <a:pt x="1721291" y="136007"/>
                        <a:pt x="1737112" y="133980"/>
                      </a:cubicBezTo>
                      <a:cubicBezTo>
                        <a:pt x="1741633" y="132967"/>
                        <a:pt x="1757454" y="126887"/>
                        <a:pt x="1764236" y="126887"/>
                      </a:cubicBezTo>
                      <a:cubicBezTo>
                        <a:pt x="1778927" y="124860"/>
                        <a:pt x="1791358" y="131954"/>
                        <a:pt x="1803790" y="1289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1" name="Freeform: Shape 390">
                  <a:extLst>
                    <a:ext uri="{FF2B5EF4-FFF2-40B4-BE49-F238E27FC236}">
                      <a16:creationId xmlns:a16="http://schemas.microsoft.com/office/drawing/2014/main" id="{044A5DCA-BB4E-4A9A-BE28-7D336C5ADB27}"/>
                    </a:ext>
                  </a:extLst>
                </p:cNvPr>
                <p:cNvSpPr/>
                <p:nvPr/>
              </p:nvSpPr>
              <p:spPr>
                <a:xfrm>
                  <a:off x="6593968" y="2564038"/>
                  <a:ext cx="282530" cy="314141"/>
                </a:xfrm>
                <a:custGeom>
                  <a:avLst/>
                  <a:gdLst>
                    <a:gd name="connsiteX0" fmla="*/ 19093 w 282529"/>
                    <a:gd name="connsiteY0" fmla="*/ 98442 h 314140"/>
                    <a:gd name="connsiteX1" fmla="*/ 23614 w 282529"/>
                    <a:gd name="connsiteY1" fmla="*/ 113642 h 314140"/>
                    <a:gd name="connsiteX2" fmla="*/ 34915 w 282529"/>
                    <a:gd name="connsiteY2" fmla="*/ 118709 h 314140"/>
                    <a:gd name="connsiteX3" fmla="*/ 34915 w 282529"/>
                    <a:gd name="connsiteY3" fmla="*/ 125803 h 314140"/>
                    <a:gd name="connsiteX4" fmla="*/ 46216 w 282529"/>
                    <a:gd name="connsiteY4" fmla="*/ 135936 h 314140"/>
                    <a:gd name="connsiteX5" fmla="*/ 59778 w 282529"/>
                    <a:gd name="connsiteY5" fmla="*/ 133910 h 314140"/>
                    <a:gd name="connsiteX6" fmla="*/ 51867 w 282529"/>
                    <a:gd name="connsiteY6" fmla="*/ 141003 h 314140"/>
                    <a:gd name="connsiteX7" fmla="*/ 54127 w 282529"/>
                    <a:gd name="connsiteY7" fmla="*/ 165324 h 314140"/>
                    <a:gd name="connsiteX8" fmla="*/ 114023 w 282529"/>
                    <a:gd name="connsiteY8" fmla="*/ 177484 h 314140"/>
                    <a:gd name="connsiteX9" fmla="*/ 102722 w 282529"/>
                    <a:gd name="connsiteY9" fmla="*/ 182551 h 314140"/>
                    <a:gd name="connsiteX10" fmla="*/ 89160 w 282529"/>
                    <a:gd name="connsiteY10" fmla="*/ 172417 h 314140"/>
                    <a:gd name="connsiteX11" fmla="*/ 56387 w 282529"/>
                    <a:gd name="connsiteY11" fmla="*/ 182551 h 314140"/>
                    <a:gd name="connsiteX12" fmla="*/ 64298 w 282529"/>
                    <a:gd name="connsiteY12" fmla="*/ 217005 h 314140"/>
                    <a:gd name="connsiteX13" fmla="*/ 69948 w 282529"/>
                    <a:gd name="connsiteY13" fmla="*/ 222072 h 314140"/>
                    <a:gd name="connsiteX14" fmla="*/ 75599 w 282529"/>
                    <a:gd name="connsiteY14" fmla="*/ 217005 h 314140"/>
                    <a:gd name="connsiteX15" fmla="*/ 83510 w 282529"/>
                    <a:gd name="connsiteY15" fmla="*/ 219032 h 314140"/>
                    <a:gd name="connsiteX16" fmla="*/ 99332 w 282529"/>
                    <a:gd name="connsiteY16" fmla="*/ 219032 h 314140"/>
                    <a:gd name="connsiteX17" fmla="*/ 110633 w 282529"/>
                    <a:gd name="connsiteY17" fmla="*/ 221058 h 314140"/>
                    <a:gd name="connsiteX18" fmla="*/ 110633 w 282529"/>
                    <a:gd name="connsiteY18" fmla="*/ 214978 h 314140"/>
                    <a:gd name="connsiteX19" fmla="*/ 108373 w 282529"/>
                    <a:gd name="connsiteY19" fmla="*/ 204845 h 314140"/>
                    <a:gd name="connsiteX20" fmla="*/ 133235 w 282529"/>
                    <a:gd name="connsiteY20" fmla="*/ 206871 h 314140"/>
                    <a:gd name="connsiteX21" fmla="*/ 138886 w 282529"/>
                    <a:gd name="connsiteY21" fmla="*/ 199778 h 314140"/>
                    <a:gd name="connsiteX22" fmla="*/ 125324 w 282529"/>
                    <a:gd name="connsiteY22" fmla="*/ 189644 h 314140"/>
                    <a:gd name="connsiteX23" fmla="*/ 125324 w 282529"/>
                    <a:gd name="connsiteY23" fmla="*/ 182551 h 314140"/>
                    <a:gd name="connsiteX24" fmla="*/ 141146 w 282529"/>
                    <a:gd name="connsiteY24" fmla="*/ 183564 h 314140"/>
                    <a:gd name="connsiteX25" fmla="*/ 154707 w 282529"/>
                    <a:gd name="connsiteY25" fmla="*/ 191671 h 314140"/>
                    <a:gd name="connsiteX26" fmla="*/ 154707 w 282529"/>
                    <a:gd name="connsiteY26" fmla="*/ 169377 h 314140"/>
                    <a:gd name="connsiteX27" fmla="*/ 127585 w 282529"/>
                    <a:gd name="connsiteY27" fmla="*/ 155190 h 314140"/>
                    <a:gd name="connsiteX28" fmla="*/ 127585 w 282529"/>
                    <a:gd name="connsiteY28" fmla="*/ 148097 h 314140"/>
                    <a:gd name="connsiteX29" fmla="*/ 127585 w 282529"/>
                    <a:gd name="connsiteY29" fmla="*/ 143030 h 314140"/>
                    <a:gd name="connsiteX30" fmla="*/ 133235 w 282529"/>
                    <a:gd name="connsiteY30" fmla="*/ 150123 h 314140"/>
                    <a:gd name="connsiteX31" fmla="*/ 146797 w 282529"/>
                    <a:gd name="connsiteY31" fmla="*/ 160257 h 314140"/>
                    <a:gd name="connsiteX32" fmla="*/ 149057 w 282529"/>
                    <a:gd name="connsiteY32" fmla="*/ 165324 h 314140"/>
                    <a:gd name="connsiteX33" fmla="*/ 164879 w 282529"/>
                    <a:gd name="connsiteY33" fmla="*/ 165324 h 314140"/>
                    <a:gd name="connsiteX34" fmla="*/ 172789 w 282529"/>
                    <a:gd name="connsiteY34" fmla="*/ 172417 h 314140"/>
                    <a:gd name="connsiteX35" fmla="*/ 178440 w 282529"/>
                    <a:gd name="connsiteY35" fmla="*/ 179511 h 314140"/>
                    <a:gd name="connsiteX36" fmla="*/ 164879 w 282529"/>
                    <a:gd name="connsiteY36" fmla="*/ 153163 h 314140"/>
                    <a:gd name="connsiteX37" fmla="*/ 145666 w 282529"/>
                    <a:gd name="connsiteY37" fmla="*/ 146070 h 314140"/>
                    <a:gd name="connsiteX38" fmla="*/ 143406 w 282529"/>
                    <a:gd name="connsiteY38" fmla="*/ 138976 h 314140"/>
                    <a:gd name="connsiteX39" fmla="*/ 118544 w 282529"/>
                    <a:gd name="connsiteY39" fmla="*/ 136950 h 314140"/>
                    <a:gd name="connsiteX40" fmla="*/ 120804 w 282529"/>
                    <a:gd name="connsiteY40" fmla="*/ 131883 h 314140"/>
                    <a:gd name="connsiteX41" fmla="*/ 112893 w 282529"/>
                    <a:gd name="connsiteY41" fmla="*/ 114656 h 314140"/>
                    <a:gd name="connsiteX42" fmla="*/ 120804 w 282529"/>
                    <a:gd name="connsiteY42" fmla="*/ 121749 h 314140"/>
                    <a:gd name="connsiteX43" fmla="*/ 115153 w 282529"/>
                    <a:gd name="connsiteY43" fmla="*/ 102496 h 314140"/>
                    <a:gd name="connsiteX44" fmla="*/ 112893 w 282529"/>
                    <a:gd name="connsiteY44" fmla="*/ 88309 h 314140"/>
                    <a:gd name="connsiteX45" fmla="*/ 101592 w 282529"/>
                    <a:gd name="connsiteY45" fmla="*/ 83242 h 314140"/>
                    <a:gd name="connsiteX46" fmla="*/ 115153 w 282529"/>
                    <a:gd name="connsiteY46" fmla="*/ 56894 h 314140"/>
                    <a:gd name="connsiteX47" fmla="*/ 130975 w 282529"/>
                    <a:gd name="connsiteY47" fmla="*/ 86282 h 314140"/>
                    <a:gd name="connsiteX48" fmla="*/ 142276 w 282529"/>
                    <a:gd name="connsiteY48" fmla="*/ 88309 h 314140"/>
                    <a:gd name="connsiteX49" fmla="*/ 134365 w 282529"/>
                    <a:gd name="connsiteY49" fmla="*/ 78175 h 314140"/>
                    <a:gd name="connsiteX50" fmla="*/ 140016 w 282529"/>
                    <a:gd name="connsiteY50" fmla="*/ 73108 h 314140"/>
                    <a:gd name="connsiteX51" fmla="*/ 151317 w 282529"/>
                    <a:gd name="connsiteY51" fmla="*/ 78175 h 314140"/>
                    <a:gd name="connsiteX52" fmla="*/ 151317 w 282529"/>
                    <a:gd name="connsiteY52" fmla="*/ 68041 h 314140"/>
                    <a:gd name="connsiteX53" fmla="*/ 159228 w 282529"/>
                    <a:gd name="connsiteY53" fmla="*/ 62975 h 314140"/>
                    <a:gd name="connsiteX54" fmla="*/ 175050 w 282529"/>
                    <a:gd name="connsiteY54" fmla="*/ 43721 h 314140"/>
                    <a:gd name="connsiteX55" fmla="*/ 190871 w 282529"/>
                    <a:gd name="connsiteY55" fmla="*/ 45748 h 314140"/>
                    <a:gd name="connsiteX56" fmla="*/ 225905 w 282529"/>
                    <a:gd name="connsiteY56" fmla="*/ 40681 h 314140"/>
                    <a:gd name="connsiteX57" fmla="*/ 225905 w 282529"/>
                    <a:gd name="connsiteY57" fmla="*/ 47774 h 314140"/>
                    <a:gd name="connsiteX58" fmla="*/ 230425 w 282529"/>
                    <a:gd name="connsiteY58" fmla="*/ 51828 h 314140"/>
                    <a:gd name="connsiteX59" fmla="*/ 243987 w 282529"/>
                    <a:gd name="connsiteY59" fmla="*/ 33587 h 314140"/>
                    <a:gd name="connsiteX60" fmla="*/ 262069 w 282529"/>
                    <a:gd name="connsiteY60" fmla="*/ 30547 h 314140"/>
                    <a:gd name="connsiteX61" fmla="*/ 265459 w 282529"/>
                    <a:gd name="connsiteY61" fmla="*/ 16360 h 314140"/>
                    <a:gd name="connsiteX62" fmla="*/ 253028 w 282529"/>
                    <a:gd name="connsiteY62" fmla="*/ 10280 h 314140"/>
                    <a:gd name="connsiteX63" fmla="*/ 238336 w 282529"/>
                    <a:gd name="connsiteY63" fmla="*/ 16360 h 314140"/>
                    <a:gd name="connsiteX64" fmla="*/ 227035 w 282529"/>
                    <a:gd name="connsiteY64" fmla="*/ 22440 h 314140"/>
                    <a:gd name="connsiteX65" fmla="*/ 210083 w 282529"/>
                    <a:gd name="connsiteY65" fmla="*/ 23454 h 314140"/>
                    <a:gd name="connsiteX66" fmla="*/ 198782 w 282529"/>
                    <a:gd name="connsiteY66" fmla="*/ 10280 h 314140"/>
                    <a:gd name="connsiteX67" fmla="*/ 176180 w 282529"/>
                    <a:gd name="connsiteY67" fmla="*/ 15347 h 314140"/>
                    <a:gd name="connsiteX68" fmla="*/ 155838 w 282529"/>
                    <a:gd name="connsiteY68" fmla="*/ 25480 h 314140"/>
                    <a:gd name="connsiteX69" fmla="*/ 133235 w 282529"/>
                    <a:gd name="connsiteY69" fmla="*/ 21427 h 314140"/>
                    <a:gd name="connsiteX70" fmla="*/ 127585 w 282529"/>
                    <a:gd name="connsiteY70" fmla="*/ 30547 h 314140"/>
                    <a:gd name="connsiteX71" fmla="*/ 118544 w 282529"/>
                    <a:gd name="connsiteY71" fmla="*/ 36627 h 314140"/>
                    <a:gd name="connsiteX72" fmla="*/ 100462 w 282529"/>
                    <a:gd name="connsiteY72" fmla="*/ 41694 h 314140"/>
                    <a:gd name="connsiteX73" fmla="*/ 89160 w 282529"/>
                    <a:gd name="connsiteY73" fmla="*/ 47774 h 314140"/>
                    <a:gd name="connsiteX74" fmla="*/ 77859 w 282529"/>
                    <a:gd name="connsiteY74" fmla="*/ 55881 h 314140"/>
                    <a:gd name="connsiteX75" fmla="*/ 46216 w 282529"/>
                    <a:gd name="connsiteY75" fmla="*/ 54868 h 314140"/>
                    <a:gd name="connsiteX76" fmla="*/ 49606 w 282529"/>
                    <a:gd name="connsiteY76" fmla="*/ 68041 h 314140"/>
                    <a:gd name="connsiteX77" fmla="*/ 41695 w 282529"/>
                    <a:gd name="connsiteY77" fmla="*/ 82228 h 314140"/>
                    <a:gd name="connsiteX78" fmla="*/ 30394 w 282529"/>
                    <a:gd name="connsiteY78" fmla="*/ 86282 h 314140"/>
                    <a:gd name="connsiteX79" fmla="*/ 29264 w 282529"/>
                    <a:gd name="connsiteY79" fmla="*/ 94389 h 314140"/>
                    <a:gd name="connsiteX80" fmla="*/ 19093 w 282529"/>
                    <a:gd name="connsiteY80" fmla="*/ 98442 h 314140"/>
                    <a:gd name="connsiteX81" fmla="*/ 265459 w 282529"/>
                    <a:gd name="connsiteY81" fmla="*/ 283886 h 314140"/>
                    <a:gd name="connsiteX82" fmla="*/ 267719 w 282529"/>
                    <a:gd name="connsiteY82" fmla="*/ 288953 h 314140"/>
                    <a:gd name="connsiteX83" fmla="*/ 265459 w 282529"/>
                    <a:gd name="connsiteY83" fmla="*/ 283886 h 314140"/>
                    <a:gd name="connsiteX84" fmla="*/ 143406 w 282529"/>
                    <a:gd name="connsiteY84" fmla="*/ 283886 h 314140"/>
                    <a:gd name="connsiteX85" fmla="*/ 135496 w 282529"/>
                    <a:gd name="connsiteY85" fmla="*/ 288953 h 314140"/>
                    <a:gd name="connsiteX86" fmla="*/ 135496 w 282529"/>
                    <a:gd name="connsiteY86" fmla="*/ 296047 h 314140"/>
                    <a:gd name="connsiteX87" fmla="*/ 156968 w 282529"/>
                    <a:gd name="connsiteY87" fmla="*/ 303140 h 314140"/>
                    <a:gd name="connsiteX88" fmla="*/ 172789 w 282529"/>
                    <a:gd name="connsiteY88" fmla="*/ 303140 h 314140"/>
                    <a:gd name="connsiteX89" fmla="*/ 199912 w 282529"/>
                    <a:gd name="connsiteY89" fmla="*/ 313274 h 314140"/>
                    <a:gd name="connsiteX90" fmla="*/ 205563 w 282529"/>
                    <a:gd name="connsiteY90" fmla="*/ 308207 h 314140"/>
                    <a:gd name="connsiteX91" fmla="*/ 224775 w 282529"/>
                    <a:gd name="connsiteY91" fmla="*/ 310234 h 314140"/>
                    <a:gd name="connsiteX92" fmla="*/ 236076 w 282529"/>
                    <a:gd name="connsiteY92" fmla="*/ 308207 h 314140"/>
                    <a:gd name="connsiteX93" fmla="*/ 236076 w 282529"/>
                    <a:gd name="connsiteY93" fmla="*/ 301114 h 314140"/>
                    <a:gd name="connsiteX94" fmla="*/ 224775 w 282529"/>
                    <a:gd name="connsiteY94" fmla="*/ 301114 h 314140"/>
                    <a:gd name="connsiteX95" fmla="*/ 224775 w 282529"/>
                    <a:gd name="connsiteY95" fmla="*/ 290980 h 314140"/>
                    <a:gd name="connsiteX96" fmla="*/ 216864 w 282529"/>
                    <a:gd name="connsiteY96" fmla="*/ 293007 h 314140"/>
                    <a:gd name="connsiteX97" fmla="*/ 192002 w 282529"/>
                    <a:gd name="connsiteY97" fmla="*/ 293007 h 314140"/>
                    <a:gd name="connsiteX98" fmla="*/ 143406 w 282529"/>
                    <a:gd name="connsiteY98" fmla="*/ 283886 h 314140"/>
                    <a:gd name="connsiteX99" fmla="*/ 118544 w 282529"/>
                    <a:gd name="connsiteY99" fmla="*/ 137963 h 314140"/>
                    <a:gd name="connsiteX100" fmla="*/ 120804 w 282529"/>
                    <a:gd name="connsiteY100" fmla="*/ 145057 h 314140"/>
                    <a:gd name="connsiteX101" fmla="*/ 118544 w 282529"/>
                    <a:gd name="connsiteY101" fmla="*/ 137963 h 314140"/>
                    <a:gd name="connsiteX102" fmla="*/ 94811 w 282529"/>
                    <a:gd name="connsiteY102" fmla="*/ 237272 h 314140"/>
                    <a:gd name="connsiteX103" fmla="*/ 94811 w 282529"/>
                    <a:gd name="connsiteY103" fmla="*/ 247406 h 314140"/>
                    <a:gd name="connsiteX104" fmla="*/ 94811 w 282529"/>
                    <a:gd name="connsiteY104" fmla="*/ 237272 h 314140"/>
                    <a:gd name="connsiteX105" fmla="*/ 275630 w 282529"/>
                    <a:gd name="connsiteY105" fmla="*/ 225112 h 314140"/>
                    <a:gd name="connsiteX106" fmla="*/ 273370 w 282529"/>
                    <a:gd name="connsiteY106" fmla="*/ 232205 h 314140"/>
                    <a:gd name="connsiteX107" fmla="*/ 275630 w 282529"/>
                    <a:gd name="connsiteY107" fmla="*/ 225112 h 314140"/>
                    <a:gd name="connsiteX108" fmla="*/ 232686 w 282529"/>
                    <a:gd name="connsiteY108" fmla="*/ 190658 h 314140"/>
                    <a:gd name="connsiteX109" fmla="*/ 232686 w 282529"/>
                    <a:gd name="connsiteY109" fmla="*/ 195724 h 314140"/>
                    <a:gd name="connsiteX110" fmla="*/ 232686 w 282529"/>
                    <a:gd name="connsiteY110" fmla="*/ 190658 h 314140"/>
                    <a:gd name="connsiteX111" fmla="*/ 27004 w 282529"/>
                    <a:gd name="connsiteY111" fmla="*/ 164310 h 314140"/>
                    <a:gd name="connsiteX112" fmla="*/ 27004 w 282529"/>
                    <a:gd name="connsiteY112" fmla="*/ 171404 h 314140"/>
                    <a:gd name="connsiteX113" fmla="*/ 40565 w 282529"/>
                    <a:gd name="connsiteY113" fmla="*/ 169377 h 314140"/>
                    <a:gd name="connsiteX114" fmla="*/ 27004 w 282529"/>
                    <a:gd name="connsiteY114" fmla="*/ 164310 h 314140"/>
                    <a:gd name="connsiteX115" fmla="*/ 224775 w 282529"/>
                    <a:gd name="connsiteY115" fmla="*/ 157217 h 314140"/>
                    <a:gd name="connsiteX116" fmla="*/ 224775 w 282529"/>
                    <a:gd name="connsiteY116" fmla="*/ 167350 h 314140"/>
                    <a:gd name="connsiteX117" fmla="*/ 224775 w 282529"/>
                    <a:gd name="connsiteY117" fmla="*/ 157217 h 314140"/>
                    <a:gd name="connsiteX118" fmla="*/ 232686 w 282529"/>
                    <a:gd name="connsiteY118" fmla="*/ 117696 h 314140"/>
                    <a:gd name="connsiteX119" fmla="*/ 227035 w 282529"/>
                    <a:gd name="connsiteY119" fmla="*/ 124789 h 314140"/>
                    <a:gd name="connsiteX120" fmla="*/ 232686 w 282529"/>
                    <a:gd name="connsiteY120" fmla="*/ 124789 h 314140"/>
                    <a:gd name="connsiteX121" fmla="*/ 234946 w 282529"/>
                    <a:gd name="connsiteY121" fmla="*/ 134923 h 314140"/>
                    <a:gd name="connsiteX122" fmla="*/ 242857 w 282529"/>
                    <a:gd name="connsiteY122" fmla="*/ 129856 h 314140"/>
                    <a:gd name="connsiteX123" fmla="*/ 240597 w 282529"/>
                    <a:gd name="connsiteY123" fmla="*/ 117696 h 314140"/>
                    <a:gd name="connsiteX124" fmla="*/ 232686 w 282529"/>
                    <a:gd name="connsiteY124" fmla="*/ 117696 h 314140"/>
                    <a:gd name="connsiteX125" fmla="*/ 10052 w 282529"/>
                    <a:gd name="connsiteY125" fmla="*/ 98442 h 314140"/>
                    <a:gd name="connsiteX126" fmla="*/ 10052 w 282529"/>
                    <a:gd name="connsiteY126" fmla="*/ 105536 h 314140"/>
                    <a:gd name="connsiteX127" fmla="*/ 10052 w 282529"/>
                    <a:gd name="connsiteY127" fmla="*/ 98442 h 31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82529" h="314140">
                      <a:moveTo>
                        <a:pt x="19093" y="98442"/>
                      </a:moveTo>
                      <a:cubicBezTo>
                        <a:pt x="20223" y="102496"/>
                        <a:pt x="20223" y="108576"/>
                        <a:pt x="23614" y="113642"/>
                      </a:cubicBezTo>
                      <a:cubicBezTo>
                        <a:pt x="24743" y="115669"/>
                        <a:pt x="32654" y="116683"/>
                        <a:pt x="34915" y="118709"/>
                      </a:cubicBezTo>
                      <a:cubicBezTo>
                        <a:pt x="37175" y="120736"/>
                        <a:pt x="33785" y="123776"/>
                        <a:pt x="34915" y="125803"/>
                      </a:cubicBezTo>
                      <a:cubicBezTo>
                        <a:pt x="36045" y="127829"/>
                        <a:pt x="43956" y="132896"/>
                        <a:pt x="46216" y="135936"/>
                      </a:cubicBezTo>
                      <a:cubicBezTo>
                        <a:pt x="49606" y="134923"/>
                        <a:pt x="52996" y="132896"/>
                        <a:pt x="59778" y="133910"/>
                      </a:cubicBezTo>
                      <a:cubicBezTo>
                        <a:pt x="57517" y="136950"/>
                        <a:pt x="51867" y="141003"/>
                        <a:pt x="51867" y="141003"/>
                      </a:cubicBezTo>
                      <a:cubicBezTo>
                        <a:pt x="48476" y="149110"/>
                        <a:pt x="54127" y="161270"/>
                        <a:pt x="54127" y="165324"/>
                      </a:cubicBezTo>
                      <a:cubicBezTo>
                        <a:pt x="80120" y="162284"/>
                        <a:pt x="94811" y="168364"/>
                        <a:pt x="114023" y="177484"/>
                      </a:cubicBezTo>
                      <a:cubicBezTo>
                        <a:pt x="112893" y="177484"/>
                        <a:pt x="110633" y="182551"/>
                        <a:pt x="102722" y="182551"/>
                      </a:cubicBezTo>
                      <a:cubicBezTo>
                        <a:pt x="97071" y="181537"/>
                        <a:pt x="92551" y="174444"/>
                        <a:pt x="89160" y="172417"/>
                      </a:cubicBezTo>
                      <a:cubicBezTo>
                        <a:pt x="69948" y="165324"/>
                        <a:pt x="65428" y="172417"/>
                        <a:pt x="56387" y="182551"/>
                      </a:cubicBezTo>
                      <a:cubicBezTo>
                        <a:pt x="66558" y="196738"/>
                        <a:pt x="67689" y="194711"/>
                        <a:pt x="64298" y="217005"/>
                      </a:cubicBezTo>
                      <a:cubicBezTo>
                        <a:pt x="66558" y="219032"/>
                        <a:pt x="68818" y="218018"/>
                        <a:pt x="69948" y="222072"/>
                      </a:cubicBezTo>
                      <a:cubicBezTo>
                        <a:pt x="75599" y="221058"/>
                        <a:pt x="73339" y="218018"/>
                        <a:pt x="75599" y="217005"/>
                      </a:cubicBezTo>
                      <a:cubicBezTo>
                        <a:pt x="77859" y="215992"/>
                        <a:pt x="86900" y="218018"/>
                        <a:pt x="83510" y="219032"/>
                      </a:cubicBezTo>
                      <a:cubicBezTo>
                        <a:pt x="89160" y="220045"/>
                        <a:pt x="93681" y="219032"/>
                        <a:pt x="99332" y="219032"/>
                      </a:cubicBezTo>
                      <a:cubicBezTo>
                        <a:pt x="94811" y="220045"/>
                        <a:pt x="109502" y="221058"/>
                        <a:pt x="110633" y="221058"/>
                      </a:cubicBezTo>
                      <a:lnTo>
                        <a:pt x="110633" y="214978"/>
                      </a:lnTo>
                      <a:cubicBezTo>
                        <a:pt x="110633" y="214978"/>
                        <a:pt x="103852" y="206871"/>
                        <a:pt x="108373" y="204845"/>
                      </a:cubicBezTo>
                      <a:cubicBezTo>
                        <a:pt x="115153" y="201805"/>
                        <a:pt x="129845" y="207885"/>
                        <a:pt x="133235" y="206871"/>
                      </a:cubicBezTo>
                      <a:cubicBezTo>
                        <a:pt x="134365" y="206871"/>
                        <a:pt x="137755" y="199778"/>
                        <a:pt x="138886" y="199778"/>
                      </a:cubicBezTo>
                      <a:lnTo>
                        <a:pt x="125324" y="189644"/>
                      </a:lnTo>
                      <a:cubicBezTo>
                        <a:pt x="124194" y="186604"/>
                        <a:pt x="127585" y="184577"/>
                        <a:pt x="125324" y="182551"/>
                      </a:cubicBezTo>
                      <a:cubicBezTo>
                        <a:pt x="134365" y="183564"/>
                        <a:pt x="137755" y="182551"/>
                        <a:pt x="141146" y="183564"/>
                      </a:cubicBezTo>
                      <a:cubicBezTo>
                        <a:pt x="144537" y="184577"/>
                        <a:pt x="146797" y="186604"/>
                        <a:pt x="154707" y="191671"/>
                      </a:cubicBezTo>
                      <a:cubicBezTo>
                        <a:pt x="155838" y="180524"/>
                        <a:pt x="154707" y="177484"/>
                        <a:pt x="154707" y="169377"/>
                      </a:cubicBezTo>
                      <a:cubicBezTo>
                        <a:pt x="146797" y="165324"/>
                        <a:pt x="132105" y="161270"/>
                        <a:pt x="127585" y="155190"/>
                      </a:cubicBezTo>
                      <a:cubicBezTo>
                        <a:pt x="126454" y="154177"/>
                        <a:pt x="127585" y="149110"/>
                        <a:pt x="127585" y="148097"/>
                      </a:cubicBezTo>
                      <a:cubicBezTo>
                        <a:pt x="125324" y="147083"/>
                        <a:pt x="121934" y="142017"/>
                        <a:pt x="127585" y="143030"/>
                      </a:cubicBezTo>
                      <a:cubicBezTo>
                        <a:pt x="128715" y="143030"/>
                        <a:pt x="132105" y="149110"/>
                        <a:pt x="133235" y="150123"/>
                      </a:cubicBezTo>
                      <a:cubicBezTo>
                        <a:pt x="137755" y="153163"/>
                        <a:pt x="142276" y="157217"/>
                        <a:pt x="146797" y="160257"/>
                      </a:cubicBezTo>
                      <a:cubicBezTo>
                        <a:pt x="147927" y="160257"/>
                        <a:pt x="149057" y="164310"/>
                        <a:pt x="149057" y="165324"/>
                      </a:cubicBezTo>
                      <a:cubicBezTo>
                        <a:pt x="153577" y="165324"/>
                        <a:pt x="160358" y="164310"/>
                        <a:pt x="164879" y="165324"/>
                      </a:cubicBezTo>
                      <a:cubicBezTo>
                        <a:pt x="166008" y="165324"/>
                        <a:pt x="170529" y="171404"/>
                        <a:pt x="172789" y="172417"/>
                      </a:cubicBezTo>
                      <a:cubicBezTo>
                        <a:pt x="173919" y="173430"/>
                        <a:pt x="177310" y="179511"/>
                        <a:pt x="178440" y="179511"/>
                      </a:cubicBezTo>
                      <a:cubicBezTo>
                        <a:pt x="193132" y="182551"/>
                        <a:pt x="167139" y="154177"/>
                        <a:pt x="164879" y="153163"/>
                      </a:cubicBezTo>
                      <a:cubicBezTo>
                        <a:pt x="159228" y="149110"/>
                        <a:pt x="151317" y="150123"/>
                        <a:pt x="145666" y="146070"/>
                      </a:cubicBezTo>
                      <a:cubicBezTo>
                        <a:pt x="144537" y="145057"/>
                        <a:pt x="144537" y="139990"/>
                        <a:pt x="143406" y="138976"/>
                      </a:cubicBezTo>
                      <a:cubicBezTo>
                        <a:pt x="132105" y="130870"/>
                        <a:pt x="132105" y="133910"/>
                        <a:pt x="118544" y="136950"/>
                      </a:cubicBezTo>
                      <a:cubicBezTo>
                        <a:pt x="117413" y="133910"/>
                        <a:pt x="124194" y="132896"/>
                        <a:pt x="120804" y="131883"/>
                      </a:cubicBezTo>
                      <a:cubicBezTo>
                        <a:pt x="112893" y="127829"/>
                        <a:pt x="116284" y="122763"/>
                        <a:pt x="112893" y="114656"/>
                      </a:cubicBezTo>
                      <a:cubicBezTo>
                        <a:pt x="116284" y="116683"/>
                        <a:pt x="120804" y="121749"/>
                        <a:pt x="120804" y="121749"/>
                      </a:cubicBezTo>
                      <a:cubicBezTo>
                        <a:pt x="146797" y="128843"/>
                        <a:pt x="115153" y="102496"/>
                        <a:pt x="115153" y="102496"/>
                      </a:cubicBezTo>
                      <a:cubicBezTo>
                        <a:pt x="112893" y="97429"/>
                        <a:pt x="115153" y="92362"/>
                        <a:pt x="112893" y="88309"/>
                      </a:cubicBezTo>
                      <a:cubicBezTo>
                        <a:pt x="111763" y="86282"/>
                        <a:pt x="102722" y="86282"/>
                        <a:pt x="101592" y="83242"/>
                      </a:cubicBezTo>
                      <a:cubicBezTo>
                        <a:pt x="100462" y="76148"/>
                        <a:pt x="112893" y="62975"/>
                        <a:pt x="115153" y="56894"/>
                      </a:cubicBezTo>
                      <a:cubicBezTo>
                        <a:pt x="118544" y="61961"/>
                        <a:pt x="127585" y="84255"/>
                        <a:pt x="130975" y="86282"/>
                      </a:cubicBezTo>
                      <a:cubicBezTo>
                        <a:pt x="134365" y="88309"/>
                        <a:pt x="138886" y="87295"/>
                        <a:pt x="142276" y="88309"/>
                      </a:cubicBezTo>
                      <a:cubicBezTo>
                        <a:pt x="138886" y="85268"/>
                        <a:pt x="136626" y="82228"/>
                        <a:pt x="134365" y="78175"/>
                      </a:cubicBezTo>
                      <a:cubicBezTo>
                        <a:pt x="138886" y="78175"/>
                        <a:pt x="137755" y="75135"/>
                        <a:pt x="140016" y="73108"/>
                      </a:cubicBezTo>
                      <a:cubicBezTo>
                        <a:pt x="142276" y="74122"/>
                        <a:pt x="149057" y="78175"/>
                        <a:pt x="151317" y="78175"/>
                      </a:cubicBezTo>
                      <a:cubicBezTo>
                        <a:pt x="153577" y="77162"/>
                        <a:pt x="153577" y="69055"/>
                        <a:pt x="151317" y="68041"/>
                      </a:cubicBezTo>
                      <a:cubicBezTo>
                        <a:pt x="161488" y="67028"/>
                        <a:pt x="169399" y="72095"/>
                        <a:pt x="159228" y="62975"/>
                      </a:cubicBezTo>
                      <a:cubicBezTo>
                        <a:pt x="132105" y="39667"/>
                        <a:pt x="151317" y="44734"/>
                        <a:pt x="175050" y="43721"/>
                      </a:cubicBezTo>
                      <a:cubicBezTo>
                        <a:pt x="173919" y="43721"/>
                        <a:pt x="187481" y="45748"/>
                        <a:pt x="190871" y="45748"/>
                      </a:cubicBezTo>
                      <a:cubicBezTo>
                        <a:pt x="198782" y="45748"/>
                        <a:pt x="213474" y="43721"/>
                        <a:pt x="225905" y="40681"/>
                      </a:cubicBezTo>
                      <a:cubicBezTo>
                        <a:pt x="227035" y="42708"/>
                        <a:pt x="224775" y="44734"/>
                        <a:pt x="225905" y="47774"/>
                      </a:cubicBezTo>
                      <a:lnTo>
                        <a:pt x="230425" y="51828"/>
                      </a:lnTo>
                      <a:cubicBezTo>
                        <a:pt x="230425" y="51828"/>
                        <a:pt x="243987" y="42708"/>
                        <a:pt x="243987" y="33587"/>
                      </a:cubicBezTo>
                      <a:cubicBezTo>
                        <a:pt x="243987" y="24467"/>
                        <a:pt x="254158" y="36627"/>
                        <a:pt x="262069" y="30547"/>
                      </a:cubicBezTo>
                      <a:cubicBezTo>
                        <a:pt x="271110" y="25480"/>
                        <a:pt x="265459" y="16360"/>
                        <a:pt x="265459" y="16360"/>
                      </a:cubicBezTo>
                      <a:lnTo>
                        <a:pt x="253028" y="10280"/>
                      </a:lnTo>
                      <a:cubicBezTo>
                        <a:pt x="253028" y="10280"/>
                        <a:pt x="232686" y="5213"/>
                        <a:pt x="238336" y="16360"/>
                      </a:cubicBezTo>
                      <a:cubicBezTo>
                        <a:pt x="243987" y="27507"/>
                        <a:pt x="234946" y="22440"/>
                        <a:pt x="227035" y="22440"/>
                      </a:cubicBezTo>
                      <a:cubicBezTo>
                        <a:pt x="219124" y="22440"/>
                        <a:pt x="210083" y="23454"/>
                        <a:pt x="210083" y="23454"/>
                      </a:cubicBezTo>
                      <a:cubicBezTo>
                        <a:pt x="210083" y="23454"/>
                        <a:pt x="211213" y="10280"/>
                        <a:pt x="198782" y="10280"/>
                      </a:cubicBezTo>
                      <a:cubicBezTo>
                        <a:pt x="186351" y="10280"/>
                        <a:pt x="182960" y="5213"/>
                        <a:pt x="176180" y="15347"/>
                      </a:cubicBezTo>
                      <a:cubicBezTo>
                        <a:pt x="169399" y="25480"/>
                        <a:pt x="166008" y="25480"/>
                        <a:pt x="155838" y="25480"/>
                      </a:cubicBezTo>
                      <a:cubicBezTo>
                        <a:pt x="145666" y="25480"/>
                        <a:pt x="133235" y="21427"/>
                        <a:pt x="133235" y="21427"/>
                      </a:cubicBezTo>
                      <a:cubicBezTo>
                        <a:pt x="133235" y="21427"/>
                        <a:pt x="125324" y="23454"/>
                        <a:pt x="127585" y="30547"/>
                      </a:cubicBezTo>
                      <a:cubicBezTo>
                        <a:pt x="129845" y="36627"/>
                        <a:pt x="118544" y="36627"/>
                        <a:pt x="118544" y="36627"/>
                      </a:cubicBezTo>
                      <a:cubicBezTo>
                        <a:pt x="118544" y="36627"/>
                        <a:pt x="101592" y="35614"/>
                        <a:pt x="100462" y="41694"/>
                      </a:cubicBezTo>
                      <a:cubicBezTo>
                        <a:pt x="99332" y="47774"/>
                        <a:pt x="93681" y="41694"/>
                        <a:pt x="89160" y="47774"/>
                      </a:cubicBezTo>
                      <a:cubicBezTo>
                        <a:pt x="83510" y="53855"/>
                        <a:pt x="85770" y="55881"/>
                        <a:pt x="77859" y="55881"/>
                      </a:cubicBezTo>
                      <a:cubicBezTo>
                        <a:pt x="69948" y="55881"/>
                        <a:pt x="46216" y="54868"/>
                        <a:pt x="46216" y="54868"/>
                      </a:cubicBezTo>
                      <a:lnTo>
                        <a:pt x="49606" y="68041"/>
                      </a:lnTo>
                      <a:cubicBezTo>
                        <a:pt x="49606" y="68041"/>
                        <a:pt x="43956" y="77162"/>
                        <a:pt x="41695" y="82228"/>
                      </a:cubicBezTo>
                      <a:cubicBezTo>
                        <a:pt x="39436" y="87295"/>
                        <a:pt x="30394" y="86282"/>
                        <a:pt x="30394" y="86282"/>
                      </a:cubicBezTo>
                      <a:cubicBezTo>
                        <a:pt x="30394" y="86282"/>
                        <a:pt x="36045" y="94389"/>
                        <a:pt x="29264" y="94389"/>
                      </a:cubicBezTo>
                      <a:lnTo>
                        <a:pt x="19093" y="98442"/>
                      </a:lnTo>
                      <a:close/>
                      <a:moveTo>
                        <a:pt x="265459" y="283886"/>
                      </a:moveTo>
                      <a:lnTo>
                        <a:pt x="267719" y="288953"/>
                      </a:lnTo>
                      <a:cubicBezTo>
                        <a:pt x="266589" y="284900"/>
                        <a:pt x="269980" y="283886"/>
                        <a:pt x="265459" y="283886"/>
                      </a:cubicBezTo>
                      <a:close/>
                      <a:moveTo>
                        <a:pt x="143406" y="283886"/>
                      </a:moveTo>
                      <a:cubicBezTo>
                        <a:pt x="140016" y="285913"/>
                        <a:pt x="140016" y="286927"/>
                        <a:pt x="135496" y="288953"/>
                      </a:cubicBezTo>
                      <a:cubicBezTo>
                        <a:pt x="135496" y="289967"/>
                        <a:pt x="136626" y="295033"/>
                        <a:pt x="135496" y="296047"/>
                      </a:cubicBezTo>
                      <a:cubicBezTo>
                        <a:pt x="142276" y="297060"/>
                        <a:pt x="153577" y="302127"/>
                        <a:pt x="156968" y="303140"/>
                      </a:cubicBezTo>
                      <a:cubicBezTo>
                        <a:pt x="162618" y="304153"/>
                        <a:pt x="168269" y="301114"/>
                        <a:pt x="172789" y="303140"/>
                      </a:cubicBezTo>
                      <a:cubicBezTo>
                        <a:pt x="182960" y="306180"/>
                        <a:pt x="181830" y="313274"/>
                        <a:pt x="199912" y="313274"/>
                      </a:cubicBezTo>
                      <a:lnTo>
                        <a:pt x="205563" y="308207"/>
                      </a:lnTo>
                      <a:cubicBezTo>
                        <a:pt x="213474" y="306180"/>
                        <a:pt x="214604" y="312260"/>
                        <a:pt x="224775" y="310234"/>
                      </a:cubicBezTo>
                      <a:cubicBezTo>
                        <a:pt x="224775" y="310234"/>
                        <a:pt x="231556" y="308207"/>
                        <a:pt x="236076" y="308207"/>
                      </a:cubicBezTo>
                      <a:cubicBezTo>
                        <a:pt x="236076" y="308207"/>
                        <a:pt x="239466" y="302127"/>
                        <a:pt x="236076" y="301114"/>
                      </a:cubicBezTo>
                      <a:cubicBezTo>
                        <a:pt x="233816" y="300100"/>
                        <a:pt x="227035" y="302127"/>
                        <a:pt x="224775" y="301114"/>
                      </a:cubicBezTo>
                      <a:cubicBezTo>
                        <a:pt x="223645" y="300100"/>
                        <a:pt x="224775" y="291993"/>
                        <a:pt x="224775" y="290980"/>
                      </a:cubicBezTo>
                      <a:cubicBezTo>
                        <a:pt x="224775" y="290980"/>
                        <a:pt x="212344" y="289967"/>
                        <a:pt x="216864" y="293007"/>
                      </a:cubicBezTo>
                      <a:cubicBezTo>
                        <a:pt x="208953" y="294020"/>
                        <a:pt x="184091" y="294020"/>
                        <a:pt x="192002" y="293007"/>
                      </a:cubicBezTo>
                      <a:cubicBezTo>
                        <a:pt x="171659" y="294020"/>
                        <a:pt x="160358" y="289967"/>
                        <a:pt x="143406" y="283886"/>
                      </a:cubicBezTo>
                      <a:close/>
                      <a:moveTo>
                        <a:pt x="118544" y="137963"/>
                      </a:moveTo>
                      <a:cubicBezTo>
                        <a:pt x="116284" y="137963"/>
                        <a:pt x="120804" y="145057"/>
                        <a:pt x="120804" y="145057"/>
                      </a:cubicBezTo>
                      <a:cubicBezTo>
                        <a:pt x="110633" y="142017"/>
                        <a:pt x="103852" y="139990"/>
                        <a:pt x="118544" y="137963"/>
                      </a:cubicBezTo>
                      <a:close/>
                      <a:moveTo>
                        <a:pt x="94811" y="237272"/>
                      </a:moveTo>
                      <a:cubicBezTo>
                        <a:pt x="94811" y="237272"/>
                        <a:pt x="94811" y="246392"/>
                        <a:pt x="94811" y="247406"/>
                      </a:cubicBezTo>
                      <a:cubicBezTo>
                        <a:pt x="103852" y="249432"/>
                        <a:pt x="100462" y="238285"/>
                        <a:pt x="94811" y="237272"/>
                      </a:cubicBezTo>
                      <a:close/>
                      <a:moveTo>
                        <a:pt x="275630" y="225112"/>
                      </a:moveTo>
                      <a:cubicBezTo>
                        <a:pt x="275630" y="225112"/>
                        <a:pt x="265459" y="235245"/>
                        <a:pt x="273370" y="232205"/>
                      </a:cubicBezTo>
                      <a:cubicBezTo>
                        <a:pt x="273370" y="232205"/>
                        <a:pt x="283541" y="223085"/>
                        <a:pt x="275630" y="225112"/>
                      </a:cubicBezTo>
                      <a:close/>
                      <a:moveTo>
                        <a:pt x="232686" y="190658"/>
                      </a:moveTo>
                      <a:lnTo>
                        <a:pt x="232686" y="195724"/>
                      </a:lnTo>
                      <a:cubicBezTo>
                        <a:pt x="242857" y="195724"/>
                        <a:pt x="242857" y="190658"/>
                        <a:pt x="232686" y="190658"/>
                      </a:cubicBezTo>
                      <a:close/>
                      <a:moveTo>
                        <a:pt x="27004" y="164310"/>
                      </a:moveTo>
                      <a:cubicBezTo>
                        <a:pt x="27004" y="164310"/>
                        <a:pt x="27004" y="171404"/>
                        <a:pt x="27004" y="171404"/>
                      </a:cubicBezTo>
                      <a:cubicBezTo>
                        <a:pt x="28134" y="171404"/>
                        <a:pt x="49606" y="172417"/>
                        <a:pt x="40565" y="169377"/>
                      </a:cubicBezTo>
                      <a:cubicBezTo>
                        <a:pt x="37175" y="167350"/>
                        <a:pt x="31525" y="166337"/>
                        <a:pt x="27004" y="164310"/>
                      </a:cubicBezTo>
                      <a:close/>
                      <a:moveTo>
                        <a:pt x="224775" y="157217"/>
                      </a:moveTo>
                      <a:cubicBezTo>
                        <a:pt x="224775" y="157217"/>
                        <a:pt x="224775" y="166337"/>
                        <a:pt x="224775" y="167350"/>
                      </a:cubicBezTo>
                      <a:cubicBezTo>
                        <a:pt x="232686" y="170391"/>
                        <a:pt x="229295" y="158230"/>
                        <a:pt x="224775" y="157217"/>
                      </a:cubicBezTo>
                      <a:close/>
                      <a:moveTo>
                        <a:pt x="232686" y="117696"/>
                      </a:moveTo>
                      <a:cubicBezTo>
                        <a:pt x="232686" y="117696"/>
                        <a:pt x="228165" y="124789"/>
                        <a:pt x="227035" y="124789"/>
                      </a:cubicBezTo>
                      <a:lnTo>
                        <a:pt x="232686" y="124789"/>
                      </a:lnTo>
                      <a:cubicBezTo>
                        <a:pt x="232686" y="125803"/>
                        <a:pt x="233816" y="131883"/>
                        <a:pt x="234946" y="134923"/>
                      </a:cubicBezTo>
                      <a:cubicBezTo>
                        <a:pt x="234946" y="134923"/>
                        <a:pt x="250767" y="132896"/>
                        <a:pt x="242857" y="129856"/>
                      </a:cubicBezTo>
                      <a:cubicBezTo>
                        <a:pt x="242857" y="130870"/>
                        <a:pt x="241727" y="122763"/>
                        <a:pt x="240597" y="117696"/>
                      </a:cubicBezTo>
                      <a:cubicBezTo>
                        <a:pt x="240597" y="117696"/>
                        <a:pt x="232686" y="118709"/>
                        <a:pt x="232686" y="117696"/>
                      </a:cubicBezTo>
                      <a:close/>
                      <a:moveTo>
                        <a:pt x="10052" y="98442"/>
                      </a:moveTo>
                      <a:cubicBezTo>
                        <a:pt x="10052" y="98442"/>
                        <a:pt x="10052" y="105536"/>
                        <a:pt x="10052" y="105536"/>
                      </a:cubicBezTo>
                      <a:cubicBezTo>
                        <a:pt x="19093" y="109589"/>
                        <a:pt x="12312" y="99456"/>
                        <a:pt x="10052" y="9844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2" name="Freeform: Shape 391">
                  <a:extLst>
                    <a:ext uri="{FF2B5EF4-FFF2-40B4-BE49-F238E27FC236}">
                      <a16:creationId xmlns:a16="http://schemas.microsoft.com/office/drawing/2014/main" id="{DB76894D-BBC2-4127-A6C0-5CBF06DCF098}"/>
                    </a:ext>
                  </a:extLst>
                </p:cNvPr>
                <p:cNvSpPr/>
                <p:nvPr/>
              </p:nvSpPr>
              <p:spPr>
                <a:xfrm>
                  <a:off x="5753159" y="3797546"/>
                  <a:ext cx="180819" cy="293873"/>
                </a:xfrm>
                <a:custGeom>
                  <a:avLst/>
                  <a:gdLst>
                    <a:gd name="connsiteX0" fmla="*/ 179570 w 180819"/>
                    <a:gd name="connsiteY0" fmla="*/ 244112 h 293873"/>
                    <a:gd name="connsiteX1" fmla="*/ 156968 w 180819"/>
                    <a:gd name="connsiteY1" fmla="*/ 209658 h 293873"/>
                    <a:gd name="connsiteX2" fmla="*/ 156968 w 180819"/>
                    <a:gd name="connsiteY2" fmla="*/ 200538 h 293873"/>
                    <a:gd name="connsiteX3" fmla="*/ 155837 w 180819"/>
                    <a:gd name="connsiteY3" fmla="*/ 185337 h 293873"/>
                    <a:gd name="connsiteX4" fmla="*/ 160358 w 180819"/>
                    <a:gd name="connsiteY4" fmla="*/ 153924 h 293873"/>
                    <a:gd name="connsiteX5" fmla="*/ 149057 w 180819"/>
                    <a:gd name="connsiteY5" fmla="*/ 132643 h 293873"/>
                    <a:gd name="connsiteX6" fmla="*/ 153577 w 180819"/>
                    <a:gd name="connsiteY6" fmla="*/ 106296 h 293873"/>
                    <a:gd name="connsiteX7" fmla="*/ 147926 w 180819"/>
                    <a:gd name="connsiteY7" fmla="*/ 91095 h 293873"/>
                    <a:gd name="connsiteX8" fmla="*/ 149057 w 180819"/>
                    <a:gd name="connsiteY8" fmla="*/ 60695 h 293873"/>
                    <a:gd name="connsiteX9" fmla="*/ 136625 w 180819"/>
                    <a:gd name="connsiteY9" fmla="*/ 41441 h 293873"/>
                    <a:gd name="connsiteX10" fmla="*/ 137755 w 180819"/>
                    <a:gd name="connsiteY10" fmla="*/ 12054 h 293873"/>
                    <a:gd name="connsiteX11" fmla="*/ 111763 w 180819"/>
                    <a:gd name="connsiteY11" fmla="*/ 9013 h 293873"/>
                    <a:gd name="connsiteX12" fmla="*/ 108372 w 180819"/>
                    <a:gd name="connsiteY12" fmla="*/ 17120 h 293873"/>
                    <a:gd name="connsiteX13" fmla="*/ 56387 w 180819"/>
                    <a:gd name="connsiteY13" fmla="*/ 13067 h 293873"/>
                    <a:gd name="connsiteX14" fmla="*/ 45085 w 180819"/>
                    <a:gd name="connsiteY14" fmla="*/ 31307 h 293873"/>
                    <a:gd name="connsiteX15" fmla="*/ 49606 w 180819"/>
                    <a:gd name="connsiteY15" fmla="*/ 51575 h 293873"/>
                    <a:gd name="connsiteX16" fmla="*/ 45085 w 180819"/>
                    <a:gd name="connsiteY16" fmla="*/ 72855 h 293873"/>
                    <a:gd name="connsiteX17" fmla="*/ 48476 w 180819"/>
                    <a:gd name="connsiteY17" fmla="*/ 93122 h 293873"/>
                    <a:gd name="connsiteX18" fmla="*/ 55257 w 180819"/>
                    <a:gd name="connsiteY18" fmla="*/ 114402 h 293873"/>
                    <a:gd name="connsiteX19" fmla="*/ 51866 w 180819"/>
                    <a:gd name="connsiteY19" fmla="*/ 140750 h 293873"/>
                    <a:gd name="connsiteX20" fmla="*/ 41695 w 180819"/>
                    <a:gd name="connsiteY20" fmla="*/ 158990 h 293873"/>
                    <a:gd name="connsiteX21" fmla="*/ 31524 w 180819"/>
                    <a:gd name="connsiteY21" fmla="*/ 184324 h 293873"/>
                    <a:gd name="connsiteX22" fmla="*/ 20223 w 180819"/>
                    <a:gd name="connsiteY22" fmla="*/ 208645 h 293873"/>
                    <a:gd name="connsiteX23" fmla="*/ 13442 w 180819"/>
                    <a:gd name="connsiteY23" fmla="*/ 229925 h 293873"/>
                    <a:gd name="connsiteX24" fmla="*/ 16832 w 180819"/>
                    <a:gd name="connsiteY24" fmla="*/ 254246 h 293873"/>
                    <a:gd name="connsiteX25" fmla="*/ 17962 w 180819"/>
                    <a:gd name="connsiteY25" fmla="*/ 271473 h 293873"/>
                    <a:gd name="connsiteX26" fmla="*/ 10052 w 180819"/>
                    <a:gd name="connsiteY26" fmla="*/ 287687 h 293873"/>
                    <a:gd name="connsiteX27" fmla="*/ 36045 w 180819"/>
                    <a:gd name="connsiteY27" fmla="*/ 288700 h 293873"/>
                    <a:gd name="connsiteX28" fmla="*/ 57516 w 180819"/>
                    <a:gd name="connsiteY28" fmla="*/ 276540 h 293873"/>
                    <a:gd name="connsiteX29" fmla="*/ 82379 w 180819"/>
                    <a:gd name="connsiteY29" fmla="*/ 274513 h 293873"/>
                    <a:gd name="connsiteX30" fmla="*/ 101591 w 180819"/>
                    <a:gd name="connsiteY30" fmla="*/ 262353 h 293873"/>
                    <a:gd name="connsiteX31" fmla="*/ 130974 w 180819"/>
                    <a:gd name="connsiteY31" fmla="*/ 262353 h 293873"/>
                    <a:gd name="connsiteX32" fmla="*/ 144536 w 180819"/>
                    <a:gd name="connsiteY32" fmla="*/ 255259 h 293873"/>
                    <a:gd name="connsiteX33" fmla="*/ 160358 w 180819"/>
                    <a:gd name="connsiteY33" fmla="*/ 255259 h 293873"/>
                    <a:gd name="connsiteX34" fmla="*/ 160358 w 180819"/>
                    <a:gd name="connsiteY34" fmla="*/ 243099 h 293873"/>
                    <a:gd name="connsiteX35" fmla="*/ 152447 w 180819"/>
                    <a:gd name="connsiteY35" fmla="*/ 236005 h 293873"/>
                    <a:gd name="connsiteX36" fmla="*/ 163748 w 180819"/>
                    <a:gd name="connsiteY36" fmla="*/ 236005 h 293873"/>
                    <a:gd name="connsiteX37" fmla="*/ 169399 w 180819"/>
                    <a:gd name="connsiteY37" fmla="*/ 248166 h 293873"/>
                    <a:gd name="connsiteX38" fmla="*/ 177310 w 180819"/>
                    <a:gd name="connsiteY38" fmla="*/ 248166 h 293873"/>
                    <a:gd name="connsiteX39" fmla="*/ 179570 w 180819"/>
                    <a:gd name="connsiteY39" fmla="*/ 244112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0819" h="293873">
                      <a:moveTo>
                        <a:pt x="179570" y="244112"/>
                      </a:moveTo>
                      <a:cubicBezTo>
                        <a:pt x="179570" y="244112"/>
                        <a:pt x="162618" y="214725"/>
                        <a:pt x="156968" y="209658"/>
                      </a:cubicBezTo>
                      <a:cubicBezTo>
                        <a:pt x="151317" y="204591"/>
                        <a:pt x="162618" y="204591"/>
                        <a:pt x="156968" y="200538"/>
                      </a:cubicBezTo>
                      <a:cubicBezTo>
                        <a:pt x="151317" y="196484"/>
                        <a:pt x="155837" y="190404"/>
                        <a:pt x="155837" y="185337"/>
                      </a:cubicBezTo>
                      <a:cubicBezTo>
                        <a:pt x="155837" y="180271"/>
                        <a:pt x="160358" y="164057"/>
                        <a:pt x="160358" y="153924"/>
                      </a:cubicBezTo>
                      <a:cubicBezTo>
                        <a:pt x="160358" y="143790"/>
                        <a:pt x="156968" y="143790"/>
                        <a:pt x="149057" y="132643"/>
                      </a:cubicBezTo>
                      <a:cubicBezTo>
                        <a:pt x="140016" y="121496"/>
                        <a:pt x="150186" y="112376"/>
                        <a:pt x="153577" y="106296"/>
                      </a:cubicBezTo>
                      <a:cubicBezTo>
                        <a:pt x="156968" y="100216"/>
                        <a:pt x="142275" y="98189"/>
                        <a:pt x="147926" y="91095"/>
                      </a:cubicBezTo>
                      <a:cubicBezTo>
                        <a:pt x="153577" y="82989"/>
                        <a:pt x="149057" y="71842"/>
                        <a:pt x="149057" y="60695"/>
                      </a:cubicBezTo>
                      <a:cubicBezTo>
                        <a:pt x="149057" y="49548"/>
                        <a:pt x="142275" y="42454"/>
                        <a:pt x="136625" y="41441"/>
                      </a:cubicBezTo>
                      <a:cubicBezTo>
                        <a:pt x="130974" y="40428"/>
                        <a:pt x="137755" y="12054"/>
                        <a:pt x="137755" y="12054"/>
                      </a:cubicBezTo>
                      <a:lnTo>
                        <a:pt x="111763" y="9013"/>
                      </a:lnTo>
                      <a:lnTo>
                        <a:pt x="108372" y="17120"/>
                      </a:lnTo>
                      <a:cubicBezTo>
                        <a:pt x="108372" y="17120"/>
                        <a:pt x="62037" y="11040"/>
                        <a:pt x="56387" y="13067"/>
                      </a:cubicBezTo>
                      <a:cubicBezTo>
                        <a:pt x="50736" y="15094"/>
                        <a:pt x="45085" y="23200"/>
                        <a:pt x="45085" y="31307"/>
                      </a:cubicBezTo>
                      <a:cubicBezTo>
                        <a:pt x="45085" y="39414"/>
                        <a:pt x="50736" y="46508"/>
                        <a:pt x="49606" y="51575"/>
                      </a:cubicBezTo>
                      <a:cubicBezTo>
                        <a:pt x="48476" y="56641"/>
                        <a:pt x="45085" y="72855"/>
                        <a:pt x="45085" y="72855"/>
                      </a:cubicBezTo>
                      <a:cubicBezTo>
                        <a:pt x="45085" y="72855"/>
                        <a:pt x="50736" y="87042"/>
                        <a:pt x="48476" y="93122"/>
                      </a:cubicBezTo>
                      <a:cubicBezTo>
                        <a:pt x="46215" y="99202"/>
                        <a:pt x="55257" y="103256"/>
                        <a:pt x="55257" y="114402"/>
                      </a:cubicBezTo>
                      <a:cubicBezTo>
                        <a:pt x="55257" y="125549"/>
                        <a:pt x="51866" y="140750"/>
                        <a:pt x="51866" y="140750"/>
                      </a:cubicBezTo>
                      <a:cubicBezTo>
                        <a:pt x="51866" y="140750"/>
                        <a:pt x="45085" y="148857"/>
                        <a:pt x="41695" y="158990"/>
                      </a:cubicBezTo>
                      <a:cubicBezTo>
                        <a:pt x="38305" y="169124"/>
                        <a:pt x="34914" y="174191"/>
                        <a:pt x="31524" y="184324"/>
                      </a:cubicBezTo>
                      <a:cubicBezTo>
                        <a:pt x="28134" y="194458"/>
                        <a:pt x="20223" y="208645"/>
                        <a:pt x="20223" y="208645"/>
                      </a:cubicBezTo>
                      <a:lnTo>
                        <a:pt x="13442" y="229925"/>
                      </a:lnTo>
                      <a:lnTo>
                        <a:pt x="16832" y="254246"/>
                      </a:lnTo>
                      <a:cubicBezTo>
                        <a:pt x="16832" y="254246"/>
                        <a:pt x="21353" y="265393"/>
                        <a:pt x="17962" y="271473"/>
                      </a:cubicBezTo>
                      <a:cubicBezTo>
                        <a:pt x="14572" y="277553"/>
                        <a:pt x="10052" y="287687"/>
                        <a:pt x="10052" y="287687"/>
                      </a:cubicBezTo>
                      <a:cubicBezTo>
                        <a:pt x="16832" y="289713"/>
                        <a:pt x="24743" y="290727"/>
                        <a:pt x="36045" y="288700"/>
                      </a:cubicBezTo>
                      <a:cubicBezTo>
                        <a:pt x="42825" y="287687"/>
                        <a:pt x="50736" y="278566"/>
                        <a:pt x="57516" y="276540"/>
                      </a:cubicBezTo>
                      <a:cubicBezTo>
                        <a:pt x="65427" y="274513"/>
                        <a:pt x="73338" y="276540"/>
                        <a:pt x="82379" y="274513"/>
                      </a:cubicBezTo>
                      <a:cubicBezTo>
                        <a:pt x="86900" y="273500"/>
                        <a:pt x="94811" y="263366"/>
                        <a:pt x="101591" y="262353"/>
                      </a:cubicBezTo>
                      <a:cubicBezTo>
                        <a:pt x="110632" y="260326"/>
                        <a:pt x="121933" y="263366"/>
                        <a:pt x="130974" y="262353"/>
                      </a:cubicBezTo>
                      <a:cubicBezTo>
                        <a:pt x="133235" y="262353"/>
                        <a:pt x="143406" y="255259"/>
                        <a:pt x="144536" y="255259"/>
                      </a:cubicBezTo>
                      <a:cubicBezTo>
                        <a:pt x="150186" y="254246"/>
                        <a:pt x="155837" y="256272"/>
                        <a:pt x="160358" y="255259"/>
                      </a:cubicBezTo>
                      <a:cubicBezTo>
                        <a:pt x="159227" y="252219"/>
                        <a:pt x="161488" y="246139"/>
                        <a:pt x="160358" y="243099"/>
                      </a:cubicBezTo>
                      <a:cubicBezTo>
                        <a:pt x="159227" y="242085"/>
                        <a:pt x="153577" y="238032"/>
                        <a:pt x="152447" y="236005"/>
                      </a:cubicBezTo>
                      <a:cubicBezTo>
                        <a:pt x="154707" y="237019"/>
                        <a:pt x="160358" y="234992"/>
                        <a:pt x="163748" y="236005"/>
                      </a:cubicBezTo>
                      <a:cubicBezTo>
                        <a:pt x="163748" y="236005"/>
                        <a:pt x="168269" y="247152"/>
                        <a:pt x="169399" y="248166"/>
                      </a:cubicBezTo>
                      <a:cubicBezTo>
                        <a:pt x="170528" y="248166"/>
                        <a:pt x="177310" y="247152"/>
                        <a:pt x="177310" y="248166"/>
                      </a:cubicBezTo>
                      <a:lnTo>
                        <a:pt x="179570" y="24411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3" name="Freeform: Shape 392">
                  <a:extLst>
                    <a:ext uri="{FF2B5EF4-FFF2-40B4-BE49-F238E27FC236}">
                      <a16:creationId xmlns:a16="http://schemas.microsoft.com/office/drawing/2014/main" id="{D405CE8B-ACD1-4A78-A232-F5B7EFCE20CB}"/>
                    </a:ext>
                  </a:extLst>
                </p:cNvPr>
                <p:cNvSpPr/>
                <p:nvPr/>
              </p:nvSpPr>
              <p:spPr>
                <a:xfrm>
                  <a:off x="6082024" y="1938670"/>
                  <a:ext cx="327735" cy="385076"/>
                </a:xfrm>
                <a:custGeom>
                  <a:avLst/>
                  <a:gdLst>
                    <a:gd name="connsiteX0" fmla="*/ 318575 w 327734"/>
                    <a:gd name="connsiteY0" fmla="*/ 61075 h 385075"/>
                    <a:gd name="connsiteX1" fmla="*/ 308404 w 327734"/>
                    <a:gd name="connsiteY1" fmla="*/ 58035 h 385075"/>
                    <a:gd name="connsiteX2" fmla="*/ 306143 w 327734"/>
                    <a:gd name="connsiteY2" fmla="*/ 52968 h 385075"/>
                    <a:gd name="connsiteX3" fmla="*/ 292582 w 327734"/>
                    <a:gd name="connsiteY3" fmla="*/ 52968 h 385075"/>
                    <a:gd name="connsiteX4" fmla="*/ 279020 w 327734"/>
                    <a:gd name="connsiteY4" fmla="*/ 45874 h 385075"/>
                    <a:gd name="connsiteX5" fmla="*/ 254158 w 327734"/>
                    <a:gd name="connsiteY5" fmla="*/ 43847 h 385075"/>
                    <a:gd name="connsiteX6" fmla="*/ 242856 w 327734"/>
                    <a:gd name="connsiteY6" fmla="*/ 61075 h 385075"/>
                    <a:gd name="connsiteX7" fmla="*/ 229295 w 327734"/>
                    <a:gd name="connsiteY7" fmla="*/ 61075 h 385075"/>
                    <a:gd name="connsiteX8" fmla="*/ 227035 w 327734"/>
                    <a:gd name="connsiteY8" fmla="*/ 68168 h 385075"/>
                    <a:gd name="connsiteX9" fmla="*/ 229295 w 327734"/>
                    <a:gd name="connsiteY9" fmla="*/ 73235 h 385075"/>
                    <a:gd name="connsiteX10" fmla="*/ 207823 w 327734"/>
                    <a:gd name="connsiteY10" fmla="*/ 66141 h 385075"/>
                    <a:gd name="connsiteX11" fmla="*/ 207823 w 327734"/>
                    <a:gd name="connsiteY11" fmla="*/ 56008 h 385075"/>
                    <a:gd name="connsiteX12" fmla="*/ 199912 w 327734"/>
                    <a:gd name="connsiteY12" fmla="*/ 53981 h 385075"/>
                    <a:gd name="connsiteX13" fmla="*/ 186350 w 327734"/>
                    <a:gd name="connsiteY13" fmla="*/ 59048 h 385075"/>
                    <a:gd name="connsiteX14" fmla="*/ 175049 w 327734"/>
                    <a:gd name="connsiteY14" fmla="*/ 39794 h 385075"/>
                    <a:gd name="connsiteX15" fmla="*/ 175049 w 327734"/>
                    <a:gd name="connsiteY15" fmla="*/ 29661 h 385075"/>
                    <a:gd name="connsiteX16" fmla="*/ 163748 w 327734"/>
                    <a:gd name="connsiteY16" fmla="*/ 24594 h 385075"/>
                    <a:gd name="connsiteX17" fmla="*/ 171659 w 327734"/>
                    <a:gd name="connsiteY17" fmla="*/ 19527 h 385075"/>
                    <a:gd name="connsiteX18" fmla="*/ 179570 w 327734"/>
                    <a:gd name="connsiteY18" fmla="*/ 12434 h 385075"/>
                    <a:gd name="connsiteX19" fmla="*/ 177310 w 327734"/>
                    <a:gd name="connsiteY19" fmla="*/ 10407 h 385075"/>
                    <a:gd name="connsiteX20" fmla="*/ 171659 w 327734"/>
                    <a:gd name="connsiteY20" fmla="*/ 15474 h 385075"/>
                    <a:gd name="connsiteX21" fmla="*/ 160358 w 327734"/>
                    <a:gd name="connsiteY21" fmla="*/ 15474 h 385075"/>
                    <a:gd name="connsiteX22" fmla="*/ 161488 w 327734"/>
                    <a:gd name="connsiteY22" fmla="*/ 11420 h 385075"/>
                    <a:gd name="connsiteX23" fmla="*/ 126454 w 327734"/>
                    <a:gd name="connsiteY23" fmla="*/ 10407 h 385075"/>
                    <a:gd name="connsiteX24" fmla="*/ 123064 w 327734"/>
                    <a:gd name="connsiteY24" fmla="*/ 25607 h 385075"/>
                    <a:gd name="connsiteX25" fmla="*/ 128715 w 327734"/>
                    <a:gd name="connsiteY25" fmla="*/ 25607 h 385075"/>
                    <a:gd name="connsiteX26" fmla="*/ 130975 w 327734"/>
                    <a:gd name="connsiteY26" fmla="*/ 37767 h 385075"/>
                    <a:gd name="connsiteX27" fmla="*/ 133235 w 327734"/>
                    <a:gd name="connsiteY27" fmla="*/ 37767 h 385075"/>
                    <a:gd name="connsiteX28" fmla="*/ 141146 w 327734"/>
                    <a:gd name="connsiteY28" fmla="*/ 79315 h 385075"/>
                    <a:gd name="connsiteX29" fmla="*/ 125324 w 327734"/>
                    <a:gd name="connsiteY29" fmla="*/ 77288 h 385075"/>
                    <a:gd name="connsiteX30" fmla="*/ 117413 w 327734"/>
                    <a:gd name="connsiteY30" fmla="*/ 101609 h 385075"/>
                    <a:gd name="connsiteX31" fmla="*/ 109502 w 327734"/>
                    <a:gd name="connsiteY31" fmla="*/ 89449 h 385075"/>
                    <a:gd name="connsiteX32" fmla="*/ 90290 w 327734"/>
                    <a:gd name="connsiteY32" fmla="*/ 120863 h 385075"/>
                    <a:gd name="connsiteX33" fmla="*/ 86900 w 327734"/>
                    <a:gd name="connsiteY33" fmla="*/ 119849 h 385075"/>
                    <a:gd name="connsiteX34" fmla="*/ 75599 w 327734"/>
                    <a:gd name="connsiteY34" fmla="*/ 143156 h 385075"/>
                    <a:gd name="connsiteX35" fmla="*/ 73338 w 327734"/>
                    <a:gd name="connsiteY35" fmla="*/ 153290 h 385075"/>
                    <a:gd name="connsiteX36" fmla="*/ 59778 w 327734"/>
                    <a:gd name="connsiteY36" fmla="*/ 163424 h 385075"/>
                    <a:gd name="connsiteX37" fmla="*/ 41695 w 327734"/>
                    <a:gd name="connsiteY37" fmla="*/ 169504 h 385075"/>
                    <a:gd name="connsiteX38" fmla="*/ 22483 w 327734"/>
                    <a:gd name="connsiteY38" fmla="*/ 178624 h 385075"/>
                    <a:gd name="connsiteX39" fmla="*/ 10052 w 327734"/>
                    <a:gd name="connsiteY39" fmla="*/ 210038 h 385075"/>
                    <a:gd name="connsiteX40" fmla="*/ 25874 w 327734"/>
                    <a:gd name="connsiteY40" fmla="*/ 217132 h 385075"/>
                    <a:gd name="connsiteX41" fmla="*/ 22483 w 327734"/>
                    <a:gd name="connsiteY41" fmla="*/ 227265 h 385075"/>
                    <a:gd name="connsiteX42" fmla="*/ 25874 w 327734"/>
                    <a:gd name="connsiteY42" fmla="*/ 250572 h 385075"/>
                    <a:gd name="connsiteX43" fmla="*/ 32654 w 327734"/>
                    <a:gd name="connsiteY43" fmla="*/ 259693 h 385075"/>
                    <a:gd name="connsiteX44" fmla="*/ 36045 w 327734"/>
                    <a:gd name="connsiteY44" fmla="*/ 270840 h 385075"/>
                    <a:gd name="connsiteX45" fmla="*/ 36045 w 327734"/>
                    <a:gd name="connsiteY45" fmla="*/ 289080 h 385075"/>
                    <a:gd name="connsiteX46" fmla="*/ 65428 w 327734"/>
                    <a:gd name="connsiteY46" fmla="*/ 293133 h 385075"/>
                    <a:gd name="connsiteX47" fmla="*/ 83510 w 327734"/>
                    <a:gd name="connsiteY47" fmla="*/ 298200 h 385075"/>
                    <a:gd name="connsiteX48" fmla="*/ 100462 w 327734"/>
                    <a:gd name="connsiteY48" fmla="*/ 300227 h 385075"/>
                    <a:gd name="connsiteX49" fmla="*/ 97071 w 327734"/>
                    <a:gd name="connsiteY49" fmla="*/ 320494 h 385075"/>
                    <a:gd name="connsiteX50" fmla="*/ 93681 w 327734"/>
                    <a:gd name="connsiteY50" fmla="*/ 338734 h 385075"/>
                    <a:gd name="connsiteX51" fmla="*/ 97071 w 327734"/>
                    <a:gd name="connsiteY51" fmla="*/ 370149 h 385075"/>
                    <a:gd name="connsiteX52" fmla="*/ 114023 w 327734"/>
                    <a:gd name="connsiteY52" fmla="*/ 363055 h 385075"/>
                    <a:gd name="connsiteX53" fmla="*/ 129844 w 327734"/>
                    <a:gd name="connsiteY53" fmla="*/ 357988 h 385075"/>
                    <a:gd name="connsiteX54" fmla="*/ 143406 w 327734"/>
                    <a:gd name="connsiteY54" fmla="*/ 364068 h 385075"/>
                    <a:gd name="connsiteX55" fmla="*/ 170529 w 327734"/>
                    <a:gd name="connsiteY55" fmla="*/ 382309 h 385075"/>
                    <a:gd name="connsiteX56" fmla="*/ 185221 w 327734"/>
                    <a:gd name="connsiteY56" fmla="*/ 369135 h 385075"/>
                    <a:gd name="connsiteX57" fmla="*/ 204433 w 327734"/>
                    <a:gd name="connsiteY57" fmla="*/ 365082 h 385075"/>
                    <a:gd name="connsiteX58" fmla="*/ 216864 w 327734"/>
                    <a:gd name="connsiteY58" fmla="*/ 354948 h 385075"/>
                    <a:gd name="connsiteX59" fmla="*/ 240597 w 327734"/>
                    <a:gd name="connsiteY59" fmla="*/ 355961 h 385075"/>
                    <a:gd name="connsiteX60" fmla="*/ 256418 w 327734"/>
                    <a:gd name="connsiteY60" fmla="*/ 365082 h 385075"/>
                    <a:gd name="connsiteX61" fmla="*/ 264329 w 327734"/>
                    <a:gd name="connsiteY61" fmla="*/ 354948 h 385075"/>
                    <a:gd name="connsiteX62" fmla="*/ 253028 w 327734"/>
                    <a:gd name="connsiteY62" fmla="*/ 340761 h 385075"/>
                    <a:gd name="connsiteX63" fmla="*/ 266589 w 327734"/>
                    <a:gd name="connsiteY63" fmla="*/ 332654 h 385075"/>
                    <a:gd name="connsiteX64" fmla="*/ 279020 w 327734"/>
                    <a:gd name="connsiteY64" fmla="*/ 321507 h 385075"/>
                    <a:gd name="connsiteX65" fmla="*/ 292582 w 327734"/>
                    <a:gd name="connsiteY65" fmla="*/ 305294 h 385075"/>
                    <a:gd name="connsiteX66" fmla="*/ 281281 w 327734"/>
                    <a:gd name="connsiteY66" fmla="*/ 295160 h 385075"/>
                    <a:gd name="connsiteX67" fmla="*/ 263199 w 327734"/>
                    <a:gd name="connsiteY67" fmla="*/ 284013 h 385075"/>
                    <a:gd name="connsiteX68" fmla="*/ 255288 w 327734"/>
                    <a:gd name="connsiteY68" fmla="*/ 262733 h 385075"/>
                    <a:gd name="connsiteX69" fmla="*/ 241727 w 327734"/>
                    <a:gd name="connsiteY69" fmla="*/ 243479 h 385075"/>
                    <a:gd name="connsiteX70" fmla="*/ 245117 w 327734"/>
                    <a:gd name="connsiteY70" fmla="*/ 232332 h 385075"/>
                    <a:gd name="connsiteX71" fmla="*/ 265459 w 327734"/>
                    <a:gd name="connsiteY71" fmla="*/ 224225 h 385075"/>
                    <a:gd name="connsiteX72" fmla="*/ 286931 w 327734"/>
                    <a:gd name="connsiteY72" fmla="*/ 210038 h 385075"/>
                    <a:gd name="connsiteX73" fmla="*/ 310664 w 327734"/>
                    <a:gd name="connsiteY73" fmla="*/ 196864 h 385075"/>
                    <a:gd name="connsiteX74" fmla="*/ 325356 w 327734"/>
                    <a:gd name="connsiteY74" fmla="*/ 202945 h 385075"/>
                    <a:gd name="connsiteX75" fmla="*/ 321965 w 327734"/>
                    <a:gd name="connsiteY75" fmla="*/ 162410 h 385075"/>
                    <a:gd name="connsiteX76" fmla="*/ 315184 w 327734"/>
                    <a:gd name="connsiteY76" fmla="*/ 144170 h 385075"/>
                    <a:gd name="connsiteX77" fmla="*/ 318575 w 327734"/>
                    <a:gd name="connsiteY77" fmla="*/ 120863 h 385075"/>
                    <a:gd name="connsiteX78" fmla="*/ 309534 w 327734"/>
                    <a:gd name="connsiteY78" fmla="*/ 99582 h 385075"/>
                    <a:gd name="connsiteX79" fmla="*/ 318575 w 327734"/>
                    <a:gd name="connsiteY79" fmla="*/ 61075 h 3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27734" h="385075">
                      <a:moveTo>
                        <a:pt x="318575" y="61075"/>
                      </a:moveTo>
                      <a:cubicBezTo>
                        <a:pt x="315184" y="60061"/>
                        <a:pt x="311794" y="59048"/>
                        <a:pt x="308404" y="58035"/>
                      </a:cubicBezTo>
                      <a:cubicBezTo>
                        <a:pt x="307273" y="58035"/>
                        <a:pt x="306143" y="52968"/>
                        <a:pt x="306143" y="52968"/>
                      </a:cubicBezTo>
                      <a:cubicBezTo>
                        <a:pt x="298233" y="49928"/>
                        <a:pt x="295972" y="53981"/>
                        <a:pt x="292582" y="52968"/>
                      </a:cubicBezTo>
                      <a:cubicBezTo>
                        <a:pt x="289192" y="51954"/>
                        <a:pt x="281281" y="45874"/>
                        <a:pt x="279020" y="45874"/>
                      </a:cubicBezTo>
                      <a:cubicBezTo>
                        <a:pt x="269980" y="42834"/>
                        <a:pt x="264329" y="44861"/>
                        <a:pt x="254158" y="43847"/>
                      </a:cubicBezTo>
                      <a:cubicBezTo>
                        <a:pt x="251898" y="47901"/>
                        <a:pt x="247377" y="59048"/>
                        <a:pt x="242856" y="61075"/>
                      </a:cubicBezTo>
                      <a:cubicBezTo>
                        <a:pt x="240597" y="62088"/>
                        <a:pt x="234946" y="58035"/>
                        <a:pt x="229295" y="61075"/>
                      </a:cubicBezTo>
                      <a:cubicBezTo>
                        <a:pt x="228165" y="62088"/>
                        <a:pt x="228165" y="68168"/>
                        <a:pt x="227035" y="68168"/>
                      </a:cubicBezTo>
                      <a:cubicBezTo>
                        <a:pt x="227035" y="68168"/>
                        <a:pt x="232686" y="71208"/>
                        <a:pt x="229295" y="73235"/>
                      </a:cubicBezTo>
                      <a:cubicBezTo>
                        <a:pt x="223645" y="70195"/>
                        <a:pt x="211213" y="69181"/>
                        <a:pt x="207823" y="66141"/>
                      </a:cubicBezTo>
                      <a:cubicBezTo>
                        <a:pt x="206693" y="65128"/>
                        <a:pt x="207823" y="58035"/>
                        <a:pt x="207823" y="56008"/>
                      </a:cubicBezTo>
                      <a:lnTo>
                        <a:pt x="199912" y="53981"/>
                      </a:lnTo>
                      <a:cubicBezTo>
                        <a:pt x="197652" y="53981"/>
                        <a:pt x="188611" y="58035"/>
                        <a:pt x="186350" y="59048"/>
                      </a:cubicBezTo>
                      <a:cubicBezTo>
                        <a:pt x="184091" y="53981"/>
                        <a:pt x="177310" y="44861"/>
                        <a:pt x="175049" y="39794"/>
                      </a:cubicBezTo>
                      <a:cubicBezTo>
                        <a:pt x="173919" y="36754"/>
                        <a:pt x="176180" y="32701"/>
                        <a:pt x="175049" y="29661"/>
                      </a:cubicBezTo>
                      <a:cubicBezTo>
                        <a:pt x="173919" y="27634"/>
                        <a:pt x="164879" y="25607"/>
                        <a:pt x="163748" y="24594"/>
                      </a:cubicBezTo>
                      <a:cubicBezTo>
                        <a:pt x="163748" y="24594"/>
                        <a:pt x="173919" y="20540"/>
                        <a:pt x="171659" y="19527"/>
                      </a:cubicBezTo>
                      <a:cubicBezTo>
                        <a:pt x="172789" y="17500"/>
                        <a:pt x="178440" y="14460"/>
                        <a:pt x="179570" y="12434"/>
                      </a:cubicBezTo>
                      <a:cubicBezTo>
                        <a:pt x="179570" y="12434"/>
                        <a:pt x="179570" y="6353"/>
                        <a:pt x="177310" y="10407"/>
                      </a:cubicBezTo>
                      <a:cubicBezTo>
                        <a:pt x="177310" y="10407"/>
                        <a:pt x="175049" y="9393"/>
                        <a:pt x="171659" y="15474"/>
                      </a:cubicBezTo>
                      <a:cubicBezTo>
                        <a:pt x="169399" y="15474"/>
                        <a:pt x="162618" y="14460"/>
                        <a:pt x="160358" y="15474"/>
                      </a:cubicBezTo>
                      <a:cubicBezTo>
                        <a:pt x="161488" y="13447"/>
                        <a:pt x="160358" y="15474"/>
                        <a:pt x="161488" y="11420"/>
                      </a:cubicBezTo>
                      <a:lnTo>
                        <a:pt x="126454" y="10407"/>
                      </a:lnTo>
                      <a:cubicBezTo>
                        <a:pt x="125324" y="16487"/>
                        <a:pt x="123064" y="24594"/>
                        <a:pt x="123064" y="25607"/>
                      </a:cubicBezTo>
                      <a:lnTo>
                        <a:pt x="128715" y="25607"/>
                      </a:lnTo>
                      <a:cubicBezTo>
                        <a:pt x="129844" y="30674"/>
                        <a:pt x="128715" y="32701"/>
                        <a:pt x="130975" y="37767"/>
                      </a:cubicBezTo>
                      <a:cubicBezTo>
                        <a:pt x="132105" y="37767"/>
                        <a:pt x="133235" y="37767"/>
                        <a:pt x="133235" y="37767"/>
                      </a:cubicBezTo>
                      <a:cubicBezTo>
                        <a:pt x="137755" y="62088"/>
                        <a:pt x="124194" y="58035"/>
                        <a:pt x="141146" y="79315"/>
                      </a:cubicBezTo>
                      <a:cubicBezTo>
                        <a:pt x="133235" y="79315"/>
                        <a:pt x="130975" y="78302"/>
                        <a:pt x="125324" y="77288"/>
                      </a:cubicBezTo>
                      <a:cubicBezTo>
                        <a:pt x="120804" y="93502"/>
                        <a:pt x="124194" y="89449"/>
                        <a:pt x="117413" y="101609"/>
                      </a:cubicBezTo>
                      <a:cubicBezTo>
                        <a:pt x="115153" y="98569"/>
                        <a:pt x="111763" y="93502"/>
                        <a:pt x="109502" y="89449"/>
                      </a:cubicBezTo>
                      <a:cubicBezTo>
                        <a:pt x="84640" y="97555"/>
                        <a:pt x="71079" y="98569"/>
                        <a:pt x="90290" y="120863"/>
                      </a:cubicBezTo>
                      <a:lnTo>
                        <a:pt x="86900" y="119849"/>
                      </a:lnTo>
                      <a:cubicBezTo>
                        <a:pt x="86900" y="119849"/>
                        <a:pt x="84640" y="145183"/>
                        <a:pt x="75599" y="143156"/>
                      </a:cubicBezTo>
                      <a:cubicBezTo>
                        <a:pt x="67688" y="141130"/>
                        <a:pt x="66558" y="148223"/>
                        <a:pt x="73338" y="153290"/>
                      </a:cubicBezTo>
                      <a:cubicBezTo>
                        <a:pt x="81249" y="157344"/>
                        <a:pt x="59778" y="163424"/>
                        <a:pt x="59778" y="163424"/>
                      </a:cubicBezTo>
                      <a:cubicBezTo>
                        <a:pt x="59778" y="163424"/>
                        <a:pt x="58647" y="176597"/>
                        <a:pt x="41695" y="169504"/>
                      </a:cubicBezTo>
                      <a:cubicBezTo>
                        <a:pt x="24743" y="162410"/>
                        <a:pt x="27004" y="170517"/>
                        <a:pt x="22483" y="178624"/>
                      </a:cubicBezTo>
                      <a:cubicBezTo>
                        <a:pt x="17963" y="186731"/>
                        <a:pt x="10052" y="210038"/>
                        <a:pt x="10052" y="210038"/>
                      </a:cubicBezTo>
                      <a:cubicBezTo>
                        <a:pt x="10052" y="210038"/>
                        <a:pt x="19093" y="217132"/>
                        <a:pt x="25874" y="217132"/>
                      </a:cubicBezTo>
                      <a:cubicBezTo>
                        <a:pt x="32654" y="217132"/>
                        <a:pt x="11182" y="222198"/>
                        <a:pt x="22483" y="227265"/>
                      </a:cubicBezTo>
                      <a:cubicBezTo>
                        <a:pt x="33784" y="232332"/>
                        <a:pt x="25874" y="250572"/>
                        <a:pt x="25874" y="250572"/>
                      </a:cubicBezTo>
                      <a:cubicBezTo>
                        <a:pt x="25874" y="250572"/>
                        <a:pt x="27004" y="247532"/>
                        <a:pt x="32654" y="259693"/>
                      </a:cubicBezTo>
                      <a:cubicBezTo>
                        <a:pt x="38305" y="271853"/>
                        <a:pt x="42826" y="258679"/>
                        <a:pt x="36045" y="270840"/>
                      </a:cubicBezTo>
                      <a:cubicBezTo>
                        <a:pt x="29264" y="283000"/>
                        <a:pt x="36045" y="289080"/>
                        <a:pt x="36045" y="289080"/>
                      </a:cubicBezTo>
                      <a:cubicBezTo>
                        <a:pt x="36045" y="289080"/>
                        <a:pt x="58647" y="280973"/>
                        <a:pt x="65428" y="293133"/>
                      </a:cubicBezTo>
                      <a:cubicBezTo>
                        <a:pt x="72209" y="305294"/>
                        <a:pt x="74469" y="296173"/>
                        <a:pt x="83510" y="298200"/>
                      </a:cubicBezTo>
                      <a:cubicBezTo>
                        <a:pt x="92551" y="300227"/>
                        <a:pt x="100462" y="300227"/>
                        <a:pt x="100462" y="300227"/>
                      </a:cubicBezTo>
                      <a:cubicBezTo>
                        <a:pt x="100462" y="300227"/>
                        <a:pt x="102722" y="313400"/>
                        <a:pt x="97071" y="320494"/>
                      </a:cubicBezTo>
                      <a:cubicBezTo>
                        <a:pt x="91421" y="328601"/>
                        <a:pt x="91421" y="330628"/>
                        <a:pt x="93681" y="338734"/>
                      </a:cubicBezTo>
                      <a:cubicBezTo>
                        <a:pt x="95941" y="346841"/>
                        <a:pt x="88031" y="357988"/>
                        <a:pt x="97071" y="370149"/>
                      </a:cubicBezTo>
                      <a:cubicBezTo>
                        <a:pt x="97071" y="370149"/>
                        <a:pt x="107242" y="367108"/>
                        <a:pt x="114023" y="363055"/>
                      </a:cubicBezTo>
                      <a:cubicBezTo>
                        <a:pt x="118543" y="360015"/>
                        <a:pt x="118543" y="352921"/>
                        <a:pt x="129844" y="357988"/>
                      </a:cubicBezTo>
                      <a:cubicBezTo>
                        <a:pt x="141146" y="363055"/>
                        <a:pt x="143406" y="364068"/>
                        <a:pt x="143406" y="364068"/>
                      </a:cubicBezTo>
                      <a:lnTo>
                        <a:pt x="170529" y="382309"/>
                      </a:lnTo>
                      <a:cubicBezTo>
                        <a:pt x="172789" y="377242"/>
                        <a:pt x="178440" y="369135"/>
                        <a:pt x="185221" y="369135"/>
                      </a:cubicBezTo>
                      <a:cubicBezTo>
                        <a:pt x="195392" y="369135"/>
                        <a:pt x="196522" y="367108"/>
                        <a:pt x="204433" y="365082"/>
                      </a:cubicBezTo>
                      <a:cubicBezTo>
                        <a:pt x="213474" y="364068"/>
                        <a:pt x="211213" y="359002"/>
                        <a:pt x="216864" y="354948"/>
                      </a:cubicBezTo>
                      <a:cubicBezTo>
                        <a:pt x="222514" y="350895"/>
                        <a:pt x="233816" y="359002"/>
                        <a:pt x="240597" y="355961"/>
                      </a:cubicBezTo>
                      <a:cubicBezTo>
                        <a:pt x="247377" y="352921"/>
                        <a:pt x="248507" y="361028"/>
                        <a:pt x="256418" y="365082"/>
                      </a:cubicBezTo>
                      <a:cubicBezTo>
                        <a:pt x="264329" y="369135"/>
                        <a:pt x="264329" y="365082"/>
                        <a:pt x="264329" y="354948"/>
                      </a:cubicBezTo>
                      <a:cubicBezTo>
                        <a:pt x="264329" y="344815"/>
                        <a:pt x="253028" y="340761"/>
                        <a:pt x="253028" y="340761"/>
                      </a:cubicBezTo>
                      <a:cubicBezTo>
                        <a:pt x="253028" y="340761"/>
                        <a:pt x="256418" y="335694"/>
                        <a:pt x="266589" y="332654"/>
                      </a:cubicBezTo>
                      <a:cubicBezTo>
                        <a:pt x="276760" y="329614"/>
                        <a:pt x="281281" y="332654"/>
                        <a:pt x="279020" y="321507"/>
                      </a:cubicBezTo>
                      <a:cubicBezTo>
                        <a:pt x="276760" y="310360"/>
                        <a:pt x="292582" y="305294"/>
                        <a:pt x="292582" y="305294"/>
                      </a:cubicBezTo>
                      <a:cubicBezTo>
                        <a:pt x="292582" y="305294"/>
                        <a:pt x="292582" y="305294"/>
                        <a:pt x="281281" y="295160"/>
                      </a:cubicBezTo>
                      <a:cubicBezTo>
                        <a:pt x="272240" y="287053"/>
                        <a:pt x="263199" y="295160"/>
                        <a:pt x="263199" y="284013"/>
                      </a:cubicBezTo>
                      <a:cubicBezTo>
                        <a:pt x="263199" y="272866"/>
                        <a:pt x="262069" y="269826"/>
                        <a:pt x="255288" y="262733"/>
                      </a:cubicBezTo>
                      <a:cubicBezTo>
                        <a:pt x="248507" y="255639"/>
                        <a:pt x="248507" y="256652"/>
                        <a:pt x="241727" y="243479"/>
                      </a:cubicBezTo>
                      <a:cubicBezTo>
                        <a:pt x="237206" y="234359"/>
                        <a:pt x="236076" y="233345"/>
                        <a:pt x="245117" y="232332"/>
                      </a:cubicBezTo>
                      <a:cubicBezTo>
                        <a:pt x="254158" y="231319"/>
                        <a:pt x="260939" y="232332"/>
                        <a:pt x="265459" y="224225"/>
                      </a:cubicBezTo>
                      <a:cubicBezTo>
                        <a:pt x="269980" y="216118"/>
                        <a:pt x="274500" y="216118"/>
                        <a:pt x="286931" y="210038"/>
                      </a:cubicBezTo>
                      <a:cubicBezTo>
                        <a:pt x="299362" y="203958"/>
                        <a:pt x="310664" y="196864"/>
                        <a:pt x="310664" y="196864"/>
                      </a:cubicBezTo>
                      <a:lnTo>
                        <a:pt x="325356" y="202945"/>
                      </a:lnTo>
                      <a:cubicBezTo>
                        <a:pt x="325356" y="202945"/>
                        <a:pt x="321965" y="169504"/>
                        <a:pt x="321965" y="162410"/>
                      </a:cubicBezTo>
                      <a:cubicBezTo>
                        <a:pt x="321965" y="155317"/>
                        <a:pt x="315184" y="156330"/>
                        <a:pt x="315184" y="144170"/>
                      </a:cubicBezTo>
                      <a:cubicBezTo>
                        <a:pt x="315184" y="132010"/>
                        <a:pt x="318575" y="120863"/>
                        <a:pt x="318575" y="120863"/>
                      </a:cubicBezTo>
                      <a:cubicBezTo>
                        <a:pt x="318575" y="120863"/>
                        <a:pt x="306143" y="105662"/>
                        <a:pt x="309534" y="99582"/>
                      </a:cubicBezTo>
                      <a:cubicBezTo>
                        <a:pt x="312924" y="93502"/>
                        <a:pt x="318575" y="61075"/>
                        <a:pt x="318575" y="6107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4" name="Freeform: Shape 393">
                  <a:extLst>
                    <a:ext uri="{FF2B5EF4-FFF2-40B4-BE49-F238E27FC236}">
                      <a16:creationId xmlns:a16="http://schemas.microsoft.com/office/drawing/2014/main" id="{09A9869F-D08B-4176-9CBF-694C7D70C8BB}"/>
                    </a:ext>
                  </a:extLst>
                </p:cNvPr>
                <p:cNvSpPr/>
                <p:nvPr/>
              </p:nvSpPr>
              <p:spPr>
                <a:xfrm>
                  <a:off x="7296902" y="2464757"/>
                  <a:ext cx="271229" cy="131736"/>
                </a:xfrm>
                <a:custGeom>
                  <a:avLst/>
                  <a:gdLst>
                    <a:gd name="connsiteX0" fmla="*/ 10052 w 271228"/>
                    <a:gd name="connsiteY0" fmla="*/ 35586 h 131736"/>
                    <a:gd name="connsiteX1" fmla="*/ 17963 w 271228"/>
                    <a:gd name="connsiteY1" fmla="*/ 42679 h 131736"/>
                    <a:gd name="connsiteX2" fmla="*/ 29264 w 271228"/>
                    <a:gd name="connsiteY2" fmla="*/ 42679 h 131736"/>
                    <a:gd name="connsiteX3" fmla="*/ 40565 w 271228"/>
                    <a:gd name="connsiteY3" fmla="*/ 52813 h 131736"/>
                    <a:gd name="connsiteX4" fmla="*/ 59778 w 271228"/>
                    <a:gd name="connsiteY4" fmla="*/ 64973 h 131736"/>
                    <a:gd name="connsiteX5" fmla="*/ 68818 w 271228"/>
                    <a:gd name="connsiteY5" fmla="*/ 108548 h 131736"/>
                    <a:gd name="connsiteX6" fmla="*/ 68818 w 271228"/>
                    <a:gd name="connsiteY6" fmla="*/ 109561 h 131736"/>
                    <a:gd name="connsiteX7" fmla="*/ 81249 w 271228"/>
                    <a:gd name="connsiteY7" fmla="*/ 113614 h 131736"/>
                    <a:gd name="connsiteX8" fmla="*/ 101591 w 271228"/>
                    <a:gd name="connsiteY8" fmla="*/ 113614 h 131736"/>
                    <a:gd name="connsiteX9" fmla="*/ 117413 w 271228"/>
                    <a:gd name="connsiteY9" fmla="*/ 119695 h 131736"/>
                    <a:gd name="connsiteX10" fmla="*/ 137755 w 271228"/>
                    <a:gd name="connsiteY10" fmla="*/ 116654 h 131736"/>
                    <a:gd name="connsiteX11" fmla="*/ 144537 w 271228"/>
                    <a:gd name="connsiteY11" fmla="*/ 123748 h 131736"/>
                    <a:gd name="connsiteX12" fmla="*/ 150187 w 271228"/>
                    <a:gd name="connsiteY12" fmla="*/ 124761 h 131736"/>
                    <a:gd name="connsiteX13" fmla="*/ 152447 w 271228"/>
                    <a:gd name="connsiteY13" fmla="*/ 126788 h 131736"/>
                    <a:gd name="connsiteX14" fmla="*/ 179570 w 271228"/>
                    <a:gd name="connsiteY14" fmla="*/ 122735 h 131736"/>
                    <a:gd name="connsiteX15" fmla="*/ 199912 w 271228"/>
                    <a:gd name="connsiteY15" fmla="*/ 123748 h 131736"/>
                    <a:gd name="connsiteX16" fmla="*/ 214603 w 271228"/>
                    <a:gd name="connsiteY16" fmla="*/ 109561 h 131736"/>
                    <a:gd name="connsiteX17" fmla="*/ 229295 w 271228"/>
                    <a:gd name="connsiteY17" fmla="*/ 105507 h 131736"/>
                    <a:gd name="connsiteX18" fmla="*/ 245117 w 271228"/>
                    <a:gd name="connsiteY18" fmla="*/ 116654 h 131736"/>
                    <a:gd name="connsiteX19" fmla="*/ 263199 w 271228"/>
                    <a:gd name="connsiteY19" fmla="*/ 124761 h 131736"/>
                    <a:gd name="connsiteX20" fmla="*/ 257548 w 271228"/>
                    <a:gd name="connsiteY20" fmla="*/ 108548 h 131736"/>
                    <a:gd name="connsiteX21" fmla="*/ 266589 w 271228"/>
                    <a:gd name="connsiteY21" fmla="*/ 97401 h 131736"/>
                    <a:gd name="connsiteX22" fmla="*/ 256418 w 271228"/>
                    <a:gd name="connsiteY22" fmla="*/ 86254 h 131736"/>
                    <a:gd name="connsiteX23" fmla="*/ 236076 w 271228"/>
                    <a:gd name="connsiteY23" fmla="*/ 83214 h 131736"/>
                    <a:gd name="connsiteX24" fmla="*/ 232686 w 271228"/>
                    <a:gd name="connsiteY24" fmla="*/ 68013 h 131736"/>
                    <a:gd name="connsiteX25" fmla="*/ 217994 w 271228"/>
                    <a:gd name="connsiteY25" fmla="*/ 59906 h 131736"/>
                    <a:gd name="connsiteX26" fmla="*/ 205563 w 271228"/>
                    <a:gd name="connsiteY26" fmla="*/ 45719 h 131736"/>
                    <a:gd name="connsiteX27" fmla="*/ 187481 w 271228"/>
                    <a:gd name="connsiteY27" fmla="*/ 41666 h 131736"/>
                    <a:gd name="connsiteX28" fmla="*/ 171659 w 271228"/>
                    <a:gd name="connsiteY28" fmla="*/ 46733 h 131736"/>
                    <a:gd name="connsiteX29" fmla="*/ 144537 w 271228"/>
                    <a:gd name="connsiteY29" fmla="*/ 49773 h 131736"/>
                    <a:gd name="connsiteX30" fmla="*/ 116284 w 271228"/>
                    <a:gd name="connsiteY30" fmla="*/ 30519 h 131736"/>
                    <a:gd name="connsiteX31" fmla="*/ 99332 w 271228"/>
                    <a:gd name="connsiteY31" fmla="*/ 21399 h 131736"/>
                    <a:gd name="connsiteX32" fmla="*/ 71079 w 271228"/>
                    <a:gd name="connsiteY32" fmla="*/ 20386 h 131736"/>
                    <a:gd name="connsiteX33" fmla="*/ 47346 w 271228"/>
                    <a:gd name="connsiteY33" fmla="*/ 12279 h 131736"/>
                    <a:gd name="connsiteX34" fmla="*/ 21353 w 271228"/>
                    <a:gd name="connsiteY34" fmla="*/ 15319 h 131736"/>
                    <a:gd name="connsiteX35" fmla="*/ 10052 w 271228"/>
                    <a:gd name="connsiteY35" fmla="*/ 35586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1228" h="131736">
                      <a:moveTo>
                        <a:pt x="10052" y="35586"/>
                      </a:moveTo>
                      <a:cubicBezTo>
                        <a:pt x="13442" y="37613"/>
                        <a:pt x="17963" y="41666"/>
                        <a:pt x="17963" y="42679"/>
                      </a:cubicBezTo>
                      <a:cubicBezTo>
                        <a:pt x="21353" y="43693"/>
                        <a:pt x="25874" y="41666"/>
                        <a:pt x="29264" y="42679"/>
                      </a:cubicBezTo>
                      <a:cubicBezTo>
                        <a:pt x="32654" y="43693"/>
                        <a:pt x="37175" y="50786"/>
                        <a:pt x="40565" y="52813"/>
                      </a:cubicBezTo>
                      <a:cubicBezTo>
                        <a:pt x="42826" y="53826"/>
                        <a:pt x="58647" y="63960"/>
                        <a:pt x="59778" y="64973"/>
                      </a:cubicBezTo>
                      <a:cubicBezTo>
                        <a:pt x="64298" y="72067"/>
                        <a:pt x="72209" y="95374"/>
                        <a:pt x="68818" y="108548"/>
                      </a:cubicBezTo>
                      <a:lnTo>
                        <a:pt x="68818" y="109561"/>
                      </a:lnTo>
                      <a:cubicBezTo>
                        <a:pt x="68818" y="109561"/>
                        <a:pt x="73338" y="117668"/>
                        <a:pt x="81249" y="113614"/>
                      </a:cubicBezTo>
                      <a:cubicBezTo>
                        <a:pt x="89160" y="109561"/>
                        <a:pt x="92551" y="113614"/>
                        <a:pt x="101591" y="113614"/>
                      </a:cubicBezTo>
                      <a:cubicBezTo>
                        <a:pt x="110633" y="113614"/>
                        <a:pt x="117413" y="119695"/>
                        <a:pt x="117413" y="119695"/>
                      </a:cubicBezTo>
                      <a:cubicBezTo>
                        <a:pt x="117413" y="119695"/>
                        <a:pt x="128715" y="119695"/>
                        <a:pt x="137755" y="116654"/>
                      </a:cubicBezTo>
                      <a:cubicBezTo>
                        <a:pt x="146796" y="113614"/>
                        <a:pt x="144537" y="123748"/>
                        <a:pt x="144537" y="123748"/>
                      </a:cubicBezTo>
                      <a:lnTo>
                        <a:pt x="150187" y="124761"/>
                      </a:lnTo>
                      <a:lnTo>
                        <a:pt x="152447" y="126788"/>
                      </a:lnTo>
                      <a:cubicBezTo>
                        <a:pt x="152447" y="126788"/>
                        <a:pt x="173919" y="122735"/>
                        <a:pt x="179570" y="122735"/>
                      </a:cubicBezTo>
                      <a:cubicBezTo>
                        <a:pt x="185221" y="122735"/>
                        <a:pt x="199912" y="123748"/>
                        <a:pt x="199912" y="123748"/>
                      </a:cubicBezTo>
                      <a:cubicBezTo>
                        <a:pt x="199912" y="123748"/>
                        <a:pt x="211213" y="115641"/>
                        <a:pt x="214603" y="109561"/>
                      </a:cubicBezTo>
                      <a:cubicBezTo>
                        <a:pt x="217994" y="103481"/>
                        <a:pt x="219124" y="105507"/>
                        <a:pt x="229295" y="105507"/>
                      </a:cubicBezTo>
                      <a:cubicBezTo>
                        <a:pt x="237206" y="105507"/>
                        <a:pt x="245117" y="116654"/>
                        <a:pt x="245117" y="116654"/>
                      </a:cubicBezTo>
                      <a:cubicBezTo>
                        <a:pt x="245117" y="116654"/>
                        <a:pt x="258678" y="129828"/>
                        <a:pt x="263199" y="124761"/>
                      </a:cubicBezTo>
                      <a:cubicBezTo>
                        <a:pt x="267719" y="119695"/>
                        <a:pt x="264329" y="113614"/>
                        <a:pt x="257548" y="108548"/>
                      </a:cubicBezTo>
                      <a:cubicBezTo>
                        <a:pt x="250767" y="103481"/>
                        <a:pt x="266589" y="97401"/>
                        <a:pt x="266589" y="97401"/>
                      </a:cubicBezTo>
                      <a:cubicBezTo>
                        <a:pt x="266589" y="97401"/>
                        <a:pt x="262069" y="92334"/>
                        <a:pt x="256418" y="86254"/>
                      </a:cubicBezTo>
                      <a:cubicBezTo>
                        <a:pt x="250767" y="80174"/>
                        <a:pt x="245117" y="86254"/>
                        <a:pt x="236076" y="83214"/>
                      </a:cubicBezTo>
                      <a:cubicBezTo>
                        <a:pt x="227035" y="80174"/>
                        <a:pt x="240597" y="69027"/>
                        <a:pt x="232686" y="68013"/>
                      </a:cubicBezTo>
                      <a:cubicBezTo>
                        <a:pt x="224775" y="67000"/>
                        <a:pt x="227035" y="63960"/>
                        <a:pt x="217994" y="59906"/>
                      </a:cubicBezTo>
                      <a:cubicBezTo>
                        <a:pt x="208953" y="55853"/>
                        <a:pt x="211213" y="51800"/>
                        <a:pt x="205563" y="45719"/>
                      </a:cubicBezTo>
                      <a:cubicBezTo>
                        <a:pt x="199912" y="39639"/>
                        <a:pt x="195392" y="37613"/>
                        <a:pt x="187481" y="41666"/>
                      </a:cubicBezTo>
                      <a:cubicBezTo>
                        <a:pt x="179570" y="45719"/>
                        <a:pt x="177310" y="52813"/>
                        <a:pt x="171659" y="46733"/>
                      </a:cubicBezTo>
                      <a:cubicBezTo>
                        <a:pt x="166008" y="40653"/>
                        <a:pt x="156968" y="49773"/>
                        <a:pt x="144537" y="49773"/>
                      </a:cubicBezTo>
                      <a:cubicBezTo>
                        <a:pt x="132105" y="49773"/>
                        <a:pt x="126454" y="36599"/>
                        <a:pt x="116284" y="30519"/>
                      </a:cubicBezTo>
                      <a:cubicBezTo>
                        <a:pt x="106112" y="24439"/>
                        <a:pt x="109502" y="21399"/>
                        <a:pt x="99332" y="21399"/>
                      </a:cubicBezTo>
                      <a:cubicBezTo>
                        <a:pt x="89160" y="21399"/>
                        <a:pt x="83510" y="22412"/>
                        <a:pt x="71079" y="20386"/>
                      </a:cubicBezTo>
                      <a:cubicBezTo>
                        <a:pt x="58647" y="18359"/>
                        <a:pt x="50736" y="19372"/>
                        <a:pt x="47346" y="12279"/>
                      </a:cubicBezTo>
                      <a:cubicBezTo>
                        <a:pt x="43956" y="5185"/>
                        <a:pt x="29264" y="11265"/>
                        <a:pt x="21353" y="15319"/>
                      </a:cubicBezTo>
                      <a:cubicBezTo>
                        <a:pt x="13442" y="19372"/>
                        <a:pt x="10052" y="35586"/>
                        <a:pt x="10052" y="35586"/>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6" name="Freeform: Shape 395">
                  <a:extLst>
                    <a:ext uri="{FF2B5EF4-FFF2-40B4-BE49-F238E27FC236}">
                      <a16:creationId xmlns:a16="http://schemas.microsoft.com/office/drawing/2014/main" id="{FF74EBDA-A96F-42E5-A32D-244A97D5C003}"/>
                    </a:ext>
                  </a:extLst>
                </p:cNvPr>
                <p:cNvSpPr/>
                <p:nvPr/>
              </p:nvSpPr>
              <p:spPr>
                <a:xfrm>
                  <a:off x="5293828" y="3715174"/>
                  <a:ext cx="135614" cy="50668"/>
                </a:xfrm>
                <a:custGeom>
                  <a:avLst/>
                  <a:gdLst>
                    <a:gd name="connsiteX0" fmla="*/ 10554 w 135614"/>
                    <a:gd name="connsiteY0" fmla="*/ 43759 h 50667"/>
                    <a:gd name="connsiteX1" fmla="*/ 41068 w 135614"/>
                    <a:gd name="connsiteY1" fmla="*/ 41732 h 50667"/>
                    <a:gd name="connsiteX2" fmla="*/ 55759 w 135614"/>
                    <a:gd name="connsiteY2" fmla="*/ 32612 h 50667"/>
                    <a:gd name="connsiteX3" fmla="*/ 111135 w 135614"/>
                    <a:gd name="connsiteY3" fmla="*/ 31598 h 50667"/>
                    <a:gd name="connsiteX4" fmla="*/ 126956 w 135614"/>
                    <a:gd name="connsiteY4" fmla="*/ 17411 h 50667"/>
                    <a:gd name="connsiteX5" fmla="*/ 112265 w 135614"/>
                    <a:gd name="connsiteY5" fmla="*/ 12345 h 50667"/>
                    <a:gd name="connsiteX6" fmla="*/ 88533 w 135614"/>
                    <a:gd name="connsiteY6" fmla="*/ 12345 h 50667"/>
                    <a:gd name="connsiteX7" fmla="*/ 55759 w 135614"/>
                    <a:gd name="connsiteY7" fmla="*/ 12345 h 50667"/>
                    <a:gd name="connsiteX8" fmla="*/ 44458 w 135614"/>
                    <a:gd name="connsiteY8" fmla="*/ 13358 h 50667"/>
                    <a:gd name="connsiteX9" fmla="*/ 27506 w 135614"/>
                    <a:gd name="connsiteY9" fmla="*/ 16398 h 50667"/>
                    <a:gd name="connsiteX10" fmla="*/ 10554 w 135614"/>
                    <a:gd name="connsiteY10" fmla="*/ 20451 h 50667"/>
                    <a:gd name="connsiteX11" fmla="*/ 15075 w 135614"/>
                    <a:gd name="connsiteY11" fmla="*/ 26532 h 50667"/>
                    <a:gd name="connsiteX12" fmla="*/ 16205 w 135614"/>
                    <a:gd name="connsiteY12" fmla="*/ 28558 h 50667"/>
                    <a:gd name="connsiteX13" fmla="*/ 10554 w 135614"/>
                    <a:gd name="connsiteY13" fmla="*/ 33625 h 50667"/>
                    <a:gd name="connsiteX14" fmla="*/ 10554 w 135614"/>
                    <a:gd name="connsiteY14" fmla="*/ 43759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5614" h="50667">
                      <a:moveTo>
                        <a:pt x="10554" y="43759"/>
                      </a:moveTo>
                      <a:lnTo>
                        <a:pt x="41068" y="41732"/>
                      </a:lnTo>
                      <a:cubicBezTo>
                        <a:pt x="41068" y="41732"/>
                        <a:pt x="44458" y="32612"/>
                        <a:pt x="55759" y="32612"/>
                      </a:cubicBezTo>
                      <a:cubicBezTo>
                        <a:pt x="67060" y="32612"/>
                        <a:pt x="100964" y="31598"/>
                        <a:pt x="111135" y="31598"/>
                      </a:cubicBezTo>
                      <a:cubicBezTo>
                        <a:pt x="121306" y="31598"/>
                        <a:pt x="126956" y="27545"/>
                        <a:pt x="126956" y="17411"/>
                      </a:cubicBezTo>
                      <a:cubicBezTo>
                        <a:pt x="126956" y="7278"/>
                        <a:pt x="121306" y="12345"/>
                        <a:pt x="112265" y="12345"/>
                      </a:cubicBezTo>
                      <a:cubicBezTo>
                        <a:pt x="103224" y="12345"/>
                        <a:pt x="96444" y="12345"/>
                        <a:pt x="88533" y="12345"/>
                      </a:cubicBezTo>
                      <a:cubicBezTo>
                        <a:pt x="80622" y="12345"/>
                        <a:pt x="62540" y="17411"/>
                        <a:pt x="55759" y="12345"/>
                      </a:cubicBezTo>
                      <a:cubicBezTo>
                        <a:pt x="48978" y="7278"/>
                        <a:pt x="54629" y="8291"/>
                        <a:pt x="44458" y="13358"/>
                      </a:cubicBezTo>
                      <a:cubicBezTo>
                        <a:pt x="34287" y="18425"/>
                        <a:pt x="37677" y="16398"/>
                        <a:pt x="27506" y="16398"/>
                      </a:cubicBezTo>
                      <a:cubicBezTo>
                        <a:pt x="17335" y="16398"/>
                        <a:pt x="10554" y="20451"/>
                        <a:pt x="10554" y="20451"/>
                      </a:cubicBezTo>
                      <a:lnTo>
                        <a:pt x="15075" y="26532"/>
                      </a:lnTo>
                      <a:cubicBezTo>
                        <a:pt x="15075" y="27545"/>
                        <a:pt x="16205" y="27545"/>
                        <a:pt x="16205" y="28558"/>
                      </a:cubicBezTo>
                      <a:cubicBezTo>
                        <a:pt x="17335" y="35652"/>
                        <a:pt x="13944" y="31598"/>
                        <a:pt x="10554" y="33625"/>
                      </a:cubicBezTo>
                      <a:cubicBezTo>
                        <a:pt x="10554" y="37678"/>
                        <a:pt x="9424" y="40718"/>
                        <a:pt x="10554" y="4375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7" name="Freeform: Shape 396">
                  <a:extLst>
                    <a:ext uri="{FF2B5EF4-FFF2-40B4-BE49-F238E27FC236}">
                      <a16:creationId xmlns:a16="http://schemas.microsoft.com/office/drawing/2014/main" id="{B17E76B6-5BA1-49BA-B6CF-4B52612D25EF}"/>
                    </a:ext>
                  </a:extLst>
                </p:cNvPr>
                <p:cNvSpPr/>
                <p:nvPr/>
              </p:nvSpPr>
              <p:spPr>
                <a:xfrm>
                  <a:off x="6191980" y="4156050"/>
                  <a:ext cx="226024" cy="263473"/>
                </a:xfrm>
                <a:custGeom>
                  <a:avLst/>
                  <a:gdLst>
                    <a:gd name="connsiteX0" fmla="*/ 92217 w 226023"/>
                    <a:gd name="connsiteY0" fmla="*/ 263591 h 263472"/>
                    <a:gd name="connsiteX1" fmla="*/ 103518 w 226023"/>
                    <a:gd name="connsiteY1" fmla="*/ 244337 h 263472"/>
                    <a:gd name="connsiteX2" fmla="*/ 124990 w 226023"/>
                    <a:gd name="connsiteY2" fmla="*/ 250418 h 263472"/>
                    <a:gd name="connsiteX3" fmla="*/ 131771 w 226023"/>
                    <a:gd name="connsiteY3" fmla="*/ 236231 h 263472"/>
                    <a:gd name="connsiteX4" fmla="*/ 122730 w 226023"/>
                    <a:gd name="connsiteY4" fmla="*/ 211910 h 263472"/>
                    <a:gd name="connsiteX5" fmla="*/ 126120 w 226023"/>
                    <a:gd name="connsiteY5" fmla="*/ 201776 h 263472"/>
                    <a:gd name="connsiteX6" fmla="*/ 147593 w 226023"/>
                    <a:gd name="connsiteY6" fmla="*/ 195696 h 263472"/>
                    <a:gd name="connsiteX7" fmla="*/ 150983 w 226023"/>
                    <a:gd name="connsiteY7" fmla="*/ 182523 h 263472"/>
                    <a:gd name="connsiteX8" fmla="*/ 162284 w 226023"/>
                    <a:gd name="connsiteY8" fmla="*/ 192656 h 263472"/>
                    <a:gd name="connsiteX9" fmla="*/ 186016 w 226023"/>
                    <a:gd name="connsiteY9" fmla="*/ 187589 h 263472"/>
                    <a:gd name="connsiteX10" fmla="*/ 202968 w 226023"/>
                    <a:gd name="connsiteY10" fmla="*/ 205830 h 263472"/>
                    <a:gd name="connsiteX11" fmla="*/ 213140 w 226023"/>
                    <a:gd name="connsiteY11" fmla="*/ 190630 h 263472"/>
                    <a:gd name="connsiteX12" fmla="*/ 206358 w 226023"/>
                    <a:gd name="connsiteY12" fmla="*/ 171376 h 263472"/>
                    <a:gd name="connsiteX13" fmla="*/ 207489 w 226023"/>
                    <a:gd name="connsiteY13" fmla="*/ 153135 h 263472"/>
                    <a:gd name="connsiteX14" fmla="*/ 202968 w 226023"/>
                    <a:gd name="connsiteY14" fmla="*/ 136922 h 263472"/>
                    <a:gd name="connsiteX15" fmla="*/ 202968 w 226023"/>
                    <a:gd name="connsiteY15" fmla="*/ 118681 h 263472"/>
                    <a:gd name="connsiteX16" fmla="*/ 187147 w 226023"/>
                    <a:gd name="connsiteY16" fmla="*/ 103481 h 263472"/>
                    <a:gd name="connsiteX17" fmla="*/ 192797 w 226023"/>
                    <a:gd name="connsiteY17" fmla="*/ 100441 h 263472"/>
                    <a:gd name="connsiteX18" fmla="*/ 189407 w 226023"/>
                    <a:gd name="connsiteY18" fmla="*/ 82200 h 263472"/>
                    <a:gd name="connsiteX19" fmla="*/ 204099 w 226023"/>
                    <a:gd name="connsiteY19" fmla="*/ 72067 h 263472"/>
                    <a:gd name="connsiteX20" fmla="*/ 221050 w 226023"/>
                    <a:gd name="connsiteY20" fmla="*/ 72067 h 263472"/>
                    <a:gd name="connsiteX21" fmla="*/ 222180 w 226023"/>
                    <a:gd name="connsiteY21" fmla="*/ 46733 h 263472"/>
                    <a:gd name="connsiteX22" fmla="*/ 201838 w 226023"/>
                    <a:gd name="connsiteY22" fmla="*/ 42679 h 263472"/>
                    <a:gd name="connsiteX23" fmla="*/ 181496 w 226023"/>
                    <a:gd name="connsiteY23" fmla="*/ 43693 h 263472"/>
                    <a:gd name="connsiteX24" fmla="*/ 176976 w 226023"/>
                    <a:gd name="connsiteY24" fmla="*/ 32546 h 263472"/>
                    <a:gd name="connsiteX25" fmla="*/ 176976 w 226023"/>
                    <a:gd name="connsiteY25" fmla="*/ 11265 h 263472"/>
                    <a:gd name="connsiteX26" fmla="*/ 153243 w 226023"/>
                    <a:gd name="connsiteY26" fmla="*/ 11265 h 263472"/>
                    <a:gd name="connsiteX27" fmla="*/ 131771 w 226023"/>
                    <a:gd name="connsiteY27" fmla="*/ 12279 h 263472"/>
                    <a:gd name="connsiteX28" fmla="*/ 111429 w 226023"/>
                    <a:gd name="connsiteY28" fmla="*/ 17346 h 263472"/>
                    <a:gd name="connsiteX29" fmla="*/ 106908 w 226023"/>
                    <a:gd name="connsiteY29" fmla="*/ 60920 h 263472"/>
                    <a:gd name="connsiteX30" fmla="*/ 37971 w 226023"/>
                    <a:gd name="connsiteY30" fmla="*/ 59906 h 263472"/>
                    <a:gd name="connsiteX31" fmla="*/ 35711 w 226023"/>
                    <a:gd name="connsiteY31" fmla="*/ 63960 h 263472"/>
                    <a:gd name="connsiteX32" fmla="*/ 33450 w 226023"/>
                    <a:gd name="connsiteY32" fmla="*/ 76120 h 263472"/>
                    <a:gd name="connsiteX33" fmla="*/ 41361 w 226023"/>
                    <a:gd name="connsiteY33" fmla="*/ 83214 h 263472"/>
                    <a:gd name="connsiteX34" fmla="*/ 43622 w 226023"/>
                    <a:gd name="connsiteY34" fmla="*/ 100441 h 263472"/>
                    <a:gd name="connsiteX35" fmla="*/ 27800 w 226023"/>
                    <a:gd name="connsiteY35" fmla="*/ 100441 h 263472"/>
                    <a:gd name="connsiteX36" fmla="*/ 30060 w 226023"/>
                    <a:gd name="connsiteY36" fmla="*/ 107534 h 263472"/>
                    <a:gd name="connsiteX37" fmla="*/ 27800 w 226023"/>
                    <a:gd name="connsiteY37" fmla="*/ 114628 h 263472"/>
                    <a:gd name="connsiteX38" fmla="*/ 33450 w 226023"/>
                    <a:gd name="connsiteY38" fmla="*/ 121721 h 263472"/>
                    <a:gd name="connsiteX39" fmla="*/ 22149 w 226023"/>
                    <a:gd name="connsiteY39" fmla="*/ 153135 h 263472"/>
                    <a:gd name="connsiteX40" fmla="*/ 10848 w 226023"/>
                    <a:gd name="connsiteY40" fmla="*/ 153135 h 263472"/>
                    <a:gd name="connsiteX41" fmla="*/ 10848 w 226023"/>
                    <a:gd name="connsiteY41" fmla="*/ 163269 h 263472"/>
                    <a:gd name="connsiteX42" fmla="*/ 22149 w 226023"/>
                    <a:gd name="connsiteY42" fmla="*/ 165296 h 263472"/>
                    <a:gd name="connsiteX43" fmla="*/ 22149 w 226023"/>
                    <a:gd name="connsiteY43" fmla="*/ 177456 h 263472"/>
                    <a:gd name="connsiteX44" fmla="*/ 35711 w 226023"/>
                    <a:gd name="connsiteY44" fmla="*/ 177456 h 263472"/>
                    <a:gd name="connsiteX45" fmla="*/ 33450 w 226023"/>
                    <a:gd name="connsiteY45" fmla="*/ 184549 h 263472"/>
                    <a:gd name="connsiteX46" fmla="*/ 41361 w 226023"/>
                    <a:gd name="connsiteY46" fmla="*/ 189616 h 263472"/>
                    <a:gd name="connsiteX47" fmla="*/ 27800 w 226023"/>
                    <a:gd name="connsiteY47" fmla="*/ 189616 h 263472"/>
                    <a:gd name="connsiteX48" fmla="*/ 27800 w 226023"/>
                    <a:gd name="connsiteY48" fmla="*/ 196710 h 263472"/>
                    <a:gd name="connsiteX49" fmla="*/ 84306 w 226023"/>
                    <a:gd name="connsiteY49" fmla="*/ 240284 h 263472"/>
                    <a:gd name="connsiteX50" fmla="*/ 84306 w 226023"/>
                    <a:gd name="connsiteY50" fmla="*/ 257511 h 263472"/>
                    <a:gd name="connsiteX51" fmla="*/ 92217 w 226023"/>
                    <a:gd name="connsiteY51" fmla="*/ 263591 h 26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26023" h="263472">
                      <a:moveTo>
                        <a:pt x="92217" y="263591"/>
                      </a:moveTo>
                      <a:cubicBezTo>
                        <a:pt x="92217" y="263591"/>
                        <a:pt x="94477" y="244337"/>
                        <a:pt x="103518" y="244337"/>
                      </a:cubicBezTo>
                      <a:cubicBezTo>
                        <a:pt x="112559" y="244337"/>
                        <a:pt x="112559" y="247377"/>
                        <a:pt x="124990" y="250418"/>
                      </a:cubicBezTo>
                      <a:cubicBezTo>
                        <a:pt x="137421" y="253458"/>
                        <a:pt x="134031" y="247377"/>
                        <a:pt x="131771" y="236231"/>
                      </a:cubicBezTo>
                      <a:cubicBezTo>
                        <a:pt x="129510" y="225084"/>
                        <a:pt x="117079" y="217990"/>
                        <a:pt x="122730" y="211910"/>
                      </a:cubicBezTo>
                      <a:cubicBezTo>
                        <a:pt x="128381" y="205830"/>
                        <a:pt x="131771" y="212923"/>
                        <a:pt x="126120" y="201776"/>
                      </a:cubicBezTo>
                      <a:cubicBezTo>
                        <a:pt x="120470" y="190630"/>
                        <a:pt x="138551" y="197723"/>
                        <a:pt x="147593" y="195696"/>
                      </a:cubicBezTo>
                      <a:cubicBezTo>
                        <a:pt x="156634" y="193670"/>
                        <a:pt x="140812" y="180496"/>
                        <a:pt x="150983" y="182523"/>
                      </a:cubicBezTo>
                      <a:cubicBezTo>
                        <a:pt x="161154" y="185563"/>
                        <a:pt x="162284" y="192656"/>
                        <a:pt x="162284" y="192656"/>
                      </a:cubicBezTo>
                      <a:cubicBezTo>
                        <a:pt x="162284" y="192656"/>
                        <a:pt x="178105" y="186576"/>
                        <a:pt x="186016" y="187589"/>
                      </a:cubicBezTo>
                      <a:cubicBezTo>
                        <a:pt x="193927" y="188603"/>
                        <a:pt x="196188" y="200763"/>
                        <a:pt x="202968" y="205830"/>
                      </a:cubicBezTo>
                      <a:cubicBezTo>
                        <a:pt x="209749" y="210897"/>
                        <a:pt x="208619" y="205830"/>
                        <a:pt x="213140" y="190630"/>
                      </a:cubicBezTo>
                      <a:cubicBezTo>
                        <a:pt x="217660" y="175429"/>
                        <a:pt x="213140" y="175429"/>
                        <a:pt x="206358" y="171376"/>
                      </a:cubicBezTo>
                      <a:cubicBezTo>
                        <a:pt x="199578" y="167322"/>
                        <a:pt x="213140" y="161242"/>
                        <a:pt x="207489" y="153135"/>
                      </a:cubicBezTo>
                      <a:cubicBezTo>
                        <a:pt x="201838" y="145029"/>
                        <a:pt x="199578" y="148069"/>
                        <a:pt x="202968" y="136922"/>
                      </a:cubicBezTo>
                      <a:cubicBezTo>
                        <a:pt x="206358" y="127801"/>
                        <a:pt x="204099" y="123748"/>
                        <a:pt x="202968" y="118681"/>
                      </a:cubicBezTo>
                      <a:cubicBezTo>
                        <a:pt x="201838" y="113614"/>
                        <a:pt x="192797" y="105507"/>
                        <a:pt x="187147" y="103481"/>
                      </a:cubicBezTo>
                      <a:cubicBezTo>
                        <a:pt x="181496" y="101454"/>
                        <a:pt x="192797" y="100441"/>
                        <a:pt x="192797" y="100441"/>
                      </a:cubicBezTo>
                      <a:cubicBezTo>
                        <a:pt x="192797" y="100441"/>
                        <a:pt x="189407" y="90307"/>
                        <a:pt x="189407" y="82200"/>
                      </a:cubicBezTo>
                      <a:cubicBezTo>
                        <a:pt x="189407" y="74094"/>
                        <a:pt x="193927" y="74094"/>
                        <a:pt x="204099" y="72067"/>
                      </a:cubicBezTo>
                      <a:cubicBezTo>
                        <a:pt x="214269" y="69027"/>
                        <a:pt x="221050" y="72067"/>
                        <a:pt x="221050" y="72067"/>
                      </a:cubicBezTo>
                      <a:lnTo>
                        <a:pt x="222180" y="46733"/>
                      </a:lnTo>
                      <a:cubicBezTo>
                        <a:pt x="222180" y="46733"/>
                        <a:pt x="209749" y="42679"/>
                        <a:pt x="201838" y="42679"/>
                      </a:cubicBezTo>
                      <a:cubicBezTo>
                        <a:pt x="193927" y="42679"/>
                        <a:pt x="190537" y="41666"/>
                        <a:pt x="181496" y="43693"/>
                      </a:cubicBezTo>
                      <a:cubicBezTo>
                        <a:pt x="172455" y="45719"/>
                        <a:pt x="178105" y="37613"/>
                        <a:pt x="176976" y="32546"/>
                      </a:cubicBezTo>
                      <a:cubicBezTo>
                        <a:pt x="175846" y="27479"/>
                        <a:pt x="176976" y="11265"/>
                        <a:pt x="176976" y="11265"/>
                      </a:cubicBezTo>
                      <a:cubicBezTo>
                        <a:pt x="176976" y="11265"/>
                        <a:pt x="164545" y="6199"/>
                        <a:pt x="153243" y="11265"/>
                      </a:cubicBezTo>
                      <a:cubicBezTo>
                        <a:pt x="141942" y="16332"/>
                        <a:pt x="137421" y="8225"/>
                        <a:pt x="131771" y="12279"/>
                      </a:cubicBezTo>
                      <a:cubicBezTo>
                        <a:pt x="126120" y="16332"/>
                        <a:pt x="111429" y="17346"/>
                        <a:pt x="111429" y="17346"/>
                      </a:cubicBezTo>
                      <a:lnTo>
                        <a:pt x="106908" y="60920"/>
                      </a:lnTo>
                      <a:lnTo>
                        <a:pt x="37971" y="59906"/>
                      </a:lnTo>
                      <a:cubicBezTo>
                        <a:pt x="36840" y="61933"/>
                        <a:pt x="35711" y="62947"/>
                        <a:pt x="35711" y="63960"/>
                      </a:cubicBezTo>
                      <a:cubicBezTo>
                        <a:pt x="40231" y="68013"/>
                        <a:pt x="32320" y="72067"/>
                        <a:pt x="33450" y="76120"/>
                      </a:cubicBezTo>
                      <a:cubicBezTo>
                        <a:pt x="33450" y="76120"/>
                        <a:pt x="41361" y="82200"/>
                        <a:pt x="41361" y="83214"/>
                      </a:cubicBezTo>
                      <a:cubicBezTo>
                        <a:pt x="43622" y="89294"/>
                        <a:pt x="42491" y="94361"/>
                        <a:pt x="43622" y="100441"/>
                      </a:cubicBezTo>
                      <a:cubicBezTo>
                        <a:pt x="39101" y="100441"/>
                        <a:pt x="32320" y="99428"/>
                        <a:pt x="27800" y="100441"/>
                      </a:cubicBezTo>
                      <a:cubicBezTo>
                        <a:pt x="28930" y="101454"/>
                        <a:pt x="30060" y="107534"/>
                        <a:pt x="30060" y="107534"/>
                      </a:cubicBezTo>
                      <a:cubicBezTo>
                        <a:pt x="39101" y="106521"/>
                        <a:pt x="43622" y="113614"/>
                        <a:pt x="27800" y="114628"/>
                      </a:cubicBezTo>
                      <a:cubicBezTo>
                        <a:pt x="27800" y="117668"/>
                        <a:pt x="33450" y="120708"/>
                        <a:pt x="33450" y="121721"/>
                      </a:cubicBezTo>
                      <a:cubicBezTo>
                        <a:pt x="34581" y="127801"/>
                        <a:pt x="24409" y="145029"/>
                        <a:pt x="22149" y="153135"/>
                      </a:cubicBezTo>
                      <a:cubicBezTo>
                        <a:pt x="19889" y="153135"/>
                        <a:pt x="13108" y="152122"/>
                        <a:pt x="10848" y="153135"/>
                      </a:cubicBezTo>
                      <a:cubicBezTo>
                        <a:pt x="8587" y="154149"/>
                        <a:pt x="11978" y="161242"/>
                        <a:pt x="10848" y="163269"/>
                      </a:cubicBezTo>
                      <a:cubicBezTo>
                        <a:pt x="14238" y="165296"/>
                        <a:pt x="15369" y="164282"/>
                        <a:pt x="22149" y="165296"/>
                      </a:cubicBezTo>
                      <a:cubicBezTo>
                        <a:pt x="21019" y="171376"/>
                        <a:pt x="17629" y="174416"/>
                        <a:pt x="22149" y="177456"/>
                      </a:cubicBezTo>
                      <a:cubicBezTo>
                        <a:pt x="24409" y="178469"/>
                        <a:pt x="33450" y="176442"/>
                        <a:pt x="35711" y="177456"/>
                      </a:cubicBezTo>
                      <a:cubicBezTo>
                        <a:pt x="35711" y="177456"/>
                        <a:pt x="33450" y="182523"/>
                        <a:pt x="33450" y="184549"/>
                      </a:cubicBezTo>
                      <a:cubicBezTo>
                        <a:pt x="42491" y="183536"/>
                        <a:pt x="39101" y="188603"/>
                        <a:pt x="41361" y="189616"/>
                      </a:cubicBezTo>
                      <a:cubicBezTo>
                        <a:pt x="37971" y="189616"/>
                        <a:pt x="31190" y="188603"/>
                        <a:pt x="27800" y="189616"/>
                      </a:cubicBezTo>
                      <a:cubicBezTo>
                        <a:pt x="27800" y="189616"/>
                        <a:pt x="27800" y="196710"/>
                        <a:pt x="27800" y="196710"/>
                      </a:cubicBezTo>
                      <a:cubicBezTo>
                        <a:pt x="32320" y="199750"/>
                        <a:pt x="84306" y="240284"/>
                        <a:pt x="84306" y="240284"/>
                      </a:cubicBezTo>
                      <a:cubicBezTo>
                        <a:pt x="86566" y="246364"/>
                        <a:pt x="79786" y="250418"/>
                        <a:pt x="84306" y="257511"/>
                      </a:cubicBezTo>
                      <a:cubicBezTo>
                        <a:pt x="86566" y="262578"/>
                        <a:pt x="87696" y="261565"/>
                        <a:pt x="92217" y="26359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8" name="Freeform: Shape 397">
                  <a:extLst>
                    <a:ext uri="{FF2B5EF4-FFF2-40B4-BE49-F238E27FC236}">
                      <a16:creationId xmlns:a16="http://schemas.microsoft.com/office/drawing/2014/main" id="{8127CDF2-89A3-475E-83FD-450F0791C526}"/>
                    </a:ext>
                  </a:extLst>
                </p:cNvPr>
                <p:cNvSpPr/>
                <p:nvPr/>
              </p:nvSpPr>
              <p:spPr>
                <a:xfrm>
                  <a:off x="3956269" y="4017445"/>
                  <a:ext cx="124313" cy="192538"/>
                </a:xfrm>
                <a:custGeom>
                  <a:avLst/>
                  <a:gdLst>
                    <a:gd name="connsiteX0" fmla="*/ 28134 w 124313"/>
                    <a:gd name="connsiteY0" fmla="*/ 14080 h 192537"/>
                    <a:gd name="connsiteX1" fmla="*/ 28134 w 124313"/>
                    <a:gd name="connsiteY1" fmla="*/ 18134 h 192537"/>
                    <a:gd name="connsiteX2" fmla="*/ 25874 w 124313"/>
                    <a:gd name="connsiteY2" fmla="*/ 29281 h 192537"/>
                    <a:gd name="connsiteX3" fmla="*/ 10052 w 124313"/>
                    <a:gd name="connsiteY3" fmla="*/ 55628 h 192537"/>
                    <a:gd name="connsiteX4" fmla="*/ 11182 w 124313"/>
                    <a:gd name="connsiteY4" fmla="*/ 96162 h 192537"/>
                    <a:gd name="connsiteX5" fmla="*/ 31524 w 124313"/>
                    <a:gd name="connsiteY5" fmla="*/ 122509 h 192537"/>
                    <a:gd name="connsiteX6" fmla="*/ 24744 w 124313"/>
                    <a:gd name="connsiteY6" fmla="*/ 148857 h 192537"/>
                    <a:gd name="connsiteX7" fmla="*/ 10052 w 124313"/>
                    <a:gd name="connsiteY7" fmla="*/ 172164 h 192537"/>
                    <a:gd name="connsiteX8" fmla="*/ 21353 w 124313"/>
                    <a:gd name="connsiteY8" fmla="*/ 190404 h 192537"/>
                    <a:gd name="connsiteX9" fmla="*/ 41696 w 124313"/>
                    <a:gd name="connsiteY9" fmla="*/ 184324 h 192537"/>
                    <a:gd name="connsiteX10" fmla="*/ 60907 w 124313"/>
                    <a:gd name="connsiteY10" fmla="*/ 182298 h 192537"/>
                    <a:gd name="connsiteX11" fmla="*/ 74469 w 124313"/>
                    <a:gd name="connsiteY11" fmla="*/ 190404 h 192537"/>
                    <a:gd name="connsiteX12" fmla="*/ 97071 w 124313"/>
                    <a:gd name="connsiteY12" fmla="*/ 164057 h 192537"/>
                    <a:gd name="connsiteX13" fmla="*/ 102722 w 124313"/>
                    <a:gd name="connsiteY13" fmla="*/ 128589 h 192537"/>
                    <a:gd name="connsiteX14" fmla="*/ 109503 w 124313"/>
                    <a:gd name="connsiteY14" fmla="*/ 108322 h 192537"/>
                    <a:gd name="connsiteX15" fmla="*/ 124194 w 124313"/>
                    <a:gd name="connsiteY15" fmla="*/ 81975 h 192537"/>
                    <a:gd name="connsiteX16" fmla="*/ 118544 w 124313"/>
                    <a:gd name="connsiteY16" fmla="*/ 67788 h 192537"/>
                    <a:gd name="connsiteX17" fmla="*/ 110633 w 124313"/>
                    <a:gd name="connsiteY17" fmla="*/ 67788 h 192537"/>
                    <a:gd name="connsiteX18" fmla="*/ 102722 w 124313"/>
                    <a:gd name="connsiteY18" fmla="*/ 55628 h 192537"/>
                    <a:gd name="connsiteX19" fmla="*/ 95941 w 124313"/>
                    <a:gd name="connsiteY19" fmla="*/ 55628 h 192537"/>
                    <a:gd name="connsiteX20" fmla="*/ 82380 w 124313"/>
                    <a:gd name="connsiteY20" fmla="*/ 31307 h 192537"/>
                    <a:gd name="connsiteX21" fmla="*/ 52997 w 124313"/>
                    <a:gd name="connsiteY21" fmla="*/ 19147 h 192537"/>
                    <a:gd name="connsiteX22" fmla="*/ 33785 w 124313"/>
                    <a:gd name="connsiteY22" fmla="*/ 21174 h 192537"/>
                    <a:gd name="connsiteX23" fmla="*/ 28134 w 124313"/>
                    <a:gd name="connsiteY23" fmla="*/ 9013 h 192537"/>
                    <a:gd name="connsiteX24" fmla="*/ 28134 w 124313"/>
                    <a:gd name="connsiteY24" fmla="*/ 14080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4313" h="192537">
                      <a:moveTo>
                        <a:pt x="28134" y="14080"/>
                      </a:moveTo>
                      <a:cubicBezTo>
                        <a:pt x="30394" y="15094"/>
                        <a:pt x="29264" y="17120"/>
                        <a:pt x="28134" y="18134"/>
                      </a:cubicBezTo>
                      <a:cubicBezTo>
                        <a:pt x="27004" y="23200"/>
                        <a:pt x="25874" y="29281"/>
                        <a:pt x="25874" y="29281"/>
                      </a:cubicBezTo>
                      <a:lnTo>
                        <a:pt x="10052" y="55628"/>
                      </a:lnTo>
                      <a:cubicBezTo>
                        <a:pt x="10052" y="55628"/>
                        <a:pt x="11182" y="85015"/>
                        <a:pt x="11182" y="96162"/>
                      </a:cubicBezTo>
                      <a:cubicBezTo>
                        <a:pt x="11182" y="107309"/>
                        <a:pt x="31524" y="122509"/>
                        <a:pt x="31524" y="122509"/>
                      </a:cubicBezTo>
                      <a:cubicBezTo>
                        <a:pt x="31524" y="122509"/>
                        <a:pt x="30394" y="137710"/>
                        <a:pt x="24744" y="148857"/>
                      </a:cubicBezTo>
                      <a:cubicBezTo>
                        <a:pt x="19093" y="160004"/>
                        <a:pt x="10052" y="172164"/>
                        <a:pt x="10052" y="172164"/>
                      </a:cubicBezTo>
                      <a:cubicBezTo>
                        <a:pt x="10052" y="172164"/>
                        <a:pt x="13443" y="185337"/>
                        <a:pt x="21353" y="190404"/>
                      </a:cubicBezTo>
                      <a:cubicBezTo>
                        <a:pt x="30394" y="195471"/>
                        <a:pt x="41696" y="184324"/>
                        <a:pt x="41696" y="184324"/>
                      </a:cubicBezTo>
                      <a:lnTo>
                        <a:pt x="60907" y="182298"/>
                      </a:lnTo>
                      <a:lnTo>
                        <a:pt x="74469" y="190404"/>
                      </a:lnTo>
                      <a:cubicBezTo>
                        <a:pt x="74469" y="190404"/>
                        <a:pt x="95941" y="170137"/>
                        <a:pt x="97071" y="164057"/>
                      </a:cubicBezTo>
                      <a:cubicBezTo>
                        <a:pt x="98202" y="157977"/>
                        <a:pt x="102722" y="128589"/>
                        <a:pt x="102722" y="128589"/>
                      </a:cubicBezTo>
                      <a:lnTo>
                        <a:pt x="109503" y="108322"/>
                      </a:lnTo>
                      <a:cubicBezTo>
                        <a:pt x="109503" y="108322"/>
                        <a:pt x="118544" y="91095"/>
                        <a:pt x="124194" y="81975"/>
                      </a:cubicBezTo>
                      <a:cubicBezTo>
                        <a:pt x="121934" y="76908"/>
                        <a:pt x="123064" y="70828"/>
                        <a:pt x="118544" y="67788"/>
                      </a:cubicBezTo>
                      <a:cubicBezTo>
                        <a:pt x="117413" y="66775"/>
                        <a:pt x="111763" y="68801"/>
                        <a:pt x="110633" y="67788"/>
                      </a:cubicBezTo>
                      <a:cubicBezTo>
                        <a:pt x="108373" y="66775"/>
                        <a:pt x="102722" y="55628"/>
                        <a:pt x="102722" y="55628"/>
                      </a:cubicBezTo>
                      <a:lnTo>
                        <a:pt x="95941" y="55628"/>
                      </a:lnTo>
                      <a:cubicBezTo>
                        <a:pt x="90291" y="48534"/>
                        <a:pt x="90291" y="36374"/>
                        <a:pt x="82380" y="31307"/>
                      </a:cubicBezTo>
                      <a:cubicBezTo>
                        <a:pt x="81250" y="30294"/>
                        <a:pt x="52997" y="19147"/>
                        <a:pt x="52997" y="19147"/>
                      </a:cubicBezTo>
                      <a:cubicBezTo>
                        <a:pt x="45086" y="18134"/>
                        <a:pt x="38305" y="23200"/>
                        <a:pt x="33785" y="21174"/>
                      </a:cubicBezTo>
                      <a:cubicBezTo>
                        <a:pt x="30394" y="20160"/>
                        <a:pt x="30394" y="9013"/>
                        <a:pt x="28134" y="9013"/>
                      </a:cubicBezTo>
                      <a:lnTo>
                        <a:pt x="28134" y="1408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9" name="Freeform: Shape 398">
                  <a:extLst>
                    <a:ext uri="{FF2B5EF4-FFF2-40B4-BE49-F238E27FC236}">
                      <a16:creationId xmlns:a16="http://schemas.microsoft.com/office/drawing/2014/main" id="{F06A668E-F15B-4845-BBBD-0A1C51D87FDC}"/>
                    </a:ext>
                  </a:extLst>
                </p:cNvPr>
                <p:cNvSpPr/>
                <p:nvPr/>
              </p:nvSpPr>
              <p:spPr>
                <a:xfrm>
                  <a:off x="5713605" y="2121454"/>
                  <a:ext cx="6091345" cy="3070471"/>
                </a:xfrm>
                <a:custGeom>
                  <a:avLst/>
                  <a:gdLst>
                    <a:gd name="connsiteX0" fmla="*/ 5956741 w 6091344"/>
                    <a:gd name="connsiteY0" fmla="*/ 2968015 h 3070471"/>
                    <a:gd name="connsiteX1" fmla="*/ 5954481 w 6091344"/>
                    <a:gd name="connsiteY1" fmla="*/ 2985243 h 3070471"/>
                    <a:gd name="connsiteX2" fmla="*/ 5960132 w 6091344"/>
                    <a:gd name="connsiteY2" fmla="*/ 2987269 h 3070471"/>
                    <a:gd name="connsiteX3" fmla="*/ 5984994 w 6091344"/>
                    <a:gd name="connsiteY3" fmla="*/ 3023750 h 3070471"/>
                    <a:gd name="connsiteX4" fmla="*/ 5996295 w 6091344"/>
                    <a:gd name="connsiteY4" fmla="*/ 3028817 h 3070471"/>
                    <a:gd name="connsiteX5" fmla="*/ 6012117 w 6091344"/>
                    <a:gd name="connsiteY5" fmla="*/ 3051111 h 3070471"/>
                    <a:gd name="connsiteX6" fmla="*/ 6031329 w 6091344"/>
                    <a:gd name="connsiteY6" fmla="*/ 3056178 h 3070471"/>
                    <a:gd name="connsiteX7" fmla="*/ 6047151 w 6091344"/>
                    <a:gd name="connsiteY7" fmla="*/ 3066311 h 3070471"/>
                    <a:gd name="connsiteX8" fmla="*/ 6058452 w 6091344"/>
                    <a:gd name="connsiteY8" fmla="*/ 3061244 h 3070471"/>
                    <a:gd name="connsiteX9" fmla="*/ 6060713 w 6091344"/>
                    <a:gd name="connsiteY9" fmla="*/ 3059217 h 3070471"/>
                    <a:gd name="connsiteX10" fmla="*/ 6035849 w 6091344"/>
                    <a:gd name="connsiteY10" fmla="*/ 3039964 h 3070471"/>
                    <a:gd name="connsiteX11" fmla="*/ 6033590 w 6091344"/>
                    <a:gd name="connsiteY11" fmla="*/ 3032870 h 3070471"/>
                    <a:gd name="connsiteX12" fmla="*/ 6012117 w 6091344"/>
                    <a:gd name="connsiteY12" fmla="*/ 3027803 h 3070471"/>
                    <a:gd name="connsiteX13" fmla="*/ 6012117 w 6091344"/>
                    <a:gd name="connsiteY13" fmla="*/ 3020710 h 3070471"/>
                    <a:gd name="connsiteX14" fmla="*/ 6009857 w 6091344"/>
                    <a:gd name="connsiteY14" fmla="*/ 3020710 h 3070471"/>
                    <a:gd name="connsiteX15" fmla="*/ 5974823 w 6091344"/>
                    <a:gd name="connsiteY15" fmla="*/ 2984229 h 3070471"/>
                    <a:gd name="connsiteX16" fmla="*/ 5974823 w 6091344"/>
                    <a:gd name="connsiteY16" fmla="*/ 2974096 h 3070471"/>
                    <a:gd name="connsiteX17" fmla="*/ 5956741 w 6091344"/>
                    <a:gd name="connsiteY17" fmla="*/ 2968015 h 3070471"/>
                    <a:gd name="connsiteX18" fmla="*/ 6051671 w 6091344"/>
                    <a:gd name="connsiteY18" fmla="*/ 2995376 h 3070471"/>
                    <a:gd name="connsiteX19" fmla="*/ 6049412 w 6091344"/>
                    <a:gd name="connsiteY19" fmla="*/ 3012603 h 3070471"/>
                    <a:gd name="connsiteX20" fmla="*/ 6057322 w 6091344"/>
                    <a:gd name="connsiteY20" fmla="*/ 3014630 h 3070471"/>
                    <a:gd name="connsiteX21" fmla="*/ 6059582 w 6091344"/>
                    <a:gd name="connsiteY21" fmla="*/ 3004496 h 3070471"/>
                    <a:gd name="connsiteX22" fmla="*/ 6051671 w 6091344"/>
                    <a:gd name="connsiteY22" fmla="*/ 2995376 h 3070471"/>
                    <a:gd name="connsiteX23" fmla="*/ 6081054 w 6091344"/>
                    <a:gd name="connsiteY23" fmla="*/ 3031857 h 3070471"/>
                    <a:gd name="connsiteX24" fmla="*/ 6083315 w 6091344"/>
                    <a:gd name="connsiteY24" fmla="*/ 3038950 h 3070471"/>
                    <a:gd name="connsiteX25" fmla="*/ 6081054 w 6091344"/>
                    <a:gd name="connsiteY25" fmla="*/ 3031857 h 3070471"/>
                    <a:gd name="connsiteX26" fmla="*/ 2118855 w 6091344"/>
                    <a:gd name="connsiteY26" fmla="*/ 2990309 h 3070471"/>
                    <a:gd name="connsiteX27" fmla="*/ 2113204 w 6091344"/>
                    <a:gd name="connsiteY27" fmla="*/ 2995376 h 3070471"/>
                    <a:gd name="connsiteX28" fmla="*/ 2115465 w 6091344"/>
                    <a:gd name="connsiteY28" fmla="*/ 3007536 h 3070471"/>
                    <a:gd name="connsiteX29" fmla="*/ 2129026 w 6091344"/>
                    <a:gd name="connsiteY29" fmla="*/ 2990309 h 3070471"/>
                    <a:gd name="connsiteX30" fmla="*/ 2118855 w 6091344"/>
                    <a:gd name="connsiteY30" fmla="*/ 2990309 h 3070471"/>
                    <a:gd name="connsiteX31" fmla="*/ 136625 w 6091344"/>
                    <a:gd name="connsiteY31" fmla="*/ 125549 h 3070471"/>
                    <a:gd name="connsiteX32" fmla="*/ 128715 w 6091344"/>
                    <a:gd name="connsiteY32" fmla="*/ 120483 h 3070471"/>
                    <a:gd name="connsiteX33" fmla="*/ 128715 w 6091344"/>
                    <a:gd name="connsiteY33" fmla="*/ 98189 h 3070471"/>
                    <a:gd name="connsiteX34" fmla="*/ 117413 w 6091344"/>
                    <a:gd name="connsiteY34" fmla="*/ 75895 h 3070471"/>
                    <a:gd name="connsiteX35" fmla="*/ 142275 w 6091344"/>
                    <a:gd name="connsiteY35" fmla="*/ 93122 h 3070471"/>
                    <a:gd name="connsiteX36" fmla="*/ 194261 w 6091344"/>
                    <a:gd name="connsiteY36" fmla="*/ 86029 h 3070471"/>
                    <a:gd name="connsiteX37" fmla="*/ 194261 w 6091344"/>
                    <a:gd name="connsiteY37" fmla="*/ 73868 h 3070471"/>
                    <a:gd name="connsiteX38" fmla="*/ 227034 w 6091344"/>
                    <a:gd name="connsiteY38" fmla="*/ 56641 h 3070471"/>
                    <a:gd name="connsiteX39" fmla="*/ 238336 w 6091344"/>
                    <a:gd name="connsiteY39" fmla="*/ 58668 h 3070471"/>
                    <a:gd name="connsiteX40" fmla="*/ 238336 w 6091344"/>
                    <a:gd name="connsiteY40" fmla="*/ 27254 h 3070471"/>
                    <a:gd name="connsiteX41" fmla="*/ 238336 w 6091344"/>
                    <a:gd name="connsiteY41" fmla="*/ 15094 h 3070471"/>
                    <a:gd name="connsiteX42" fmla="*/ 260938 w 6091344"/>
                    <a:gd name="connsiteY42" fmla="*/ 9013 h 3070471"/>
                    <a:gd name="connsiteX43" fmla="*/ 269980 w 6091344"/>
                    <a:gd name="connsiteY43" fmla="*/ 19147 h 3070471"/>
                    <a:gd name="connsiteX44" fmla="*/ 279020 w 6091344"/>
                    <a:gd name="connsiteY44" fmla="*/ 24214 h 3070471"/>
                    <a:gd name="connsiteX45" fmla="*/ 283540 w 6091344"/>
                    <a:gd name="connsiteY45" fmla="*/ 37387 h 3070471"/>
                    <a:gd name="connsiteX46" fmla="*/ 299362 w 6091344"/>
                    <a:gd name="connsiteY46" fmla="*/ 47521 h 3070471"/>
                    <a:gd name="connsiteX47" fmla="*/ 315184 w 6091344"/>
                    <a:gd name="connsiteY47" fmla="*/ 48534 h 3070471"/>
                    <a:gd name="connsiteX48" fmla="*/ 321965 w 6091344"/>
                    <a:gd name="connsiteY48" fmla="*/ 62721 h 3070471"/>
                    <a:gd name="connsiteX49" fmla="*/ 340046 w 6091344"/>
                    <a:gd name="connsiteY49" fmla="*/ 71842 h 3070471"/>
                    <a:gd name="connsiteX50" fmla="*/ 355868 w 6091344"/>
                    <a:gd name="connsiteY50" fmla="*/ 71842 h 3070471"/>
                    <a:gd name="connsiteX51" fmla="*/ 362649 w 6091344"/>
                    <a:gd name="connsiteY51" fmla="*/ 85015 h 3070471"/>
                    <a:gd name="connsiteX52" fmla="*/ 372820 w 6091344"/>
                    <a:gd name="connsiteY52" fmla="*/ 86029 h 3070471"/>
                    <a:gd name="connsiteX53" fmla="*/ 388642 w 6091344"/>
                    <a:gd name="connsiteY53" fmla="*/ 82989 h 3070471"/>
                    <a:gd name="connsiteX54" fmla="*/ 390902 w 6091344"/>
                    <a:gd name="connsiteY54" fmla="*/ 87042 h 3070471"/>
                    <a:gd name="connsiteX55" fmla="*/ 394293 w 6091344"/>
                    <a:gd name="connsiteY55" fmla="*/ 98189 h 3070471"/>
                    <a:gd name="connsiteX56" fmla="*/ 408984 w 6091344"/>
                    <a:gd name="connsiteY56" fmla="*/ 102242 h 3070471"/>
                    <a:gd name="connsiteX57" fmla="*/ 438367 w 6091344"/>
                    <a:gd name="connsiteY57" fmla="*/ 106296 h 3070471"/>
                    <a:gd name="connsiteX58" fmla="*/ 456449 w 6091344"/>
                    <a:gd name="connsiteY58" fmla="*/ 111363 h 3070471"/>
                    <a:gd name="connsiteX59" fmla="*/ 473401 w 6091344"/>
                    <a:gd name="connsiteY59" fmla="*/ 113389 h 3070471"/>
                    <a:gd name="connsiteX60" fmla="*/ 470010 w 6091344"/>
                    <a:gd name="connsiteY60" fmla="*/ 133656 h 3070471"/>
                    <a:gd name="connsiteX61" fmla="*/ 466620 w 6091344"/>
                    <a:gd name="connsiteY61" fmla="*/ 151897 h 3070471"/>
                    <a:gd name="connsiteX62" fmla="*/ 470010 w 6091344"/>
                    <a:gd name="connsiteY62" fmla="*/ 183311 h 3070471"/>
                    <a:gd name="connsiteX63" fmla="*/ 458709 w 6091344"/>
                    <a:gd name="connsiteY63" fmla="*/ 184324 h 3070471"/>
                    <a:gd name="connsiteX64" fmla="*/ 453058 w 6091344"/>
                    <a:gd name="connsiteY64" fmla="*/ 192431 h 3070471"/>
                    <a:gd name="connsiteX65" fmla="*/ 442888 w 6091344"/>
                    <a:gd name="connsiteY65" fmla="*/ 198511 h 3070471"/>
                    <a:gd name="connsiteX66" fmla="*/ 416895 w 6091344"/>
                    <a:gd name="connsiteY66" fmla="*/ 222832 h 3070471"/>
                    <a:gd name="connsiteX67" fmla="*/ 397683 w 6091344"/>
                    <a:gd name="connsiteY67" fmla="*/ 244112 h 3070471"/>
                    <a:gd name="connsiteX68" fmla="*/ 401073 w 6091344"/>
                    <a:gd name="connsiteY68" fmla="*/ 258299 h 3070471"/>
                    <a:gd name="connsiteX69" fmla="*/ 416895 w 6091344"/>
                    <a:gd name="connsiteY69" fmla="*/ 259313 h 3070471"/>
                    <a:gd name="connsiteX70" fmla="*/ 437237 w 6091344"/>
                    <a:gd name="connsiteY70" fmla="*/ 270460 h 3070471"/>
                    <a:gd name="connsiteX71" fmla="*/ 448538 w 6091344"/>
                    <a:gd name="connsiteY71" fmla="*/ 274513 h 3070471"/>
                    <a:gd name="connsiteX72" fmla="*/ 438367 w 6091344"/>
                    <a:gd name="connsiteY72" fmla="*/ 287687 h 3070471"/>
                    <a:gd name="connsiteX73" fmla="*/ 425936 w 6091344"/>
                    <a:gd name="connsiteY73" fmla="*/ 298834 h 3070471"/>
                    <a:gd name="connsiteX74" fmla="*/ 425936 w 6091344"/>
                    <a:gd name="connsiteY74" fmla="*/ 317074 h 3070471"/>
                    <a:gd name="connsiteX75" fmla="*/ 427066 w 6091344"/>
                    <a:gd name="connsiteY75" fmla="*/ 343421 h 3070471"/>
                    <a:gd name="connsiteX76" fmla="*/ 444018 w 6091344"/>
                    <a:gd name="connsiteY76" fmla="*/ 347475 h 3070471"/>
                    <a:gd name="connsiteX77" fmla="*/ 434977 w 6091344"/>
                    <a:gd name="connsiteY77" fmla="*/ 356595 h 3070471"/>
                    <a:gd name="connsiteX78" fmla="*/ 439497 w 6091344"/>
                    <a:gd name="connsiteY78" fmla="*/ 364702 h 3070471"/>
                    <a:gd name="connsiteX79" fmla="*/ 436107 w 6091344"/>
                    <a:gd name="connsiteY79" fmla="*/ 366728 h 3070471"/>
                    <a:gd name="connsiteX80" fmla="*/ 429326 w 6091344"/>
                    <a:gd name="connsiteY80" fmla="*/ 359635 h 3070471"/>
                    <a:gd name="connsiteX81" fmla="*/ 420285 w 6091344"/>
                    <a:gd name="connsiteY81" fmla="*/ 364702 h 3070471"/>
                    <a:gd name="connsiteX82" fmla="*/ 428196 w 6091344"/>
                    <a:gd name="connsiteY82" fmla="*/ 370782 h 3070471"/>
                    <a:gd name="connsiteX83" fmla="*/ 418025 w 6091344"/>
                    <a:gd name="connsiteY83" fmla="*/ 386996 h 3070471"/>
                    <a:gd name="connsiteX84" fmla="*/ 406724 w 6091344"/>
                    <a:gd name="connsiteY84" fmla="*/ 386996 h 3070471"/>
                    <a:gd name="connsiteX85" fmla="*/ 395423 w 6091344"/>
                    <a:gd name="connsiteY85" fmla="*/ 392062 h 3070471"/>
                    <a:gd name="connsiteX86" fmla="*/ 379601 w 6091344"/>
                    <a:gd name="connsiteY86" fmla="*/ 379902 h 3070471"/>
                    <a:gd name="connsiteX87" fmla="*/ 371690 w 6091344"/>
                    <a:gd name="connsiteY87" fmla="*/ 379902 h 3070471"/>
                    <a:gd name="connsiteX88" fmla="*/ 366040 w 6091344"/>
                    <a:gd name="connsiteY88" fmla="*/ 372808 h 3070471"/>
                    <a:gd name="connsiteX89" fmla="*/ 358129 w 6091344"/>
                    <a:gd name="connsiteY89" fmla="*/ 377875 h 3070471"/>
                    <a:gd name="connsiteX90" fmla="*/ 331006 w 6091344"/>
                    <a:gd name="connsiteY90" fmla="*/ 370782 h 3070471"/>
                    <a:gd name="connsiteX91" fmla="*/ 311793 w 6091344"/>
                    <a:gd name="connsiteY91" fmla="*/ 388009 h 3070471"/>
                    <a:gd name="connsiteX92" fmla="*/ 298233 w 6091344"/>
                    <a:gd name="connsiteY92" fmla="*/ 390036 h 3070471"/>
                    <a:gd name="connsiteX93" fmla="*/ 293712 w 6091344"/>
                    <a:gd name="connsiteY93" fmla="*/ 412329 h 3070471"/>
                    <a:gd name="connsiteX94" fmla="*/ 273370 w 6091344"/>
                    <a:gd name="connsiteY94" fmla="*/ 421450 h 3070471"/>
                    <a:gd name="connsiteX95" fmla="*/ 249637 w 6091344"/>
                    <a:gd name="connsiteY95" fmla="*/ 420436 h 3070471"/>
                    <a:gd name="connsiteX96" fmla="*/ 238336 w 6091344"/>
                    <a:gd name="connsiteY96" fmla="*/ 420436 h 3070471"/>
                    <a:gd name="connsiteX97" fmla="*/ 212343 w 6091344"/>
                    <a:gd name="connsiteY97" fmla="*/ 412329 h 3070471"/>
                    <a:gd name="connsiteX98" fmla="*/ 189741 w 6091344"/>
                    <a:gd name="connsiteY98" fmla="*/ 413343 h 3070471"/>
                    <a:gd name="connsiteX99" fmla="*/ 167138 w 6091344"/>
                    <a:gd name="connsiteY99" fmla="*/ 404223 h 3070471"/>
                    <a:gd name="connsiteX100" fmla="*/ 149057 w 6091344"/>
                    <a:gd name="connsiteY100" fmla="*/ 398142 h 3070471"/>
                    <a:gd name="connsiteX101" fmla="*/ 133235 w 6091344"/>
                    <a:gd name="connsiteY101" fmla="*/ 393076 h 3070471"/>
                    <a:gd name="connsiteX102" fmla="*/ 121933 w 6091344"/>
                    <a:gd name="connsiteY102" fmla="*/ 379902 h 3070471"/>
                    <a:gd name="connsiteX103" fmla="*/ 142275 w 6091344"/>
                    <a:gd name="connsiteY103" fmla="*/ 367742 h 3070471"/>
                    <a:gd name="connsiteX104" fmla="*/ 144536 w 6091344"/>
                    <a:gd name="connsiteY104" fmla="*/ 341395 h 3070471"/>
                    <a:gd name="connsiteX105" fmla="*/ 152447 w 6091344"/>
                    <a:gd name="connsiteY105" fmla="*/ 329234 h 3070471"/>
                    <a:gd name="connsiteX106" fmla="*/ 154707 w 6091344"/>
                    <a:gd name="connsiteY106" fmla="*/ 324167 h 3070471"/>
                    <a:gd name="connsiteX107" fmla="*/ 146796 w 6091344"/>
                    <a:gd name="connsiteY107" fmla="*/ 319101 h 3070471"/>
                    <a:gd name="connsiteX108" fmla="*/ 146796 w 6091344"/>
                    <a:gd name="connsiteY108" fmla="*/ 296807 h 3070471"/>
                    <a:gd name="connsiteX109" fmla="*/ 152447 w 6091344"/>
                    <a:gd name="connsiteY109" fmla="*/ 294780 h 3070471"/>
                    <a:gd name="connsiteX110" fmla="*/ 146796 w 6091344"/>
                    <a:gd name="connsiteY110" fmla="*/ 287687 h 3070471"/>
                    <a:gd name="connsiteX111" fmla="*/ 146796 w 6091344"/>
                    <a:gd name="connsiteY111" fmla="*/ 258299 h 3070471"/>
                    <a:gd name="connsiteX112" fmla="*/ 141146 w 6091344"/>
                    <a:gd name="connsiteY112" fmla="*/ 260326 h 3070471"/>
                    <a:gd name="connsiteX113" fmla="*/ 135495 w 6091344"/>
                    <a:gd name="connsiteY113" fmla="*/ 253232 h 3070471"/>
                    <a:gd name="connsiteX114" fmla="*/ 100462 w 6091344"/>
                    <a:gd name="connsiteY114" fmla="*/ 230939 h 3070471"/>
                    <a:gd name="connsiteX115" fmla="*/ 100462 w 6091344"/>
                    <a:gd name="connsiteY115" fmla="*/ 216752 h 3070471"/>
                    <a:gd name="connsiteX116" fmla="*/ 100462 w 6091344"/>
                    <a:gd name="connsiteY116" fmla="*/ 206618 h 3070471"/>
                    <a:gd name="connsiteX117" fmla="*/ 86900 w 6091344"/>
                    <a:gd name="connsiteY117" fmla="*/ 206618 h 3070471"/>
                    <a:gd name="connsiteX118" fmla="*/ 84640 w 6091344"/>
                    <a:gd name="connsiteY118" fmla="*/ 201551 h 3070471"/>
                    <a:gd name="connsiteX119" fmla="*/ 86900 w 6091344"/>
                    <a:gd name="connsiteY119" fmla="*/ 194458 h 3070471"/>
                    <a:gd name="connsiteX120" fmla="*/ 73338 w 6091344"/>
                    <a:gd name="connsiteY120" fmla="*/ 194458 h 3070471"/>
                    <a:gd name="connsiteX121" fmla="*/ 78989 w 6091344"/>
                    <a:gd name="connsiteY121" fmla="*/ 189391 h 3070471"/>
                    <a:gd name="connsiteX122" fmla="*/ 84640 w 6091344"/>
                    <a:gd name="connsiteY122" fmla="*/ 182298 h 3070471"/>
                    <a:gd name="connsiteX123" fmla="*/ 76729 w 6091344"/>
                    <a:gd name="connsiteY123" fmla="*/ 180271 h 3070471"/>
                    <a:gd name="connsiteX124" fmla="*/ 63167 w 6091344"/>
                    <a:gd name="connsiteY124" fmla="*/ 194458 h 3070471"/>
                    <a:gd name="connsiteX125" fmla="*/ 47346 w 6091344"/>
                    <a:gd name="connsiteY125" fmla="*/ 172164 h 3070471"/>
                    <a:gd name="connsiteX126" fmla="*/ 41695 w 6091344"/>
                    <a:gd name="connsiteY126" fmla="*/ 174191 h 3070471"/>
                    <a:gd name="connsiteX127" fmla="*/ 39435 w 6091344"/>
                    <a:gd name="connsiteY127" fmla="*/ 167097 h 3070471"/>
                    <a:gd name="connsiteX128" fmla="*/ 12312 w 6091344"/>
                    <a:gd name="connsiteY128" fmla="*/ 169124 h 3070471"/>
                    <a:gd name="connsiteX129" fmla="*/ 10052 w 6091344"/>
                    <a:gd name="connsiteY129" fmla="*/ 164057 h 3070471"/>
                    <a:gd name="connsiteX130" fmla="*/ 15703 w 6091344"/>
                    <a:gd name="connsiteY130" fmla="*/ 158990 h 3070471"/>
                    <a:gd name="connsiteX131" fmla="*/ 15703 w 6091344"/>
                    <a:gd name="connsiteY131" fmla="*/ 151897 h 3070471"/>
                    <a:gd name="connsiteX132" fmla="*/ 27004 w 6091344"/>
                    <a:gd name="connsiteY132" fmla="*/ 153923 h 3070471"/>
                    <a:gd name="connsiteX133" fmla="*/ 29263 w 6091344"/>
                    <a:gd name="connsiteY133" fmla="*/ 148857 h 3070471"/>
                    <a:gd name="connsiteX134" fmla="*/ 13442 w 6091344"/>
                    <a:gd name="connsiteY134" fmla="*/ 141763 h 3070471"/>
                    <a:gd name="connsiteX135" fmla="*/ 13442 w 6091344"/>
                    <a:gd name="connsiteY135" fmla="*/ 136696 h 3070471"/>
                    <a:gd name="connsiteX136" fmla="*/ 27004 w 6091344"/>
                    <a:gd name="connsiteY136" fmla="*/ 129603 h 3070471"/>
                    <a:gd name="connsiteX137" fmla="*/ 46215 w 6091344"/>
                    <a:gd name="connsiteY137" fmla="*/ 131630 h 3070471"/>
                    <a:gd name="connsiteX138" fmla="*/ 51866 w 6091344"/>
                    <a:gd name="connsiteY138" fmla="*/ 124536 h 3070471"/>
                    <a:gd name="connsiteX139" fmla="*/ 76729 w 6091344"/>
                    <a:gd name="connsiteY139" fmla="*/ 138723 h 3070471"/>
                    <a:gd name="connsiteX140" fmla="*/ 82379 w 6091344"/>
                    <a:gd name="connsiteY140" fmla="*/ 138723 h 3070471"/>
                    <a:gd name="connsiteX141" fmla="*/ 88030 w 6091344"/>
                    <a:gd name="connsiteY141" fmla="*/ 128590 h 3070471"/>
                    <a:gd name="connsiteX142" fmla="*/ 101591 w 6091344"/>
                    <a:gd name="connsiteY142" fmla="*/ 130616 h 3070471"/>
                    <a:gd name="connsiteX143" fmla="*/ 103852 w 6091344"/>
                    <a:gd name="connsiteY143" fmla="*/ 125549 h 3070471"/>
                    <a:gd name="connsiteX144" fmla="*/ 510695 w 6091344"/>
                    <a:gd name="connsiteY144" fmla="*/ 388009 h 3070471"/>
                    <a:gd name="connsiteX145" fmla="*/ 499394 w 6091344"/>
                    <a:gd name="connsiteY145" fmla="*/ 405236 h 3070471"/>
                    <a:gd name="connsiteX146" fmla="*/ 483572 w 6091344"/>
                    <a:gd name="connsiteY146" fmla="*/ 412329 h 3070471"/>
                    <a:gd name="connsiteX147" fmla="*/ 485832 w 6091344"/>
                    <a:gd name="connsiteY147" fmla="*/ 446784 h 3070471"/>
                    <a:gd name="connsiteX148" fmla="*/ 483572 w 6091344"/>
                    <a:gd name="connsiteY148" fmla="*/ 448810 h 3070471"/>
                    <a:gd name="connsiteX149" fmla="*/ 510695 w 6091344"/>
                    <a:gd name="connsiteY149" fmla="*/ 466037 h 3070471"/>
                    <a:gd name="connsiteX150" fmla="*/ 518606 w 6091344"/>
                    <a:gd name="connsiteY150" fmla="*/ 393076 h 3070471"/>
                    <a:gd name="connsiteX151" fmla="*/ 510695 w 6091344"/>
                    <a:gd name="connsiteY151" fmla="*/ 388009 h 3070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091344" h="3070471">
                      <a:moveTo>
                        <a:pt x="5956741" y="2968015"/>
                      </a:moveTo>
                      <a:cubicBezTo>
                        <a:pt x="5956741" y="2968015"/>
                        <a:pt x="5954481" y="2981189"/>
                        <a:pt x="5954481" y="2985243"/>
                      </a:cubicBezTo>
                      <a:lnTo>
                        <a:pt x="5960132" y="2987269"/>
                      </a:lnTo>
                      <a:cubicBezTo>
                        <a:pt x="5964653" y="2999429"/>
                        <a:pt x="5973693" y="3016656"/>
                        <a:pt x="5984994" y="3023750"/>
                      </a:cubicBezTo>
                      <a:cubicBezTo>
                        <a:pt x="5987255" y="3025777"/>
                        <a:pt x="5994035" y="3025777"/>
                        <a:pt x="5996295" y="3028817"/>
                      </a:cubicBezTo>
                      <a:cubicBezTo>
                        <a:pt x="6003076" y="3035910"/>
                        <a:pt x="6004207" y="3046044"/>
                        <a:pt x="6012117" y="3051111"/>
                      </a:cubicBezTo>
                      <a:cubicBezTo>
                        <a:pt x="6016638" y="3053137"/>
                        <a:pt x="6025678" y="3053137"/>
                        <a:pt x="6031329" y="3056178"/>
                      </a:cubicBezTo>
                      <a:cubicBezTo>
                        <a:pt x="6035849" y="3058204"/>
                        <a:pt x="6040370" y="3065298"/>
                        <a:pt x="6047151" y="3066311"/>
                      </a:cubicBezTo>
                      <a:cubicBezTo>
                        <a:pt x="6056192" y="3066311"/>
                        <a:pt x="6053931" y="3063271"/>
                        <a:pt x="6058452" y="3061244"/>
                      </a:cubicBezTo>
                      <a:cubicBezTo>
                        <a:pt x="6060713" y="3064284"/>
                        <a:pt x="6060713" y="3059217"/>
                        <a:pt x="6060713" y="3059217"/>
                      </a:cubicBezTo>
                      <a:cubicBezTo>
                        <a:pt x="6052801" y="3053137"/>
                        <a:pt x="6043761" y="3046044"/>
                        <a:pt x="6035849" y="3039964"/>
                      </a:cubicBezTo>
                      <a:cubicBezTo>
                        <a:pt x="6034719" y="3038950"/>
                        <a:pt x="6034719" y="3033884"/>
                        <a:pt x="6033590" y="3032870"/>
                      </a:cubicBezTo>
                      <a:cubicBezTo>
                        <a:pt x="6025678" y="3028817"/>
                        <a:pt x="6017768" y="3031857"/>
                        <a:pt x="6012117" y="3027803"/>
                      </a:cubicBezTo>
                      <a:cubicBezTo>
                        <a:pt x="6010987" y="3026790"/>
                        <a:pt x="6013247" y="3021723"/>
                        <a:pt x="6012117" y="3020710"/>
                      </a:cubicBezTo>
                      <a:lnTo>
                        <a:pt x="6009857" y="3020710"/>
                      </a:lnTo>
                      <a:cubicBezTo>
                        <a:pt x="6004207" y="3018683"/>
                        <a:pt x="5975954" y="2989296"/>
                        <a:pt x="5974823" y="2984229"/>
                      </a:cubicBezTo>
                      <a:cubicBezTo>
                        <a:pt x="5973693" y="2982202"/>
                        <a:pt x="5975954" y="2976122"/>
                        <a:pt x="5974823" y="2974096"/>
                      </a:cubicBezTo>
                      <a:cubicBezTo>
                        <a:pt x="5970303" y="2971055"/>
                        <a:pt x="5960132" y="2970042"/>
                        <a:pt x="5956741" y="2968015"/>
                      </a:cubicBezTo>
                      <a:close/>
                      <a:moveTo>
                        <a:pt x="6051671" y="2995376"/>
                      </a:moveTo>
                      <a:cubicBezTo>
                        <a:pt x="6049412" y="2996389"/>
                        <a:pt x="6049412" y="3009563"/>
                        <a:pt x="6049412" y="3012603"/>
                      </a:cubicBezTo>
                      <a:cubicBezTo>
                        <a:pt x="6052801" y="3013616"/>
                        <a:pt x="6057322" y="3012603"/>
                        <a:pt x="6057322" y="3014630"/>
                      </a:cubicBezTo>
                      <a:lnTo>
                        <a:pt x="6059582" y="3004496"/>
                      </a:lnTo>
                      <a:cubicBezTo>
                        <a:pt x="6058452" y="3002469"/>
                        <a:pt x="6051671" y="2996389"/>
                        <a:pt x="6051671" y="2995376"/>
                      </a:cubicBezTo>
                      <a:close/>
                      <a:moveTo>
                        <a:pt x="6081054" y="3031857"/>
                      </a:moveTo>
                      <a:lnTo>
                        <a:pt x="6083315" y="3038950"/>
                      </a:lnTo>
                      <a:cubicBezTo>
                        <a:pt x="6091225" y="3040977"/>
                        <a:pt x="6094616" y="3032870"/>
                        <a:pt x="6081054" y="3031857"/>
                      </a:cubicBezTo>
                      <a:close/>
                      <a:moveTo>
                        <a:pt x="2118855" y="2990309"/>
                      </a:moveTo>
                      <a:cubicBezTo>
                        <a:pt x="2118855" y="2993349"/>
                        <a:pt x="2115465" y="2993349"/>
                        <a:pt x="2113204" y="2995376"/>
                      </a:cubicBezTo>
                      <a:cubicBezTo>
                        <a:pt x="2114334" y="2998416"/>
                        <a:pt x="2116595" y="3001456"/>
                        <a:pt x="2115465" y="3007536"/>
                      </a:cubicBezTo>
                      <a:cubicBezTo>
                        <a:pt x="2140328" y="3008550"/>
                        <a:pt x="2142587" y="3011590"/>
                        <a:pt x="2129026" y="2990309"/>
                      </a:cubicBezTo>
                      <a:cubicBezTo>
                        <a:pt x="2127896" y="2990309"/>
                        <a:pt x="2121115" y="2991322"/>
                        <a:pt x="2118855" y="2990309"/>
                      </a:cubicBezTo>
                      <a:close/>
                      <a:moveTo>
                        <a:pt x="136625" y="125549"/>
                      </a:moveTo>
                      <a:cubicBezTo>
                        <a:pt x="135495" y="124536"/>
                        <a:pt x="128715" y="121496"/>
                        <a:pt x="128715" y="120483"/>
                      </a:cubicBezTo>
                      <a:cubicBezTo>
                        <a:pt x="126454" y="114402"/>
                        <a:pt x="129844" y="105282"/>
                        <a:pt x="128715" y="98189"/>
                      </a:cubicBezTo>
                      <a:cubicBezTo>
                        <a:pt x="127584" y="93122"/>
                        <a:pt x="120804" y="81975"/>
                        <a:pt x="117413" y="75895"/>
                      </a:cubicBezTo>
                      <a:cubicBezTo>
                        <a:pt x="142275" y="73868"/>
                        <a:pt x="136625" y="70828"/>
                        <a:pt x="142275" y="93122"/>
                      </a:cubicBezTo>
                      <a:cubicBezTo>
                        <a:pt x="158097" y="91095"/>
                        <a:pt x="179570" y="90082"/>
                        <a:pt x="194261" y="86029"/>
                      </a:cubicBezTo>
                      <a:cubicBezTo>
                        <a:pt x="195391" y="80962"/>
                        <a:pt x="195391" y="81975"/>
                        <a:pt x="194261" y="73868"/>
                      </a:cubicBezTo>
                      <a:cubicBezTo>
                        <a:pt x="202172" y="69815"/>
                        <a:pt x="217994" y="58668"/>
                        <a:pt x="227034" y="56641"/>
                      </a:cubicBezTo>
                      <a:cubicBezTo>
                        <a:pt x="232685" y="55628"/>
                        <a:pt x="234945" y="59681"/>
                        <a:pt x="238336" y="58668"/>
                      </a:cubicBezTo>
                      <a:cubicBezTo>
                        <a:pt x="236076" y="57655"/>
                        <a:pt x="237206" y="34347"/>
                        <a:pt x="238336" y="27254"/>
                      </a:cubicBezTo>
                      <a:cubicBezTo>
                        <a:pt x="236076" y="31307"/>
                        <a:pt x="238336" y="15094"/>
                        <a:pt x="238336" y="15094"/>
                      </a:cubicBezTo>
                      <a:cubicBezTo>
                        <a:pt x="247377" y="13067"/>
                        <a:pt x="254158" y="11040"/>
                        <a:pt x="260938" y="9013"/>
                      </a:cubicBezTo>
                      <a:lnTo>
                        <a:pt x="269980" y="19147"/>
                      </a:lnTo>
                      <a:cubicBezTo>
                        <a:pt x="269980" y="19147"/>
                        <a:pt x="275630" y="16107"/>
                        <a:pt x="279020" y="24214"/>
                      </a:cubicBezTo>
                      <a:cubicBezTo>
                        <a:pt x="282411" y="32321"/>
                        <a:pt x="283540" y="37387"/>
                        <a:pt x="283540" y="37387"/>
                      </a:cubicBezTo>
                      <a:cubicBezTo>
                        <a:pt x="283540" y="37387"/>
                        <a:pt x="289191" y="37387"/>
                        <a:pt x="299362" y="47521"/>
                      </a:cubicBezTo>
                      <a:cubicBezTo>
                        <a:pt x="309534" y="57655"/>
                        <a:pt x="315184" y="48534"/>
                        <a:pt x="315184" y="48534"/>
                      </a:cubicBezTo>
                      <a:cubicBezTo>
                        <a:pt x="315184" y="48534"/>
                        <a:pt x="314054" y="54614"/>
                        <a:pt x="321965" y="62721"/>
                      </a:cubicBezTo>
                      <a:cubicBezTo>
                        <a:pt x="329876" y="70828"/>
                        <a:pt x="333266" y="67788"/>
                        <a:pt x="340046" y="71842"/>
                      </a:cubicBezTo>
                      <a:cubicBezTo>
                        <a:pt x="346828" y="75895"/>
                        <a:pt x="355868" y="61708"/>
                        <a:pt x="355868" y="71842"/>
                      </a:cubicBezTo>
                      <a:cubicBezTo>
                        <a:pt x="355868" y="81975"/>
                        <a:pt x="354738" y="85015"/>
                        <a:pt x="362649" y="85015"/>
                      </a:cubicBezTo>
                      <a:cubicBezTo>
                        <a:pt x="370560" y="85015"/>
                        <a:pt x="372820" y="86029"/>
                        <a:pt x="372820" y="86029"/>
                      </a:cubicBezTo>
                      <a:lnTo>
                        <a:pt x="388642" y="82989"/>
                      </a:lnTo>
                      <a:cubicBezTo>
                        <a:pt x="388642" y="86029"/>
                        <a:pt x="390902" y="87042"/>
                        <a:pt x="390902" y="87042"/>
                      </a:cubicBezTo>
                      <a:cubicBezTo>
                        <a:pt x="390902" y="87042"/>
                        <a:pt x="387512" y="97175"/>
                        <a:pt x="394293" y="98189"/>
                      </a:cubicBezTo>
                      <a:cubicBezTo>
                        <a:pt x="401073" y="99202"/>
                        <a:pt x="408984" y="102242"/>
                        <a:pt x="408984" y="102242"/>
                      </a:cubicBezTo>
                      <a:cubicBezTo>
                        <a:pt x="408984" y="102242"/>
                        <a:pt x="431586" y="94135"/>
                        <a:pt x="438367" y="106296"/>
                      </a:cubicBezTo>
                      <a:cubicBezTo>
                        <a:pt x="445148" y="118456"/>
                        <a:pt x="447408" y="109336"/>
                        <a:pt x="456449" y="111363"/>
                      </a:cubicBezTo>
                      <a:cubicBezTo>
                        <a:pt x="465490" y="113389"/>
                        <a:pt x="473401" y="113389"/>
                        <a:pt x="473401" y="113389"/>
                      </a:cubicBezTo>
                      <a:cubicBezTo>
                        <a:pt x="473401" y="113389"/>
                        <a:pt x="475661" y="126563"/>
                        <a:pt x="470010" y="133656"/>
                      </a:cubicBezTo>
                      <a:cubicBezTo>
                        <a:pt x="464360" y="141763"/>
                        <a:pt x="464360" y="143790"/>
                        <a:pt x="466620" y="151897"/>
                      </a:cubicBezTo>
                      <a:cubicBezTo>
                        <a:pt x="468880" y="160004"/>
                        <a:pt x="460969" y="172164"/>
                        <a:pt x="470010" y="183311"/>
                      </a:cubicBezTo>
                      <a:cubicBezTo>
                        <a:pt x="470010" y="183311"/>
                        <a:pt x="465490" y="189391"/>
                        <a:pt x="458709" y="184324"/>
                      </a:cubicBezTo>
                      <a:cubicBezTo>
                        <a:pt x="451928" y="179257"/>
                        <a:pt x="453058" y="192431"/>
                        <a:pt x="453058" y="192431"/>
                      </a:cubicBezTo>
                      <a:cubicBezTo>
                        <a:pt x="453058" y="192431"/>
                        <a:pt x="456449" y="196484"/>
                        <a:pt x="442888" y="198511"/>
                      </a:cubicBezTo>
                      <a:cubicBezTo>
                        <a:pt x="429326" y="200538"/>
                        <a:pt x="422546" y="213711"/>
                        <a:pt x="416895" y="222832"/>
                      </a:cubicBezTo>
                      <a:cubicBezTo>
                        <a:pt x="411244" y="231952"/>
                        <a:pt x="403333" y="237019"/>
                        <a:pt x="397683" y="244112"/>
                      </a:cubicBezTo>
                      <a:cubicBezTo>
                        <a:pt x="392032" y="251206"/>
                        <a:pt x="385251" y="268433"/>
                        <a:pt x="401073" y="258299"/>
                      </a:cubicBezTo>
                      <a:cubicBezTo>
                        <a:pt x="416895" y="248166"/>
                        <a:pt x="416895" y="259313"/>
                        <a:pt x="416895" y="259313"/>
                      </a:cubicBezTo>
                      <a:cubicBezTo>
                        <a:pt x="416895" y="267419"/>
                        <a:pt x="433847" y="263366"/>
                        <a:pt x="437237" y="270460"/>
                      </a:cubicBezTo>
                      <a:cubicBezTo>
                        <a:pt x="440627" y="276540"/>
                        <a:pt x="448538" y="274513"/>
                        <a:pt x="448538" y="274513"/>
                      </a:cubicBezTo>
                      <a:lnTo>
                        <a:pt x="438367" y="287687"/>
                      </a:lnTo>
                      <a:cubicBezTo>
                        <a:pt x="438367" y="287687"/>
                        <a:pt x="434977" y="298834"/>
                        <a:pt x="425936" y="298834"/>
                      </a:cubicBezTo>
                      <a:cubicBezTo>
                        <a:pt x="415765" y="298834"/>
                        <a:pt x="416895" y="317074"/>
                        <a:pt x="425936" y="317074"/>
                      </a:cubicBezTo>
                      <a:cubicBezTo>
                        <a:pt x="434977" y="317074"/>
                        <a:pt x="421415" y="338354"/>
                        <a:pt x="427066" y="343421"/>
                      </a:cubicBezTo>
                      <a:cubicBezTo>
                        <a:pt x="432716" y="348488"/>
                        <a:pt x="449668" y="339368"/>
                        <a:pt x="444018" y="347475"/>
                      </a:cubicBezTo>
                      <a:cubicBezTo>
                        <a:pt x="438367" y="355581"/>
                        <a:pt x="442888" y="348488"/>
                        <a:pt x="434977" y="356595"/>
                      </a:cubicBezTo>
                      <a:cubicBezTo>
                        <a:pt x="429326" y="362675"/>
                        <a:pt x="439497" y="362675"/>
                        <a:pt x="439497" y="364702"/>
                      </a:cubicBezTo>
                      <a:lnTo>
                        <a:pt x="436107" y="366728"/>
                      </a:lnTo>
                      <a:lnTo>
                        <a:pt x="429326" y="359635"/>
                      </a:lnTo>
                      <a:lnTo>
                        <a:pt x="420285" y="364702"/>
                      </a:lnTo>
                      <a:lnTo>
                        <a:pt x="428196" y="370782"/>
                      </a:lnTo>
                      <a:cubicBezTo>
                        <a:pt x="427066" y="371795"/>
                        <a:pt x="420285" y="385982"/>
                        <a:pt x="418025" y="386996"/>
                      </a:cubicBezTo>
                      <a:cubicBezTo>
                        <a:pt x="415765" y="388009"/>
                        <a:pt x="410114" y="386996"/>
                        <a:pt x="406724" y="386996"/>
                      </a:cubicBezTo>
                      <a:lnTo>
                        <a:pt x="395423" y="392062"/>
                      </a:lnTo>
                      <a:cubicBezTo>
                        <a:pt x="386382" y="392062"/>
                        <a:pt x="385251" y="381929"/>
                        <a:pt x="379601" y="379902"/>
                      </a:cubicBezTo>
                      <a:cubicBezTo>
                        <a:pt x="376210" y="378889"/>
                        <a:pt x="373950" y="380915"/>
                        <a:pt x="371690" y="379902"/>
                      </a:cubicBezTo>
                      <a:cubicBezTo>
                        <a:pt x="370560" y="378889"/>
                        <a:pt x="367170" y="372808"/>
                        <a:pt x="366040" y="372808"/>
                      </a:cubicBezTo>
                      <a:cubicBezTo>
                        <a:pt x="361519" y="371795"/>
                        <a:pt x="362649" y="377875"/>
                        <a:pt x="358129" y="377875"/>
                      </a:cubicBezTo>
                      <a:cubicBezTo>
                        <a:pt x="351348" y="377875"/>
                        <a:pt x="343437" y="368755"/>
                        <a:pt x="331006" y="370782"/>
                      </a:cubicBezTo>
                      <a:cubicBezTo>
                        <a:pt x="323095" y="371795"/>
                        <a:pt x="315184" y="384969"/>
                        <a:pt x="311793" y="388009"/>
                      </a:cubicBezTo>
                      <a:cubicBezTo>
                        <a:pt x="308403" y="391049"/>
                        <a:pt x="303883" y="389022"/>
                        <a:pt x="298233" y="390036"/>
                      </a:cubicBezTo>
                      <a:cubicBezTo>
                        <a:pt x="297102" y="400169"/>
                        <a:pt x="293712" y="405236"/>
                        <a:pt x="293712" y="412329"/>
                      </a:cubicBezTo>
                      <a:cubicBezTo>
                        <a:pt x="279020" y="412329"/>
                        <a:pt x="285801" y="421450"/>
                        <a:pt x="273370" y="421450"/>
                      </a:cubicBezTo>
                      <a:cubicBezTo>
                        <a:pt x="262069" y="421450"/>
                        <a:pt x="253028" y="427530"/>
                        <a:pt x="249637" y="420436"/>
                      </a:cubicBezTo>
                      <a:cubicBezTo>
                        <a:pt x="245117" y="412329"/>
                        <a:pt x="238336" y="420436"/>
                        <a:pt x="238336" y="420436"/>
                      </a:cubicBezTo>
                      <a:cubicBezTo>
                        <a:pt x="238336" y="420436"/>
                        <a:pt x="225905" y="417396"/>
                        <a:pt x="212343" y="412329"/>
                      </a:cubicBezTo>
                      <a:cubicBezTo>
                        <a:pt x="199912" y="407263"/>
                        <a:pt x="197652" y="413343"/>
                        <a:pt x="189741" y="413343"/>
                      </a:cubicBezTo>
                      <a:cubicBezTo>
                        <a:pt x="180700" y="413343"/>
                        <a:pt x="178439" y="404223"/>
                        <a:pt x="167138" y="404223"/>
                      </a:cubicBezTo>
                      <a:cubicBezTo>
                        <a:pt x="155837" y="404223"/>
                        <a:pt x="161488" y="400169"/>
                        <a:pt x="149057" y="398142"/>
                      </a:cubicBezTo>
                      <a:cubicBezTo>
                        <a:pt x="136625" y="396116"/>
                        <a:pt x="133235" y="401182"/>
                        <a:pt x="133235" y="393076"/>
                      </a:cubicBezTo>
                      <a:cubicBezTo>
                        <a:pt x="133235" y="384969"/>
                        <a:pt x="121933" y="379902"/>
                        <a:pt x="121933" y="379902"/>
                      </a:cubicBezTo>
                      <a:cubicBezTo>
                        <a:pt x="132105" y="377875"/>
                        <a:pt x="140016" y="372808"/>
                        <a:pt x="142275" y="367742"/>
                      </a:cubicBezTo>
                      <a:cubicBezTo>
                        <a:pt x="149057" y="358622"/>
                        <a:pt x="143406" y="349501"/>
                        <a:pt x="144536" y="341395"/>
                      </a:cubicBezTo>
                      <a:cubicBezTo>
                        <a:pt x="144536" y="338354"/>
                        <a:pt x="151317" y="331261"/>
                        <a:pt x="152447" y="329234"/>
                      </a:cubicBezTo>
                      <a:cubicBezTo>
                        <a:pt x="153577" y="327207"/>
                        <a:pt x="150186" y="323154"/>
                        <a:pt x="154707" y="324167"/>
                      </a:cubicBezTo>
                      <a:cubicBezTo>
                        <a:pt x="154707" y="324167"/>
                        <a:pt x="149057" y="320114"/>
                        <a:pt x="146796" y="319101"/>
                      </a:cubicBezTo>
                      <a:cubicBezTo>
                        <a:pt x="146796" y="312007"/>
                        <a:pt x="146796" y="303900"/>
                        <a:pt x="146796" y="296807"/>
                      </a:cubicBezTo>
                      <a:cubicBezTo>
                        <a:pt x="146796" y="296807"/>
                        <a:pt x="151317" y="294780"/>
                        <a:pt x="152447" y="294780"/>
                      </a:cubicBezTo>
                      <a:cubicBezTo>
                        <a:pt x="151317" y="290727"/>
                        <a:pt x="147926" y="289713"/>
                        <a:pt x="146796" y="287687"/>
                      </a:cubicBezTo>
                      <a:cubicBezTo>
                        <a:pt x="151317" y="283633"/>
                        <a:pt x="150186" y="264379"/>
                        <a:pt x="146796" y="258299"/>
                      </a:cubicBezTo>
                      <a:cubicBezTo>
                        <a:pt x="145666" y="256272"/>
                        <a:pt x="143406" y="261339"/>
                        <a:pt x="141146" y="260326"/>
                      </a:cubicBezTo>
                      <a:cubicBezTo>
                        <a:pt x="140016" y="260326"/>
                        <a:pt x="136625" y="253232"/>
                        <a:pt x="135495" y="253232"/>
                      </a:cubicBezTo>
                      <a:cubicBezTo>
                        <a:pt x="125324" y="248166"/>
                        <a:pt x="103852" y="241072"/>
                        <a:pt x="100462" y="230939"/>
                      </a:cubicBezTo>
                      <a:cubicBezTo>
                        <a:pt x="99331" y="225872"/>
                        <a:pt x="101591" y="220805"/>
                        <a:pt x="100462" y="216752"/>
                      </a:cubicBezTo>
                      <a:cubicBezTo>
                        <a:pt x="92551" y="222832"/>
                        <a:pt x="99331" y="207631"/>
                        <a:pt x="100462" y="206618"/>
                      </a:cubicBezTo>
                      <a:cubicBezTo>
                        <a:pt x="97071" y="205605"/>
                        <a:pt x="90290" y="206618"/>
                        <a:pt x="86900" y="206618"/>
                      </a:cubicBezTo>
                      <a:lnTo>
                        <a:pt x="84640" y="201551"/>
                      </a:lnTo>
                      <a:cubicBezTo>
                        <a:pt x="84640" y="201551"/>
                        <a:pt x="90290" y="196484"/>
                        <a:pt x="86900" y="194458"/>
                      </a:cubicBezTo>
                      <a:cubicBezTo>
                        <a:pt x="85769" y="193444"/>
                        <a:pt x="75599" y="194458"/>
                        <a:pt x="73338" y="194458"/>
                      </a:cubicBezTo>
                      <a:cubicBezTo>
                        <a:pt x="76729" y="192431"/>
                        <a:pt x="69948" y="187364"/>
                        <a:pt x="78989" y="189391"/>
                      </a:cubicBezTo>
                      <a:cubicBezTo>
                        <a:pt x="80119" y="187364"/>
                        <a:pt x="82379" y="183311"/>
                        <a:pt x="84640" y="182298"/>
                      </a:cubicBezTo>
                      <a:cubicBezTo>
                        <a:pt x="78989" y="183311"/>
                        <a:pt x="80119" y="181284"/>
                        <a:pt x="76729" y="180271"/>
                      </a:cubicBezTo>
                      <a:cubicBezTo>
                        <a:pt x="73338" y="185337"/>
                        <a:pt x="66558" y="190404"/>
                        <a:pt x="63167" y="194458"/>
                      </a:cubicBezTo>
                      <a:cubicBezTo>
                        <a:pt x="57516" y="182298"/>
                        <a:pt x="57516" y="179257"/>
                        <a:pt x="47346" y="172164"/>
                      </a:cubicBezTo>
                      <a:cubicBezTo>
                        <a:pt x="46215" y="173177"/>
                        <a:pt x="43956" y="175204"/>
                        <a:pt x="41695" y="174191"/>
                      </a:cubicBezTo>
                      <a:cubicBezTo>
                        <a:pt x="38305" y="173177"/>
                        <a:pt x="40565" y="170137"/>
                        <a:pt x="39435" y="167097"/>
                      </a:cubicBezTo>
                      <a:cubicBezTo>
                        <a:pt x="33784" y="168110"/>
                        <a:pt x="22483" y="167097"/>
                        <a:pt x="12312" y="169124"/>
                      </a:cubicBezTo>
                      <a:lnTo>
                        <a:pt x="10052" y="164057"/>
                      </a:lnTo>
                      <a:lnTo>
                        <a:pt x="15703" y="158990"/>
                      </a:lnTo>
                      <a:cubicBezTo>
                        <a:pt x="15703" y="158990"/>
                        <a:pt x="15703" y="151897"/>
                        <a:pt x="15703" y="151897"/>
                      </a:cubicBezTo>
                      <a:cubicBezTo>
                        <a:pt x="19093" y="151897"/>
                        <a:pt x="19093" y="152910"/>
                        <a:pt x="27004" y="153923"/>
                      </a:cubicBezTo>
                      <a:lnTo>
                        <a:pt x="29263" y="148857"/>
                      </a:lnTo>
                      <a:cubicBezTo>
                        <a:pt x="23613" y="145817"/>
                        <a:pt x="19093" y="144803"/>
                        <a:pt x="13442" y="141763"/>
                      </a:cubicBezTo>
                      <a:lnTo>
                        <a:pt x="13442" y="136696"/>
                      </a:lnTo>
                      <a:cubicBezTo>
                        <a:pt x="17962" y="134670"/>
                        <a:pt x="22483" y="129603"/>
                        <a:pt x="27004" y="129603"/>
                      </a:cubicBezTo>
                      <a:cubicBezTo>
                        <a:pt x="36045" y="128590"/>
                        <a:pt x="40565" y="132643"/>
                        <a:pt x="46215" y="131630"/>
                      </a:cubicBezTo>
                      <a:lnTo>
                        <a:pt x="51866" y="124536"/>
                      </a:lnTo>
                      <a:cubicBezTo>
                        <a:pt x="69948" y="119469"/>
                        <a:pt x="71078" y="131630"/>
                        <a:pt x="76729" y="138723"/>
                      </a:cubicBezTo>
                      <a:lnTo>
                        <a:pt x="82379" y="138723"/>
                      </a:lnTo>
                      <a:cubicBezTo>
                        <a:pt x="82379" y="138723"/>
                        <a:pt x="88030" y="128590"/>
                        <a:pt x="88030" y="128590"/>
                      </a:cubicBezTo>
                      <a:cubicBezTo>
                        <a:pt x="95941" y="125549"/>
                        <a:pt x="94811" y="132643"/>
                        <a:pt x="101591" y="130616"/>
                      </a:cubicBezTo>
                      <a:lnTo>
                        <a:pt x="103852" y="125549"/>
                      </a:lnTo>
                      <a:moveTo>
                        <a:pt x="510695" y="388009"/>
                      </a:moveTo>
                      <a:cubicBezTo>
                        <a:pt x="506174" y="394089"/>
                        <a:pt x="506174" y="400169"/>
                        <a:pt x="499394" y="405236"/>
                      </a:cubicBezTo>
                      <a:cubicBezTo>
                        <a:pt x="494873" y="408276"/>
                        <a:pt x="485832" y="407263"/>
                        <a:pt x="483572" y="412329"/>
                      </a:cubicBezTo>
                      <a:cubicBezTo>
                        <a:pt x="479052" y="421450"/>
                        <a:pt x="483572" y="437663"/>
                        <a:pt x="485832" y="446784"/>
                      </a:cubicBezTo>
                      <a:cubicBezTo>
                        <a:pt x="484702" y="447797"/>
                        <a:pt x="481311" y="444757"/>
                        <a:pt x="483572" y="448810"/>
                      </a:cubicBezTo>
                      <a:cubicBezTo>
                        <a:pt x="486962" y="456917"/>
                        <a:pt x="501654" y="460971"/>
                        <a:pt x="510695" y="466037"/>
                      </a:cubicBezTo>
                      <a:cubicBezTo>
                        <a:pt x="517475" y="441717"/>
                        <a:pt x="527647" y="420436"/>
                        <a:pt x="518606" y="393076"/>
                      </a:cubicBezTo>
                      <a:cubicBezTo>
                        <a:pt x="518606" y="392062"/>
                        <a:pt x="510695" y="388009"/>
                        <a:pt x="510695" y="38800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0" name="Freeform: Shape 399">
                  <a:extLst>
                    <a:ext uri="{FF2B5EF4-FFF2-40B4-BE49-F238E27FC236}">
                      <a16:creationId xmlns:a16="http://schemas.microsoft.com/office/drawing/2014/main" id="{A17D236D-2598-457A-9B2C-313B8D000E7A}"/>
                    </a:ext>
                  </a:extLst>
                </p:cNvPr>
                <p:cNvSpPr/>
                <p:nvPr/>
              </p:nvSpPr>
              <p:spPr>
                <a:xfrm>
                  <a:off x="11415862" y="3889762"/>
                  <a:ext cx="11301" cy="20267"/>
                </a:xfrm>
                <a:custGeom>
                  <a:avLst/>
                  <a:gdLst>
                    <a:gd name="connsiteX0" fmla="*/ 10378 w 11301"/>
                    <a:gd name="connsiteY0" fmla="*/ 19147 h 20267"/>
                    <a:gd name="connsiteX1" fmla="*/ 10378 w 11301"/>
                    <a:gd name="connsiteY1" fmla="*/ 9013 h 20267"/>
                  </a:gdLst>
                  <a:ahLst/>
                  <a:cxnLst>
                    <a:cxn ang="0">
                      <a:pos x="connsiteX0" y="connsiteY0"/>
                    </a:cxn>
                    <a:cxn ang="0">
                      <a:pos x="connsiteX1" y="connsiteY1"/>
                    </a:cxn>
                  </a:cxnLst>
                  <a:rect l="l" t="t" r="r" b="b"/>
                  <a:pathLst>
                    <a:path w="11301" h="20267">
                      <a:moveTo>
                        <a:pt x="10378" y="19147"/>
                      </a:moveTo>
                      <a:cubicBezTo>
                        <a:pt x="9248" y="17120"/>
                        <a:pt x="11508" y="11040"/>
                        <a:pt x="10378" y="9013"/>
                      </a:cubicBezTo>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1" name="Freeform: Shape 400">
                  <a:extLst>
                    <a:ext uri="{FF2B5EF4-FFF2-40B4-BE49-F238E27FC236}">
                      <a16:creationId xmlns:a16="http://schemas.microsoft.com/office/drawing/2014/main" id="{80CE673B-8936-4C3C-980F-3B1C6C337385}"/>
                    </a:ext>
                  </a:extLst>
                </p:cNvPr>
                <p:cNvSpPr/>
                <p:nvPr/>
              </p:nvSpPr>
              <p:spPr>
                <a:xfrm>
                  <a:off x="6577021" y="1118231"/>
                  <a:ext cx="452048" cy="577613"/>
                </a:xfrm>
                <a:custGeom>
                  <a:avLst/>
                  <a:gdLst>
                    <a:gd name="connsiteX0" fmla="*/ 162613 w 452047"/>
                    <a:gd name="connsiteY0" fmla="*/ 239045 h 577613"/>
                    <a:gd name="connsiteX1" fmla="*/ 189736 w 452047"/>
                    <a:gd name="connsiteY1" fmla="*/ 239045 h 577613"/>
                    <a:gd name="connsiteX2" fmla="*/ 195387 w 452047"/>
                    <a:gd name="connsiteY2" fmla="*/ 249179 h 577613"/>
                    <a:gd name="connsiteX3" fmla="*/ 206688 w 452047"/>
                    <a:gd name="connsiteY3" fmla="*/ 247152 h 577613"/>
                    <a:gd name="connsiteX4" fmla="*/ 206688 w 452047"/>
                    <a:gd name="connsiteY4" fmla="*/ 273500 h 577613"/>
                    <a:gd name="connsiteX5" fmla="*/ 212339 w 452047"/>
                    <a:gd name="connsiteY5" fmla="*/ 275526 h 577613"/>
                    <a:gd name="connsiteX6" fmla="*/ 210078 w 452047"/>
                    <a:gd name="connsiteY6" fmla="*/ 287687 h 577613"/>
                    <a:gd name="connsiteX7" fmla="*/ 210078 w 452047"/>
                    <a:gd name="connsiteY7" fmla="*/ 297820 h 577613"/>
                    <a:gd name="connsiteX8" fmla="*/ 207818 w 452047"/>
                    <a:gd name="connsiteY8" fmla="*/ 295793 h 577613"/>
                    <a:gd name="connsiteX9" fmla="*/ 191997 w 452047"/>
                    <a:gd name="connsiteY9" fmla="*/ 300860 h 577613"/>
                    <a:gd name="connsiteX10" fmla="*/ 180696 w 452047"/>
                    <a:gd name="connsiteY10" fmla="*/ 327207 h 577613"/>
                    <a:gd name="connsiteX11" fmla="*/ 175045 w 452047"/>
                    <a:gd name="connsiteY11" fmla="*/ 327207 h 577613"/>
                    <a:gd name="connsiteX12" fmla="*/ 163744 w 452047"/>
                    <a:gd name="connsiteY12" fmla="*/ 344435 h 577613"/>
                    <a:gd name="connsiteX13" fmla="*/ 163744 w 452047"/>
                    <a:gd name="connsiteY13" fmla="*/ 351528 h 577613"/>
                    <a:gd name="connsiteX14" fmla="*/ 142271 w 452047"/>
                    <a:gd name="connsiteY14" fmla="*/ 361662 h 577613"/>
                    <a:gd name="connsiteX15" fmla="*/ 128710 w 452047"/>
                    <a:gd name="connsiteY15" fmla="*/ 375849 h 577613"/>
                    <a:gd name="connsiteX16" fmla="*/ 123059 w 452047"/>
                    <a:gd name="connsiteY16" fmla="*/ 375849 h 577613"/>
                    <a:gd name="connsiteX17" fmla="*/ 123059 w 452047"/>
                    <a:gd name="connsiteY17" fmla="*/ 385982 h 577613"/>
                    <a:gd name="connsiteX18" fmla="*/ 109497 w 452047"/>
                    <a:gd name="connsiteY18" fmla="*/ 385982 h 577613"/>
                    <a:gd name="connsiteX19" fmla="*/ 103847 w 452047"/>
                    <a:gd name="connsiteY19" fmla="*/ 400169 h 577613"/>
                    <a:gd name="connsiteX20" fmla="*/ 88026 w 452047"/>
                    <a:gd name="connsiteY20" fmla="*/ 410303 h 577613"/>
                    <a:gd name="connsiteX21" fmla="*/ 88026 w 452047"/>
                    <a:gd name="connsiteY21" fmla="*/ 422463 h 577613"/>
                    <a:gd name="connsiteX22" fmla="*/ 99327 w 452047"/>
                    <a:gd name="connsiteY22" fmla="*/ 427530 h 577613"/>
                    <a:gd name="connsiteX23" fmla="*/ 97066 w 452047"/>
                    <a:gd name="connsiteY23" fmla="*/ 439690 h 577613"/>
                    <a:gd name="connsiteX24" fmla="*/ 108368 w 452047"/>
                    <a:gd name="connsiteY24" fmla="*/ 456917 h 577613"/>
                    <a:gd name="connsiteX25" fmla="*/ 108368 w 452047"/>
                    <a:gd name="connsiteY25" fmla="*/ 464011 h 577613"/>
                    <a:gd name="connsiteX26" fmla="*/ 100457 w 452047"/>
                    <a:gd name="connsiteY26" fmla="*/ 471104 h 577613"/>
                    <a:gd name="connsiteX27" fmla="*/ 100457 w 452047"/>
                    <a:gd name="connsiteY27" fmla="*/ 478198 h 577613"/>
                    <a:gd name="connsiteX28" fmla="*/ 98196 w 452047"/>
                    <a:gd name="connsiteY28" fmla="*/ 497451 h 577613"/>
                    <a:gd name="connsiteX29" fmla="*/ 103847 w 452047"/>
                    <a:gd name="connsiteY29" fmla="*/ 507585 h 577613"/>
                    <a:gd name="connsiteX30" fmla="*/ 109497 w 452047"/>
                    <a:gd name="connsiteY30" fmla="*/ 505558 h 577613"/>
                    <a:gd name="connsiteX31" fmla="*/ 115148 w 452047"/>
                    <a:gd name="connsiteY31" fmla="*/ 505558 h 577613"/>
                    <a:gd name="connsiteX32" fmla="*/ 117408 w 452047"/>
                    <a:gd name="connsiteY32" fmla="*/ 527852 h 577613"/>
                    <a:gd name="connsiteX33" fmla="*/ 125319 w 452047"/>
                    <a:gd name="connsiteY33" fmla="*/ 527852 h 577613"/>
                    <a:gd name="connsiteX34" fmla="*/ 123059 w 452047"/>
                    <a:gd name="connsiteY34" fmla="*/ 515692 h 577613"/>
                    <a:gd name="connsiteX35" fmla="*/ 128710 w 452047"/>
                    <a:gd name="connsiteY35" fmla="*/ 517719 h 577613"/>
                    <a:gd name="connsiteX36" fmla="*/ 144532 w 452047"/>
                    <a:gd name="connsiteY36" fmla="*/ 522785 h 577613"/>
                    <a:gd name="connsiteX37" fmla="*/ 144532 w 452047"/>
                    <a:gd name="connsiteY37" fmla="*/ 532919 h 577613"/>
                    <a:gd name="connsiteX38" fmla="*/ 158093 w 452047"/>
                    <a:gd name="connsiteY38" fmla="*/ 530892 h 577613"/>
                    <a:gd name="connsiteX39" fmla="*/ 158093 w 452047"/>
                    <a:gd name="connsiteY39" fmla="*/ 541026 h 577613"/>
                    <a:gd name="connsiteX40" fmla="*/ 130970 w 452047"/>
                    <a:gd name="connsiteY40" fmla="*/ 546093 h 577613"/>
                    <a:gd name="connsiteX41" fmla="*/ 133230 w 452047"/>
                    <a:gd name="connsiteY41" fmla="*/ 563320 h 577613"/>
                    <a:gd name="connsiteX42" fmla="*/ 152443 w 452047"/>
                    <a:gd name="connsiteY42" fmla="*/ 546093 h 577613"/>
                    <a:gd name="connsiteX43" fmla="*/ 163744 w 452047"/>
                    <a:gd name="connsiteY43" fmla="*/ 553186 h 577613"/>
                    <a:gd name="connsiteX44" fmla="*/ 161483 w 452047"/>
                    <a:gd name="connsiteY44" fmla="*/ 563320 h 577613"/>
                    <a:gd name="connsiteX45" fmla="*/ 169394 w 452047"/>
                    <a:gd name="connsiteY45" fmla="*/ 563320 h 577613"/>
                    <a:gd name="connsiteX46" fmla="*/ 169394 w 452047"/>
                    <a:gd name="connsiteY46" fmla="*/ 570413 h 577613"/>
                    <a:gd name="connsiteX47" fmla="*/ 198777 w 452047"/>
                    <a:gd name="connsiteY47" fmla="*/ 565346 h 577613"/>
                    <a:gd name="connsiteX48" fmla="*/ 201038 w 452047"/>
                    <a:gd name="connsiteY48" fmla="*/ 558253 h 577613"/>
                    <a:gd name="connsiteX49" fmla="*/ 241722 w 452047"/>
                    <a:gd name="connsiteY49" fmla="*/ 541026 h 577613"/>
                    <a:gd name="connsiteX50" fmla="*/ 241722 w 452047"/>
                    <a:gd name="connsiteY50" fmla="*/ 530892 h 577613"/>
                    <a:gd name="connsiteX51" fmla="*/ 253023 w 452047"/>
                    <a:gd name="connsiteY51" fmla="*/ 532919 h 577613"/>
                    <a:gd name="connsiteX52" fmla="*/ 264324 w 452047"/>
                    <a:gd name="connsiteY52" fmla="*/ 527852 h 577613"/>
                    <a:gd name="connsiteX53" fmla="*/ 277886 w 452047"/>
                    <a:gd name="connsiteY53" fmla="*/ 532919 h 577613"/>
                    <a:gd name="connsiteX54" fmla="*/ 277886 w 452047"/>
                    <a:gd name="connsiteY54" fmla="*/ 525825 h 577613"/>
                    <a:gd name="connsiteX55" fmla="*/ 285797 w 452047"/>
                    <a:gd name="connsiteY55" fmla="*/ 523799 h 577613"/>
                    <a:gd name="connsiteX56" fmla="*/ 285797 w 452047"/>
                    <a:gd name="connsiteY56" fmla="*/ 521772 h 577613"/>
                    <a:gd name="connsiteX57" fmla="*/ 288057 w 452047"/>
                    <a:gd name="connsiteY57" fmla="*/ 526839 h 577613"/>
                    <a:gd name="connsiteX58" fmla="*/ 299358 w 452047"/>
                    <a:gd name="connsiteY58" fmla="*/ 526839 h 577613"/>
                    <a:gd name="connsiteX59" fmla="*/ 321961 w 452047"/>
                    <a:gd name="connsiteY59" fmla="*/ 510625 h 577613"/>
                    <a:gd name="connsiteX60" fmla="*/ 445143 w 452047"/>
                    <a:gd name="connsiteY60" fmla="*/ 436650 h 577613"/>
                    <a:gd name="connsiteX61" fmla="*/ 438363 w 452047"/>
                    <a:gd name="connsiteY61" fmla="*/ 413343 h 577613"/>
                    <a:gd name="connsiteX62" fmla="*/ 415760 w 452047"/>
                    <a:gd name="connsiteY62" fmla="*/ 403209 h 577613"/>
                    <a:gd name="connsiteX63" fmla="*/ 410110 w 452047"/>
                    <a:gd name="connsiteY63" fmla="*/ 380915 h 577613"/>
                    <a:gd name="connsiteX64" fmla="*/ 420280 w 452047"/>
                    <a:gd name="connsiteY64" fmla="*/ 361662 h 577613"/>
                    <a:gd name="connsiteX65" fmla="*/ 414630 w 452047"/>
                    <a:gd name="connsiteY65" fmla="*/ 339368 h 577613"/>
                    <a:gd name="connsiteX66" fmla="*/ 403329 w 452047"/>
                    <a:gd name="connsiteY66" fmla="*/ 323154 h 577613"/>
                    <a:gd name="connsiteX67" fmla="*/ 392027 w 452047"/>
                    <a:gd name="connsiteY67" fmla="*/ 305927 h 577613"/>
                    <a:gd name="connsiteX68" fmla="*/ 387507 w 452047"/>
                    <a:gd name="connsiteY68" fmla="*/ 285660 h 577613"/>
                    <a:gd name="connsiteX69" fmla="*/ 390898 w 452047"/>
                    <a:gd name="connsiteY69" fmla="*/ 266406 h 577613"/>
                    <a:gd name="connsiteX70" fmla="*/ 388637 w 452047"/>
                    <a:gd name="connsiteY70" fmla="*/ 250192 h 577613"/>
                    <a:gd name="connsiteX71" fmla="*/ 386377 w 452047"/>
                    <a:gd name="connsiteY71" fmla="*/ 229925 h 577613"/>
                    <a:gd name="connsiteX72" fmla="*/ 366035 w 452047"/>
                    <a:gd name="connsiteY72" fmla="*/ 167097 h 577613"/>
                    <a:gd name="connsiteX73" fmla="*/ 386377 w 452047"/>
                    <a:gd name="connsiteY73" fmla="*/ 136696 h 577613"/>
                    <a:gd name="connsiteX74" fmla="*/ 377336 w 452047"/>
                    <a:gd name="connsiteY74" fmla="*/ 111362 h 577613"/>
                    <a:gd name="connsiteX75" fmla="*/ 366035 w 452047"/>
                    <a:gd name="connsiteY75" fmla="*/ 108322 h 577613"/>
                    <a:gd name="connsiteX76" fmla="*/ 366035 w 452047"/>
                    <a:gd name="connsiteY76" fmla="*/ 68802 h 577613"/>
                    <a:gd name="connsiteX77" fmla="*/ 378467 w 452047"/>
                    <a:gd name="connsiteY77" fmla="*/ 57655 h 577613"/>
                    <a:gd name="connsiteX78" fmla="*/ 379596 w 452047"/>
                    <a:gd name="connsiteY78" fmla="*/ 53601 h 577613"/>
                    <a:gd name="connsiteX79" fmla="*/ 363774 w 452047"/>
                    <a:gd name="connsiteY79" fmla="*/ 52588 h 577613"/>
                    <a:gd name="connsiteX80" fmla="*/ 340042 w 452047"/>
                    <a:gd name="connsiteY80" fmla="*/ 37387 h 577613"/>
                    <a:gd name="connsiteX81" fmla="*/ 320830 w 452047"/>
                    <a:gd name="connsiteY81" fmla="*/ 9013 h 577613"/>
                    <a:gd name="connsiteX82" fmla="*/ 292577 w 452047"/>
                    <a:gd name="connsiteY82" fmla="*/ 23200 h 577613"/>
                    <a:gd name="connsiteX83" fmla="*/ 268845 w 452047"/>
                    <a:gd name="connsiteY83" fmla="*/ 18134 h 577613"/>
                    <a:gd name="connsiteX84" fmla="*/ 257544 w 452047"/>
                    <a:gd name="connsiteY84" fmla="*/ 33334 h 577613"/>
                    <a:gd name="connsiteX85" fmla="*/ 240592 w 452047"/>
                    <a:gd name="connsiteY85" fmla="*/ 45494 h 577613"/>
                    <a:gd name="connsiteX86" fmla="*/ 233811 w 452047"/>
                    <a:gd name="connsiteY86" fmla="*/ 55628 h 577613"/>
                    <a:gd name="connsiteX87" fmla="*/ 238331 w 452047"/>
                    <a:gd name="connsiteY87" fmla="*/ 74882 h 577613"/>
                    <a:gd name="connsiteX88" fmla="*/ 219119 w 452047"/>
                    <a:gd name="connsiteY88" fmla="*/ 96162 h 577613"/>
                    <a:gd name="connsiteX89" fmla="*/ 213469 w 452047"/>
                    <a:gd name="connsiteY89" fmla="*/ 107309 h 577613"/>
                    <a:gd name="connsiteX90" fmla="*/ 190866 w 452047"/>
                    <a:gd name="connsiteY90" fmla="*/ 94135 h 577613"/>
                    <a:gd name="connsiteX91" fmla="*/ 181825 w 452047"/>
                    <a:gd name="connsiteY91" fmla="*/ 89069 h 577613"/>
                    <a:gd name="connsiteX92" fmla="*/ 164874 w 452047"/>
                    <a:gd name="connsiteY92" fmla="*/ 92109 h 577613"/>
                    <a:gd name="connsiteX93" fmla="*/ 129840 w 452047"/>
                    <a:gd name="connsiteY93" fmla="*/ 95149 h 577613"/>
                    <a:gd name="connsiteX94" fmla="*/ 89155 w 452047"/>
                    <a:gd name="connsiteY94" fmla="*/ 55628 h 577613"/>
                    <a:gd name="connsiteX95" fmla="*/ 73334 w 452047"/>
                    <a:gd name="connsiteY95" fmla="*/ 60695 h 577613"/>
                    <a:gd name="connsiteX96" fmla="*/ 72204 w 452047"/>
                    <a:gd name="connsiteY96" fmla="*/ 67788 h 577613"/>
                    <a:gd name="connsiteX97" fmla="*/ 54122 w 452047"/>
                    <a:gd name="connsiteY97" fmla="*/ 74882 h 577613"/>
                    <a:gd name="connsiteX98" fmla="*/ 77854 w 452047"/>
                    <a:gd name="connsiteY98" fmla="*/ 86029 h 577613"/>
                    <a:gd name="connsiteX99" fmla="*/ 99327 w 452047"/>
                    <a:gd name="connsiteY99" fmla="*/ 105282 h 577613"/>
                    <a:gd name="connsiteX100" fmla="*/ 127580 w 452047"/>
                    <a:gd name="connsiteY100" fmla="*/ 115416 h 577613"/>
                    <a:gd name="connsiteX101" fmla="*/ 143401 w 452047"/>
                    <a:gd name="connsiteY101" fmla="*/ 133656 h 577613"/>
                    <a:gd name="connsiteX102" fmla="*/ 147922 w 452047"/>
                    <a:gd name="connsiteY102" fmla="*/ 147843 h 577613"/>
                    <a:gd name="connsiteX103" fmla="*/ 151312 w 452047"/>
                    <a:gd name="connsiteY103" fmla="*/ 166084 h 577613"/>
                    <a:gd name="connsiteX104" fmla="*/ 154702 w 452047"/>
                    <a:gd name="connsiteY104" fmla="*/ 185338 h 577613"/>
                    <a:gd name="connsiteX105" fmla="*/ 150182 w 452047"/>
                    <a:gd name="connsiteY105" fmla="*/ 208645 h 577613"/>
                    <a:gd name="connsiteX106" fmla="*/ 153572 w 452047"/>
                    <a:gd name="connsiteY106" fmla="*/ 219792 h 577613"/>
                    <a:gd name="connsiteX107" fmla="*/ 162613 w 452047"/>
                    <a:gd name="connsiteY107" fmla="*/ 239045 h 577613"/>
                    <a:gd name="connsiteX108" fmla="*/ 13437 w 452047"/>
                    <a:gd name="connsiteY108" fmla="*/ 540012 h 577613"/>
                    <a:gd name="connsiteX109" fmla="*/ 19088 w 452047"/>
                    <a:gd name="connsiteY109" fmla="*/ 547106 h 577613"/>
                    <a:gd name="connsiteX110" fmla="*/ 26999 w 452047"/>
                    <a:gd name="connsiteY110" fmla="*/ 561293 h 577613"/>
                    <a:gd name="connsiteX111" fmla="*/ 29259 w 452047"/>
                    <a:gd name="connsiteY111" fmla="*/ 566360 h 577613"/>
                    <a:gd name="connsiteX112" fmla="*/ 34910 w 452047"/>
                    <a:gd name="connsiteY112" fmla="*/ 561293 h 577613"/>
                    <a:gd name="connsiteX113" fmla="*/ 21348 w 452047"/>
                    <a:gd name="connsiteY113" fmla="*/ 544066 h 577613"/>
                    <a:gd name="connsiteX114" fmla="*/ 13437 w 452047"/>
                    <a:gd name="connsiteY114" fmla="*/ 540012 h 577613"/>
                    <a:gd name="connsiteX115" fmla="*/ 189736 w 452047"/>
                    <a:gd name="connsiteY115" fmla="*/ 279580 h 577613"/>
                    <a:gd name="connsiteX116" fmla="*/ 191997 w 452047"/>
                    <a:gd name="connsiteY116" fmla="*/ 284646 h 577613"/>
                    <a:gd name="connsiteX117" fmla="*/ 189736 w 452047"/>
                    <a:gd name="connsiteY117" fmla="*/ 279580 h 57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52047" h="577613">
                      <a:moveTo>
                        <a:pt x="162613" y="239045"/>
                      </a:moveTo>
                      <a:cubicBezTo>
                        <a:pt x="171654" y="240059"/>
                        <a:pt x="179565" y="239045"/>
                        <a:pt x="189736" y="239045"/>
                      </a:cubicBezTo>
                      <a:lnTo>
                        <a:pt x="195387" y="249179"/>
                      </a:lnTo>
                      <a:cubicBezTo>
                        <a:pt x="202167" y="251206"/>
                        <a:pt x="201038" y="243099"/>
                        <a:pt x="206688" y="247152"/>
                      </a:cubicBezTo>
                      <a:cubicBezTo>
                        <a:pt x="215729" y="253232"/>
                        <a:pt x="207818" y="265393"/>
                        <a:pt x="206688" y="273500"/>
                      </a:cubicBezTo>
                      <a:lnTo>
                        <a:pt x="212339" y="275526"/>
                      </a:lnTo>
                      <a:cubicBezTo>
                        <a:pt x="213469" y="282620"/>
                        <a:pt x="211208" y="281606"/>
                        <a:pt x="210078" y="287687"/>
                      </a:cubicBezTo>
                      <a:cubicBezTo>
                        <a:pt x="210078" y="288700"/>
                        <a:pt x="214599" y="295793"/>
                        <a:pt x="210078" y="297820"/>
                      </a:cubicBezTo>
                      <a:cubicBezTo>
                        <a:pt x="206688" y="298833"/>
                        <a:pt x="206688" y="296807"/>
                        <a:pt x="207818" y="295793"/>
                      </a:cubicBezTo>
                      <a:cubicBezTo>
                        <a:pt x="201038" y="297820"/>
                        <a:pt x="196517" y="296807"/>
                        <a:pt x="191997" y="300860"/>
                      </a:cubicBezTo>
                      <a:cubicBezTo>
                        <a:pt x="185216" y="305927"/>
                        <a:pt x="186346" y="320114"/>
                        <a:pt x="180696" y="327207"/>
                      </a:cubicBezTo>
                      <a:lnTo>
                        <a:pt x="175045" y="327207"/>
                      </a:lnTo>
                      <a:cubicBezTo>
                        <a:pt x="172785" y="332274"/>
                        <a:pt x="164874" y="340381"/>
                        <a:pt x="163744" y="344435"/>
                      </a:cubicBezTo>
                      <a:cubicBezTo>
                        <a:pt x="163744" y="346461"/>
                        <a:pt x="164874" y="350515"/>
                        <a:pt x="163744" y="351528"/>
                      </a:cubicBezTo>
                      <a:cubicBezTo>
                        <a:pt x="159223" y="357608"/>
                        <a:pt x="149052" y="357608"/>
                        <a:pt x="142271" y="361662"/>
                      </a:cubicBezTo>
                      <a:cubicBezTo>
                        <a:pt x="137750" y="364702"/>
                        <a:pt x="133230" y="374835"/>
                        <a:pt x="128710" y="375849"/>
                      </a:cubicBezTo>
                      <a:lnTo>
                        <a:pt x="123059" y="375849"/>
                      </a:lnTo>
                      <a:cubicBezTo>
                        <a:pt x="121929" y="376862"/>
                        <a:pt x="124190" y="384969"/>
                        <a:pt x="123059" y="385982"/>
                      </a:cubicBezTo>
                      <a:cubicBezTo>
                        <a:pt x="119669" y="386996"/>
                        <a:pt x="111758" y="383955"/>
                        <a:pt x="109497" y="385982"/>
                      </a:cubicBezTo>
                      <a:cubicBezTo>
                        <a:pt x="103847" y="390036"/>
                        <a:pt x="108368" y="395102"/>
                        <a:pt x="103847" y="400169"/>
                      </a:cubicBezTo>
                      <a:cubicBezTo>
                        <a:pt x="101587" y="403209"/>
                        <a:pt x="91416" y="407263"/>
                        <a:pt x="88026" y="410303"/>
                      </a:cubicBezTo>
                      <a:cubicBezTo>
                        <a:pt x="89155" y="413343"/>
                        <a:pt x="86895" y="419423"/>
                        <a:pt x="88026" y="422463"/>
                      </a:cubicBezTo>
                      <a:cubicBezTo>
                        <a:pt x="89155" y="424490"/>
                        <a:pt x="98196" y="425503"/>
                        <a:pt x="99327" y="427530"/>
                      </a:cubicBezTo>
                      <a:cubicBezTo>
                        <a:pt x="101587" y="432597"/>
                        <a:pt x="94806" y="432597"/>
                        <a:pt x="97066" y="439690"/>
                      </a:cubicBezTo>
                      <a:lnTo>
                        <a:pt x="108368" y="456917"/>
                      </a:lnTo>
                      <a:cubicBezTo>
                        <a:pt x="108368" y="456917"/>
                        <a:pt x="108368" y="464011"/>
                        <a:pt x="108368" y="464011"/>
                      </a:cubicBezTo>
                      <a:cubicBezTo>
                        <a:pt x="107238" y="467051"/>
                        <a:pt x="101587" y="469077"/>
                        <a:pt x="100457" y="471104"/>
                      </a:cubicBezTo>
                      <a:lnTo>
                        <a:pt x="100457" y="478198"/>
                      </a:lnTo>
                      <a:cubicBezTo>
                        <a:pt x="100457" y="478198"/>
                        <a:pt x="98196" y="493398"/>
                        <a:pt x="98196" y="497451"/>
                      </a:cubicBezTo>
                      <a:cubicBezTo>
                        <a:pt x="100457" y="498465"/>
                        <a:pt x="102717" y="506572"/>
                        <a:pt x="103847" y="507585"/>
                      </a:cubicBezTo>
                      <a:cubicBezTo>
                        <a:pt x="108368" y="509612"/>
                        <a:pt x="108368" y="505558"/>
                        <a:pt x="109497" y="505558"/>
                      </a:cubicBezTo>
                      <a:lnTo>
                        <a:pt x="115148" y="505558"/>
                      </a:lnTo>
                      <a:cubicBezTo>
                        <a:pt x="116279" y="513665"/>
                        <a:pt x="117408" y="520759"/>
                        <a:pt x="117408" y="527852"/>
                      </a:cubicBezTo>
                      <a:cubicBezTo>
                        <a:pt x="117408" y="527852"/>
                        <a:pt x="125319" y="527852"/>
                        <a:pt x="125319" y="527852"/>
                      </a:cubicBezTo>
                      <a:cubicBezTo>
                        <a:pt x="124190" y="522785"/>
                        <a:pt x="115148" y="513665"/>
                        <a:pt x="123059" y="515692"/>
                      </a:cubicBezTo>
                      <a:cubicBezTo>
                        <a:pt x="123059" y="515692"/>
                        <a:pt x="125319" y="516705"/>
                        <a:pt x="128710" y="517719"/>
                      </a:cubicBezTo>
                      <a:cubicBezTo>
                        <a:pt x="136621" y="519745"/>
                        <a:pt x="138881" y="518732"/>
                        <a:pt x="144532" y="522785"/>
                      </a:cubicBezTo>
                      <a:cubicBezTo>
                        <a:pt x="145661" y="522785"/>
                        <a:pt x="144532" y="531906"/>
                        <a:pt x="144532" y="532919"/>
                      </a:cubicBezTo>
                      <a:cubicBezTo>
                        <a:pt x="151312" y="533932"/>
                        <a:pt x="152443" y="531906"/>
                        <a:pt x="158093" y="530892"/>
                      </a:cubicBezTo>
                      <a:cubicBezTo>
                        <a:pt x="158093" y="530892"/>
                        <a:pt x="158093" y="540012"/>
                        <a:pt x="158093" y="541026"/>
                      </a:cubicBezTo>
                      <a:cubicBezTo>
                        <a:pt x="145661" y="542039"/>
                        <a:pt x="140011" y="544066"/>
                        <a:pt x="130970" y="546093"/>
                      </a:cubicBezTo>
                      <a:cubicBezTo>
                        <a:pt x="132100" y="553186"/>
                        <a:pt x="133230" y="556226"/>
                        <a:pt x="133230" y="563320"/>
                      </a:cubicBezTo>
                      <a:cubicBezTo>
                        <a:pt x="151312" y="555213"/>
                        <a:pt x="143401" y="563320"/>
                        <a:pt x="152443" y="546093"/>
                      </a:cubicBezTo>
                      <a:cubicBezTo>
                        <a:pt x="153572" y="548119"/>
                        <a:pt x="162613" y="552173"/>
                        <a:pt x="163744" y="553186"/>
                      </a:cubicBezTo>
                      <a:cubicBezTo>
                        <a:pt x="164874" y="556226"/>
                        <a:pt x="162613" y="559266"/>
                        <a:pt x="161483" y="563320"/>
                      </a:cubicBezTo>
                      <a:cubicBezTo>
                        <a:pt x="162613" y="564333"/>
                        <a:pt x="168264" y="563320"/>
                        <a:pt x="169394" y="563320"/>
                      </a:cubicBezTo>
                      <a:cubicBezTo>
                        <a:pt x="169394" y="563320"/>
                        <a:pt x="169394" y="570413"/>
                        <a:pt x="169394" y="570413"/>
                      </a:cubicBezTo>
                      <a:cubicBezTo>
                        <a:pt x="169394" y="570413"/>
                        <a:pt x="197647" y="566360"/>
                        <a:pt x="198777" y="565346"/>
                      </a:cubicBezTo>
                      <a:cubicBezTo>
                        <a:pt x="201038" y="564333"/>
                        <a:pt x="199907" y="559266"/>
                        <a:pt x="201038" y="558253"/>
                      </a:cubicBezTo>
                      <a:cubicBezTo>
                        <a:pt x="212339" y="548119"/>
                        <a:pt x="221380" y="545079"/>
                        <a:pt x="241722" y="541026"/>
                      </a:cubicBezTo>
                      <a:cubicBezTo>
                        <a:pt x="241722" y="540012"/>
                        <a:pt x="240592" y="531906"/>
                        <a:pt x="241722" y="530892"/>
                      </a:cubicBezTo>
                      <a:cubicBezTo>
                        <a:pt x="243982" y="529879"/>
                        <a:pt x="247372" y="533932"/>
                        <a:pt x="253023" y="532919"/>
                      </a:cubicBezTo>
                      <a:cubicBezTo>
                        <a:pt x="256413" y="531906"/>
                        <a:pt x="257544" y="527852"/>
                        <a:pt x="264324" y="527852"/>
                      </a:cubicBezTo>
                      <a:cubicBezTo>
                        <a:pt x="266584" y="527852"/>
                        <a:pt x="273365" y="533932"/>
                        <a:pt x="277886" y="532919"/>
                      </a:cubicBezTo>
                      <a:cubicBezTo>
                        <a:pt x="277886" y="532919"/>
                        <a:pt x="277886" y="525825"/>
                        <a:pt x="277886" y="525825"/>
                      </a:cubicBezTo>
                      <a:cubicBezTo>
                        <a:pt x="280146" y="524812"/>
                        <a:pt x="283536" y="524812"/>
                        <a:pt x="285797" y="523799"/>
                      </a:cubicBezTo>
                      <a:lnTo>
                        <a:pt x="285797" y="521772"/>
                      </a:lnTo>
                      <a:cubicBezTo>
                        <a:pt x="290317" y="522785"/>
                        <a:pt x="286926" y="522785"/>
                        <a:pt x="288057" y="526839"/>
                      </a:cubicBezTo>
                      <a:cubicBezTo>
                        <a:pt x="290317" y="526839"/>
                        <a:pt x="295967" y="525825"/>
                        <a:pt x="299358" y="526839"/>
                      </a:cubicBezTo>
                      <a:cubicBezTo>
                        <a:pt x="307268" y="520759"/>
                        <a:pt x="321961" y="510625"/>
                        <a:pt x="321961" y="510625"/>
                      </a:cubicBezTo>
                      <a:cubicBezTo>
                        <a:pt x="321961" y="510625"/>
                        <a:pt x="444013" y="444757"/>
                        <a:pt x="445143" y="436650"/>
                      </a:cubicBezTo>
                      <a:cubicBezTo>
                        <a:pt x="446274" y="428543"/>
                        <a:pt x="438363" y="422463"/>
                        <a:pt x="438363" y="413343"/>
                      </a:cubicBezTo>
                      <a:cubicBezTo>
                        <a:pt x="438363" y="404223"/>
                        <a:pt x="424801" y="408276"/>
                        <a:pt x="415760" y="403209"/>
                      </a:cubicBezTo>
                      <a:cubicBezTo>
                        <a:pt x="406720" y="397129"/>
                        <a:pt x="410110" y="388009"/>
                        <a:pt x="410110" y="380915"/>
                      </a:cubicBezTo>
                      <a:cubicBezTo>
                        <a:pt x="410110" y="373822"/>
                        <a:pt x="414630" y="369768"/>
                        <a:pt x="420280" y="361662"/>
                      </a:cubicBezTo>
                      <a:cubicBezTo>
                        <a:pt x="425931" y="353555"/>
                        <a:pt x="415760" y="349501"/>
                        <a:pt x="414630" y="339368"/>
                      </a:cubicBezTo>
                      <a:cubicBezTo>
                        <a:pt x="413500" y="329234"/>
                        <a:pt x="412370" y="330248"/>
                        <a:pt x="403329" y="323154"/>
                      </a:cubicBezTo>
                      <a:cubicBezTo>
                        <a:pt x="394288" y="316061"/>
                        <a:pt x="392027" y="305927"/>
                        <a:pt x="392027" y="305927"/>
                      </a:cubicBezTo>
                      <a:cubicBezTo>
                        <a:pt x="392027" y="305927"/>
                        <a:pt x="390898" y="291740"/>
                        <a:pt x="387507" y="285660"/>
                      </a:cubicBezTo>
                      <a:cubicBezTo>
                        <a:pt x="384117" y="279580"/>
                        <a:pt x="386377" y="273500"/>
                        <a:pt x="390898" y="266406"/>
                      </a:cubicBezTo>
                      <a:cubicBezTo>
                        <a:pt x="394288" y="260326"/>
                        <a:pt x="386377" y="255259"/>
                        <a:pt x="388637" y="250192"/>
                      </a:cubicBezTo>
                      <a:cubicBezTo>
                        <a:pt x="390898" y="245126"/>
                        <a:pt x="386377" y="229925"/>
                        <a:pt x="386377" y="229925"/>
                      </a:cubicBezTo>
                      <a:cubicBezTo>
                        <a:pt x="386377" y="229925"/>
                        <a:pt x="366035" y="175204"/>
                        <a:pt x="366035" y="167097"/>
                      </a:cubicBezTo>
                      <a:cubicBezTo>
                        <a:pt x="366035" y="160004"/>
                        <a:pt x="382987" y="144803"/>
                        <a:pt x="386377" y="136696"/>
                      </a:cubicBezTo>
                      <a:cubicBezTo>
                        <a:pt x="389768" y="128590"/>
                        <a:pt x="377336" y="111362"/>
                        <a:pt x="377336" y="111362"/>
                      </a:cubicBezTo>
                      <a:cubicBezTo>
                        <a:pt x="377336" y="111362"/>
                        <a:pt x="371685" y="115416"/>
                        <a:pt x="366035" y="108322"/>
                      </a:cubicBezTo>
                      <a:cubicBezTo>
                        <a:pt x="360384" y="101229"/>
                        <a:pt x="366035" y="68802"/>
                        <a:pt x="366035" y="68802"/>
                      </a:cubicBezTo>
                      <a:lnTo>
                        <a:pt x="378467" y="57655"/>
                      </a:lnTo>
                      <a:lnTo>
                        <a:pt x="379596" y="53601"/>
                      </a:lnTo>
                      <a:cubicBezTo>
                        <a:pt x="379596" y="53601"/>
                        <a:pt x="373946" y="58668"/>
                        <a:pt x="363774" y="52588"/>
                      </a:cubicBezTo>
                      <a:cubicBezTo>
                        <a:pt x="356994" y="48534"/>
                        <a:pt x="347953" y="41441"/>
                        <a:pt x="340042" y="37387"/>
                      </a:cubicBezTo>
                      <a:cubicBezTo>
                        <a:pt x="332131" y="33334"/>
                        <a:pt x="320830" y="9013"/>
                        <a:pt x="320830" y="9013"/>
                      </a:cubicBezTo>
                      <a:cubicBezTo>
                        <a:pt x="320830" y="9013"/>
                        <a:pt x="299358" y="26240"/>
                        <a:pt x="292577" y="23200"/>
                      </a:cubicBezTo>
                      <a:cubicBezTo>
                        <a:pt x="285797" y="20160"/>
                        <a:pt x="268845" y="18134"/>
                        <a:pt x="268845" y="18134"/>
                      </a:cubicBezTo>
                      <a:cubicBezTo>
                        <a:pt x="268845" y="18134"/>
                        <a:pt x="266584" y="31307"/>
                        <a:pt x="257544" y="33334"/>
                      </a:cubicBezTo>
                      <a:cubicBezTo>
                        <a:pt x="248503" y="35361"/>
                        <a:pt x="242852" y="38401"/>
                        <a:pt x="240592" y="45494"/>
                      </a:cubicBezTo>
                      <a:cubicBezTo>
                        <a:pt x="238331" y="52588"/>
                        <a:pt x="234941" y="48534"/>
                        <a:pt x="233811" y="55628"/>
                      </a:cubicBezTo>
                      <a:cubicBezTo>
                        <a:pt x="232681" y="62721"/>
                        <a:pt x="240592" y="64748"/>
                        <a:pt x="238331" y="74882"/>
                      </a:cubicBezTo>
                      <a:cubicBezTo>
                        <a:pt x="236071" y="85015"/>
                        <a:pt x="228160" y="92109"/>
                        <a:pt x="219119" y="96162"/>
                      </a:cubicBezTo>
                      <a:cubicBezTo>
                        <a:pt x="210078" y="100216"/>
                        <a:pt x="213469" y="107309"/>
                        <a:pt x="213469" y="107309"/>
                      </a:cubicBezTo>
                      <a:lnTo>
                        <a:pt x="190866" y="94135"/>
                      </a:lnTo>
                      <a:cubicBezTo>
                        <a:pt x="190866" y="94135"/>
                        <a:pt x="193127" y="88055"/>
                        <a:pt x="181825" y="89069"/>
                      </a:cubicBezTo>
                      <a:cubicBezTo>
                        <a:pt x="170524" y="90082"/>
                        <a:pt x="184086" y="100216"/>
                        <a:pt x="164874" y="92109"/>
                      </a:cubicBezTo>
                      <a:cubicBezTo>
                        <a:pt x="156963" y="89069"/>
                        <a:pt x="129840" y="95149"/>
                        <a:pt x="129840" y="95149"/>
                      </a:cubicBezTo>
                      <a:lnTo>
                        <a:pt x="89155" y="55628"/>
                      </a:lnTo>
                      <a:cubicBezTo>
                        <a:pt x="89155" y="55628"/>
                        <a:pt x="73334" y="53601"/>
                        <a:pt x="73334" y="60695"/>
                      </a:cubicBezTo>
                      <a:lnTo>
                        <a:pt x="72204" y="67788"/>
                      </a:lnTo>
                      <a:lnTo>
                        <a:pt x="54122" y="74882"/>
                      </a:lnTo>
                      <a:cubicBezTo>
                        <a:pt x="54122" y="74882"/>
                        <a:pt x="75594" y="78935"/>
                        <a:pt x="77854" y="86029"/>
                      </a:cubicBezTo>
                      <a:cubicBezTo>
                        <a:pt x="78985" y="93122"/>
                        <a:pt x="90286" y="105282"/>
                        <a:pt x="99327" y="105282"/>
                      </a:cubicBezTo>
                      <a:cubicBezTo>
                        <a:pt x="108368" y="105282"/>
                        <a:pt x="123059" y="106296"/>
                        <a:pt x="127580" y="115416"/>
                      </a:cubicBezTo>
                      <a:cubicBezTo>
                        <a:pt x="132100" y="123523"/>
                        <a:pt x="136621" y="129603"/>
                        <a:pt x="143401" y="133656"/>
                      </a:cubicBezTo>
                      <a:cubicBezTo>
                        <a:pt x="150182" y="137710"/>
                        <a:pt x="143401" y="138723"/>
                        <a:pt x="147922" y="147843"/>
                      </a:cubicBezTo>
                      <a:cubicBezTo>
                        <a:pt x="152443" y="155950"/>
                        <a:pt x="143401" y="155950"/>
                        <a:pt x="151312" y="166084"/>
                      </a:cubicBezTo>
                      <a:cubicBezTo>
                        <a:pt x="159223" y="176217"/>
                        <a:pt x="154702" y="174191"/>
                        <a:pt x="154702" y="185338"/>
                      </a:cubicBezTo>
                      <a:cubicBezTo>
                        <a:pt x="154702" y="196484"/>
                        <a:pt x="150182" y="203578"/>
                        <a:pt x="150182" y="208645"/>
                      </a:cubicBezTo>
                      <a:cubicBezTo>
                        <a:pt x="150182" y="213711"/>
                        <a:pt x="153572" y="219792"/>
                        <a:pt x="153572" y="219792"/>
                      </a:cubicBezTo>
                      <a:lnTo>
                        <a:pt x="162613" y="239045"/>
                      </a:lnTo>
                      <a:close/>
                      <a:moveTo>
                        <a:pt x="13437" y="540012"/>
                      </a:moveTo>
                      <a:cubicBezTo>
                        <a:pt x="8917" y="540012"/>
                        <a:pt x="19088" y="547106"/>
                        <a:pt x="19088" y="547106"/>
                      </a:cubicBezTo>
                      <a:cubicBezTo>
                        <a:pt x="1006" y="557240"/>
                        <a:pt x="13437" y="555213"/>
                        <a:pt x="26999" y="561293"/>
                      </a:cubicBezTo>
                      <a:cubicBezTo>
                        <a:pt x="28129" y="562306"/>
                        <a:pt x="26999" y="564333"/>
                        <a:pt x="29259" y="566360"/>
                      </a:cubicBezTo>
                      <a:cubicBezTo>
                        <a:pt x="30389" y="563320"/>
                        <a:pt x="32649" y="563320"/>
                        <a:pt x="34910" y="561293"/>
                      </a:cubicBezTo>
                      <a:cubicBezTo>
                        <a:pt x="29259" y="546093"/>
                        <a:pt x="36040" y="550146"/>
                        <a:pt x="21348" y="544066"/>
                      </a:cubicBezTo>
                      <a:cubicBezTo>
                        <a:pt x="17958" y="543052"/>
                        <a:pt x="21348" y="538999"/>
                        <a:pt x="13437" y="540012"/>
                      </a:cubicBezTo>
                      <a:close/>
                      <a:moveTo>
                        <a:pt x="189736" y="279580"/>
                      </a:moveTo>
                      <a:cubicBezTo>
                        <a:pt x="186346" y="280593"/>
                        <a:pt x="186346" y="283633"/>
                        <a:pt x="191997" y="284646"/>
                      </a:cubicBezTo>
                      <a:cubicBezTo>
                        <a:pt x="191997" y="281606"/>
                        <a:pt x="195387" y="278566"/>
                        <a:pt x="189736" y="27958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2" name="Freeform: Shape 401">
                  <a:extLst>
                    <a:ext uri="{FF2B5EF4-FFF2-40B4-BE49-F238E27FC236}">
                      <a16:creationId xmlns:a16="http://schemas.microsoft.com/office/drawing/2014/main" id="{B6602F38-84E0-4B71-8E47-BE1CB8AA6981}"/>
                    </a:ext>
                  </a:extLst>
                </p:cNvPr>
                <p:cNvSpPr/>
                <p:nvPr/>
              </p:nvSpPr>
              <p:spPr>
                <a:xfrm>
                  <a:off x="12127850" y="4932372"/>
                  <a:ext cx="101711" cy="91202"/>
                </a:xfrm>
                <a:custGeom>
                  <a:avLst/>
                  <a:gdLst>
                    <a:gd name="connsiteX0" fmla="*/ 38619 w 101710"/>
                    <a:gd name="connsiteY0" fmla="*/ 64882 h 91202"/>
                    <a:gd name="connsiteX1" fmla="*/ 30708 w 101710"/>
                    <a:gd name="connsiteY1" fmla="*/ 91229 h 91202"/>
                    <a:gd name="connsiteX2" fmla="*/ 38619 w 101710"/>
                    <a:gd name="connsiteY2" fmla="*/ 64882 h 91202"/>
                    <a:gd name="connsiteX3" fmla="*/ 90604 w 101710"/>
                    <a:gd name="connsiteY3" fmla="*/ 9147 h 91202"/>
                    <a:gd name="connsiteX4" fmla="*/ 57830 w 101710"/>
                    <a:gd name="connsiteY4" fmla="*/ 23334 h 91202"/>
                    <a:gd name="connsiteX5" fmla="*/ 46529 w 101710"/>
                    <a:gd name="connsiteY5" fmla="*/ 33468 h 91202"/>
                    <a:gd name="connsiteX6" fmla="*/ 52180 w 101710"/>
                    <a:gd name="connsiteY6" fmla="*/ 40562 h 91202"/>
                    <a:gd name="connsiteX7" fmla="*/ 77043 w 101710"/>
                    <a:gd name="connsiteY7" fmla="*/ 30428 h 91202"/>
                    <a:gd name="connsiteX8" fmla="*/ 88344 w 101710"/>
                    <a:gd name="connsiteY8" fmla="*/ 30428 h 91202"/>
                    <a:gd name="connsiteX9" fmla="*/ 88344 w 101710"/>
                    <a:gd name="connsiteY9" fmla="*/ 18268 h 91202"/>
                    <a:gd name="connsiteX10" fmla="*/ 99645 w 101710"/>
                    <a:gd name="connsiteY10" fmla="*/ 13201 h 91202"/>
                    <a:gd name="connsiteX11" fmla="*/ 90604 w 101710"/>
                    <a:gd name="connsiteY11" fmla="*/ 9147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710" h="91202">
                      <a:moveTo>
                        <a:pt x="38619" y="64882"/>
                      </a:moveTo>
                      <a:cubicBezTo>
                        <a:pt x="11495" y="62856"/>
                        <a:pt x="-5456" y="89203"/>
                        <a:pt x="30708" y="91229"/>
                      </a:cubicBezTo>
                      <a:cubicBezTo>
                        <a:pt x="60091" y="93256"/>
                        <a:pt x="63481" y="66909"/>
                        <a:pt x="38619" y="64882"/>
                      </a:cubicBezTo>
                      <a:close/>
                      <a:moveTo>
                        <a:pt x="90604" y="9147"/>
                      </a:moveTo>
                      <a:cubicBezTo>
                        <a:pt x="86083" y="10161"/>
                        <a:pt x="62351" y="21308"/>
                        <a:pt x="57830" y="23334"/>
                      </a:cubicBezTo>
                      <a:cubicBezTo>
                        <a:pt x="54441" y="25361"/>
                        <a:pt x="51050" y="30428"/>
                        <a:pt x="46529" y="33468"/>
                      </a:cubicBezTo>
                      <a:cubicBezTo>
                        <a:pt x="52180" y="35495"/>
                        <a:pt x="48790" y="36508"/>
                        <a:pt x="52180" y="40562"/>
                      </a:cubicBezTo>
                      <a:cubicBezTo>
                        <a:pt x="58961" y="37522"/>
                        <a:pt x="68001" y="32455"/>
                        <a:pt x="77043" y="30428"/>
                      </a:cubicBezTo>
                      <a:cubicBezTo>
                        <a:pt x="79303" y="30428"/>
                        <a:pt x="86083" y="31441"/>
                        <a:pt x="88344" y="30428"/>
                      </a:cubicBezTo>
                      <a:cubicBezTo>
                        <a:pt x="89474" y="29415"/>
                        <a:pt x="88344" y="20294"/>
                        <a:pt x="88344" y="18268"/>
                      </a:cubicBezTo>
                      <a:cubicBezTo>
                        <a:pt x="92865" y="16241"/>
                        <a:pt x="97384" y="16241"/>
                        <a:pt x="99645" y="13201"/>
                      </a:cubicBezTo>
                      <a:cubicBezTo>
                        <a:pt x="96254" y="13201"/>
                        <a:pt x="98516" y="8134"/>
                        <a:pt x="90604" y="914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3" name="Freeform: Shape 402">
                  <a:extLst>
                    <a:ext uri="{FF2B5EF4-FFF2-40B4-BE49-F238E27FC236}">
                      <a16:creationId xmlns:a16="http://schemas.microsoft.com/office/drawing/2014/main" id="{28EDD88E-F1FF-47AF-AFCB-DA0DACFD0784}"/>
                    </a:ext>
                  </a:extLst>
                </p:cNvPr>
                <p:cNvSpPr/>
                <p:nvPr/>
              </p:nvSpPr>
              <p:spPr>
                <a:xfrm>
                  <a:off x="3720526" y="6418087"/>
                  <a:ext cx="881493" cy="192538"/>
                </a:xfrm>
                <a:custGeom>
                  <a:avLst/>
                  <a:gdLst>
                    <a:gd name="connsiteX0" fmla="*/ 858320 w 881493"/>
                    <a:gd name="connsiteY0" fmla="*/ 167097 h 192537"/>
                    <a:gd name="connsiteX1" fmla="*/ 858320 w 881493"/>
                    <a:gd name="connsiteY1" fmla="*/ 174190 h 192537"/>
                    <a:gd name="connsiteX2" fmla="*/ 874142 w 881493"/>
                    <a:gd name="connsiteY2" fmla="*/ 184324 h 192537"/>
                    <a:gd name="connsiteX3" fmla="*/ 876402 w 881493"/>
                    <a:gd name="connsiteY3" fmla="*/ 184324 h 192537"/>
                    <a:gd name="connsiteX4" fmla="*/ 878662 w 881493"/>
                    <a:gd name="connsiteY4" fmla="*/ 170137 h 192537"/>
                    <a:gd name="connsiteX5" fmla="*/ 858320 w 881493"/>
                    <a:gd name="connsiteY5" fmla="*/ 167097 h 192537"/>
                    <a:gd name="connsiteX6" fmla="*/ 93229 w 881493"/>
                    <a:gd name="connsiteY6" fmla="*/ 9013 h 192537"/>
                    <a:gd name="connsiteX7" fmla="*/ 77407 w 881493"/>
                    <a:gd name="connsiteY7" fmla="*/ 19147 h 192537"/>
                    <a:gd name="connsiteX8" fmla="*/ 77407 w 881493"/>
                    <a:gd name="connsiteY8" fmla="*/ 24214 h 192537"/>
                    <a:gd name="connsiteX9" fmla="*/ 79668 w 881493"/>
                    <a:gd name="connsiteY9" fmla="*/ 31307 h 192537"/>
                    <a:gd name="connsiteX10" fmla="*/ 71757 w 881493"/>
                    <a:gd name="connsiteY10" fmla="*/ 31307 h 192537"/>
                    <a:gd name="connsiteX11" fmla="*/ 58195 w 881493"/>
                    <a:gd name="connsiteY11" fmla="*/ 48535 h 192537"/>
                    <a:gd name="connsiteX12" fmla="*/ 55935 w 881493"/>
                    <a:gd name="connsiteY12" fmla="*/ 53601 h 192537"/>
                    <a:gd name="connsiteX13" fmla="*/ 55935 w 881493"/>
                    <a:gd name="connsiteY13" fmla="*/ 58668 h 192537"/>
                    <a:gd name="connsiteX14" fmla="*/ 69496 w 881493"/>
                    <a:gd name="connsiteY14" fmla="*/ 63735 h 192537"/>
                    <a:gd name="connsiteX15" fmla="*/ 67236 w 881493"/>
                    <a:gd name="connsiteY15" fmla="*/ 61708 h 192537"/>
                    <a:gd name="connsiteX16" fmla="*/ 67236 w 881493"/>
                    <a:gd name="connsiteY16" fmla="*/ 56641 h 192537"/>
                    <a:gd name="connsiteX17" fmla="*/ 72887 w 881493"/>
                    <a:gd name="connsiteY17" fmla="*/ 51575 h 192537"/>
                    <a:gd name="connsiteX18" fmla="*/ 94359 w 881493"/>
                    <a:gd name="connsiteY18" fmla="*/ 53601 h 192537"/>
                    <a:gd name="connsiteX19" fmla="*/ 88708 w 881493"/>
                    <a:gd name="connsiteY19" fmla="*/ 39414 h 192537"/>
                    <a:gd name="connsiteX20" fmla="*/ 115831 w 881493"/>
                    <a:gd name="connsiteY20" fmla="*/ 37387 h 192537"/>
                    <a:gd name="connsiteX21" fmla="*/ 118092 w 881493"/>
                    <a:gd name="connsiteY21" fmla="*/ 32321 h 192537"/>
                    <a:gd name="connsiteX22" fmla="*/ 131653 w 881493"/>
                    <a:gd name="connsiteY22" fmla="*/ 34347 h 192537"/>
                    <a:gd name="connsiteX23" fmla="*/ 133913 w 881493"/>
                    <a:gd name="connsiteY23" fmla="*/ 29281 h 192537"/>
                    <a:gd name="connsiteX24" fmla="*/ 122612 w 881493"/>
                    <a:gd name="connsiteY24" fmla="*/ 27254 h 192537"/>
                    <a:gd name="connsiteX25" fmla="*/ 122612 w 881493"/>
                    <a:gd name="connsiteY25" fmla="*/ 17120 h 192537"/>
                    <a:gd name="connsiteX26" fmla="*/ 116961 w 881493"/>
                    <a:gd name="connsiteY26" fmla="*/ 19147 h 192537"/>
                    <a:gd name="connsiteX27" fmla="*/ 105660 w 881493"/>
                    <a:gd name="connsiteY27" fmla="*/ 26241 h 192537"/>
                    <a:gd name="connsiteX28" fmla="*/ 100010 w 881493"/>
                    <a:gd name="connsiteY28" fmla="*/ 21174 h 192537"/>
                    <a:gd name="connsiteX29" fmla="*/ 102270 w 881493"/>
                    <a:gd name="connsiteY29" fmla="*/ 16107 h 192537"/>
                    <a:gd name="connsiteX30" fmla="*/ 102270 w 881493"/>
                    <a:gd name="connsiteY30" fmla="*/ 11040 h 192537"/>
                    <a:gd name="connsiteX31" fmla="*/ 93229 w 881493"/>
                    <a:gd name="connsiteY31" fmla="*/ 9013 h 192537"/>
                    <a:gd name="connsiteX32" fmla="*/ 25422 w 881493"/>
                    <a:gd name="connsiteY32" fmla="*/ 9013 h 192537"/>
                    <a:gd name="connsiteX33" fmla="*/ 27682 w 881493"/>
                    <a:gd name="connsiteY33" fmla="*/ 21174 h 192537"/>
                    <a:gd name="connsiteX34" fmla="*/ 22031 w 881493"/>
                    <a:gd name="connsiteY34" fmla="*/ 26241 h 192537"/>
                    <a:gd name="connsiteX35" fmla="*/ 29942 w 881493"/>
                    <a:gd name="connsiteY35" fmla="*/ 26241 h 192537"/>
                    <a:gd name="connsiteX36" fmla="*/ 29942 w 881493"/>
                    <a:gd name="connsiteY36" fmla="*/ 33334 h 192537"/>
                    <a:gd name="connsiteX37" fmla="*/ 16381 w 881493"/>
                    <a:gd name="connsiteY37" fmla="*/ 55628 h 192537"/>
                    <a:gd name="connsiteX38" fmla="*/ 27682 w 881493"/>
                    <a:gd name="connsiteY38" fmla="*/ 45494 h 192537"/>
                    <a:gd name="connsiteX39" fmla="*/ 27682 w 881493"/>
                    <a:gd name="connsiteY39" fmla="*/ 43468 h 192537"/>
                    <a:gd name="connsiteX40" fmla="*/ 35593 w 881493"/>
                    <a:gd name="connsiteY40" fmla="*/ 43468 h 192537"/>
                    <a:gd name="connsiteX41" fmla="*/ 43504 w 881493"/>
                    <a:gd name="connsiteY41" fmla="*/ 43468 h 192537"/>
                    <a:gd name="connsiteX42" fmla="*/ 54805 w 881493"/>
                    <a:gd name="connsiteY42" fmla="*/ 26241 h 192537"/>
                    <a:gd name="connsiteX43" fmla="*/ 62716 w 881493"/>
                    <a:gd name="connsiteY43" fmla="*/ 26241 h 192537"/>
                    <a:gd name="connsiteX44" fmla="*/ 70626 w 881493"/>
                    <a:gd name="connsiteY44" fmla="*/ 14080 h 192537"/>
                    <a:gd name="connsiteX45" fmla="*/ 25422 w 881493"/>
                    <a:gd name="connsiteY45" fmla="*/ 9013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81493" h="192537">
                      <a:moveTo>
                        <a:pt x="858320" y="167097"/>
                      </a:moveTo>
                      <a:cubicBezTo>
                        <a:pt x="860580" y="169124"/>
                        <a:pt x="857190" y="172164"/>
                        <a:pt x="858320" y="174190"/>
                      </a:cubicBezTo>
                      <a:cubicBezTo>
                        <a:pt x="858320" y="175204"/>
                        <a:pt x="873011" y="182297"/>
                        <a:pt x="874142" y="184324"/>
                      </a:cubicBezTo>
                      <a:cubicBezTo>
                        <a:pt x="870751" y="190405"/>
                        <a:pt x="879792" y="184324"/>
                        <a:pt x="876402" y="184324"/>
                      </a:cubicBezTo>
                      <a:cubicBezTo>
                        <a:pt x="886573" y="179257"/>
                        <a:pt x="877532" y="177230"/>
                        <a:pt x="878662" y="170137"/>
                      </a:cubicBezTo>
                      <a:cubicBezTo>
                        <a:pt x="871881" y="169124"/>
                        <a:pt x="862840" y="168111"/>
                        <a:pt x="858320" y="167097"/>
                      </a:cubicBezTo>
                      <a:close/>
                      <a:moveTo>
                        <a:pt x="93229" y="9013"/>
                      </a:moveTo>
                      <a:cubicBezTo>
                        <a:pt x="90969" y="10027"/>
                        <a:pt x="77407" y="17120"/>
                        <a:pt x="77407" y="19147"/>
                      </a:cubicBezTo>
                      <a:lnTo>
                        <a:pt x="77407" y="24214"/>
                      </a:lnTo>
                      <a:cubicBezTo>
                        <a:pt x="77407" y="24214"/>
                        <a:pt x="83058" y="28267"/>
                        <a:pt x="79668" y="31307"/>
                      </a:cubicBezTo>
                      <a:cubicBezTo>
                        <a:pt x="78537" y="32321"/>
                        <a:pt x="72887" y="30294"/>
                        <a:pt x="71757" y="31307"/>
                      </a:cubicBezTo>
                      <a:cubicBezTo>
                        <a:pt x="64976" y="33334"/>
                        <a:pt x="62716" y="43468"/>
                        <a:pt x="58195" y="48535"/>
                      </a:cubicBezTo>
                      <a:cubicBezTo>
                        <a:pt x="53675" y="46508"/>
                        <a:pt x="55935" y="51575"/>
                        <a:pt x="55935" y="53601"/>
                      </a:cubicBezTo>
                      <a:cubicBezTo>
                        <a:pt x="50284" y="50561"/>
                        <a:pt x="55935" y="58668"/>
                        <a:pt x="55935" y="58668"/>
                      </a:cubicBezTo>
                      <a:cubicBezTo>
                        <a:pt x="60455" y="61708"/>
                        <a:pt x="64976" y="60694"/>
                        <a:pt x="69496" y="63735"/>
                      </a:cubicBezTo>
                      <a:cubicBezTo>
                        <a:pt x="72887" y="60694"/>
                        <a:pt x="67236" y="61708"/>
                        <a:pt x="67236" y="61708"/>
                      </a:cubicBezTo>
                      <a:lnTo>
                        <a:pt x="67236" y="56641"/>
                      </a:lnTo>
                      <a:cubicBezTo>
                        <a:pt x="72887" y="55628"/>
                        <a:pt x="70626" y="52588"/>
                        <a:pt x="72887" y="51575"/>
                      </a:cubicBezTo>
                      <a:cubicBezTo>
                        <a:pt x="78537" y="49548"/>
                        <a:pt x="87578" y="53601"/>
                        <a:pt x="94359" y="53601"/>
                      </a:cubicBezTo>
                      <a:cubicBezTo>
                        <a:pt x="93229" y="47521"/>
                        <a:pt x="92099" y="45494"/>
                        <a:pt x="88708" y="39414"/>
                      </a:cubicBezTo>
                      <a:cubicBezTo>
                        <a:pt x="104530" y="43468"/>
                        <a:pt x="100010" y="45494"/>
                        <a:pt x="115831" y="37387"/>
                      </a:cubicBezTo>
                      <a:lnTo>
                        <a:pt x="118092" y="32321"/>
                      </a:lnTo>
                      <a:cubicBezTo>
                        <a:pt x="120352" y="31307"/>
                        <a:pt x="126002" y="37387"/>
                        <a:pt x="131653" y="34347"/>
                      </a:cubicBezTo>
                      <a:lnTo>
                        <a:pt x="133913" y="29281"/>
                      </a:lnTo>
                      <a:cubicBezTo>
                        <a:pt x="131653" y="27254"/>
                        <a:pt x="124872" y="28267"/>
                        <a:pt x="122612" y="27254"/>
                      </a:cubicBezTo>
                      <a:cubicBezTo>
                        <a:pt x="121482" y="26241"/>
                        <a:pt x="122612" y="19147"/>
                        <a:pt x="122612" y="17120"/>
                      </a:cubicBezTo>
                      <a:cubicBezTo>
                        <a:pt x="122612" y="17120"/>
                        <a:pt x="112441" y="16107"/>
                        <a:pt x="116961" y="19147"/>
                      </a:cubicBezTo>
                      <a:cubicBezTo>
                        <a:pt x="113571" y="22187"/>
                        <a:pt x="110181" y="24214"/>
                        <a:pt x="105660" y="26241"/>
                      </a:cubicBezTo>
                      <a:cubicBezTo>
                        <a:pt x="105660" y="24214"/>
                        <a:pt x="100010" y="22187"/>
                        <a:pt x="100010" y="21174"/>
                      </a:cubicBezTo>
                      <a:cubicBezTo>
                        <a:pt x="98879" y="17120"/>
                        <a:pt x="102270" y="17120"/>
                        <a:pt x="102270" y="16107"/>
                      </a:cubicBezTo>
                      <a:lnTo>
                        <a:pt x="102270" y="11040"/>
                      </a:lnTo>
                      <a:cubicBezTo>
                        <a:pt x="97749" y="10027"/>
                        <a:pt x="96619" y="11040"/>
                        <a:pt x="93229" y="9013"/>
                      </a:cubicBezTo>
                      <a:close/>
                      <a:moveTo>
                        <a:pt x="25422" y="9013"/>
                      </a:moveTo>
                      <a:cubicBezTo>
                        <a:pt x="24291" y="15093"/>
                        <a:pt x="27682" y="17120"/>
                        <a:pt x="27682" y="21174"/>
                      </a:cubicBezTo>
                      <a:cubicBezTo>
                        <a:pt x="25422" y="23201"/>
                        <a:pt x="22031" y="22187"/>
                        <a:pt x="22031" y="26241"/>
                      </a:cubicBezTo>
                      <a:cubicBezTo>
                        <a:pt x="23162" y="26241"/>
                        <a:pt x="28812" y="26241"/>
                        <a:pt x="29942" y="26241"/>
                      </a:cubicBezTo>
                      <a:cubicBezTo>
                        <a:pt x="29942" y="27254"/>
                        <a:pt x="28812" y="33334"/>
                        <a:pt x="29942" y="33334"/>
                      </a:cubicBezTo>
                      <a:cubicBezTo>
                        <a:pt x="20901" y="39414"/>
                        <a:pt x="-571" y="46508"/>
                        <a:pt x="16381" y="55628"/>
                      </a:cubicBezTo>
                      <a:cubicBezTo>
                        <a:pt x="19771" y="53601"/>
                        <a:pt x="27682" y="50561"/>
                        <a:pt x="27682" y="45494"/>
                      </a:cubicBezTo>
                      <a:lnTo>
                        <a:pt x="27682" y="43468"/>
                      </a:lnTo>
                      <a:cubicBezTo>
                        <a:pt x="31072" y="42454"/>
                        <a:pt x="32202" y="44481"/>
                        <a:pt x="35593" y="43468"/>
                      </a:cubicBezTo>
                      <a:cubicBezTo>
                        <a:pt x="38983" y="41441"/>
                        <a:pt x="36723" y="42454"/>
                        <a:pt x="43504" y="43468"/>
                      </a:cubicBezTo>
                      <a:cubicBezTo>
                        <a:pt x="48024" y="38401"/>
                        <a:pt x="49154" y="31307"/>
                        <a:pt x="54805" y="26241"/>
                      </a:cubicBezTo>
                      <a:cubicBezTo>
                        <a:pt x="55935" y="25227"/>
                        <a:pt x="61586" y="26241"/>
                        <a:pt x="62716" y="26241"/>
                      </a:cubicBezTo>
                      <a:lnTo>
                        <a:pt x="70626" y="14080"/>
                      </a:lnTo>
                      <a:cubicBezTo>
                        <a:pt x="51415" y="14080"/>
                        <a:pt x="38983" y="13067"/>
                        <a:pt x="25422"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5" name="Freeform: Shape 404">
                  <a:extLst>
                    <a:ext uri="{FF2B5EF4-FFF2-40B4-BE49-F238E27FC236}">
                      <a16:creationId xmlns:a16="http://schemas.microsoft.com/office/drawing/2014/main" id="{9400A508-309A-430A-A0DD-96325FD77620}"/>
                    </a:ext>
                  </a:extLst>
                </p:cNvPr>
                <p:cNvSpPr/>
                <p:nvPr/>
              </p:nvSpPr>
              <p:spPr>
                <a:xfrm>
                  <a:off x="7188365" y="3813153"/>
                  <a:ext cx="45205" cy="40534"/>
                </a:xfrm>
                <a:custGeom>
                  <a:avLst/>
                  <a:gdLst>
                    <a:gd name="connsiteX0" fmla="*/ 29310 w 45204"/>
                    <a:gd name="connsiteY0" fmla="*/ 9621 h 40534"/>
                    <a:gd name="connsiteX1" fmla="*/ 21400 w 45204"/>
                    <a:gd name="connsiteY1" fmla="*/ 31915 h 40534"/>
                    <a:gd name="connsiteX2" fmla="*/ 29310 w 45204"/>
                    <a:gd name="connsiteY2" fmla="*/ 9621 h 40534"/>
                  </a:gdLst>
                  <a:ahLst/>
                  <a:cxnLst>
                    <a:cxn ang="0">
                      <a:pos x="connsiteX0" y="connsiteY0"/>
                    </a:cxn>
                    <a:cxn ang="0">
                      <a:pos x="connsiteX1" y="connsiteY1"/>
                    </a:cxn>
                    <a:cxn ang="0">
                      <a:pos x="connsiteX2" y="connsiteY2"/>
                    </a:cxn>
                  </a:cxnLst>
                  <a:rect l="l" t="t" r="r" b="b"/>
                  <a:pathLst>
                    <a:path w="45204" h="40534">
                      <a:moveTo>
                        <a:pt x="29310" y="9621"/>
                      </a:moveTo>
                      <a:cubicBezTo>
                        <a:pt x="49653" y="11648"/>
                        <a:pt x="21400" y="31915"/>
                        <a:pt x="21400" y="31915"/>
                      </a:cubicBezTo>
                      <a:cubicBezTo>
                        <a:pt x="11228" y="22794"/>
                        <a:pt x="-1203" y="5567"/>
                        <a:pt x="29310" y="962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6" name="Freeform: Shape 405">
                  <a:extLst>
                    <a:ext uri="{FF2B5EF4-FFF2-40B4-BE49-F238E27FC236}">
                      <a16:creationId xmlns:a16="http://schemas.microsoft.com/office/drawing/2014/main" id="{6A0D47BC-0E35-4C69-AA2C-1C528D32D619}"/>
                    </a:ext>
                  </a:extLst>
                </p:cNvPr>
                <p:cNvSpPr/>
                <p:nvPr/>
              </p:nvSpPr>
              <p:spPr>
                <a:xfrm>
                  <a:off x="7033401" y="3675718"/>
                  <a:ext cx="553759" cy="435743"/>
                </a:xfrm>
                <a:custGeom>
                  <a:avLst/>
                  <a:gdLst>
                    <a:gd name="connsiteX0" fmla="*/ 373004 w 553758"/>
                    <a:gd name="connsiteY0" fmla="*/ 172389 h 435743"/>
                    <a:gd name="connsiteX1" fmla="*/ 362833 w 553758"/>
                    <a:gd name="connsiteY1" fmla="*/ 187589 h 435743"/>
                    <a:gd name="connsiteX2" fmla="*/ 378654 w 553758"/>
                    <a:gd name="connsiteY2" fmla="*/ 205830 h 435743"/>
                    <a:gd name="connsiteX3" fmla="*/ 389956 w 553758"/>
                    <a:gd name="connsiteY3" fmla="*/ 224070 h 435743"/>
                    <a:gd name="connsiteX4" fmla="*/ 413689 w 553758"/>
                    <a:gd name="connsiteY4" fmla="*/ 240284 h 435743"/>
                    <a:gd name="connsiteX5" fmla="*/ 507488 w 553758"/>
                    <a:gd name="connsiteY5" fmla="*/ 279805 h 435743"/>
                    <a:gd name="connsiteX6" fmla="*/ 554954 w 553758"/>
                    <a:gd name="connsiteY6" fmla="*/ 280818 h 435743"/>
                    <a:gd name="connsiteX7" fmla="*/ 464544 w 553758"/>
                    <a:gd name="connsiteY7" fmla="*/ 405461 h 435743"/>
                    <a:gd name="connsiteX8" fmla="*/ 420469 w 553758"/>
                    <a:gd name="connsiteY8" fmla="*/ 406474 h 435743"/>
                    <a:gd name="connsiteX9" fmla="*/ 404647 w 553758"/>
                    <a:gd name="connsiteY9" fmla="*/ 416608 h 435743"/>
                    <a:gd name="connsiteX10" fmla="*/ 370743 w 553758"/>
                    <a:gd name="connsiteY10" fmla="*/ 417621 h 435743"/>
                    <a:gd name="connsiteX11" fmla="*/ 363963 w 553758"/>
                    <a:gd name="connsiteY11" fmla="*/ 423701 h 435743"/>
                    <a:gd name="connsiteX12" fmla="*/ 323279 w 553758"/>
                    <a:gd name="connsiteY12" fmla="*/ 427755 h 435743"/>
                    <a:gd name="connsiteX13" fmla="*/ 313108 w 553758"/>
                    <a:gd name="connsiteY13" fmla="*/ 414581 h 435743"/>
                    <a:gd name="connsiteX14" fmla="*/ 291635 w 553758"/>
                    <a:gd name="connsiteY14" fmla="*/ 423701 h 435743"/>
                    <a:gd name="connsiteX15" fmla="*/ 276944 w 553758"/>
                    <a:gd name="connsiteY15" fmla="*/ 434848 h 435743"/>
                    <a:gd name="connsiteX16" fmla="*/ 257732 w 553758"/>
                    <a:gd name="connsiteY16" fmla="*/ 435862 h 435743"/>
                    <a:gd name="connsiteX17" fmla="*/ 237390 w 553758"/>
                    <a:gd name="connsiteY17" fmla="*/ 432822 h 435743"/>
                    <a:gd name="connsiteX18" fmla="*/ 208007 w 553758"/>
                    <a:gd name="connsiteY18" fmla="*/ 428768 h 435743"/>
                    <a:gd name="connsiteX19" fmla="*/ 184274 w 553758"/>
                    <a:gd name="connsiteY19" fmla="*/ 429782 h 435743"/>
                    <a:gd name="connsiteX20" fmla="*/ 160542 w 553758"/>
                    <a:gd name="connsiteY20" fmla="*/ 432822 h 435743"/>
                    <a:gd name="connsiteX21" fmla="*/ 134549 w 553758"/>
                    <a:gd name="connsiteY21" fmla="*/ 429782 h 435743"/>
                    <a:gd name="connsiteX22" fmla="*/ 131159 w 553758"/>
                    <a:gd name="connsiteY22" fmla="*/ 419648 h 435743"/>
                    <a:gd name="connsiteX23" fmla="*/ 122117 w 553758"/>
                    <a:gd name="connsiteY23" fmla="*/ 401408 h 435743"/>
                    <a:gd name="connsiteX24" fmla="*/ 114207 w 553758"/>
                    <a:gd name="connsiteY24" fmla="*/ 401408 h 435743"/>
                    <a:gd name="connsiteX25" fmla="*/ 92734 w 553758"/>
                    <a:gd name="connsiteY25" fmla="*/ 388234 h 435743"/>
                    <a:gd name="connsiteX26" fmla="*/ 78043 w 553758"/>
                    <a:gd name="connsiteY26" fmla="*/ 354793 h 435743"/>
                    <a:gd name="connsiteX27" fmla="*/ 67872 w 553758"/>
                    <a:gd name="connsiteY27" fmla="*/ 338579 h 435743"/>
                    <a:gd name="connsiteX28" fmla="*/ 52050 w 553758"/>
                    <a:gd name="connsiteY28" fmla="*/ 319326 h 435743"/>
                    <a:gd name="connsiteX29" fmla="*/ 33968 w 553758"/>
                    <a:gd name="connsiteY29" fmla="*/ 308179 h 435743"/>
                    <a:gd name="connsiteX30" fmla="*/ 10236 w 553758"/>
                    <a:gd name="connsiteY30" fmla="*/ 302099 h 435743"/>
                    <a:gd name="connsiteX31" fmla="*/ 15886 w 553758"/>
                    <a:gd name="connsiteY31" fmla="*/ 283858 h 435743"/>
                    <a:gd name="connsiteX32" fmla="*/ 28317 w 553758"/>
                    <a:gd name="connsiteY32" fmla="*/ 280818 h 435743"/>
                    <a:gd name="connsiteX33" fmla="*/ 43009 w 553758"/>
                    <a:gd name="connsiteY33" fmla="*/ 275752 h 435743"/>
                    <a:gd name="connsiteX34" fmla="*/ 49790 w 553758"/>
                    <a:gd name="connsiteY34" fmla="*/ 255484 h 435743"/>
                    <a:gd name="connsiteX35" fmla="*/ 50920 w 553758"/>
                    <a:gd name="connsiteY35" fmla="*/ 221030 h 435743"/>
                    <a:gd name="connsiteX36" fmla="*/ 66742 w 553758"/>
                    <a:gd name="connsiteY36" fmla="*/ 182523 h 435743"/>
                    <a:gd name="connsiteX37" fmla="*/ 67872 w 553758"/>
                    <a:gd name="connsiteY37" fmla="*/ 161242 h 435743"/>
                    <a:gd name="connsiteX38" fmla="*/ 83694 w 553758"/>
                    <a:gd name="connsiteY38" fmla="*/ 152122 h 435743"/>
                    <a:gd name="connsiteX39" fmla="*/ 98385 w 553758"/>
                    <a:gd name="connsiteY39" fmla="*/ 140975 h 435743"/>
                    <a:gd name="connsiteX40" fmla="*/ 108556 w 553758"/>
                    <a:gd name="connsiteY40" fmla="*/ 120708 h 435743"/>
                    <a:gd name="connsiteX41" fmla="*/ 119857 w 553758"/>
                    <a:gd name="connsiteY41" fmla="*/ 91320 h 435743"/>
                    <a:gd name="connsiteX42" fmla="*/ 137939 w 553758"/>
                    <a:gd name="connsiteY42" fmla="*/ 61933 h 435743"/>
                    <a:gd name="connsiteX43" fmla="*/ 156021 w 553758"/>
                    <a:gd name="connsiteY43" fmla="*/ 36599 h 435743"/>
                    <a:gd name="connsiteX44" fmla="*/ 176363 w 553758"/>
                    <a:gd name="connsiteY44" fmla="*/ 30519 h 435743"/>
                    <a:gd name="connsiteX45" fmla="*/ 193315 w 553758"/>
                    <a:gd name="connsiteY45" fmla="*/ 31532 h 435743"/>
                    <a:gd name="connsiteX46" fmla="*/ 198966 w 553758"/>
                    <a:gd name="connsiteY46" fmla="*/ 41666 h 435743"/>
                    <a:gd name="connsiteX47" fmla="*/ 205746 w 553758"/>
                    <a:gd name="connsiteY47" fmla="*/ 11265 h 435743"/>
                    <a:gd name="connsiteX48" fmla="*/ 220438 w 553758"/>
                    <a:gd name="connsiteY48" fmla="*/ 11265 h 435743"/>
                    <a:gd name="connsiteX49" fmla="*/ 241910 w 553758"/>
                    <a:gd name="connsiteY49" fmla="*/ 29506 h 435743"/>
                    <a:gd name="connsiteX50" fmla="*/ 258862 w 553758"/>
                    <a:gd name="connsiteY50" fmla="*/ 32546 h 435743"/>
                    <a:gd name="connsiteX51" fmla="*/ 297286 w 553758"/>
                    <a:gd name="connsiteY51" fmla="*/ 43693 h 435743"/>
                    <a:gd name="connsiteX52" fmla="*/ 321019 w 553758"/>
                    <a:gd name="connsiteY52" fmla="*/ 67000 h 435743"/>
                    <a:gd name="connsiteX53" fmla="*/ 336840 w 553758"/>
                    <a:gd name="connsiteY53" fmla="*/ 92334 h 435743"/>
                    <a:gd name="connsiteX54" fmla="*/ 352662 w 553758"/>
                    <a:gd name="connsiteY54" fmla="*/ 103481 h 435743"/>
                    <a:gd name="connsiteX55" fmla="*/ 333450 w 553758"/>
                    <a:gd name="connsiteY55" fmla="*/ 136922 h 435743"/>
                    <a:gd name="connsiteX56" fmla="*/ 325539 w 553758"/>
                    <a:gd name="connsiteY56" fmla="*/ 164282 h 435743"/>
                    <a:gd name="connsiteX57" fmla="*/ 347011 w 553758"/>
                    <a:gd name="connsiteY57" fmla="*/ 173402 h 435743"/>
                    <a:gd name="connsiteX58" fmla="*/ 359442 w 553758"/>
                    <a:gd name="connsiteY58" fmla="*/ 170362 h 435743"/>
                    <a:gd name="connsiteX59" fmla="*/ 373004 w 553758"/>
                    <a:gd name="connsiteY59" fmla="*/ 172389 h 4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53758" h="435743">
                      <a:moveTo>
                        <a:pt x="373004" y="172389"/>
                      </a:moveTo>
                      <a:lnTo>
                        <a:pt x="362833" y="187589"/>
                      </a:lnTo>
                      <a:cubicBezTo>
                        <a:pt x="362833" y="187589"/>
                        <a:pt x="373004" y="198736"/>
                        <a:pt x="378654" y="205830"/>
                      </a:cubicBezTo>
                      <a:cubicBezTo>
                        <a:pt x="384305" y="212923"/>
                        <a:pt x="382045" y="219003"/>
                        <a:pt x="389956" y="224070"/>
                      </a:cubicBezTo>
                      <a:cubicBezTo>
                        <a:pt x="397867" y="229137"/>
                        <a:pt x="400127" y="235217"/>
                        <a:pt x="413689" y="240284"/>
                      </a:cubicBezTo>
                      <a:cubicBezTo>
                        <a:pt x="428380" y="245351"/>
                        <a:pt x="507488" y="279805"/>
                        <a:pt x="507488" y="279805"/>
                      </a:cubicBezTo>
                      <a:lnTo>
                        <a:pt x="554954" y="280818"/>
                      </a:lnTo>
                      <a:lnTo>
                        <a:pt x="464544" y="405461"/>
                      </a:lnTo>
                      <a:lnTo>
                        <a:pt x="420469" y="406474"/>
                      </a:lnTo>
                      <a:lnTo>
                        <a:pt x="404647" y="416608"/>
                      </a:lnTo>
                      <a:lnTo>
                        <a:pt x="370743" y="417621"/>
                      </a:lnTo>
                      <a:lnTo>
                        <a:pt x="363963" y="423701"/>
                      </a:lnTo>
                      <a:cubicBezTo>
                        <a:pt x="363963" y="423701"/>
                        <a:pt x="332320" y="431808"/>
                        <a:pt x="323279" y="427755"/>
                      </a:cubicBezTo>
                      <a:cubicBezTo>
                        <a:pt x="314238" y="423701"/>
                        <a:pt x="313108" y="414581"/>
                        <a:pt x="313108" y="414581"/>
                      </a:cubicBezTo>
                      <a:cubicBezTo>
                        <a:pt x="313108" y="414581"/>
                        <a:pt x="300677" y="428768"/>
                        <a:pt x="291635" y="423701"/>
                      </a:cubicBezTo>
                      <a:cubicBezTo>
                        <a:pt x="281464" y="418635"/>
                        <a:pt x="276944" y="434848"/>
                        <a:pt x="276944" y="434848"/>
                      </a:cubicBezTo>
                      <a:cubicBezTo>
                        <a:pt x="276944" y="434848"/>
                        <a:pt x="266773" y="435862"/>
                        <a:pt x="257732" y="435862"/>
                      </a:cubicBezTo>
                      <a:cubicBezTo>
                        <a:pt x="248691" y="435862"/>
                        <a:pt x="243040" y="437889"/>
                        <a:pt x="237390" y="432822"/>
                      </a:cubicBezTo>
                      <a:cubicBezTo>
                        <a:pt x="231739" y="427755"/>
                        <a:pt x="208007" y="428768"/>
                        <a:pt x="208007" y="428768"/>
                      </a:cubicBezTo>
                      <a:cubicBezTo>
                        <a:pt x="208007" y="428768"/>
                        <a:pt x="191055" y="436875"/>
                        <a:pt x="184274" y="429782"/>
                      </a:cubicBezTo>
                      <a:cubicBezTo>
                        <a:pt x="177493" y="423701"/>
                        <a:pt x="166192" y="433835"/>
                        <a:pt x="160542" y="432822"/>
                      </a:cubicBezTo>
                      <a:cubicBezTo>
                        <a:pt x="154891" y="431808"/>
                        <a:pt x="134549" y="429782"/>
                        <a:pt x="134549" y="429782"/>
                      </a:cubicBezTo>
                      <a:lnTo>
                        <a:pt x="131159" y="419648"/>
                      </a:lnTo>
                      <a:cubicBezTo>
                        <a:pt x="131159" y="419648"/>
                        <a:pt x="132289" y="401408"/>
                        <a:pt x="122117" y="401408"/>
                      </a:cubicBezTo>
                      <a:cubicBezTo>
                        <a:pt x="119857" y="401408"/>
                        <a:pt x="116467" y="401408"/>
                        <a:pt x="114207" y="401408"/>
                      </a:cubicBezTo>
                      <a:cubicBezTo>
                        <a:pt x="105165" y="400394"/>
                        <a:pt x="94995" y="398367"/>
                        <a:pt x="92734" y="388234"/>
                      </a:cubicBezTo>
                      <a:cubicBezTo>
                        <a:pt x="89344" y="375060"/>
                        <a:pt x="78043" y="364927"/>
                        <a:pt x="78043" y="354793"/>
                      </a:cubicBezTo>
                      <a:cubicBezTo>
                        <a:pt x="78043" y="344660"/>
                        <a:pt x="74653" y="343646"/>
                        <a:pt x="67872" y="338579"/>
                      </a:cubicBezTo>
                      <a:cubicBezTo>
                        <a:pt x="61091" y="333513"/>
                        <a:pt x="57701" y="328446"/>
                        <a:pt x="52050" y="319326"/>
                      </a:cubicBezTo>
                      <a:cubicBezTo>
                        <a:pt x="46400" y="310206"/>
                        <a:pt x="40749" y="310206"/>
                        <a:pt x="33968" y="308179"/>
                      </a:cubicBezTo>
                      <a:cubicBezTo>
                        <a:pt x="27188" y="306152"/>
                        <a:pt x="7975" y="310206"/>
                        <a:pt x="10236" y="302099"/>
                      </a:cubicBezTo>
                      <a:cubicBezTo>
                        <a:pt x="12496" y="293992"/>
                        <a:pt x="15886" y="283858"/>
                        <a:pt x="15886" y="283858"/>
                      </a:cubicBezTo>
                      <a:cubicBezTo>
                        <a:pt x="15886" y="283858"/>
                        <a:pt x="17016" y="282845"/>
                        <a:pt x="28317" y="280818"/>
                      </a:cubicBezTo>
                      <a:cubicBezTo>
                        <a:pt x="39619" y="279805"/>
                        <a:pt x="43009" y="275752"/>
                        <a:pt x="43009" y="275752"/>
                      </a:cubicBezTo>
                      <a:cubicBezTo>
                        <a:pt x="43009" y="275752"/>
                        <a:pt x="49790" y="261564"/>
                        <a:pt x="49790" y="255484"/>
                      </a:cubicBezTo>
                      <a:cubicBezTo>
                        <a:pt x="49790" y="249404"/>
                        <a:pt x="53180" y="229137"/>
                        <a:pt x="50920" y="221030"/>
                      </a:cubicBezTo>
                      <a:cubicBezTo>
                        <a:pt x="48659" y="212923"/>
                        <a:pt x="66742" y="193670"/>
                        <a:pt x="66742" y="182523"/>
                      </a:cubicBezTo>
                      <a:cubicBezTo>
                        <a:pt x="66742" y="171376"/>
                        <a:pt x="67872" y="161242"/>
                        <a:pt x="67872" y="161242"/>
                      </a:cubicBezTo>
                      <a:cubicBezTo>
                        <a:pt x="67872" y="161242"/>
                        <a:pt x="76912" y="155162"/>
                        <a:pt x="83694" y="152122"/>
                      </a:cubicBezTo>
                      <a:cubicBezTo>
                        <a:pt x="90474" y="149082"/>
                        <a:pt x="94995" y="147055"/>
                        <a:pt x="98385" y="140975"/>
                      </a:cubicBezTo>
                      <a:cubicBezTo>
                        <a:pt x="101775" y="134895"/>
                        <a:pt x="104036" y="127801"/>
                        <a:pt x="108556" y="120708"/>
                      </a:cubicBezTo>
                      <a:cubicBezTo>
                        <a:pt x="113076" y="113614"/>
                        <a:pt x="119857" y="104494"/>
                        <a:pt x="119857" y="91320"/>
                      </a:cubicBezTo>
                      <a:cubicBezTo>
                        <a:pt x="119857" y="78147"/>
                        <a:pt x="134549" y="71053"/>
                        <a:pt x="137939" y="61933"/>
                      </a:cubicBezTo>
                      <a:cubicBezTo>
                        <a:pt x="141329" y="52813"/>
                        <a:pt x="156021" y="36599"/>
                        <a:pt x="156021" y="36599"/>
                      </a:cubicBezTo>
                      <a:lnTo>
                        <a:pt x="176363" y="30519"/>
                      </a:lnTo>
                      <a:cubicBezTo>
                        <a:pt x="176363" y="30519"/>
                        <a:pt x="191055" y="25452"/>
                        <a:pt x="193315" y="31532"/>
                      </a:cubicBezTo>
                      <a:cubicBezTo>
                        <a:pt x="195575" y="37613"/>
                        <a:pt x="198966" y="41666"/>
                        <a:pt x="198966" y="41666"/>
                      </a:cubicBezTo>
                      <a:lnTo>
                        <a:pt x="205746" y="11265"/>
                      </a:lnTo>
                      <a:cubicBezTo>
                        <a:pt x="205746" y="11265"/>
                        <a:pt x="211397" y="6199"/>
                        <a:pt x="220438" y="11265"/>
                      </a:cubicBezTo>
                      <a:cubicBezTo>
                        <a:pt x="229479" y="16332"/>
                        <a:pt x="235129" y="29506"/>
                        <a:pt x="241910" y="29506"/>
                      </a:cubicBezTo>
                      <a:cubicBezTo>
                        <a:pt x="248691" y="29506"/>
                        <a:pt x="254341" y="24439"/>
                        <a:pt x="258862" y="32546"/>
                      </a:cubicBezTo>
                      <a:cubicBezTo>
                        <a:pt x="263382" y="40653"/>
                        <a:pt x="287115" y="40653"/>
                        <a:pt x="297286" y="43693"/>
                      </a:cubicBezTo>
                      <a:cubicBezTo>
                        <a:pt x="307457" y="47746"/>
                        <a:pt x="309717" y="56866"/>
                        <a:pt x="321019" y="67000"/>
                      </a:cubicBezTo>
                      <a:cubicBezTo>
                        <a:pt x="332320" y="77134"/>
                        <a:pt x="332320" y="87267"/>
                        <a:pt x="336840" y="92334"/>
                      </a:cubicBezTo>
                      <a:cubicBezTo>
                        <a:pt x="341361" y="97401"/>
                        <a:pt x="352662" y="103481"/>
                        <a:pt x="352662" y="103481"/>
                      </a:cubicBezTo>
                      <a:cubicBezTo>
                        <a:pt x="352662" y="103481"/>
                        <a:pt x="331189" y="127801"/>
                        <a:pt x="333450" y="136922"/>
                      </a:cubicBezTo>
                      <a:cubicBezTo>
                        <a:pt x="335710" y="146042"/>
                        <a:pt x="323279" y="157189"/>
                        <a:pt x="325539" y="164282"/>
                      </a:cubicBezTo>
                      <a:cubicBezTo>
                        <a:pt x="327799" y="171376"/>
                        <a:pt x="337970" y="173402"/>
                        <a:pt x="347011" y="173402"/>
                      </a:cubicBezTo>
                      <a:cubicBezTo>
                        <a:pt x="356052" y="173402"/>
                        <a:pt x="359442" y="170362"/>
                        <a:pt x="359442" y="170362"/>
                      </a:cubicBezTo>
                      <a:lnTo>
                        <a:pt x="373004" y="172389"/>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7" name="Freeform: Shape 406">
                  <a:extLst>
                    <a:ext uri="{FF2B5EF4-FFF2-40B4-BE49-F238E27FC236}">
                      <a16:creationId xmlns:a16="http://schemas.microsoft.com/office/drawing/2014/main" id="{127F64BF-E196-4BBD-91F8-F52C4AC8080C}"/>
                    </a:ext>
                  </a:extLst>
                </p:cNvPr>
                <p:cNvSpPr/>
                <p:nvPr/>
              </p:nvSpPr>
              <p:spPr>
                <a:xfrm>
                  <a:off x="6658385" y="1690485"/>
                  <a:ext cx="248626" cy="131736"/>
                </a:xfrm>
                <a:custGeom>
                  <a:avLst/>
                  <a:gdLst>
                    <a:gd name="connsiteX0" fmla="*/ 227035 w 248626"/>
                    <a:gd name="connsiteY0" fmla="*/ 50854 h 131736"/>
                    <a:gd name="connsiteX1" fmla="*/ 233816 w 248626"/>
                    <a:gd name="connsiteY1" fmla="*/ 44773 h 131736"/>
                    <a:gd name="connsiteX2" fmla="*/ 240597 w 248626"/>
                    <a:gd name="connsiteY2" fmla="*/ 33626 h 131736"/>
                    <a:gd name="connsiteX3" fmla="*/ 232686 w 248626"/>
                    <a:gd name="connsiteY3" fmla="*/ 19440 h 131736"/>
                    <a:gd name="connsiteX4" fmla="*/ 203302 w 248626"/>
                    <a:gd name="connsiteY4" fmla="*/ 9306 h 131736"/>
                    <a:gd name="connsiteX5" fmla="*/ 195392 w 248626"/>
                    <a:gd name="connsiteY5" fmla="*/ 9306 h 131736"/>
                    <a:gd name="connsiteX6" fmla="*/ 193132 w 248626"/>
                    <a:gd name="connsiteY6" fmla="*/ 19440 h 131736"/>
                    <a:gd name="connsiteX7" fmla="*/ 160358 w 248626"/>
                    <a:gd name="connsiteY7" fmla="*/ 21466 h 131736"/>
                    <a:gd name="connsiteX8" fmla="*/ 149057 w 248626"/>
                    <a:gd name="connsiteY8" fmla="*/ 14373 h 131736"/>
                    <a:gd name="connsiteX9" fmla="*/ 143406 w 248626"/>
                    <a:gd name="connsiteY9" fmla="*/ 24506 h 131736"/>
                    <a:gd name="connsiteX10" fmla="*/ 81249 w 248626"/>
                    <a:gd name="connsiteY10" fmla="*/ 36667 h 131736"/>
                    <a:gd name="connsiteX11" fmla="*/ 81249 w 248626"/>
                    <a:gd name="connsiteY11" fmla="*/ 80241 h 131736"/>
                    <a:gd name="connsiteX12" fmla="*/ 94811 w 248626"/>
                    <a:gd name="connsiteY12" fmla="*/ 80241 h 131736"/>
                    <a:gd name="connsiteX13" fmla="*/ 91421 w 248626"/>
                    <a:gd name="connsiteY13" fmla="*/ 103548 h 131736"/>
                    <a:gd name="connsiteX14" fmla="*/ 112893 w 248626"/>
                    <a:gd name="connsiteY14" fmla="*/ 103548 h 131736"/>
                    <a:gd name="connsiteX15" fmla="*/ 123064 w 248626"/>
                    <a:gd name="connsiteY15" fmla="*/ 97468 h 131736"/>
                    <a:gd name="connsiteX16" fmla="*/ 146796 w 248626"/>
                    <a:gd name="connsiteY16" fmla="*/ 101522 h 131736"/>
                    <a:gd name="connsiteX17" fmla="*/ 159228 w 248626"/>
                    <a:gd name="connsiteY17" fmla="*/ 112668 h 131736"/>
                    <a:gd name="connsiteX18" fmla="*/ 169399 w 248626"/>
                    <a:gd name="connsiteY18" fmla="*/ 112668 h 131736"/>
                    <a:gd name="connsiteX19" fmla="*/ 178440 w 248626"/>
                    <a:gd name="connsiteY19" fmla="*/ 128882 h 131736"/>
                    <a:gd name="connsiteX20" fmla="*/ 196522 w 248626"/>
                    <a:gd name="connsiteY20" fmla="*/ 123815 h 131736"/>
                    <a:gd name="connsiteX21" fmla="*/ 205563 w 248626"/>
                    <a:gd name="connsiteY21" fmla="*/ 104561 h 131736"/>
                    <a:gd name="connsiteX22" fmla="*/ 220254 w 248626"/>
                    <a:gd name="connsiteY22" fmla="*/ 90375 h 131736"/>
                    <a:gd name="connsiteX23" fmla="*/ 221385 w 248626"/>
                    <a:gd name="connsiteY23" fmla="*/ 82268 h 131736"/>
                    <a:gd name="connsiteX24" fmla="*/ 213474 w 248626"/>
                    <a:gd name="connsiteY24" fmla="*/ 77201 h 131736"/>
                    <a:gd name="connsiteX25" fmla="*/ 207823 w 248626"/>
                    <a:gd name="connsiteY25" fmla="*/ 50854 h 131736"/>
                    <a:gd name="connsiteX26" fmla="*/ 215734 w 248626"/>
                    <a:gd name="connsiteY26" fmla="*/ 45787 h 131736"/>
                    <a:gd name="connsiteX27" fmla="*/ 227035 w 248626"/>
                    <a:gd name="connsiteY27" fmla="*/ 45787 h 131736"/>
                    <a:gd name="connsiteX28" fmla="*/ 227035 w 248626"/>
                    <a:gd name="connsiteY28" fmla="*/ 50854 h 131736"/>
                    <a:gd name="connsiteX29" fmla="*/ 19093 w 248626"/>
                    <a:gd name="connsiteY29" fmla="*/ 101522 h 131736"/>
                    <a:gd name="connsiteX30" fmla="*/ 21353 w 248626"/>
                    <a:gd name="connsiteY30" fmla="*/ 108615 h 131736"/>
                    <a:gd name="connsiteX31" fmla="*/ 19093 w 248626"/>
                    <a:gd name="connsiteY31" fmla="*/ 101522 h 131736"/>
                    <a:gd name="connsiteX32" fmla="*/ 34915 w 248626"/>
                    <a:gd name="connsiteY32" fmla="*/ 65041 h 131736"/>
                    <a:gd name="connsiteX33" fmla="*/ 15703 w 248626"/>
                    <a:gd name="connsiteY33" fmla="*/ 75174 h 131736"/>
                    <a:gd name="connsiteX34" fmla="*/ 10052 w 248626"/>
                    <a:gd name="connsiteY34" fmla="*/ 70107 h 131736"/>
                    <a:gd name="connsiteX35" fmla="*/ 21353 w 248626"/>
                    <a:gd name="connsiteY35" fmla="*/ 94428 h 131736"/>
                    <a:gd name="connsiteX36" fmla="*/ 27004 w 248626"/>
                    <a:gd name="connsiteY36" fmla="*/ 99495 h 131736"/>
                    <a:gd name="connsiteX37" fmla="*/ 34915 w 248626"/>
                    <a:gd name="connsiteY37" fmla="*/ 92401 h 131736"/>
                    <a:gd name="connsiteX38" fmla="*/ 48476 w 248626"/>
                    <a:gd name="connsiteY38" fmla="*/ 92401 h 131736"/>
                    <a:gd name="connsiteX39" fmla="*/ 62037 w 248626"/>
                    <a:gd name="connsiteY39" fmla="*/ 68081 h 131736"/>
                    <a:gd name="connsiteX40" fmla="*/ 34915 w 248626"/>
                    <a:gd name="connsiteY40" fmla="*/ 65041 h 131736"/>
                    <a:gd name="connsiteX41" fmla="*/ 40565 w 248626"/>
                    <a:gd name="connsiteY41" fmla="*/ 30587 h 131736"/>
                    <a:gd name="connsiteX42" fmla="*/ 34915 w 248626"/>
                    <a:gd name="connsiteY42" fmla="*/ 37680 h 131736"/>
                    <a:gd name="connsiteX43" fmla="*/ 23614 w 248626"/>
                    <a:gd name="connsiteY43" fmla="*/ 39707 h 131736"/>
                    <a:gd name="connsiteX44" fmla="*/ 31525 w 248626"/>
                    <a:gd name="connsiteY44" fmla="*/ 44773 h 131736"/>
                    <a:gd name="connsiteX45" fmla="*/ 33784 w 248626"/>
                    <a:gd name="connsiteY45" fmla="*/ 54907 h 131736"/>
                    <a:gd name="connsiteX46" fmla="*/ 39435 w 248626"/>
                    <a:gd name="connsiteY46" fmla="*/ 54907 h 131736"/>
                    <a:gd name="connsiteX47" fmla="*/ 45085 w 248626"/>
                    <a:gd name="connsiteY47" fmla="*/ 49840 h 131736"/>
                    <a:gd name="connsiteX48" fmla="*/ 47346 w 248626"/>
                    <a:gd name="connsiteY48" fmla="*/ 42747 h 131736"/>
                    <a:gd name="connsiteX49" fmla="*/ 40565 w 248626"/>
                    <a:gd name="connsiteY49" fmla="*/ 30587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48626" h="131736">
                      <a:moveTo>
                        <a:pt x="227035" y="50854"/>
                      </a:moveTo>
                      <a:lnTo>
                        <a:pt x="233816" y="44773"/>
                      </a:lnTo>
                      <a:cubicBezTo>
                        <a:pt x="233816" y="44773"/>
                        <a:pt x="240597" y="39707"/>
                        <a:pt x="240597" y="33626"/>
                      </a:cubicBezTo>
                      <a:cubicBezTo>
                        <a:pt x="240597" y="27546"/>
                        <a:pt x="232686" y="19440"/>
                        <a:pt x="232686" y="19440"/>
                      </a:cubicBezTo>
                      <a:cubicBezTo>
                        <a:pt x="210083" y="17413"/>
                        <a:pt x="216864" y="17413"/>
                        <a:pt x="203302" y="9306"/>
                      </a:cubicBezTo>
                      <a:cubicBezTo>
                        <a:pt x="202172" y="10319"/>
                        <a:pt x="197652" y="8293"/>
                        <a:pt x="195392" y="9306"/>
                      </a:cubicBezTo>
                      <a:cubicBezTo>
                        <a:pt x="192001" y="10319"/>
                        <a:pt x="193132" y="15386"/>
                        <a:pt x="193132" y="19440"/>
                      </a:cubicBezTo>
                      <a:cubicBezTo>
                        <a:pt x="182960" y="19440"/>
                        <a:pt x="167139" y="22480"/>
                        <a:pt x="160358" y="21466"/>
                      </a:cubicBezTo>
                      <a:cubicBezTo>
                        <a:pt x="154707" y="20453"/>
                        <a:pt x="156968" y="13359"/>
                        <a:pt x="149057" y="14373"/>
                      </a:cubicBezTo>
                      <a:cubicBezTo>
                        <a:pt x="143406" y="15386"/>
                        <a:pt x="145666" y="19440"/>
                        <a:pt x="143406" y="24506"/>
                      </a:cubicBezTo>
                      <a:cubicBezTo>
                        <a:pt x="115153" y="22480"/>
                        <a:pt x="101591" y="31600"/>
                        <a:pt x="81249" y="36667"/>
                      </a:cubicBezTo>
                      <a:cubicBezTo>
                        <a:pt x="82380" y="52880"/>
                        <a:pt x="78989" y="63014"/>
                        <a:pt x="81249" y="80241"/>
                      </a:cubicBezTo>
                      <a:cubicBezTo>
                        <a:pt x="85770" y="80241"/>
                        <a:pt x="91421" y="79228"/>
                        <a:pt x="94811" y="80241"/>
                      </a:cubicBezTo>
                      <a:cubicBezTo>
                        <a:pt x="93681" y="89361"/>
                        <a:pt x="92551" y="96455"/>
                        <a:pt x="91421" y="103548"/>
                      </a:cubicBezTo>
                      <a:cubicBezTo>
                        <a:pt x="91421" y="103548"/>
                        <a:pt x="106112" y="103548"/>
                        <a:pt x="112893" y="103548"/>
                      </a:cubicBezTo>
                      <a:cubicBezTo>
                        <a:pt x="119674" y="103548"/>
                        <a:pt x="123064" y="97468"/>
                        <a:pt x="123064" y="97468"/>
                      </a:cubicBezTo>
                      <a:cubicBezTo>
                        <a:pt x="123064" y="97468"/>
                        <a:pt x="135495" y="97468"/>
                        <a:pt x="146796" y="101522"/>
                      </a:cubicBezTo>
                      <a:cubicBezTo>
                        <a:pt x="158097" y="105575"/>
                        <a:pt x="159228" y="112668"/>
                        <a:pt x="159228" y="112668"/>
                      </a:cubicBezTo>
                      <a:lnTo>
                        <a:pt x="169399" y="112668"/>
                      </a:lnTo>
                      <a:lnTo>
                        <a:pt x="178440" y="128882"/>
                      </a:lnTo>
                      <a:lnTo>
                        <a:pt x="196522" y="123815"/>
                      </a:lnTo>
                      <a:cubicBezTo>
                        <a:pt x="196522" y="123815"/>
                        <a:pt x="197652" y="105575"/>
                        <a:pt x="205563" y="104561"/>
                      </a:cubicBezTo>
                      <a:cubicBezTo>
                        <a:pt x="213474" y="103548"/>
                        <a:pt x="220254" y="90375"/>
                        <a:pt x="220254" y="90375"/>
                      </a:cubicBezTo>
                      <a:lnTo>
                        <a:pt x="221385" y="82268"/>
                      </a:lnTo>
                      <a:cubicBezTo>
                        <a:pt x="220254" y="81254"/>
                        <a:pt x="213474" y="79228"/>
                        <a:pt x="213474" y="77201"/>
                      </a:cubicBezTo>
                      <a:cubicBezTo>
                        <a:pt x="208953" y="66054"/>
                        <a:pt x="211213" y="60987"/>
                        <a:pt x="207823" y="50854"/>
                      </a:cubicBezTo>
                      <a:cubicBezTo>
                        <a:pt x="208953" y="49840"/>
                        <a:pt x="215734" y="46800"/>
                        <a:pt x="215734" y="45787"/>
                      </a:cubicBezTo>
                      <a:cubicBezTo>
                        <a:pt x="216864" y="46800"/>
                        <a:pt x="224775" y="45787"/>
                        <a:pt x="227035" y="45787"/>
                      </a:cubicBezTo>
                      <a:cubicBezTo>
                        <a:pt x="225905" y="47814"/>
                        <a:pt x="227035" y="47814"/>
                        <a:pt x="227035" y="50854"/>
                      </a:cubicBezTo>
                      <a:close/>
                      <a:moveTo>
                        <a:pt x="19093" y="101522"/>
                      </a:moveTo>
                      <a:cubicBezTo>
                        <a:pt x="15703" y="102535"/>
                        <a:pt x="21353" y="108615"/>
                        <a:pt x="21353" y="108615"/>
                      </a:cubicBezTo>
                      <a:cubicBezTo>
                        <a:pt x="21353" y="108615"/>
                        <a:pt x="29264" y="99495"/>
                        <a:pt x="19093" y="101522"/>
                      </a:cubicBezTo>
                      <a:close/>
                      <a:moveTo>
                        <a:pt x="34915" y="65041"/>
                      </a:moveTo>
                      <a:cubicBezTo>
                        <a:pt x="30394" y="66054"/>
                        <a:pt x="21353" y="72134"/>
                        <a:pt x="15703" y="75174"/>
                      </a:cubicBezTo>
                      <a:cubicBezTo>
                        <a:pt x="13442" y="73147"/>
                        <a:pt x="14573" y="70107"/>
                        <a:pt x="10052" y="70107"/>
                      </a:cubicBezTo>
                      <a:cubicBezTo>
                        <a:pt x="12312" y="85308"/>
                        <a:pt x="8922" y="88348"/>
                        <a:pt x="21353" y="94428"/>
                      </a:cubicBezTo>
                      <a:cubicBezTo>
                        <a:pt x="23614" y="95441"/>
                        <a:pt x="22483" y="99495"/>
                        <a:pt x="27004" y="99495"/>
                      </a:cubicBezTo>
                      <a:cubicBezTo>
                        <a:pt x="27004" y="99495"/>
                        <a:pt x="34915" y="92401"/>
                        <a:pt x="34915" y="92401"/>
                      </a:cubicBezTo>
                      <a:cubicBezTo>
                        <a:pt x="38305" y="91388"/>
                        <a:pt x="45085" y="93415"/>
                        <a:pt x="48476" y="92401"/>
                      </a:cubicBezTo>
                      <a:cubicBezTo>
                        <a:pt x="50736" y="91388"/>
                        <a:pt x="59778" y="72134"/>
                        <a:pt x="62037" y="68081"/>
                      </a:cubicBezTo>
                      <a:cubicBezTo>
                        <a:pt x="52996" y="66054"/>
                        <a:pt x="47346" y="62001"/>
                        <a:pt x="34915" y="65041"/>
                      </a:cubicBezTo>
                      <a:close/>
                      <a:moveTo>
                        <a:pt x="40565" y="30587"/>
                      </a:moveTo>
                      <a:cubicBezTo>
                        <a:pt x="38305" y="31600"/>
                        <a:pt x="37175" y="36667"/>
                        <a:pt x="34915" y="37680"/>
                      </a:cubicBezTo>
                      <a:cubicBezTo>
                        <a:pt x="31525" y="38693"/>
                        <a:pt x="25874" y="38693"/>
                        <a:pt x="23614" y="39707"/>
                      </a:cubicBezTo>
                      <a:cubicBezTo>
                        <a:pt x="25874" y="42747"/>
                        <a:pt x="29264" y="41733"/>
                        <a:pt x="31525" y="44773"/>
                      </a:cubicBezTo>
                      <a:cubicBezTo>
                        <a:pt x="32654" y="46800"/>
                        <a:pt x="32654" y="53894"/>
                        <a:pt x="33784" y="54907"/>
                      </a:cubicBezTo>
                      <a:lnTo>
                        <a:pt x="39435" y="54907"/>
                      </a:lnTo>
                      <a:cubicBezTo>
                        <a:pt x="41695" y="52880"/>
                        <a:pt x="40565" y="49840"/>
                        <a:pt x="45085" y="49840"/>
                      </a:cubicBezTo>
                      <a:lnTo>
                        <a:pt x="47346" y="42747"/>
                      </a:lnTo>
                      <a:lnTo>
                        <a:pt x="40565" y="3058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8" name="Freeform: Shape 407">
                  <a:extLst>
                    <a:ext uri="{FF2B5EF4-FFF2-40B4-BE49-F238E27FC236}">
                      <a16:creationId xmlns:a16="http://schemas.microsoft.com/office/drawing/2014/main" id="{F13C324B-A604-4654-9A1F-E167E74FA543}"/>
                    </a:ext>
                  </a:extLst>
                </p:cNvPr>
                <p:cNvSpPr/>
                <p:nvPr/>
              </p:nvSpPr>
              <p:spPr>
                <a:xfrm>
                  <a:off x="7176200" y="3544207"/>
                  <a:ext cx="248626" cy="243206"/>
                </a:xfrm>
                <a:custGeom>
                  <a:avLst/>
                  <a:gdLst>
                    <a:gd name="connsiteX0" fmla="*/ 79899 w 248626"/>
                    <a:gd name="connsiteY0" fmla="*/ 9013 h 243205"/>
                    <a:gd name="connsiteX1" fmla="*/ 68598 w 248626"/>
                    <a:gd name="connsiteY1" fmla="*/ 21174 h 243205"/>
                    <a:gd name="connsiteX2" fmla="*/ 48256 w 248626"/>
                    <a:gd name="connsiteY2" fmla="*/ 20160 h 243205"/>
                    <a:gd name="connsiteX3" fmla="*/ 39215 w 248626"/>
                    <a:gd name="connsiteY3" fmla="*/ 25227 h 243205"/>
                    <a:gd name="connsiteX4" fmla="*/ 30173 w 248626"/>
                    <a:gd name="connsiteY4" fmla="*/ 39414 h 243205"/>
                    <a:gd name="connsiteX5" fmla="*/ 25653 w 248626"/>
                    <a:gd name="connsiteY5" fmla="*/ 54614 h 243205"/>
                    <a:gd name="connsiteX6" fmla="*/ 24523 w 248626"/>
                    <a:gd name="connsiteY6" fmla="*/ 79948 h 243205"/>
                    <a:gd name="connsiteX7" fmla="*/ 14352 w 248626"/>
                    <a:gd name="connsiteY7" fmla="*/ 108323 h 243205"/>
                    <a:gd name="connsiteX8" fmla="*/ 10962 w 248626"/>
                    <a:gd name="connsiteY8" fmla="*/ 134670 h 243205"/>
                    <a:gd name="connsiteX9" fmla="*/ 12092 w 248626"/>
                    <a:gd name="connsiteY9" fmla="*/ 171151 h 243205"/>
                    <a:gd name="connsiteX10" fmla="*/ 32434 w 248626"/>
                    <a:gd name="connsiteY10" fmla="*/ 165070 h 243205"/>
                    <a:gd name="connsiteX11" fmla="*/ 49386 w 248626"/>
                    <a:gd name="connsiteY11" fmla="*/ 166084 h 243205"/>
                    <a:gd name="connsiteX12" fmla="*/ 55036 w 248626"/>
                    <a:gd name="connsiteY12" fmla="*/ 176217 h 243205"/>
                    <a:gd name="connsiteX13" fmla="*/ 61817 w 248626"/>
                    <a:gd name="connsiteY13" fmla="*/ 145817 h 243205"/>
                    <a:gd name="connsiteX14" fmla="*/ 76509 w 248626"/>
                    <a:gd name="connsiteY14" fmla="*/ 145817 h 243205"/>
                    <a:gd name="connsiteX15" fmla="*/ 97981 w 248626"/>
                    <a:gd name="connsiteY15" fmla="*/ 164057 h 243205"/>
                    <a:gd name="connsiteX16" fmla="*/ 114932 w 248626"/>
                    <a:gd name="connsiteY16" fmla="*/ 167097 h 243205"/>
                    <a:gd name="connsiteX17" fmla="*/ 153357 w 248626"/>
                    <a:gd name="connsiteY17" fmla="*/ 178244 h 243205"/>
                    <a:gd name="connsiteX18" fmla="*/ 177089 w 248626"/>
                    <a:gd name="connsiteY18" fmla="*/ 201551 h 243205"/>
                    <a:gd name="connsiteX19" fmla="*/ 192911 w 248626"/>
                    <a:gd name="connsiteY19" fmla="*/ 226885 h 243205"/>
                    <a:gd name="connsiteX20" fmla="*/ 208733 w 248626"/>
                    <a:gd name="connsiteY20" fmla="*/ 238032 h 243205"/>
                    <a:gd name="connsiteX21" fmla="*/ 215513 w 248626"/>
                    <a:gd name="connsiteY21" fmla="*/ 233979 h 243205"/>
                    <a:gd name="connsiteX22" fmla="*/ 225685 w 248626"/>
                    <a:gd name="connsiteY22" fmla="*/ 240059 h 243205"/>
                    <a:gd name="connsiteX23" fmla="*/ 239245 w 248626"/>
                    <a:gd name="connsiteY23" fmla="*/ 227899 h 243205"/>
                    <a:gd name="connsiteX24" fmla="*/ 234725 w 248626"/>
                    <a:gd name="connsiteY24" fmla="*/ 223845 h 243205"/>
                    <a:gd name="connsiteX25" fmla="*/ 221164 w 248626"/>
                    <a:gd name="connsiteY25" fmla="*/ 212698 h 243205"/>
                    <a:gd name="connsiteX26" fmla="*/ 215513 w 248626"/>
                    <a:gd name="connsiteY26" fmla="*/ 212698 h 243205"/>
                    <a:gd name="connsiteX27" fmla="*/ 209863 w 248626"/>
                    <a:gd name="connsiteY27" fmla="*/ 190404 h 243205"/>
                    <a:gd name="connsiteX28" fmla="*/ 185000 w 248626"/>
                    <a:gd name="connsiteY28" fmla="*/ 178244 h 243205"/>
                    <a:gd name="connsiteX29" fmla="*/ 173699 w 248626"/>
                    <a:gd name="connsiteY29" fmla="*/ 151897 h 243205"/>
                    <a:gd name="connsiteX30" fmla="*/ 152227 w 248626"/>
                    <a:gd name="connsiteY30" fmla="*/ 146830 h 243205"/>
                    <a:gd name="connsiteX31" fmla="*/ 149966 w 248626"/>
                    <a:gd name="connsiteY31" fmla="*/ 134670 h 243205"/>
                    <a:gd name="connsiteX32" fmla="*/ 136405 w 248626"/>
                    <a:gd name="connsiteY32" fmla="*/ 132643 h 243205"/>
                    <a:gd name="connsiteX33" fmla="*/ 130754 w 248626"/>
                    <a:gd name="connsiteY33" fmla="*/ 118456 h 243205"/>
                    <a:gd name="connsiteX34" fmla="*/ 125104 w 248626"/>
                    <a:gd name="connsiteY34" fmla="*/ 123523 h 243205"/>
                    <a:gd name="connsiteX35" fmla="*/ 111542 w 248626"/>
                    <a:gd name="connsiteY35" fmla="*/ 113389 h 243205"/>
                    <a:gd name="connsiteX36" fmla="*/ 111542 w 248626"/>
                    <a:gd name="connsiteY36" fmla="*/ 99202 h 243205"/>
                    <a:gd name="connsiteX37" fmla="*/ 103631 w 248626"/>
                    <a:gd name="connsiteY37" fmla="*/ 62722 h 243205"/>
                    <a:gd name="connsiteX38" fmla="*/ 105892 w 248626"/>
                    <a:gd name="connsiteY38" fmla="*/ 50561 h 243205"/>
                    <a:gd name="connsiteX39" fmla="*/ 94590 w 248626"/>
                    <a:gd name="connsiteY39" fmla="*/ 33334 h 243205"/>
                    <a:gd name="connsiteX40" fmla="*/ 94590 w 248626"/>
                    <a:gd name="connsiteY40" fmla="*/ 21174 h 243205"/>
                    <a:gd name="connsiteX41" fmla="*/ 81029 w 248626"/>
                    <a:gd name="connsiteY41" fmla="*/ 14080 h 243205"/>
                    <a:gd name="connsiteX42" fmla="*/ 79899 w 248626"/>
                    <a:gd name="connsiteY42" fmla="*/ 9013 h 2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48626" h="243205">
                      <a:moveTo>
                        <a:pt x="79899" y="9013"/>
                      </a:moveTo>
                      <a:lnTo>
                        <a:pt x="68598" y="21174"/>
                      </a:lnTo>
                      <a:lnTo>
                        <a:pt x="48256" y="20160"/>
                      </a:lnTo>
                      <a:cubicBezTo>
                        <a:pt x="48256" y="20160"/>
                        <a:pt x="43735" y="19147"/>
                        <a:pt x="39215" y="25227"/>
                      </a:cubicBezTo>
                      <a:cubicBezTo>
                        <a:pt x="34694" y="31307"/>
                        <a:pt x="38084" y="39414"/>
                        <a:pt x="30173" y="39414"/>
                      </a:cubicBezTo>
                      <a:cubicBezTo>
                        <a:pt x="22263" y="39414"/>
                        <a:pt x="29044" y="43468"/>
                        <a:pt x="25653" y="54614"/>
                      </a:cubicBezTo>
                      <a:cubicBezTo>
                        <a:pt x="22263" y="65761"/>
                        <a:pt x="24523" y="67788"/>
                        <a:pt x="24523" y="79948"/>
                      </a:cubicBezTo>
                      <a:cubicBezTo>
                        <a:pt x="24523" y="92109"/>
                        <a:pt x="17742" y="96162"/>
                        <a:pt x="14352" y="108323"/>
                      </a:cubicBezTo>
                      <a:cubicBezTo>
                        <a:pt x="10962" y="120483"/>
                        <a:pt x="8701" y="129603"/>
                        <a:pt x="10962" y="134670"/>
                      </a:cubicBezTo>
                      <a:cubicBezTo>
                        <a:pt x="13222" y="139736"/>
                        <a:pt x="12092" y="171151"/>
                        <a:pt x="12092" y="171151"/>
                      </a:cubicBezTo>
                      <a:lnTo>
                        <a:pt x="32434" y="165070"/>
                      </a:lnTo>
                      <a:cubicBezTo>
                        <a:pt x="32434" y="165070"/>
                        <a:pt x="47125" y="160004"/>
                        <a:pt x="49386" y="166084"/>
                      </a:cubicBezTo>
                      <a:cubicBezTo>
                        <a:pt x="51646" y="172164"/>
                        <a:pt x="55036" y="176217"/>
                        <a:pt x="55036" y="176217"/>
                      </a:cubicBezTo>
                      <a:lnTo>
                        <a:pt x="61817" y="145817"/>
                      </a:lnTo>
                      <a:cubicBezTo>
                        <a:pt x="61817" y="145817"/>
                        <a:pt x="67468" y="140750"/>
                        <a:pt x="76509" y="145817"/>
                      </a:cubicBezTo>
                      <a:cubicBezTo>
                        <a:pt x="85549" y="150883"/>
                        <a:pt x="91200" y="164057"/>
                        <a:pt x="97981" y="164057"/>
                      </a:cubicBezTo>
                      <a:cubicBezTo>
                        <a:pt x="104762" y="164057"/>
                        <a:pt x="110412" y="158990"/>
                        <a:pt x="114932" y="167097"/>
                      </a:cubicBezTo>
                      <a:cubicBezTo>
                        <a:pt x="119453" y="175204"/>
                        <a:pt x="143185" y="175204"/>
                        <a:pt x="153357" y="178244"/>
                      </a:cubicBezTo>
                      <a:cubicBezTo>
                        <a:pt x="163528" y="182298"/>
                        <a:pt x="165788" y="191418"/>
                        <a:pt x="177089" y="201551"/>
                      </a:cubicBezTo>
                      <a:cubicBezTo>
                        <a:pt x="188390" y="211685"/>
                        <a:pt x="188390" y="221818"/>
                        <a:pt x="192911" y="226885"/>
                      </a:cubicBezTo>
                      <a:cubicBezTo>
                        <a:pt x="197432" y="231952"/>
                        <a:pt x="208733" y="238032"/>
                        <a:pt x="208733" y="238032"/>
                      </a:cubicBezTo>
                      <a:lnTo>
                        <a:pt x="215513" y="233979"/>
                      </a:lnTo>
                      <a:lnTo>
                        <a:pt x="225685" y="240059"/>
                      </a:lnTo>
                      <a:lnTo>
                        <a:pt x="239245" y="227899"/>
                      </a:lnTo>
                      <a:lnTo>
                        <a:pt x="234725" y="223845"/>
                      </a:lnTo>
                      <a:lnTo>
                        <a:pt x="221164" y="212698"/>
                      </a:lnTo>
                      <a:lnTo>
                        <a:pt x="215513" y="212698"/>
                      </a:lnTo>
                      <a:cubicBezTo>
                        <a:pt x="210992" y="206618"/>
                        <a:pt x="214383" y="196484"/>
                        <a:pt x="209863" y="190404"/>
                      </a:cubicBezTo>
                      <a:cubicBezTo>
                        <a:pt x="207602" y="187364"/>
                        <a:pt x="189521" y="182298"/>
                        <a:pt x="185000" y="178244"/>
                      </a:cubicBezTo>
                      <a:cubicBezTo>
                        <a:pt x="179349" y="172164"/>
                        <a:pt x="180480" y="156964"/>
                        <a:pt x="173699" y="151897"/>
                      </a:cubicBezTo>
                      <a:cubicBezTo>
                        <a:pt x="166918" y="146830"/>
                        <a:pt x="162397" y="148857"/>
                        <a:pt x="152227" y="146830"/>
                      </a:cubicBezTo>
                      <a:lnTo>
                        <a:pt x="149966" y="134670"/>
                      </a:lnTo>
                      <a:cubicBezTo>
                        <a:pt x="145446" y="131630"/>
                        <a:pt x="139795" y="135683"/>
                        <a:pt x="136405" y="132643"/>
                      </a:cubicBezTo>
                      <a:cubicBezTo>
                        <a:pt x="133015" y="129603"/>
                        <a:pt x="135275" y="120483"/>
                        <a:pt x="130754" y="118456"/>
                      </a:cubicBezTo>
                      <a:cubicBezTo>
                        <a:pt x="127364" y="116429"/>
                        <a:pt x="126234" y="122510"/>
                        <a:pt x="125104" y="123523"/>
                      </a:cubicBezTo>
                      <a:cubicBezTo>
                        <a:pt x="122843" y="121496"/>
                        <a:pt x="112673" y="116429"/>
                        <a:pt x="111542" y="113389"/>
                      </a:cubicBezTo>
                      <a:cubicBezTo>
                        <a:pt x="109282" y="109336"/>
                        <a:pt x="112673" y="103256"/>
                        <a:pt x="111542" y="99202"/>
                      </a:cubicBezTo>
                      <a:cubicBezTo>
                        <a:pt x="110412" y="91095"/>
                        <a:pt x="103631" y="72855"/>
                        <a:pt x="103631" y="62722"/>
                      </a:cubicBezTo>
                      <a:cubicBezTo>
                        <a:pt x="103631" y="55628"/>
                        <a:pt x="108152" y="56641"/>
                        <a:pt x="105892" y="50561"/>
                      </a:cubicBezTo>
                      <a:cubicBezTo>
                        <a:pt x="104762" y="46508"/>
                        <a:pt x="95721" y="37388"/>
                        <a:pt x="94590" y="33334"/>
                      </a:cubicBezTo>
                      <a:cubicBezTo>
                        <a:pt x="93460" y="29281"/>
                        <a:pt x="96851" y="24214"/>
                        <a:pt x="94590" y="21174"/>
                      </a:cubicBezTo>
                      <a:cubicBezTo>
                        <a:pt x="90070" y="12054"/>
                        <a:pt x="87810" y="18134"/>
                        <a:pt x="81029" y="14080"/>
                      </a:cubicBezTo>
                      <a:lnTo>
                        <a:pt x="79899"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9" name="Freeform: Shape 408">
                  <a:extLst>
                    <a:ext uri="{FF2B5EF4-FFF2-40B4-BE49-F238E27FC236}">
                      <a16:creationId xmlns:a16="http://schemas.microsoft.com/office/drawing/2014/main" id="{5410B672-76C6-4ECD-9A2A-C0ABA4F24378}"/>
                    </a:ext>
                  </a:extLst>
                </p:cNvPr>
                <p:cNvSpPr/>
                <p:nvPr/>
              </p:nvSpPr>
              <p:spPr>
                <a:xfrm>
                  <a:off x="6176954" y="4110674"/>
                  <a:ext cx="124313" cy="111469"/>
                </a:xfrm>
                <a:custGeom>
                  <a:avLst/>
                  <a:gdLst>
                    <a:gd name="connsiteX0" fmla="*/ 65427 w 124313"/>
                    <a:gd name="connsiteY0" fmla="*/ 61708 h 111469"/>
                    <a:gd name="connsiteX1" fmla="*/ 63167 w 124313"/>
                    <a:gd name="connsiteY1" fmla="*/ 69815 h 111469"/>
                    <a:gd name="connsiteX2" fmla="*/ 57516 w 124313"/>
                    <a:gd name="connsiteY2" fmla="*/ 71842 h 111469"/>
                    <a:gd name="connsiteX3" fmla="*/ 59777 w 124313"/>
                    <a:gd name="connsiteY3" fmla="*/ 91095 h 111469"/>
                    <a:gd name="connsiteX4" fmla="*/ 51866 w 124313"/>
                    <a:gd name="connsiteY4" fmla="*/ 104269 h 111469"/>
                    <a:gd name="connsiteX5" fmla="*/ 120804 w 124313"/>
                    <a:gd name="connsiteY5" fmla="*/ 105282 h 111469"/>
                    <a:gd name="connsiteX6" fmla="*/ 125324 w 124313"/>
                    <a:gd name="connsiteY6" fmla="*/ 61708 h 111469"/>
                    <a:gd name="connsiteX7" fmla="*/ 65427 w 124313"/>
                    <a:gd name="connsiteY7" fmla="*/ 61708 h 111469"/>
                    <a:gd name="connsiteX8" fmla="*/ 17962 w 124313"/>
                    <a:gd name="connsiteY8" fmla="*/ 9013 h 111469"/>
                    <a:gd name="connsiteX9" fmla="*/ 10052 w 124313"/>
                    <a:gd name="connsiteY9" fmla="*/ 19147 h 111469"/>
                    <a:gd name="connsiteX10" fmla="*/ 15703 w 124313"/>
                    <a:gd name="connsiteY10" fmla="*/ 24214 h 111469"/>
                    <a:gd name="connsiteX11" fmla="*/ 23613 w 124313"/>
                    <a:gd name="connsiteY11" fmla="*/ 24214 h 111469"/>
                    <a:gd name="connsiteX12" fmla="*/ 25873 w 124313"/>
                    <a:gd name="connsiteY12" fmla="*/ 10027 h 111469"/>
                    <a:gd name="connsiteX13" fmla="*/ 17962 w 124313"/>
                    <a:gd name="connsiteY13" fmla="*/ 9013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313" h="111469">
                      <a:moveTo>
                        <a:pt x="65427" y="61708"/>
                      </a:moveTo>
                      <a:cubicBezTo>
                        <a:pt x="64298" y="65761"/>
                        <a:pt x="64298" y="67788"/>
                        <a:pt x="63167" y="69815"/>
                      </a:cubicBezTo>
                      <a:lnTo>
                        <a:pt x="57516" y="71842"/>
                      </a:lnTo>
                      <a:cubicBezTo>
                        <a:pt x="56387" y="76908"/>
                        <a:pt x="62037" y="82989"/>
                        <a:pt x="59777" y="91095"/>
                      </a:cubicBezTo>
                      <a:cubicBezTo>
                        <a:pt x="58647" y="95149"/>
                        <a:pt x="55257" y="100216"/>
                        <a:pt x="51866" y="104269"/>
                      </a:cubicBezTo>
                      <a:lnTo>
                        <a:pt x="120804" y="105282"/>
                      </a:lnTo>
                      <a:lnTo>
                        <a:pt x="125324" y="61708"/>
                      </a:lnTo>
                      <a:lnTo>
                        <a:pt x="65427" y="61708"/>
                      </a:lnTo>
                      <a:close/>
                      <a:moveTo>
                        <a:pt x="17962" y="9013"/>
                      </a:moveTo>
                      <a:cubicBezTo>
                        <a:pt x="15703" y="13067"/>
                        <a:pt x="11182" y="16107"/>
                        <a:pt x="10052" y="19147"/>
                      </a:cubicBezTo>
                      <a:lnTo>
                        <a:pt x="15703" y="24214"/>
                      </a:lnTo>
                      <a:cubicBezTo>
                        <a:pt x="15703" y="23201"/>
                        <a:pt x="22483" y="24214"/>
                        <a:pt x="23613" y="24214"/>
                      </a:cubicBezTo>
                      <a:cubicBezTo>
                        <a:pt x="24743" y="20160"/>
                        <a:pt x="23613" y="14080"/>
                        <a:pt x="25873" y="10027"/>
                      </a:cubicBezTo>
                      <a:cubicBezTo>
                        <a:pt x="24743" y="9013"/>
                        <a:pt x="19093" y="9013"/>
                        <a:pt x="17962"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0" name="Freeform: Shape 409">
                  <a:extLst>
                    <a:ext uri="{FF2B5EF4-FFF2-40B4-BE49-F238E27FC236}">
                      <a16:creationId xmlns:a16="http://schemas.microsoft.com/office/drawing/2014/main" id="{D88DAA39-E820-4A53-B148-3BC8E5C59536}"/>
                    </a:ext>
                  </a:extLst>
                </p:cNvPr>
                <p:cNvSpPr/>
                <p:nvPr/>
              </p:nvSpPr>
              <p:spPr>
                <a:xfrm>
                  <a:off x="2702781" y="3686077"/>
                  <a:ext cx="113012" cy="70935"/>
                </a:xfrm>
                <a:custGeom>
                  <a:avLst/>
                  <a:gdLst>
                    <a:gd name="connsiteX0" fmla="*/ 10237 w 113011"/>
                    <a:gd name="connsiteY0" fmla="*/ 37388 h 70934"/>
                    <a:gd name="connsiteX1" fmla="*/ 31709 w 113011"/>
                    <a:gd name="connsiteY1" fmla="*/ 46508 h 70934"/>
                    <a:gd name="connsiteX2" fmla="*/ 33970 w 113011"/>
                    <a:gd name="connsiteY2" fmla="*/ 56641 h 70934"/>
                    <a:gd name="connsiteX3" fmla="*/ 61092 w 113011"/>
                    <a:gd name="connsiteY3" fmla="*/ 54614 h 70934"/>
                    <a:gd name="connsiteX4" fmla="*/ 101777 w 113011"/>
                    <a:gd name="connsiteY4" fmla="*/ 64748 h 70934"/>
                    <a:gd name="connsiteX5" fmla="*/ 107427 w 113011"/>
                    <a:gd name="connsiteY5" fmla="*/ 54614 h 70934"/>
                    <a:gd name="connsiteX6" fmla="*/ 111948 w 113011"/>
                    <a:gd name="connsiteY6" fmla="*/ 54614 h 70934"/>
                    <a:gd name="connsiteX7" fmla="*/ 113078 w 113011"/>
                    <a:gd name="connsiteY7" fmla="*/ 34347 h 70934"/>
                    <a:gd name="connsiteX8" fmla="*/ 97256 w 113011"/>
                    <a:gd name="connsiteY8" fmla="*/ 28267 h 70934"/>
                    <a:gd name="connsiteX9" fmla="*/ 76914 w 113011"/>
                    <a:gd name="connsiteY9" fmla="*/ 19147 h 70934"/>
                    <a:gd name="connsiteX10" fmla="*/ 43010 w 113011"/>
                    <a:gd name="connsiteY10" fmla="*/ 9013 h 70934"/>
                    <a:gd name="connsiteX11" fmla="*/ 26059 w 113011"/>
                    <a:gd name="connsiteY11" fmla="*/ 27254 h 70934"/>
                    <a:gd name="connsiteX12" fmla="*/ 10237 w 113011"/>
                    <a:gd name="connsiteY12" fmla="*/ 37388 h 7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11" h="70934">
                      <a:moveTo>
                        <a:pt x="10237" y="37388"/>
                      </a:moveTo>
                      <a:cubicBezTo>
                        <a:pt x="19278" y="40428"/>
                        <a:pt x="24928" y="41441"/>
                        <a:pt x="31709" y="46508"/>
                      </a:cubicBezTo>
                      <a:cubicBezTo>
                        <a:pt x="33970" y="48534"/>
                        <a:pt x="30579" y="54614"/>
                        <a:pt x="33970" y="56641"/>
                      </a:cubicBezTo>
                      <a:cubicBezTo>
                        <a:pt x="43010" y="59681"/>
                        <a:pt x="55442" y="53601"/>
                        <a:pt x="61092" y="54614"/>
                      </a:cubicBezTo>
                      <a:cubicBezTo>
                        <a:pt x="72394" y="55628"/>
                        <a:pt x="89345" y="60695"/>
                        <a:pt x="101777" y="64748"/>
                      </a:cubicBezTo>
                      <a:cubicBezTo>
                        <a:pt x="101777" y="63735"/>
                        <a:pt x="107427" y="54614"/>
                        <a:pt x="107427" y="54614"/>
                      </a:cubicBezTo>
                      <a:cubicBezTo>
                        <a:pt x="109687" y="53601"/>
                        <a:pt x="110818" y="54614"/>
                        <a:pt x="111948" y="54614"/>
                      </a:cubicBezTo>
                      <a:lnTo>
                        <a:pt x="113078" y="34347"/>
                      </a:lnTo>
                      <a:cubicBezTo>
                        <a:pt x="113078" y="34347"/>
                        <a:pt x="109687" y="29281"/>
                        <a:pt x="97256" y="28267"/>
                      </a:cubicBezTo>
                      <a:cubicBezTo>
                        <a:pt x="84825" y="27254"/>
                        <a:pt x="85955" y="24214"/>
                        <a:pt x="76914" y="19147"/>
                      </a:cubicBezTo>
                      <a:cubicBezTo>
                        <a:pt x="67873" y="14080"/>
                        <a:pt x="43010" y="9013"/>
                        <a:pt x="43010" y="9013"/>
                      </a:cubicBezTo>
                      <a:cubicBezTo>
                        <a:pt x="43010" y="9013"/>
                        <a:pt x="24928" y="18134"/>
                        <a:pt x="26059" y="27254"/>
                      </a:cubicBezTo>
                      <a:cubicBezTo>
                        <a:pt x="27189" y="36374"/>
                        <a:pt x="7977" y="27254"/>
                        <a:pt x="10237" y="3738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2" name="Freeform: Shape 411">
                  <a:extLst>
                    <a:ext uri="{FF2B5EF4-FFF2-40B4-BE49-F238E27FC236}">
                      <a16:creationId xmlns:a16="http://schemas.microsoft.com/office/drawing/2014/main" id="{312D1C7F-CA2F-49A1-BE2C-90B33CCF2E06}"/>
                    </a:ext>
                  </a:extLst>
                </p:cNvPr>
                <p:cNvSpPr/>
                <p:nvPr/>
              </p:nvSpPr>
              <p:spPr>
                <a:xfrm>
                  <a:off x="6759531" y="2988174"/>
                  <a:ext cx="406843" cy="415476"/>
                </a:xfrm>
                <a:custGeom>
                  <a:avLst/>
                  <a:gdLst>
                    <a:gd name="connsiteX0" fmla="*/ 398248 w 406843"/>
                    <a:gd name="connsiteY0" fmla="*/ 356295 h 415476"/>
                    <a:gd name="connsiteX1" fmla="*/ 392597 w 406843"/>
                    <a:gd name="connsiteY1" fmla="*/ 352242 h 415476"/>
                    <a:gd name="connsiteX2" fmla="*/ 390337 w 406843"/>
                    <a:gd name="connsiteY2" fmla="*/ 325894 h 415476"/>
                    <a:gd name="connsiteX3" fmla="*/ 401638 w 406843"/>
                    <a:gd name="connsiteY3" fmla="*/ 323868 h 415476"/>
                    <a:gd name="connsiteX4" fmla="*/ 390337 w 406843"/>
                    <a:gd name="connsiteY4" fmla="*/ 316774 h 415476"/>
                    <a:gd name="connsiteX5" fmla="*/ 390337 w 406843"/>
                    <a:gd name="connsiteY5" fmla="*/ 306641 h 415476"/>
                    <a:gd name="connsiteX6" fmla="*/ 368865 w 406843"/>
                    <a:gd name="connsiteY6" fmla="*/ 268133 h 415476"/>
                    <a:gd name="connsiteX7" fmla="*/ 357564 w 406843"/>
                    <a:gd name="connsiteY7" fmla="*/ 263066 h 415476"/>
                    <a:gd name="connsiteX8" fmla="*/ 346263 w 406843"/>
                    <a:gd name="connsiteY8" fmla="*/ 245839 h 415476"/>
                    <a:gd name="connsiteX9" fmla="*/ 338352 w 406843"/>
                    <a:gd name="connsiteY9" fmla="*/ 214425 h 415476"/>
                    <a:gd name="connsiteX10" fmla="*/ 330441 w 406843"/>
                    <a:gd name="connsiteY10" fmla="*/ 202265 h 415476"/>
                    <a:gd name="connsiteX11" fmla="*/ 330441 w 406843"/>
                    <a:gd name="connsiteY11" fmla="*/ 195171 h 415476"/>
                    <a:gd name="connsiteX12" fmla="*/ 322530 w 406843"/>
                    <a:gd name="connsiteY12" fmla="*/ 193145 h 415476"/>
                    <a:gd name="connsiteX13" fmla="*/ 320270 w 406843"/>
                    <a:gd name="connsiteY13" fmla="*/ 166797 h 415476"/>
                    <a:gd name="connsiteX14" fmla="*/ 312359 w 406843"/>
                    <a:gd name="connsiteY14" fmla="*/ 161731 h 415476"/>
                    <a:gd name="connsiteX15" fmla="*/ 290887 w 406843"/>
                    <a:gd name="connsiteY15" fmla="*/ 127277 h 415476"/>
                    <a:gd name="connsiteX16" fmla="*/ 293147 w 406843"/>
                    <a:gd name="connsiteY16" fmla="*/ 115116 h 415476"/>
                    <a:gd name="connsiteX17" fmla="*/ 312359 w 406843"/>
                    <a:gd name="connsiteY17" fmla="*/ 132343 h 415476"/>
                    <a:gd name="connsiteX18" fmla="*/ 318010 w 406843"/>
                    <a:gd name="connsiteY18" fmla="*/ 154637 h 415476"/>
                    <a:gd name="connsiteX19" fmla="*/ 339482 w 406843"/>
                    <a:gd name="connsiteY19" fmla="*/ 173891 h 415476"/>
                    <a:gd name="connsiteX20" fmla="*/ 353043 w 406843"/>
                    <a:gd name="connsiteY20" fmla="*/ 173891 h 415476"/>
                    <a:gd name="connsiteX21" fmla="*/ 366605 w 406843"/>
                    <a:gd name="connsiteY21" fmla="*/ 147544 h 415476"/>
                    <a:gd name="connsiteX22" fmla="*/ 372255 w 406843"/>
                    <a:gd name="connsiteY22" fmla="*/ 125250 h 415476"/>
                    <a:gd name="connsiteX23" fmla="*/ 371126 w 406843"/>
                    <a:gd name="connsiteY23" fmla="*/ 114103 h 415476"/>
                    <a:gd name="connsiteX24" fmla="*/ 363215 w 406843"/>
                    <a:gd name="connsiteY24" fmla="*/ 60395 h 415476"/>
                    <a:gd name="connsiteX25" fmla="*/ 357564 w 406843"/>
                    <a:gd name="connsiteY25" fmla="*/ 43168 h 415476"/>
                    <a:gd name="connsiteX26" fmla="*/ 354174 w 406843"/>
                    <a:gd name="connsiteY26" fmla="*/ 38101 h 415476"/>
                    <a:gd name="connsiteX27" fmla="*/ 334962 w 406843"/>
                    <a:gd name="connsiteY27" fmla="*/ 38101 h 415476"/>
                    <a:gd name="connsiteX28" fmla="*/ 307838 w 406843"/>
                    <a:gd name="connsiteY28" fmla="*/ 45195 h 415476"/>
                    <a:gd name="connsiteX29" fmla="*/ 296537 w 406843"/>
                    <a:gd name="connsiteY29" fmla="*/ 38101 h 415476"/>
                    <a:gd name="connsiteX30" fmla="*/ 277325 w 406843"/>
                    <a:gd name="connsiteY30" fmla="*/ 48235 h 415476"/>
                    <a:gd name="connsiteX31" fmla="*/ 275065 w 406843"/>
                    <a:gd name="connsiteY31" fmla="*/ 43168 h 415476"/>
                    <a:gd name="connsiteX32" fmla="*/ 261504 w 406843"/>
                    <a:gd name="connsiteY32" fmla="*/ 43168 h 415476"/>
                    <a:gd name="connsiteX33" fmla="*/ 263764 w 406843"/>
                    <a:gd name="connsiteY33" fmla="*/ 38101 h 415476"/>
                    <a:gd name="connsiteX34" fmla="*/ 263764 w 406843"/>
                    <a:gd name="connsiteY34" fmla="*/ 33034 h 415476"/>
                    <a:gd name="connsiteX35" fmla="*/ 255853 w 406843"/>
                    <a:gd name="connsiteY35" fmla="*/ 31008 h 415476"/>
                    <a:gd name="connsiteX36" fmla="*/ 247942 w 406843"/>
                    <a:gd name="connsiteY36" fmla="*/ 38101 h 415476"/>
                    <a:gd name="connsiteX37" fmla="*/ 247942 w 406843"/>
                    <a:gd name="connsiteY37" fmla="*/ 50261 h 415476"/>
                    <a:gd name="connsiteX38" fmla="*/ 240031 w 406843"/>
                    <a:gd name="connsiteY38" fmla="*/ 48235 h 415476"/>
                    <a:gd name="connsiteX39" fmla="*/ 242292 w 406843"/>
                    <a:gd name="connsiteY39" fmla="*/ 38101 h 415476"/>
                    <a:gd name="connsiteX40" fmla="*/ 212909 w 406843"/>
                    <a:gd name="connsiteY40" fmla="*/ 38101 h 415476"/>
                    <a:gd name="connsiteX41" fmla="*/ 207258 w 406843"/>
                    <a:gd name="connsiteY41" fmla="*/ 52288 h 415476"/>
                    <a:gd name="connsiteX42" fmla="*/ 188046 w 406843"/>
                    <a:gd name="connsiteY42" fmla="*/ 47221 h 415476"/>
                    <a:gd name="connsiteX43" fmla="*/ 166573 w 406843"/>
                    <a:gd name="connsiteY43" fmla="*/ 52288 h 415476"/>
                    <a:gd name="connsiteX44" fmla="*/ 155272 w 406843"/>
                    <a:gd name="connsiteY44" fmla="*/ 42154 h 415476"/>
                    <a:gd name="connsiteX45" fmla="*/ 112328 w 406843"/>
                    <a:gd name="connsiteY45" fmla="*/ 44181 h 415476"/>
                    <a:gd name="connsiteX46" fmla="*/ 110067 w 406843"/>
                    <a:gd name="connsiteY46" fmla="*/ 39114 h 415476"/>
                    <a:gd name="connsiteX47" fmla="*/ 88596 w 406843"/>
                    <a:gd name="connsiteY47" fmla="*/ 34048 h 415476"/>
                    <a:gd name="connsiteX48" fmla="*/ 82945 w 406843"/>
                    <a:gd name="connsiteY48" fmla="*/ 26954 h 415476"/>
                    <a:gd name="connsiteX49" fmla="*/ 36610 w 406843"/>
                    <a:gd name="connsiteY49" fmla="*/ 26954 h 415476"/>
                    <a:gd name="connsiteX50" fmla="*/ 28699 w 406843"/>
                    <a:gd name="connsiteY50" fmla="*/ 9727 h 415476"/>
                    <a:gd name="connsiteX51" fmla="*/ 10617 w 406843"/>
                    <a:gd name="connsiteY51" fmla="*/ 9727 h 415476"/>
                    <a:gd name="connsiteX52" fmla="*/ 12877 w 406843"/>
                    <a:gd name="connsiteY52" fmla="*/ 35061 h 415476"/>
                    <a:gd name="connsiteX53" fmla="*/ 19658 w 406843"/>
                    <a:gd name="connsiteY53" fmla="*/ 64448 h 415476"/>
                    <a:gd name="connsiteX54" fmla="*/ 12877 w 406843"/>
                    <a:gd name="connsiteY54" fmla="*/ 88769 h 415476"/>
                    <a:gd name="connsiteX55" fmla="*/ 18528 w 406843"/>
                    <a:gd name="connsiteY55" fmla="*/ 109036 h 415476"/>
                    <a:gd name="connsiteX56" fmla="*/ 25309 w 406843"/>
                    <a:gd name="connsiteY56" fmla="*/ 119169 h 415476"/>
                    <a:gd name="connsiteX57" fmla="*/ 27569 w 406843"/>
                    <a:gd name="connsiteY57" fmla="*/ 403923 h 415476"/>
                    <a:gd name="connsiteX58" fmla="*/ 279585 w 406843"/>
                    <a:gd name="connsiteY58" fmla="*/ 404936 h 415476"/>
                    <a:gd name="connsiteX59" fmla="*/ 289757 w 406843"/>
                    <a:gd name="connsiteY59" fmla="*/ 398856 h 415476"/>
                    <a:gd name="connsiteX60" fmla="*/ 293147 w 406843"/>
                    <a:gd name="connsiteY60" fmla="*/ 406963 h 415476"/>
                    <a:gd name="connsiteX61" fmla="*/ 325921 w 406843"/>
                    <a:gd name="connsiteY61" fmla="*/ 406963 h 415476"/>
                    <a:gd name="connsiteX62" fmla="*/ 330441 w 406843"/>
                    <a:gd name="connsiteY62" fmla="*/ 413043 h 415476"/>
                    <a:gd name="connsiteX63" fmla="*/ 342873 w 406843"/>
                    <a:gd name="connsiteY63" fmla="*/ 410003 h 415476"/>
                    <a:gd name="connsiteX64" fmla="*/ 347393 w 406843"/>
                    <a:gd name="connsiteY64" fmla="*/ 389736 h 415476"/>
                    <a:gd name="connsiteX65" fmla="*/ 359824 w 406843"/>
                    <a:gd name="connsiteY65" fmla="*/ 386696 h 415476"/>
                    <a:gd name="connsiteX66" fmla="*/ 368865 w 406843"/>
                    <a:gd name="connsiteY66" fmla="*/ 365415 h 415476"/>
                    <a:gd name="connsiteX67" fmla="*/ 381296 w 406843"/>
                    <a:gd name="connsiteY67" fmla="*/ 364402 h 415476"/>
                    <a:gd name="connsiteX68" fmla="*/ 398248 w 406843"/>
                    <a:gd name="connsiteY68" fmla="*/ 356295 h 415476"/>
                    <a:gd name="connsiteX69" fmla="*/ 289757 w 406843"/>
                    <a:gd name="connsiteY69" fmla="*/ 94849 h 415476"/>
                    <a:gd name="connsiteX70" fmla="*/ 289757 w 406843"/>
                    <a:gd name="connsiteY70" fmla="*/ 107009 h 415476"/>
                    <a:gd name="connsiteX71" fmla="*/ 289757 w 406843"/>
                    <a:gd name="connsiteY71" fmla="*/ 94849 h 41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06843" h="415476">
                      <a:moveTo>
                        <a:pt x="398248" y="356295"/>
                      </a:moveTo>
                      <a:cubicBezTo>
                        <a:pt x="398248" y="356295"/>
                        <a:pt x="392597" y="354268"/>
                        <a:pt x="392597" y="352242"/>
                      </a:cubicBezTo>
                      <a:cubicBezTo>
                        <a:pt x="389207" y="343121"/>
                        <a:pt x="391468" y="334001"/>
                        <a:pt x="390337" y="325894"/>
                      </a:cubicBezTo>
                      <a:cubicBezTo>
                        <a:pt x="395988" y="324881"/>
                        <a:pt x="398248" y="324881"/>
                        <a:pt x="401638" y="323868"/>
                      </a:cubicBezTo>
                      <a:cubicBezTo>
                        <a:pt x="399379" y="320827"/>
                        <a:pt x="392597" y="318801"/>
                        <a:pt x="390337" y="316774"/>
                      </a:cubicBezTo>
                      <a:cubicBezTo>
                        <a:pt x="389207" y="314748"/>
                        <a:pt x="391468" y="309681"/>
                        <a:pt x="390337" y="306641"/>
                      </a:cubicBezTo>
                      <a:cubicBezTo>
                        <a:pt x="388077" y="300560"/>
                        <a:pt x="373385" y="274213"/>
                        <a:pt x="368865" y="268133"/>
                      </a:cubicBezTo>
                      <a:cubicBezTo>
                        <a:pt x="366605" y="265093"/>
                        <a:pt x="360954" y="266106"/>
                        <a:pt x="357564" y="263066"/>
                      </a:cubicBezTo>
                      <a:cubicBezTo>
                        <a:pt x="356433" y="262053"/>
                        <a:pt x="347393" y="246853"/>
                        <a:pt x="346263" y="245839"/>
                      </a:cubicBezTo>
                      <a:cubicBezTo>
                        <a:pt x="340612" y="234692"/>
                        <a:pt x="341742" y="226585"/>
                        <a:pt x="338352" y="214425"/>
                      </a:cubicBezTo>
                      <a:cubicBezTo>
                        <a:pt x="337222" y="212398"/>
                        <a:pt x="330441" y="205305"/>
                        <a:pt x="330441" y="202265"/>
                      </a:cubicBezTo>
                      <a:cubicBezTo>
                        <a:pt x="330441" y="200238"/>
                        <a:pt x="331571" y="197198"/>
                        <a:pt x="330441" y="195171"/>
                      </a:cubicBezTo>
                      <a:cubicBezTo>
                        <a:pt x="329311" y="194158"/>
                        <a:pt x="322530" y="194158"/>
                        <a:pt x="322530" y="193145"/>
                      </a:cubicBezTo>
                      <a:cubicBezTo>
                        <a:pt x="316879" y="183011"/>
                        <a:pt x="322530" y="172878"/>
                        <a:pt x="320270" y="166797"/>
                      </a:cubicBezTo>
                      <a:cubicBezTo>
                        <a:pt x="319140" y="165784"/>
                        <a:pt x="313489" y="163757"/>
                        <a:pt x="312359" y="161731"/>
                      </a:cubicBezTo>
                      <a:cubicBezTo>
                        <a:pt x="306709" y="155650"/>
                        <a:pt x="290887" y="135383"/>
                        <a:pt x="290887" y="127277"/>
                      </a:cubicBezTo>
                      <a:cubicBezTo>
                        <a:pt x="290887" y="124236"/>
                        <a:pt x="294277" y="116130"/>
                        <a:pt x="293147" y="115116"/>
                      </a:cubicBezTo>
                      <a:cubicBezTo>
                        <a:pt x="298798" y="120183"/>
                        <a:pt x="307838" y="125250"/>
                        <a:pt x="312359" y="132343"/>
                      </a:cubicBezTo>
                      <a:cubicBezTo>
                        <a:pt x="316879" y="139437"/>
                        <a:pt x="313489" y="145517"/>
                        <a:pt x="318010" y="154637"/>
                      </a:cubicBezTo>
                      <a:cubicBezTo>
                        <a:pt x="319140" y="156664"/>
                        <a:pt x="337222" y="172878"/>
                        <a:pt x="339482" y="173891"/>
                      </a:cubicBezTo>
                      <a:cubicBezTo>
                        <a:pt x="342873" y="174904"/>
                        <a:pt x="349653" y="172878"/>
                        <a:pt x="353043" y="173891"/>
                      </a:cubicBezTo>
                      <a:cubicBezTo>
                        <a:pt x="356433" y="164771"/>
                        <a:pt x="363215" y="154637"/>
                        <a:pt x="366605" y="147544"/>
                      </a:cubicBezTo>
                      <a:cubicBezTo>
                        <a:pt x="368865" y="136397"/>
                        <a:pt x="368865" y="131330"/>
                        <a:pt x="372255" y="125250"/>
                      </a:cubicBezTo>
                      <a:cubicBezTo>
                        <a:pt x="371126" y="121196"/>
                        <a:pt x="371126" y="114103"/>
                        <a:pt x="371126" y="114103"/>
                      </a:cubicBezTo>
                      <a:lnTo>
                        <a:pt x="363215" y="60395"/>
                      </a:lnTo>
                      <a:lnTo>
                        <a:pt x="357564" y="43168"/>
                      </a:lnTo>
                      <a:lnTo>
                        <a:pt x="354174" y="38101"/>
                      </a:lnTo>
                      <a:cubicBezTo>
                        <a:pt x="348523" y="40128"/>
                        <a:pt x="340612" y="37088"/>
                        <a:pt x="334962" y="38101"/>
                      </a:cubicBezTo>
                      <a:cubicBezTo>
                        <a:pt x="329311" y="39114"/>
                        <a:pt x="315749" y="47221"/>
                        <a:pt x="307838" y="45195"/>
                      </a:cubicBezTo>
                      <a:cubicBezTo>
                        <a:pt x="307838" y="45195"/>
                        <a:pt x="313489" y="37088"/>
                        <a:pt x="296537" y="38101"/>
                      </a:cubicBezTo>
                      <a:cubicBezTo>
                        <a:pt x="290887" y="38101"/>
                        <a:pt x="281846" y="48235"/>
                        <a:pt x="277325" y="48235"/>
                      </a:cubicBezTo>
                      <a:lnTo>
                        <a:pt x="275065" y="43168"/>
                      </a:lnTo>
                      <a:cubicBezTo>
                        <a:pt x="270545" y="43168"/>
                        <a:pt x="266024" y="44181"/>
                        <a:pt x="261504" y="43168"/>
                      </a:cubicBezTo>
                      <a:cubicBezTo>
                        <a:pt x="262634" y="41141"/>
                        <a:pt x="259243" y="37088"/>
                        <a:pt x="263764" y="38101"/>
                      </a:cubicBezTo>
                      <a:lnTo>
                        <a:pt x="263764" y="33034"/>
                      </a:lnTo>
                      <a:cubicBezTo>
                        <a:pt x="261504" y="33034"/>
                        <a:pt x="255853" y="31008"/>
                        <a:pt x="255853" y="31008"/>
                      </a:cubicBezTo>
                      <a:cubicBezTo>
                        <a:pt x="247942" y="29994"/>
                        <a:pt x="238901" y="35061"/>
                        <a:pt x="247942" y="38101"/>
                      </a:cubicBezTo>
                      <a:cubicBezTo>
                        <a:pt x="253593" y="40128"/>
                        <a:pt x="247942" y="49248"/>
                        <a:pt x="247942" y="50261"/>
                      </a:cubicBezTo>
                      <a:lnTo>
                        <a:pt x="240031" y="48235"/>
                      </a:lnTo>
                      <a:cubicBezTo>
                        <a:pt x="236641" y="45195"/>
                        <a:pt x="242292" y="40128"/>
                        <a:pt x="242292" y="38101"/>
                      </a:cubicBezTo>
                      <a:cubicBezTo>
                        <a:pt x="226470" y="41141"/>
                        <a:pt x="227600" y="41141"/>
                        <a:pt x="212909" y="38101"/>
                      </a:cubicBezTo>
                      <a:cubicBezTo>
                        <a:pt x="212909" y="38101"/>
                        <a:pt x="208388" y="52288"/>
                        <a:pt x="207258" y="52288"/>
                      </a:cubicBezTo>
                      <a:cubicBezTo>
                        <a:pt x="200477" y="51275"/>
                        <a:pt x="198217" y="46208"/>
                        <a:pt x="188046" y="47221"/>
                      </a:cubicBezTo>
                      <a:cubicBezTo>
                        <a:pt x="183525" y="47221"/>
                        <a:pt x="177875" y="54315"/>
                        <a:pt x="166573" y="52288"/>
                      </a:cubicBezTo>
                      <a:cubicBezTo>
                        <a:pt x="164313" y="52288"/>
                        <a:pt x="157533" y="43168"/>
                        <a:pt x="155272" y="42154"/>
                      </a:cubicBezTo>
                      <a:cubicBezTo>
                        <a:pt x="142841" y="40128"/>
                        <a:pt x="125889" y="47221"/>
                        <a:pt x="112328" y="44181"/>
                      </a:cubicBezTo>
                      <a:lnTo>
                        <a:pt x="110067" y="39114"/>
                      </a:lnTo>
                      <a:cubicBezTo>
                        <a:pt x="102157" y="36074"/>
                        <a:pt x="96506" y="37088"/>
                        <a:pt x="88596" y="34048"/>
                      </a:cubicBezTo>
                      <a:cubicBezTo>
                        <a:pt x="86335" y="33034"/>
                        <a:pt x="85205" y="27967"/>
                        <a:pt x="82945" y="26954"/>
                      </a:cubicBezTo>
                      <a:cubicBezTo>
                        <a:pt x="68253" y="19861"/>
                        <a:pt x="51301" y="22901"/>
                        <a:pt x="36610" y="26954"/>
                      </a:cubicBezTo>
                      <a:lnTo>
                        <a:pt x="28699" y="9727"/>
                      </a:lnTo>
                      <a:cubicBezTo>
                        <a:pt x="24179" y="7700"/>
                        <a:pt x="15138" y="10741"/>
                        <a:pt x="10617" y="9727"/>
                      </a:cubicBezTo>
                      <a:cubicBezTo>
                        <a:pt x="10617" y="9727"/>
                        <a:pt x="8357" y="26954"/>
                        <a:pt x="12877" y="35061"/>
                      </a:cubicBezTo>
                      <a:cubicBezTo>
                        <a:pt x="17398" y="43168"/>
                        <a:pt x="27569" y="56342"/>
                        <a:pt x="19658" y="64448"/>
                      </a:cubicBezTo>
                      <a:cubicBezTo>
                        <a:pt x="11747" y="72555"/>
                        <a:pt x="10617" y="75595"/>
                        <a:pt x="12877" y="88769"/>
                      </a:cubicBezTo>
                      <a:cubicBezTo>
                        <a:pt x="15138" y="101943"/>
                        <a:pt x="12877" y="103969"/>
                        <a:pt x="18528" y="109036"/>
                      </a:cubicBezTo>
                      <a:cubicBezTo>
                        <a:pt x="24179" y="114103"/>
                        <a:pt x="25309" y="119169"/>
                        <a:pt x="25309" y="119169"/>
                      </a:cubicBezTo>
                      <a:lnTo>
                        <a:pt x="27569" y="403923"/>
                      </a:lnTo>
                      <a:lnTo>
                        <a:pt x="279585" y="404936"/>
                      </a:lnTo>
                      <a:lnTo>
                        <a:pt x="289757" y="398856"/>
                      </a:lnTo>
                      <a:lnTo>
                        <a:pt x="293147" y="406963"/>
                      </a:lnTo>
                      <a:lnTo>
                        <a:pt x="325921" y="406963"/>
                      </a:lnTo>
                      <a:lnTo>
                        <a:pt x="330441" y="413043"/>
                      </a:lnTo>
                      <a:lnTo>
                        <a:pt x="342873" y="410003"/>
                      </a:lnTo>
                      <a:lnTo>
                        <a:pt x="347393" y="389736"/>
                      </a:lnTo>
                      <a:lnTo>
                        <a:pt x="359824" y="386696"/>
                      </a:lnTo>
                      <a:lnTo>
                        <a:pt x="368865" y="365415"/>
                      </a:lnTo>
                      <a:lnTo>
                        <a:pt x="381296" y="364402"/>
                      </a:lnTo>
                      <a:lnTo>
                        <a:pt x="398248" y="356295"/>
                      </a:lnTo>
                      <a:close/>
                      <a:moveTo>
                        <a:pt x="289757" y="94849"/>
                      </a:moveTo>
                      <a:cubicBezTo>
                        <a:pt x="288626" y="94849"/>
                        <a:pt x="289757" y="105996"/>
                        <a:pt x="289757" y="107009"/>
                      </a:cubicBezTo>
                      <a:cubicBezTo>
                        <a:pt x="285236" y="107009"/>
                        <a:pt x="285236" y="93836"/>
                        <a:pt x="289757" y="9484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3" name="Freeform: Shape 412">
                  <a:extLst>
                    <a:ext uri="{FF2B5EF4-FFF2-40B4-BE49-F238E27FC236}">
                      <a16:creationId xmlns:a16="http://schemas.microsoft.com/office/drawing/2014/main" id="{34E296B8-21A3-4D17-8C9B-58A311D426C7}"/>
                    </a:ext>
                  </a:extLst>
                </p:cNvPr>
                <p:cNvSpPr/>
                <p:nvPr/>
              </p:nvSpPr>
              <p:spPr>
                <a:xfrm>
                  <a:off x="2613425" y="4207956"/>
                  <a:ext cx="621566" cy="273606"/>
                </a:xfrm>
                <a:custGeom>
                  <a:avLst/>
                  <a:gdLst>
                    <a:gd name="connsiteX0" fmla="*/ 45347 w 621565"/>
                    <a:gd name="connsiteY0" fmla="*/ 78935 h 273606"/>
                    <a:gd name="connsiteX1" fmla="*/ 47607 w 621565"/>
                    <a:gd name="connsiteY1" fmla="*/ 84002 h 273606"/>
                    <a:gd name="connsiteX2" fmla="*/ 45347 w 621565"/>
                    <a:gd name="connsiteY2" fmla="*/ 78935 h 273606"/>
                    <a:gd name="connsiteX3" fmla="*/ 492874 w 621565"/>
                    <a:gd name="connsiteY3" fmla="*/ 9013 h 273606"/>
                    <a:gd name="connsiteX4" fmla="*/ 460101 w 621565"/>
                    <a:gd name="connsiteY4" fmla="*/ 28267 h 273606"/>
                    <a:gd name="connsiteX5" fmla="*/ 457841 w 621565"/>
                    <a:gd name="connsiteY5" fmla="*/ 38401 h 273606"/>
                    <a:gd name="connsiteX6" fmla="*/ 465752 w 621565"/>
                    <a:gd name="connsiteY6" fmla="*/ 60695 h 273606"/>
                    <a:gd name="connsiteX7" fmla="*/ 452190 w 621565"/>
                    <a:gd name="connsiteY7" fmla="*/ 104269 h 273606"/>
                    <a:gd name="connsiteX8" fmla="*/ 444279 w 621565"/>
                    <a:gd name="connsiteY8" fmla="*/ 104269 h 273606"/>
                    <a:gd name="connsiteX9" fmla="*/ 444279 w 621565"/>
                    <a:gd name="connsiteY9" fmla="*/ 109336 h 273606"/>
                    <a:gd name="connsiteX10" fmla="*/ 430718 w 621565"/>
                    <a:gd name="connsiteY10" fmla="*/ 116429 h 273606"/>
                    <a:gd name="connsiteX11" fmla="*/ 430718 w 621565"/>
                    <a:gd name="connsiteY11" fmla="*/ 123523 h 273606"/>
                    <a:gd name="connsiteX12" fmla="*/ 438629 w 621565"/>
                    <a:gd name="connsiteY12" fmla="*/ 128590 h 273606"/>
                    <a:gd name="connsiteX13" fmla="*/ 436368 w 621565"/>
                    <a:gd name="connsiteY13" fmla="*/ 135683 h 273606"/>
                    <a:gd name="connsiteX14" fmla="*/ 428458 w 621565"/>
                    <a:gd name="connsiteY14" fmla="*/ 142777 h 273606"/>
                    <a:gd name="connsiteX15" fmla="*/ 434108 w 621565"/>
                    <a:gd name="connsiteY15" fmla="*/ 156964 h 273606"/>
                    <a:gd name="connsiteX16" fmla="*/ 439759 w 621565"/>
                    <a:gd name="connsiteY16" fmla="*/ 156964 h 273606"/>
                    <a:gd name="connsiteX17" fmla="*/ 439759 w 621565"/>
                    <a:gd name="connsiteY17" fmla="*/ 167097 h 273606"/>
                    <a:gd name="connsiteX18" fmla="*/ 431848 w 621565"/>
                    <a:gd name="connsiteY18" fmla="*/ 167097 h 273606"/>
                    <a:gd name="connsiteX19" fmla="*/ 426197 w 621565"/>
                    <a:gd name="connsiteY19" fmla="*/ 174191 h 273606"/>
                    <a:gd name="connsiteX20" fmla="*/ 442019 w 621565"/>
                    <a:gd name="connsiteY20" fmla="*/ 181284 h 273606"/>
                    <a:gd name="connsiteX21" fmla="*/ 461231 w 621565"/>
                    <a:gd name="connsiteY21" fmla="*/ 181284 h 273606"/>
                    <a:gd name="connsiteX22" fmla="*/ 463492 w 621565"/>
                    <a:gd name="connsiteY22" fmla="*/ 176217 h 273606"/>
                    <a:gd name="connsiteX23" fmla="*/ 469142 w 621565"/>
                    <a:gd name="connsiteY23" fmla="*/ 174191 h 273606"/>
                    <a:gd name="connsiteX24" fmla="*/ 469142 w 621565"/>
                    <a:gd name="connsiteY24" fmla="*/ 186351 h 273606"/>
                    <a:gd name="connsiteX25" fmla="*/ 457841 w 621565"/>
                    <a:gd name="connsiteY25" fmla="*/ 186351 h 273606"/>
                    <a:gd name="connsiteX26" fmla="*/ 455581 w 621565"/>
                    <a:gd name="connsiteY26" fmla="*/ 196484 h 273606"/>
                    <a:gd name="connsiteX27" fmla="*/ 457841 w 621565"/>
                    <a:gd name="connsiteY27" fmla="*/ 201551 h 273606"/>
                    <a:gd name="connsiteX28" fmla="*/ 438629 w 621565"/>
                    <a:gd name="connsiteY28" fmla="*/ 216752 h 273606"/>
                    <a:gd name="connsiteX29" fmla="*/ 443149 w 621565"/>
                    <a:gd name="connsiteY29" fmla="*/ 227899 h 273606"/>
                    <a:gd name="connsiteX30" fmla="*/ 447670 w 621565"/>
                    <a:gd name="connsiteY30" fmla="*/ 233979 h 273606"/>
                    <a:gd name="connsiteX31" fmla="*/ 431848 w 621565"/>
                    <a:gd name="connsiteY31" fmla="*/ 244112 h 273606"/>
                    <a:gd name="connsiteX32" fmla="*/ 447670 w 621565"/>
                    <a:gd name="connsiteY32" fmla="*/ 254246 h 273606"/>
                    <a:gd name="connsiteX33" fmla="*/ 462361 w 621565"/>
                    <a:gd name="connsiteY33" fmla="*/ 245126 h 273606"/>
                    <a:gd name="connsiteX34" fmla="*/ 472532 w 621565"/>
                    <a:gd name="connsiteY34" fmla="*/ 264379 h 273606"/>
                    <a:gd name="connsiteX35" fmla="*/ 482703 w 621565"/>
                    <a:gd name="connsiteY35" fmla="*/ 270460 h 273606"/>
                    <a:gd name="connsiteX36" fmla="*/ 503046 w 621565"/>
                    <a:gd name="connsiteY36" fmla="*/ 254246 h 273606"/>
                    <a:gd name="connsiteX37" fmla="*/ 525648 w 621565"/>
                    <a:gd name="connsiteY37" fmla="*/ 218778 h 273606"/>
                    <a:gd name="connsiteX38" fmla="*/ 539209 w 621565"/>
                    <a:gd name="connsiteY38" fmla="*/ 200538 h 273606"/>
                    <a:gd name="connsiteX39" fmla="*/ 584414 w 621565"/>
                    <a:gd name="connsiteY39" fmla="*/ 174191 h 273606"/>
                    <a:gd name="connsiteX40" fmla="*/ 610407 w 621565"/>
                    <a:gd name="connsiteY40" fmla="*/ 134670 h 273606"/>
                    <a:gd name="connsiteX41" fmla="*/ 617188 w 621565"/>
                    <a:gd name="connsiteY41" fmla="*/ 134670 h 273606"/>
                    <a:gd name="connsiteX42" fmla="*/ 616058 w 621565"/>
                    <a:gd name="connsiteY42" fmla="*/ 111363 h 273606"/>
                    <a:gd name="connsiteX43" fmla="*/ 611537 w 621565"/>
                    <a:gd name="connsiteY43" fmla="*/ 91095 h 273606"/>
                    <a:gd name="connsiteX44" fmla="*/ 600236 w 621565"/>
                    <a:gd name="connsiteY44" fmla="*/ 85015 h 273606"/>
                    <a:gd name="connsiteX45" fmla="*/ 613797 w 621565"/>
                    <a:gd name="connsiteY45" fmla="*/ 74882 h 273606"/>
                    <a:gd name="connsiteX46" fmla="*/ 588935 w 621565"/>
                    <a:gd name="connsiteY46" fmla="*/ 62722 h 273606"/>
                    <a:gd name="connsiteX47" fmla="*/ 578764 w 621565"/>
                    <a:gd name="connsiteY47" fmla="*/ 65761 h 273606"/>
                    <a:gd name="connsiteX48" fmla="*/ 545990 w 621565"/>
                    <a:gd name="connsiteY48" fmla="*/ 59681 h 273606"/>
                    <a:gd name="connsiteX49" fmla="*/ 535819 w 621565"/>
                    <a:gd name="connsiteY49" fmla="*/ 48534 h 273606"/>
                    <a:gd name="connsiteX50" fmla="*/ 527908 w 621565"/>
                    <a:gd name="connsiteY50" fmla="*/ 35361 h 273606"/>
                    <a:gd name="connsiteX51" fmla="*/ 506436 w 621565"/>
                    <a:gd name="connsiteY51" fmla="*/ 27254 h 273606"/>
                    <a:gd name="connsiteX52" fmla="*/ 495135 w 621565"/>
                    <a:gd name="connsiteY52" fmla="*/ 12054 h 273606"/>
                    <a:gd name="connsiteX53" fmla="*/ 492874 w 621565"/>
                    <a:gd name="connsiteY53" fmla="*/ 9013 h 273606"/>
                    <a:gd name="connsiteX54" fmla="*/ 14834 w 621565"/>
                    <a:gd name="connsiteY54" fmla="*/ 64748 h 273606"/>
                    <a:gd name="connsiteX55" fmla="*/ 28396 w 621565"/>
                    <a:gd name="connsiteY55" fmla="*/ 99202 h 273606"/>
                    <a:gd name="connsiteX56" fmla="*/ 12574 w 621565"/>
                    <a:gd name="connsiteY56" fmla="*/ 106296 h 273606"/>
                    <a:gd name="connsiteX57" fmla="*/ 14834 w 621565"/>
                    <a:gd name="connsiteY57" fmla="*/ 108323 h 273606"/>
                    <a:gd name="connsiteX58" fmla="*/ 28396 w 621565"/>
                    <a:gd name="connsiteY58" fmla="*/ 108323 h 273606"/>
                    <a:gd name="connsiteX59" fmla="*/ 34046 w 621565"/>
                    <a:gd name="connsiteY59" fmla="*/ 84002 h 273606"/>
                    <a:gd name="connsiteX60" fmla="*/ 28396 w 621565"/>
                    <a:gd name="connsiteY60" fmla="*/ 84002 h 273606"/>
                    <a:gd name="connsiteX61" fmla="*/ 22745 w 621565"/>
                    <a:gd name="connsiteY61" fmla="*/ 64748 h 273606"/>
                    <a:gd name="connsiteX62" fmla="*/ 14834 w 621565"/>
                    <a:gd name="connsiteY62" fmla="*/ 64748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21565" h="273606">
                      <a:moveTo>
                        <a:pt x="45347" y="78935"/>
                      </a:moveTo>
                      <a:cubicBezTo>
                        <a:pt x="41957" y="79948"/>
                        <a:pt x="47607" y="84002"/>
                        <a:pt x="47607" y="84002"/>
                      </a:cubicBezTo>
                      <a:cubicBezTo>
                        <a:pt x="47607" y="84002"/>
                        <a:pt x="54388" y="76908"/>
                        <a:pt x="45347" y="78935"/>
                      </a:cubicBezTo>
                      <a:close/>
                      <a:moveTo>
                        <a:pt x="492874" y="9013"/>
                      </a:moveTo>
                      <a:cubicBezTo>
                        <a:pt x="482703" y="16107"/>
                        <a:pt x="472532" y="22187"/>
                        <a:pt x="460101" y="28267"/>
                      </a:cubicBezTo>
                      <a:cubicBezTo>
                        <a:pt x="461231" y="34347"/>
                        <a:pt x="456711" y="35361"/>
                        <a:pt x="457841" y="38401"/>
                      </a:cubicBezTo>
                      <a:cubicBezTo>
                        <a:pt x="457841" y="40428"/>
                        <a:pt x="464621" y="54614"/>
                        <a:pt x="465752" y="60695"/>
                      </a:cubicBezTo>
                      <a:cubicBezTo>
                        <a:pt x="446540" y="72855"/>
                        <a:pt x="439759" y="82989"/>
                        <a:pt x="452190" y="104269"/>
                      </a:cubicBezTo>
                      <a:cubicBezTo>
                        <a:pt x="449930" y="105282"/>
                        <a:pt x="446540" y="103256"/>
                        <a:pt x="444279" y="104269"/>
                      </a:cubicBezTo>
                      <a:lnTo>
                        <a:pt x="444279" y="109336"/>
                      </a:lnTo>
                      <a:cubicBezTo>
                        <a:pt x="443149" y="112376"/>
                        <a:pt x="434108" y="114402"/>
                        <a:pt x="430718" y="116429"/>
                      </a:cubicBezTo>
                      <a:cubicBezTo>
                        <a:pt x="431848" y="119469"/>
                        <a:pt x="429588" y="120483"/>
                        <a:pt x="430718" y="123523"/>
                      </a:cubicBezTo>
                      <a:cubicBezTo>
                        <a:pt x="430718" y="124536"/>
                        <a:pt x="437499" y="127576"/>
                        <a:pt x="438629" y="128590"/>
                      </a:cubicBezTo>
                      <a:cubicBezTo>
                        <a:pt x="438629" y="128590"/>
                        <a:pt x="437499" y="139736"/>
                        <a:pt x="436368" y="135683"/>
                      </a:cubicBezTo>
                      <a:cubicBezTo>
                        <a:pt x="434108" y="138723"/>
                        <a:pt x="430718" y="140750"/>
                        <a:pt x="428458" y="142777"/>
                      </a:cubicBezTo>
                      <a:lnTo>
                        <a:pt x="434108" y="156964"/>
                      </a:lnTo>
                      <a:lnTo>
                        <a:pt x="439759" y="156964"/>
                      </a:lnTo>
                      <a:cubicBezTo>
                        <a:pt x="440889" y="160004"/>
                        <a:pt x="438629" y="164057"/>
                        <a:pt x="439759" y="167097"/>
                      </a:cubicBezTo>
                      <a:cubicBezTo>
                        <a:pt x="438629" y="168111"/>
                        <a:pt x="432978" y="166084"/>
                        <a:pt x="431848" y="167097"/>
                      </a:cubicBezTo>
                      <a:cubicBezTo>
                        <a:pt x="429588" y="168111"/>
                        <a:pt x="428458" y="173177"/>
                        <a:pt x="426197" y="174191"/>
                      </a:cubicBezTo>
                      <a:cubicBezTo>
                        <a:pt x="432978" y="177231"/>
                        <a:pt x="437499" y="179258"/>
                        <a:pt x="442019" y="181284"/>
                      </a:cubicBezTo>
                      <a:cubicBezTo>
                        <a:pt x="454450" y="187364"/>
                        <a:pt x="447670" y="187364"/>
                        <a:pt x="461231" y="181284"/>
                      </a:cubicBezTo>
                      <a:cubicBezTo>
                        <a:pt x="465752" y="179258"/>
                        <a:pt x="462361" y="181284"/>
                        <a:pt x="463492" y="176217"/>
                      </a:cubicBezTo>
                      <a:cubicBezTo>
                        <a:pt x="463492" y="176217"/>
                        <a:pt x="468012" y="174191"/>
                        <a:pt x="469142" y="174191"/>
                      </a:cubicBezTo>
                      <a:cubicBezTo>
                        <a:pt x="469142" y="175204"/>
                        <a:pt x="468012" y="186351"/>
                        <a:pt x="469142" y="186351"/>
                      </a:cubicBezTo>
                      <a:cubicBezTo>
                        <a:pt x="466882" y="186351"/>
                        <a:pt x="460101" y="185337"/>
                        <a:pt x="457841" y="186351"/>
                      </a:cubicBezTo>
                      <a:cubicBezTo>
                        <a:pt x="455581" y="187364"/>
                        <a:pt x="456711" y="195471"/>
                        <a:pt x="455581" y="196484"/>
                      </a:cubicBezTo>
                      <a:cubicBezTo>
                        <a:pt x="461231" y="191418"/>
                        <a:pt x="457841" y="201551"/>
                        <a:pt x="457841" y="201551"/>
                      </a:cubicBezTo>
                      <a:cubicBezTo>
                        <a:pt x="452190" y="205605"/>
                        <a:pt x="445410" y="211685"/>
                        <a:pt x="438629" y="216752"/>
                      </a:cubicBezTo>
                      <a:lnTo>
                        <a:pt x="443149" y="227899"/>
                      </a:lnTo>
                      <a:lnTo>
                        <a:pt x="447670" y="233979"/>
                      </a:lnTo>
                      <a:lnTo>
                        <a:pt x="431848" y="244112"/>
                      </a:lnTo>
                      <a:cubicBezTo>
                        <a:pt x="431848" y="244112"/>
                        <a:pt x="440889" y="254246"/>
                        <a:pt x="447670" y="254246"/>
                      </a:cubicBezTo>
                      <a:cubicBezTo>
                        <a:pt x="454450" y="254246"/>
                        <a:pt x="462361" y="245126"/>
                        <a:pt x="462361" y="245126"/>
                      </a:cubicBezTo>
                      <a:cubicBezTo>
                        <a:pt x="462361" y="245126"/>
                        <a:pt x="469142" y="254246"/>
                        <a:pt x="472532" y="264379"/>
                      </a:cubicBezTo>
                      <a:cubicBezTo>
                        <a:pt x="475923" y="274513"/>
                        <a:pt x="482703" y="270460"/>
                        <a:pt x="482703" y="270460"/>
                      </a:cubicBezTo>
                      <a:cubicBezTo>
                        <a:pt x="482703" y="270460"/>
                        <a:pt x="498525" y="264379"/>
                        <a:pt x="503046" y="254246"/>
                      </a:cubicBezTo>
                      <a:cubicBezTo>
                        <a:pt x="509826" y="233979"/>
                        <a:pt x="516607" y="228912"/>
                        <a:pt x="525648" y="218778"/>
                      </a:cubicBezTo>
                      <a:cubicBezTo>
                        <a:pt x="532429" y="210671"/>
                        <a:pt x="533559" y="207631"/>
                        <a:pt x="539209" y="200538"/>
                      </a:cubicBezTo>
                      <a:cubicBezTo>
                        <a:pt x="544860" y="194458"/>
                        <a:pt x="556161" y="189391"/>
                        <a:pt x="584414" y="174191"/>
                      </a:cubicBezTo>
                      <a:cubicBezTo>
                        <a:pt x="612667" y="158990"/>
                        <a:pt x="610407" y="134670"/>
                        <a:pt x="610407" y="134670"/>
                      </a:cubicBezTo>
                      <a:lnTo>
                        <a:pt x="617188" y="134670"/>
                      </a:lnTo>
                      <a:cubicBezTo>
                        <a:pt x="617188" y="134670"/>
                        <a:pt x="618318" y="123523"/>
                        <a:pt x="616058" y="111363"/>
                      </a:cubicBezTo>
                      <a:cubicBezTo>
                        <a:pt x="613797" y="99202"/>
                        <a:pt x="611537" y="91095"/>
                        <a:pt x="611537" y="91095"/>
                      </a:cubicBezTo>
                      <a:lnTo>
                        <a:pt x="600236" y="85015"/>
                      </a:lnTo>
                      <a:lnTo>
                        <a:pt x="613797" y="74882"/>
                      </a:lnTo>
                      <a:cubicBezTo>
                        <a:pt x="613797" y="74882"/>
                        <a:pt x="592325" y="69815"/>
                        <a:pt x="588935" y="62722"/>
                      </a:cubicBezTo>
                      <a:cubicBezTo>
                        <a:pt x="584414" y="54614"/>
                        <a:pt x="578764" y="65761"/>
                        <a:pt x="578764" y="65761"/>
                      </a:cubicBezTo>
                      <a:lnTo>
                        <a:pt x="545990" y="59681"/>
                      </a:lnTo>
                      <a:cubicBezTo>
                        <a:pt x="545990" y="59681"/>
                        <a:pt x="536949" y="54614"/>
                        <a:pt x="535819" y="48534"/>
                      </a:cubicBezTo>
                      <a:cubicBezTo>
                        <a:pt x="534689" y="42454"/>
                        <a:pt x="527908" y="35361"/>
                        <a:pt x="527908" y="35361"/>
                      </a:cubicBezTo>
                      <a:cubicBezTo>
                        <a:pt x="527908" y="35361"/>
                        <a:pt x="514347" y="32321"/>
                        <a:pt x="506436" y="27254"/>
                      </a:cubicBezTo>
                      <a:cubicBezTo>
                        <a:pt x="497395" y="22187"/>
                        <a:pt x="495135" y="12054"/>
                        <a:pt x="495135" y="12054"/>
                      </a:cubicBezTo>
                      <a:lnTo>
                        <a:pt x="492874" y="9013"/>
                      </a:lnTo>
                      <a:close/>
                      <a:moveTo>
                        <a:pt x="14834" y="64748"/>
                      </a:moveTo>
                      <a:cubicBezTo>
                        <a:pt x="21615" y="76908"/>
                        <a:pt x="22745" y="85015"/>
                        <a:pt x="28396" y="99202"/>
                      </a:cubicBezTo>
                      <a:cubicBezTo>
                        <a:pt x="22745" y="101229"/>
                        <a:pt x="17094" y="105282"/>
                        <a:pt x="12574" y="106296"/>
                      </a:cubicBezTo>
                      <a:cubicBezTo>
                        <a:pt x="5793" y="108323"/>
                        <a:pt x="14834" y="108323"/>
                        <a:pt x="14834" y="108323"/>
                      </a:cubicBezTo>
                      <a:cubicBezTo>
                        <a:pt x="14834" y="108323"/>
                        <a:pt x="22745" y="110349"/>
                        <a:pt x="28396" y="108323"/>
                      </a:cubicBezTo>
                      <a:cubicBezTo>
                        <a:pt x="45347" y="103256"/>
                        <a:pt x="39697" y="95149"/>
                        <a:pt x="34046" y="84002"/>
                      </a:cubicBezTo>
                      <a:lnTo>
                        <a:pt x="28396" y="84002"/>
                      </a:lnTo>
                      <a:cubicBezTo>
                        <a:pt x="25005" y="78935"/>
                        <a:pt x="25005" y="70828"/>
                        <a:pt x="22745" y="64748"/>
                      </a:cubicBezTo>
                      <a:cubicBezTo>
                        <a:pt x="22745" y="64748"/>
                        <a:pt x="14834" y="64748"/>
                        <a:pt x="14834" y="6474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4" name="Freeform: Shape 413">
                  <a:extLst>
                    <a:ext uri="{FF2B5EF4-FFF2-40B4-BE49-F238E27FC236}">
                      <a16:creationId xmlns:a16="http://schemas.microsoft.com/office/drawing/2014/main" id="{3607BC17-2B56-434A-8DF7-1B78AF8B7BE9}"/>
                    </a:ext>
                  </a:extLst>
                </p:cNvPr>
                <p:cNvSpPr/>
                <p:nvPr/>
              </p:nvSpPr>
              <p:spPr>
                <a:xfrm>
                  <a:off x="3364086" y="3470795"/>
                  <a:ext cx="146916" cy="91202"/>
                </a:xfrm>
                <a:custGeom>
                  <a:avLst/>
                  <a:gdLst>
                    <a:gd name="connsiteX0" fmla="*/ 15703 w 146915"/>
                    <a:gd name="connsiteY0" fmla="*/ 71278 h 91202"/>
                    <a:gd name="connsiteX1" fmla="*/ 24743 w 146915"/>
                    <a:gd name="connsiteY1" fmla="*/ 84452 h 91202"/>
                    <a:gd name="connsiteX2" fmla="*/ 32654 w 146915"/>
                    <a:gd name="connsiteY2" fmla="*/ 84452 h 91202"/>
                    <a:gd name="connsiteX3" fmla="*/ 38305 w 146915"/>
                    <a:gd name="connsiteY3" fmla="*/ 74319 h 91202"/>
                    <a:gd name="connsiteX4" fmla="*/ 36045 w 146915"/>
                    <a:gd name="connsiteY4" fmla="*/ 60132 h 91202"/>
                    <a:gd name="connsiteX5" fmla="*/ 55257 w 146915"/>
                    <a:gd name="connsiteY5" fmla="*/ 65198 h 91202"/>
                    <a:gd name="connsiteX6" fmla="*/ 60907 w 146915"/>
                    <a:gd name="connsiteY6" fmla="*/ 72292 h 91202"/>
                    <a:gd name="connsiteX7" fmla="*/ 85770 w 146915"/>
                    <a:gd name="connsiteY7" fmla="*/ 60132 h 91202"/>
                    <a:gd name="connsiteX8" fmla="*/ 132105 w 146915"/>
                    <a:gd name="connsiteY8" fmla="*/ 45944 h 91202"/>
                    <a:gd name="connsiteX9" fmla="*/ 112893 w 146915"/>
                    <a:gd name="connsiteY9" fmla="*/ 35811 h 91202"/>
                    <a:gd name="connsiteX10" fmla="*/ 83510 w 146915"/>
                    <a:gd name="connsiteY10" fmla="*/ 30744 h 91202"/>
                    <a:gd name="connsiteX11" fmla="*/ 69948 w 146915"/>
                    <a:gd name="connsiteY11" fmla="*/ 16557 h 91202"/>
                    <a:gd name="connsiteX12" fmla="*/ 56387 w 146915"/>
                    <a:gd name="connsiteY12" fmla="*/ 16557 h 91202"/>
                    <a:gd name="connsiteX13" fmla="*/ 50736 w 146915"/>
                    <a:gd name="connsiteY13" fmla="*/ 9464 h 91202"/>
                    <a:gd name="connsiteX14" fmla="*/ 25874 w 146915"/>
                    <a:gd name="connsiteY14" fmla="*/ 9464 h 91202"/>
                    <a:gd name="connsiteX15" fmla="*/ 17963 w 146915"/>
                    <a:gd name="connsiteY15" fmla="*/ 16557 h 91202"/>
                    <a:gd name="connsiteX16" fmla="*/ 12312 w 146915"/>
                    <a:gd name="connsiteY16" fmla="*/ 17571 h 91202"/>
                    <a:gd name="connsiteX17" fmla="*/ 15703 w 146915"/>
                    <a:gd name="connsiteY17" fmla="*/ 36824 h 91202"/>
                    <a:gd name="connsiteX18" fmla="*/ 12312 w 146915"/>
                    <a:gd name="connsiteY18" fmla="*/ 46958 h 91202"/>
                    <a:gd name="connsiteX19" fmla="*/ 10052 w 146915"/>
                    <a:gd name="connsiteY19" fmla="*/ 52025 h 91202"/>
                    <a:gd name="connsiteX20" fmla="*/ 17963 w 146915"/>
                    <a:gd name="connsiteY20" fmla="*/ 62158 h 91202"/>
                    <a:gd name="connsiteX21" fmla="*/ 15703 w 146915"/>
                    <a:gd name="connsiteY21" fmla="*/ 71278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915" h="91202">
                      <a:moveTo>
                        <a:pt x="15703" y="71278"/>
                      </a:moveTo>
                      <a:cubicBezTo>
                        <a:pt x="17963" y="75332"/>
                        <a:pt x="21353" y="80399"/>
                        <a:pt x="24743" y="84452"/>
                      </a:cubicBezTo>
                      <a:cubicBezTo>
                        <a:pt x="22483" y="85466"/>
                        <a:pt x="30394" y="85466"/>
                        <a:pt x="32654" y="84452"/>
                      </a:cubicBezTo>
                      <a:cubicBezTo>
                        <a:pt x="36045" y="82425"/>
                        <a:pt x="36045" y="76345"/>
                        <a:pt x="38305" y="74319"/>
                      </a:cubicBezTo>
                      <a:cubicBezTo>
                        <a:pt x="38305" y="75332"/>
                        <a:pt x="37175" y="64185"/>
                        <a:pt x="36045" y="60132"/>
                      </a:cubicBezTo>
                      <a:cubicBezTo>
                        <a:pt x="41695" y="62158"/>
                        <a:pt x="48476" y="62158"/>
                        <a:pt x="55257" y="65198"/>
                      </a:cubicBezTo>
                      <a:cubicBezTo>
                        <a:pt x="56387" y="66212"/>
                        <a:pt x="59777" y="72292"/>
                        <a:pt x="60907" y="72292"/>
                      </a:cubicBezTo>
                      <a:cubicBezTo>
                        <a:pt x="83510" y="76345"/>
                        <a:pt x="85770" y="60132"/>
                        <a:pt x="85770" y="60132"/>
                      </a:cubicBezTo>
                      <a:cubicBezTo>
                        <a:pt x="99331" y="56078"/>
                        <a:pt x="154707" y="77359"/>
                        <a:pt x="132105" y="45944"/>
                      </a:cubicBezTo>
                      <a:cubicBezTo>
                        <a:pt x="127584" y="38851"/>
                        <a:pt x="119674" y="39865"/>
                        <a:pt x="112893" y="35811"/>
                      </a:cubicBezTo>
                      <a:cubicBezTo>
                        <a:pt x="121934" y="36824"/>
                        <a:pt x="91421" y="35811"/>
                        <a:pt x="83510" y="30744"/>
                      </a:cubicBezTo>
                      <a:cubicBezTo>
                        <a:pt x="81249" y="29731"/>
                        <a:pt x="74469" y="17571"/>
                        <a:pt x="69948" y="16557"/>
                      </a:cubicBezTo>
                      <a:cubicBezTo>
                        <a:pt x="65428" y="15544"/>
                        <a:pt x="60907" y="17571"/>
                        <a:pt x="56387" y="16557"/>
                      </a:cubicBezTo>
                      <a:cubicBezTo>
                        <a:pt x="55257" y="16557"/>
                        <a:pt x="51867" y="9464"/>
                        <a:pt x="50736" y="9464"/>
                      </a:cubicBezTo>
                      <a:cubicBezTo>
                        <a:pt x="48476" y="8450"/>
                        <a:pt x="27004" y="9464"/>
                        <a:pt x="25874" y="9464"/>
                      </a:cubicBezTo>
                      <a:cubicBezTo>
                        <a:pt x="24743" y="9464"/>
                        <a:pt x="19093" y="16557"/>
                        <a:pt x="17963" y="16557"/>
                      </a:cubicBezTo>
                      <a:cubicBezTo>
                        <a:pt x="17963" y="16557"/>
                        <a:pt x="14572" y="17571"/>
                        <a:pt x="12312" y="17571"/>
                      </a:cubicBezTo>
                      <a:lnTo>
                        <a:pt x="15703" y="36824"/>
                      </a:lnTo>
                      <a:lnTo>
                        <a:pt x="12312" y="46958"/>
                      </a:lnTo>
                      <a:lnTo>
                        <a:pt x="10052" y="52025"/>
                      </a:lnTo>
                      <a:cubicBezTo>
                        <a:pt x="10052" y="52025"/>
                        <a:pt x="16833" y="57091"/>
                        <a:pt x="17963" y="62158"/>
                      </a:cubicBezTo>
                      <a:cubicBezTo>
                        <a:pt x="19093" y="67225"/>
                        <a:pt x="15703" y="71278"/>
                        <a:pt x="15703" y="7127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5" name="Freeform: Shape 414">
                  <a:extLst>
                    <a:ext uri="{FF2B5EF4-FFF2-40B4-BE49-F238E27FC236}">
                      <a16:creationId xmlns:a16="http://schemas.microsoft.com/office/drawing/2014/main" id="{9D0FF6F9-B5CA-40E5-9F46-07C290F7720C}"/>
                    </a:ext>
                  </a:extLst>
                </p:cNvPr>
                <p:cNvSpPr/>
                <p:nvPr/>
              </p:nvSpPr>
              <p:spPr>
                <a:xfrm>
                  <a:off x="7347482" y="3761065"/>
                  <a:ext cx="90410" cy="91202"/>
                </a:xfrm>
                <a:custGeom>
                  <a:avLst/>
                  <a:gdLst>
                    <a:gd name="connsiteX0" fmla="*/ 75875 w 90409"/>
                    <a:gd name="connsiteY0" fmla="*/ 68802 h 91202"/>
                    <a:gd name="connsiteX1" fmla="*/ 71355 w 90409"/>
                    <a:gd name="connsiteY1" fmla="*/ 59681 h 91202"/>
                    <a:gd name="connsiteX2" fmla="*/ 63444 w 90409"/>
                    <a:gd name="connsiteY2" fmla="*/ 59681 h 91202"/>
                    <a:gd name="connsiteX3" fmla="*/ 63444 w 90409"/>
                    <a:gd name="connsiteY3" fmla="*/ 54614 h 91202"/>
                    <a:gd name="connsiteX4" fmla="*/ 79265 w 90409"/>
                    <a:gd name="connsiteY4" fmla="*/ 18134 h 91202"/>
                    <a:gd name="connsiteX5" fmla="*/ 67964 w 90409"/>
                    <a:gd name="connsiteY5" fmla="*/ 9013 h 91202"/>
                    <a:gd name="connsiteX6" fmla="*/ 54403 w 90409"/>
                    <a:gd name="connsiteY6" fmla="*/ 21174 h 91202"/>
                    <a:gd name="connsiteX7" fmla="*/ 44232 w 90409"/>
                    <a:gd name="connsiteY7" fmla="*/ 15094 h 91202"/>
                    <a:gd name="connsiteX8" fmla="*/ 37451 w 90409"/>
                    <a:gd name="connsiteY8" fmla="*/ 19147 h 91202"/>
                    <a:gd name="connsiteX9" fmla="*/ 18239 w 90409"/>
                    <a:gd name="connsiteY9" fmla="*/ 52588 h 91202"/>
                    <a:gd name="connsiteX10" fmla="*/ 10328 w 90409"/>
                    <a:gd name="connsiteY10" fmla="*/ 79948 h 91202"/>
                    <a:gd name="connsiteX11" fmla="*/ 31801 w 90409"/>
                    <a:gd name="connsiteY11" fmla="*/ 89069 h 91202"/>
                    <a:gd name="connsiteX12" fmla="*/ 44232 w 90409"/>
                    <a:gd name="connsiteY12" fmla="*/ 86029 h 91202"/>
                    <a:gd name="connsiteX13" fmla="*/ 57793 w 90409"/>
                    <a:gd name="connsiteY13" fmla="*/ 86029 h 91202"/>
                    <a:gd name="connsiteX14" fmla="*/ 75875 w 90409"/>
                    <a:gd name="connsiteY14" fmla="*/ 68802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0409" h="91202">
                      <a:moveTo>
                        <a:pt x="75875" y="68802"/>
                      </a:moveTo>
                      <a:cubicBezTo>
                        <a:pt x="73614" y="65761"/>
                        <a:pt x="72485" y="62722"/>
                        <a:pt x="71355" y="59681"/>
                      </a:cubicBezTo>
                      <a:cubicBezTo>
                        <a:pt x="70224" y="59681"/>
                        <a:pt x="64574" y="60695"/>
                        <a:pt x="63444" y="59681"/>
                      </a:cubicBezTo>
                      <a:lnTo>
                        <a:pt x="63444" y="54614"/>
                      </a:lnTo>
                      <a:cubicBezTo>
                        <a:pt x="74745" y="46508"/>
                        <a:pt x="89436" y="35361"/>
                        <a:pt x="79265" y="18134"/>
                      </a:cubicBezTo>
                      <a:lnTo>
                        <a:pt x="67964" y="9013"/>
                      </a:lnTo>
                      <a:lnTo>
                        <a:pt x="54403" y="21174"/>
                      </a:lnTo>
                      <a:lnTo>
                        <a:pt x="44232" y="15094"/>
                      </a:lnTo>
                      <a:lnTo>
                        <a:pt x="37451" y="19147"/>
                      </a:lnTo>
                      <a:cubicBezTo>
                        <a:pt x="37451" y="19147"/>
                        <a:pt x="15979" y="43468"/>
                        <a:pt x="18239" y="52588"/>
                      </a:cubicBezTo>
                      <a:cubicBezTo>
                        <a:pt x="20499" y="61708"/>
                        <a:pt x="8068" y="72855"/>
                        <a:pt x="10328" y="79948"/>
                      </a:cubicBezTo>
                      <a:cubicBezTo>
                        <a:pt x="12588" y="87042"/>
                        <a:pt x="22759" y="89069"/>
                        <a:pt x="31801" y="89069"/>
                      </a:cubicBezTo>
                      <a:cubicBezTo>
                        <a:pt x="40841" y="89069"/>
                        <a:pt x="44232" y="86029"/>
                        <a:pt x="44232" y="86029"/>
                      </a:cubicBezTo>
                      <a:lnTo>
                        <a:pt x="57793" y="86029"/>
                      </a:lnTo>
                      <a:lnTo>
                        <a:pt x="75875" y="6880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6" name="Freeform: Shape 415">
                  <a:extLst>
                    <a:ext uri="{FF2B5EF4-FFF2-40B4-BE49-F238E27FC236}">
                      <a16:creationId xmlns:a16="http://schemas.microsoft.com/office/drawing/2014/main" id="{2ED8EA40-DF05-4BE5-9F87-975C93F31D42}"/>
                    </a:ext>
                  </a:extLst>
                </p:cNvPr>
                <p:cNvSpPr/>
                <p:nvPr/>
              </p:nvSpPr>
              <p:spPr>
                <a:xfrm>
                  <a:off x="6173543" y="1786033"/>
                  <a:ext cx="180819" cy="202671"/>
                </a:xfrm>
                <a:custGeom>
                  <a:avLst/>
                  <a:gdLst>
                    <a:gd name="connsiteX0" fmla="*/ 71099 w 180819"/>
                    <a:gd name="connsiteY0" fmla="*/ 163044 h 202671"/>
                    <a:gd name="connsiteX1" fmla="*/ 75620 w 180819"/>
                    <a:gd name="connsiteY1" fmla="*/ 139737 h 202671"/>
                    <a:gd name="connsiteX2" fmla="*/ 89180 w 180819"/>
                    <a:gd name="connsiteY2" fmla="*/ 151897 h 202671"/>
                    <a:gd name="connsiteX3" fmla="*/ 91441 w 180819"/>
                    <a:gd name="connsiteY3" fmla="*/ 158990 h 202671"/>
                    <a:gd name="connsiteX4" fmla="*/ 97091 w 180819"/>
                    <a:gd name="connsiteY4" fmla="*/ 158990 h 202671"/>
                    <a:gd name="connsiteX5" fmla="*/ 105002 w 180819"/>
                    <a:gd name="connsiteY5" fmla="*/ 161017 h 202671"/>
                    <a:gd name="connsiteX6" fmla="*/ 105002 w 180819"/>
                    <a:gd name="connsiteY6" fmla="*/ 138723 h 202671"/>
                    <a:gd name="connsiteX7" fmla="*/ 77879 w 180819"/>
                    <a:gd name="connsiteY7" fmla="*/ 138723 h 202671"/>
                    <a:gd name="connsiteX8" fmla="*/ 93701 w 180819"/>
                    <a:gd name="connsiteY8" fmla="*/ 95149 h 202671"/>
                    <a:gd name="connsiteX9" fmla="*/ 115174 w 180819"/>
                    <a:gd name="connsiteY9" fmla="*/ 90082 h 202671"/>
                    <a:gd name="connsiteX10" fmla="*/ 112913 w 180819"/>
                    <a:gd name="connsiteY10" fmla="*/ 85015 h 202671"/>
                    <a:gd name="connsiteX11" fmla="*/ 99352 w 180819"/>
                    <a:gd name="connsiteY11" fmla="*/ 85015 h 202671"/>
                    <a:gd name="connsiteX12" fmla="*/ 93701 w 180819"/>
                    <a:gd name="connsiteY12" fmla="*/ 50561 h 202671"/>
                    <a:gd name="connsiteX13" fmla="*/ 77879 w 180819"/>
                    <a:gd name="connsiteY13" fmla="*/ 48534 h 202671"/>
                    <a:gd name="connsiteX14" fmla="*/ 93701 w 180819"/>
                    <a:gd name="connsiteY14" fmla="*/ 46508 h 202671"/>
                    <a:gd name="connsiteX15" fmla="*/ 99352 w 180819"/>
                    <a:gd name="connsiteY15" fmla="*/ 39414 h 202671"/>
                    <a:gd name="connsiteX16" fmla="*/ 105002 w 180819"/>
                    <a:gd name="connsiteY16" fmla="*/ 37387 h 202671"/>
                    <a:gd name="connsiteX17" fmla="*/ 102742 w 180819"/>
                    <a:gd name="connsiteY17" fmla="*/ 23201 h 202671"/>
                    <a:gd name="connsiteX18" fmla="*/ 105002 w 180819"/>
                    <a:gd name="connsiteY18" fmla="*/ 16107 h 202671"/>
                    <a:gd name="connsiteX19" fmla="*/ 105002 w 180819"/>
                    <a:gd name="connsiteY19" fmla="*/ 9013 h 202671"/>
                    <a:gd name="connsiteX20" fmla="*/ 77879 w 180819"/>
                    <a:gd name="connsiteY20" fmla="*/ 21174 h 202671"/>
                    <a:gd name="connsiteX21" fmla="*/ 66578 w 180819"/>
                    <a:gd name="connsiteY21" fmla="*/ 40428 h 202671"/>
                    <a:gd name="connsiteX22" fmla="*/ 28154 w 180819"/>
                    <a:gd name="connsiteY22" fmla="*/ 50561 h 202671"/>
                    <a:gd name="connsiteX23" fmla="*/ 14593 w 180819"/>
                    <a:gd name="connsiteY23" fmla="*/ 64748 h 202671"/>
                    <a:gd name="connsiteX24" fmla="*/ 16853 w 180819"/>
                    <a:gd name="connsiteY24" fmla="*/ 69815 h 202671"/>
                    <a:gd name="connsiteX25" fmla="*/ 24764 w 180819"/>
                    <a:gd name="connsiteY25" fmla="*/ 69815 h 202671"/>
                    <a:gd name="connsiteX26" fmla="*/ 27024 w 180819"/>
                    <a:gd name="connsiteY26" fmla="*/ 59681 h 202671"/>
                    <a:gd name="connsiteX27" fmla="*/ 62058 w 180819"/>
                    <a:gd name="connsiteY27" fmla="*/ 52588 h 202671"/>
                    <a:gd name="connsiteX28" fmla="*/ 64318 w 180819"/>
                    <a:gd name="connsiteY28" fmla="*/ 76908 h 202671"/>
                    <a:gd name="connsiteX29" fmla="*/ 37195 w 180819"/>
                    <a:gd name="connsiteY29" fmla="*/ 84002 h 202671"/>
                    <a:gd name="connsiteX30" fmla="*/ 10072 w 180819"/>
                    <a:gd name="connsiteY30" fmla="*/ 81975 h 202671"/>
                    <a:gd name="connsiteX31" fmla="*/ 23634 w 180819"/>
                    <a:gd name="connsiteY31" fmla="*/ 116429 h 202671"/>
                    <a:gd name="connsiteX32" fmla="*/ 23634 w 180819"/>
                    <a:gd name="connsiteY32" fmla="*/ 121496 h 202671"/>
                    <a:gd name="connsiteX33" fmla="*/ 15723 w 180819"/>
                    <a:gd name="connsiteY33" fmla="*/ 123523 h 202671"/>
                    <a:gd name="connsiteX34" fmla="*/ 34935 w 180819"/>
                    <a:gd name="connsiteY34" fmla="*/ 154937 h 202671"/>
                    <a:gd name="connsiteX35" fmla="*/ 32674 w 180819"/>
                    <a:gd name="connsiteY35" fmla="*/ 162030 h 202671"/>
                    <a:gd name="connsiteX36" fmla="*/ 71099 w 180819"/>
                    <a:gd name="connsiteY36" fmla="*/ 163044 h 202671"/>
                    <a:gd name="connsiteX37" fmla="*/ 168289 w 180819"/>
                    <a:gd name="connsiteY37" fmla="*/ 166084 h 202671"/>
                    <a:gd name="connsiteX38" fmla="*/ 143427 w 180819"/>
                    <a:gd name="connsiteY38" fmla="*/ 176217 h 202671"/>
                    <a:gd name="connsiteX39" fmla="*/ 135516 w 180819"/>
                    <a:gd name="connsiteY39" fmla="*/ 174191 h 202671"/>
                    <a:gd name="connsiteX40" fmla="*/ 128735 w 180819"/>
                    <a:gd name="connsiteY40" fmla="*/ 172164 h 202671"/>
                    <a:gd name="connsiteX41" fmla="*/ 121954 w 180819"/>
                    <a:gd name="connsiteY41" fmla="*/ 172164 h 202671"/>
                    <a:gd name="connsiteX42" fmla="*/ 121954 w 180819"/>
                    <a:gd name="connsiteY42" fmla="*/ 179257 h 202671"/>
                    <a:gd name="connsiteX43" fmla="*/ 124215 w 180819"/>
                    <a:gd name="connsiteY43" fmla="*/ 189391 h 202671"/>
                    <a:gd name="connsiteX44" fmla="*/ 129865 w 180819"/>
                    <a:gd name="connsiteY44" fmla="*/ 194458 h 202671"/>
                    <a:gd name="connsiteX45" fmla="*/ 135516 w 180819"/>
                    <a:gd name="connsiteY45" fmla="*/ 194458 h 202671"/>
                    <a:gd name="connsiteX46" fmla="*/ 141166 w 180819"/>
                    <a:gd name="connsiteY46" fmla="*/ 189391 h 202671"/>
                    <a:gd name="connsiteX47" fmla="*/ 152468 w 180819"/>
                    <a:gd name="connsiteY47" fmla="*/ 191418 h 202671"/>
                    <a:gd name="connsiteX48" fmla="*/ 158118 w 180819"/>
                    <a:gd name="connsiteY48" fmla="*/ 181284 h 202671"/>
                    <a:gd name="connsiteX49" fmla="*/ 168289 w 180819"/>
                    <a:gd name="connsiteY49" fmla="*/ 166084 h 202671"/>
                    <a:gd name="connsiteX50" fmla="*/ 110653 w 180819"/>
                    <a:gd name="connsiteY50" fmla="*/ 164057 h 202671"/>
                    <a:gd name="connsiteX51" fmla="*/ 108393 w 180819"/>
                    <a:gd name="connsiteY51" fmla="*/ 186351 h 202671"/>
                    <a:gd name="connsiteX52" fmla="*/ 110653 w 180819"/>
                    <a:gd name="connsiteY52" fmla="*/ 164057 h 202671"/>
                    <a:gd name="connsiteX53" fmla="*/ 154728 w 180819"/>
                    <a:gd name="connsiteY53" fmla="*/ 101229 h 202671"/>
                    <a:gd name="connsiteX54" fmla="*/ 143427 w 180819"/>
                    <a:gd name="connsiteY54" fmla="*/ 106296 h 202671"/>
                    <a:gd name="connsiteX55" fmla="*/ 149077 w 180819"/>
                    <a:gd name="connsiteY55" fmla="*/ 120483 h 202671"/>
                    <a:gd name="connsiteX56" fmla="*/ 141166 w 180819"/>
                    <a:gd name="connsiteY56" fmla="*/ 127576 h 202671"/>
                    <a:gd name="connsiteX57" fmla="*/ 138906 w 180819"/>
                    <a:gd name="connsiteY57" fmla="*/ 127576 h 202671"/>
                    <a:gd name="connsiteX58" fmla="*/ 136646 w 180819"/>
                    <a:gd name="connsiteY58" fmla="*/ 117443 h 202671"/>
                    <a:gd name="connsiteX59" fmla="*/ 123084 w 180819"/>
                    <a:gd name="connsiteY59" fmla="*/ 127576 h 202671"/>
                    <a:gd name="connsiteX60" fmla="*/ 111783 w 180819"/>
                    <a:gd name="connsiteY60" fmla="*/ 127576 h 202671"/>
                    <a:gd name="connsiteX61" fmla="*/ 111783 w 180819"/>
                    <a:gd name="connsiteY61" fmla="*/ 134670 h 202671"/>
                    <a:gd name="connsiteX62" fmla="*/ 123084 w 180819"/>
                    <a:gd name="connsiteY62" fmla="*/ 139737 h 202671"/>
                    <a:gd name="connsiteX63" fmla="*/ 123084 w 180819"/>
                    <a:gd name="connsiteY63" fmla="*/ 156964 h 202671"/>
                    <a:gd name="connsiteX64" fmla="*/ 136646 w 180819"/>
                    <a:gd name="connsiteY64" fmla="*/ 154937 h 202671"/>
                    <a:gd name="connsiteX65" fmla="*/ 142296 w 180819"/>
                    <a:gd name="connsiteY65" fmla="*/ 152910 h 202671"/>
                    <a:gd name="connsiteX66" fmla="*/ 144557 w 180819"/>
                    <a:gd name="connsiteY66" fmla="*/ 165070 h 202671"/>
                    <a:gd name="connsiteX67" fmla="*/ 152468 w 180819"/>
                    <a:gd name="connsiteY67" fmla="*/ 165070 h 202671"/>
                    <a:gd name="connsiteX68" fmla="*/ 154728 w 180819"/>
                    <a:gd name="connsiteY68" fmla="*/ 154937 h 202671"/>
                    <a:gd name="connsiteX69" fmla="*/ 170549 w 180819"/>
                    <a:gd name="connsiteY69" fmla="*/ 147843 h 202671"/>
                    <a:gd name="connsiteX70" fmla="*/ 170549 w 180819"/>
                    <a:gd name="connsiteY70" fmla="*/ 140750 h 202671"/>
                    <a:gd name="connsiteX71" fmla="*/ 159248 w 180819"/>
                    <a:gd name="connsiteY71" fmla="*/ 135683 h 202671"/>
                    <a:gd name="connsiteX72" fmla="*/ 167159 w 180819"/>
                    <a:gd name="connsiteY72" fmla="*/ 128590 h 202671"/>
                    <a:gd name="connsiteX73" fmla="*/ 164899 w 180819"/>
                    <a:gd name="connsiteY73" fmla="*/ 102242 h 202671"/>
                    <a:gd name="connsiteX74" fmla="*/ 154728 w 180819"/>
                    <a:gd name="connsiteY74" fmla="*/ 101229 h 202671"/>
                    <a:gd name="connsiteX75" fmla="*/ 42846 w 180819"/>
                    <a:gd name="connsiteY75" fmla="*/ 56641 h 202671"/>
                    <a:gd name="connsiteX76" fmla="*/ 42846 w 180819"/>
                    <a:gd name="connsiteY76" fmla="*/ 68802 h 202671"/>
                    <a:gd name="connsiteX77" fmla="*/ 42846 w 180819"/>
                    <a:gd name="connsiteY77" fmla="*/ 56641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80819" h="202671">
                      <a:moveTo>
                        <a:pt x="71099" y="163044"/>
                      </a:moveTo>
                      <a:cubicBezTo>
                        <a:pt x="72229" y="154937"/>
                        <a:pt x="74489" y="140750"/>
                        <a:pt x="75620" y="139737"/>
                      </a:cubicBezTo>
                      <a:cubicBezTo>
                        <a:pt x="80140" y="144803"/>
                        <a:pt x="84660" y="147843"/>
                        <a:pt x="89180" y="151897"/>
                      </a:cubicBezTo>
                      <a:cubicBezTo>
                        <a:pt x="91441" y="153923"/>
                        <a:pt x="90311" y="155950"/>
                        <a:pt x="91441" y="158990"/>
                      </a:cubicBezTo>
                      <a:lnTo>
                        <a:pt x="97091" y="158990"/>
                      </a:lnTo>
                      <a:cubicBezTo>
                        <a:pt x="92571" y="162030"/>
                        <a:pt x="105002" y="161017"/>
                        <a:pt x="105002" y="161017"/>
                      </a:cubicBezTo>
                      <a:cubicBezTo>
                        <a:pt x="105002" y="156964"/>
                        <a:pt x="105002" y="138723"/>
                        <a:pt x="105002" y="138723"/>
                      </a:cubicBezTo>
                      <a:cubicBezTo>
                        <a:pt x="98222" y="137710"/>
                        <a:pt x="84660" y="137710"/>
                        <a:pt x="77879" y="138723"/>
                      </a:cubicBezTo>
                      <a:cubicBezTo>
                        <a:pt x="84660" y="122510"/>
                        <a:pt x="90311" y="116429"/>
                        <a:pt x="93701" y="95149"/>
                      </a:cubicBezTo>
                      <a:cubicBezTo>
                        <a:pt x="109523" y="103256"/>
                        <a:pt x="105002" y="106296"/>
                        <a:pt x="115174" y="90082"/>
                      </a:cubicBezTo>
                      <a:lnTo>
                        <a:pt x="112913" y="85015"/>
                      </a:lnTo>
                      <a:cubicBezTo>
                        <a:pt x="109523" y="84002"/>
                        <a:pt x="102742" y="85015"/>
                        <a:pt x="99352" y="85015"/>
                      </a:cubicBezTo>
                      <a:cubicBezTo>
                        <a:pt x="97091" y="75895"/>
                        <a:pt x="93701" y="65761"/>
                        <a:pt x="93701" y="50561"/>
                      </a:cubicBezTo>
                      <a:cubicBezTo>
                        <a:pt x="83530" y="49548"/>
                        <a:pt x="82400" y="48534"/>
                        <a:pt x="77879" y="48534"/>
                      </a:cubicBezTo>
                      <a:cubicBezTo>
                        <a:pt x="81270" y="47521"/>
                        <a:pt x="88051" y="47521"/>
                        <a:pt x="93701" y="46508"/>
                      </a:cubicBezTo>
                      <a:cubicBezTo>
                        <a:pt x="95962" y="45494"/>
                        <a:pt x="97091" y="39414"/>
                        <a:pt x="99352" y="39414"/>
                      </a:cubicBezTo>
                      <a:cubicBezTo>
                        <a:pt x="99352" y="39414"/>
                        <a:pt x="103873" y="37387"/>
                        <a:pt x="105002" y="37387"/>
                      </a:cubicBezTo>
                      <a:cubicBezTo>
                        <a:pt x="105002" y="33334"/>
                        <a:pt x="102742" y="22187"/>
                        <a:pt x="102742" y="23201"/>
                      </a:cubicBezTo>
                      <a:cubicBezTo>
                        <a:pt x="102742" y="22187"/>
                        <a:pt x="105002" y="13067"/>
                        <a:pt x="105002" y="16107"/>
                      </a:cubicBezTo>
                      <a:cubicBezTo>
                        <a:pt x="105002" y="15094"/>
                        <a:pt x="103873" y="9013"/>
                        <a:pt x="105002" y="9013"/>
                      </a:cubicBezTo>
                      <a:cubicBezTo>
                        <a:pt x="99352" y="11040"/>
                        <a:pt x="83530" y="17120"/>
                        <a:pt x="77879" y="21174"/>
                      </a:cubicBezTo>
                      <a:cubicBezTo>
                        <a:pt x="72229" y="26241"/>
                        <a:pt x="74489" y="37387"/>
                        <a:pt x="66578" y="40428"/>
                      </a:cubicBezTo>
                      <a:cubicBezTo>
                        <a:pt x="46236" y="49548"/>
                        <a:pt x="47367" y="34347"/>
                        <a:pt x="28154" y="50561"/>
                      </a:cubicBezTo>
                      <a:cubicBezTo>
                        <a:pt x="24764" y="52588"/>
                        <a:pt x="15723" y="64748"/>
                        <a:pt x="14593" y="64748"/>
                      </a:cubicBezTo>
                      <a:cubicBezTo>
                        <a:pt x="12332" y="65761"/>
                        <a:pt x="17983" y="67788"/>
                        <a:pt x="16853" y="69815"/>
                      </a:cubicBezTo>
                      <a:cubicBezTo>
                        <a:pt x="19114" y="69815"/>
                        <a:pt x="23634" y="68802"/>
                        <a:pt x="24764" y="69815"/>
                      </a:cubicBezTo>
                      <a:cubicBezTo>
                        <a:pt x="27024" y="65761"/>
                        <a:pt x="24764" y="63735"/>
                        <a:pt x="27024" y="59681"/>
                      </a:cubicBezTo>
                      <a:cubicBezTo>
                        <a:pt x="33805" y="50561"/>
                        <a:pt x="47367" y="51575"/>
                        <a:pt x="62058" y="52588"/>
                      </a:cubicBezTo>
                      <a:cubicBezTo>
                        <a:pt x="63188" y="60695"/>
                        <a:pt x="62058" y="66775"/>
                        <a:pt x="64318" y="76908"/>
                      </a:cubicBezTo>
                      <a:cubicBezTo>
                        <a:pt x="42846" y="61708"/>
                        <a:pt x="51887" y="66775"/>
                        <a:pt x="37195" y="84002"/>
                      </a:cubicBezTo>
                      <a:cubicBezTo>
                        <a:pt x="27024" y="81975"/>
                        <a:pt x="16853" y="81975"/>
                        <a:pt x="10072" y="81975"/>
                      </a:cubicBezTo>
                      <a:cubicBezTo>
                        <a:pt x="10072" y="104269"/>
                        <a:pt x="8942" y="106296"/>
                        <a:pt x="23634" y="116429"/>
                      </a:cubicBezTo>
                      <a:lnTo>
                        <a:pt x="23634" y="121496"/>
                      </a:lnTo>
                      <a:lnTo>
                        <a:pt x="15723" y="123523"/>
                      </a:lnTo>
                      <a:cubicBezTo>
                        <a:pt x="7812" y="141763"/>
                        <a:pt x="25894" y="149870"/>
                        <a:pt x="34935" y="154937"/>
                      </a:cubicBezTo>
                      <a:cubicBezTo>
                        <a:pt x="34935" y="155950"/>
                        <a:pt x="33805" y="158990"/>
                        <a:pt x="32674" y="162030"/>
                      </a:cubicBezTo>
                      <a:lnTo>
                        <a:pt x="71099" y="163044"/>
                      </a:lnTo>
                      <a:close/>
                      <a:moveTo>
                        <a:pt x="168289" y="166084"/>
                      </a:moveTo>
                      <a:cubicBezTo>
                        <a:pt x="160379" y="167097"/>
                        <a:pt x="149077" y="175204"/>
                        <a:pt x="143427" y="176217"/>
                      </a:cubicBezTo>
                      <a:cubicBezTo>
                        <a:pt x="142296" y="176217"/>
                        <a:pt x="132126" y="174191"/>
                        <a:pt x="135516" y="174191"/>
                      </a:cubicBezTo>
                      <a:cubicBezTo>
                        <a:pt x="135516" y="174191"/>
                        <a:pt x="135516" y="175204"/>
                        <a:pt x="128735" y="172164"/>
                      </a:cubicBezTo>
                      <a:cubicBezTo>
                        <a:pt x="119694" y="168111"/>
                        <a:pt x="125344" y="171151"/>
                        <a:pt x="121954" y="172164"/>
                      </a:cubicBezTo>
                      <a:cubicBezTo>
                        <a:pt x="123084" y="177231"/>
                        <a:pt x="126475" y="177231"/>
                        <a:pt x="121954" y="179257"/>
                      </a:cubicBezTo>
                      <a:cubicBezTo>
                        <a:pt x="123084" y="183311"/>
                        <a:pt x="124215" y="186351"/>
                        <a:pt x="124215" y="189391"/>
                      </a:cubicBezTo>
                      <a:cubicBezTo>
                        <a:pt x="127605" y="189391"/>
                        <a:pt x="128735" y="193444"/>
                        <a:pt x="129865" y="194458"/>
                      </a:cubicBezTo>
                      <a:lnTo>
                        <a:pt x="135516" y="194458"/>
                      </a:lnTo>
                      <a:lnTo>
                        <a:pt x="141166" y="189391"/>
                      </a:lnTo>
                      <a:cubicBezTo>
                        <a:pt x="145686" y="188378"/>
                        <a:pt x="151337" y="192431"/>
                        <a:pt x="152468" y="191418"/>
                      </a:cubicBezTo>
                      <a:cubicBezTo>
                        <a:pt x="152468" y="191418"/>
                        <a:pt x="156988" y="182298"/>
                        <a:pt x="158118" y="181284"/>
                      </a:cubicBezTo>
                      <a:cubicBezTo>
                        <a:pt x="158118" y="180271"/>
                        <a:pt x="190891" y="165070"/>
                        <a:pt x="168289" y="166084"/>
                      </a:cubicBezTo>
                      <a:close/>
                      <a:moveTo>
                        <a:pt x="110653" y="164057"/>
                      </a:moveTo>
                      <a:cubicBezTo>
                        <a:pt x="108393" y="166084"/>
                        <a:pt x="97091" y="194458"/>
                        <a:pt x="108393" y="186351"/>
                      </a:cubicBezTo>
                      <a:cubicBezTo>
                        <a:pt x="108393" y="185338"/>
                        <a:pt x="119694" y="157977"/>
                        <a:pt x="110653" y="164057"/>
                      </a:cubicBezTo>
                      <a:close/>
                      <a:moveTo>
                        <a:pt x="154728" y="101229"/>
                      </a:moveTo>
                      <a:cubicBezTo>
                        <a:pt x="152468" y="103256"/>
                        <a:pt x="146817" y="105282"/>
                        <a:pt x="143427" y="106296"/>
                      </a:cubicBezTo>
                      <a:lnTo>
                        <a:pt x="149077" y="120483"/>
                      </a:lnTo>
                      <a:cubicBezTo>
                        <a:pt x="145686" y="122510"/>
                        <a:pt x="145686" y="127576"/>
                        <a:pt x="141166" y="127576"/>
                      </a:cubicBezTo>
                      <a:lnTo>
                        <a:pt x="138906" y="127576"/>
                      </a:lnTo>
                      <a:cubicBezTo>
                        <a:pt x="138906" y="126563"/>
                        <a:pt x="136646" y="117443"/>
                        <a:pt x="136646" y="117443"/>
                      </a:cubicBezTo>
                      <a:cubicBezTo>
                        <a:pt x="120824" y="116429"/>
                        <a:pt x="127605" y="123523"/>
                        <a:pt x="123084" y="127576"/>
                      </a:cubicBezTo>
                      <a:cubicBezTo>
                        <a:pt x="121954" y="128590"/>
                        <a:pt x="114043" y="127576"/>
                        <a:pt x="111783" y="127576"/>
                      </a:cubicBezTo>
                      <a:cubicBezTo>
                        <a:pt x="114043" y="129603"/>
                        <a:pt x="110653" y="132643"/>
                        <a:pt x="111783" y="134670"/>
                      </a:cubicBezTo>
                      <a:cubicBezTo>
                        <a:pt x="112913" y="137710"/>
                        <a:pt x="118564" y="137710"/>
                        <a:pt x="123084" y="139737"/>
                      </a:cubicBezTo>
                      <a:cubicBezTo>
                        <a:pt x="123084" y="144803"/>
                        <a:pt x="121954" y="151897"/>
                        <a:pt x="123084" y="156964"/>
                      </a:cubicBezTo>
                      <a:cubicBezTo>
                        <a:pt x="128735" y="154937"/>
                        <a:pt x="133255" y="154937"/>
                        <a:pt x="136646" y="154937"/>
                      </a:cubicBezTo>
                      <a:cubicBezTo>
                        <a:pt x="133255" y="151897"/>
                        <a:pt x="141166" y="152910"/>
                        <a:pt x="142296" y="152910"/>
                      </a:cubicBezTo>
                      <a:lnTo>
                        <a:pt x="144557" y="165070"/>
                      </a:lnTo>
                      <a:cubicBezTo>
                        <a:pt x="145686" y="166084"/>
                        <a:pt x="152468" y="164057"/>
                        <a:pt x="152468" y="165070"/>
                      </a:cubicBezTo>
                      <a:cubicBezTo>
                        <a:pt x="153597" y="163044"/>
                        <a:pt x="153597" y="157977"/>
                        <a:pt x="154728" y="154937"/>
                      </a:cubicBezTo>
                      <a:cubicBezTo>
                        <a:pt x="156988" y="151897"/>
                        <a:pt x="169419" y="150883"/>
                        <a:pt x="170549" y="147843"/>
                      </a:cubicBezTo>
                      <a:cubicBezTo>
                        <a:pt x="171680" y="145817"/>
                        <a:pt x="169419" y="141763"/>
                        <a:pt x="170549" y="140750"/>
                      </a:cubicBezTo>
                      <a:cubicBezTo>
                        <a:pt x="167159" y="138723"/>
                        <a:pt x="163769" y="137710"/>
                        <a:pt x="159248" y="135683"/>
                      </a:cubicBezTo>
                      <a:cubicBezTo>
                        <a:pt x="160379" y="132643"/>
                        <a:pt x="167159" y="129603"/>
                        <a:pt x="167159" y="128590"/>
                      </a:cubicBezTo>
                      <a:cubicBezTo>
                        <a:pt x="170549" y="119469"/>
                        <a:pt x="164899" y="107309"/>
                        <a:pt x="164899" y="102242"/>
                      </a:cubicBezTo>
                      <a:cubicBezTo>
                        <a:pt x="162638" y="101229"/>
                        <a:pt x="155858" y="102242"/>
                        <a:pt x="154728" y="101229"/>
                      </a:cubicBezTo>
                      <a:close/>
                      <a:moveTo>
                        <a:pt x="42846" y="56641"/>
                      </a:moveTo>
                      <a:cubicBezTo>
                        <a:pt x="38325" y="57655"/>
                        <a:pt x="29284" y="73868"/>
                        <a:pt x="42846" y="68802"/>
                      </a:cubicBezTo>
                      <a:cubicBezTo>
                        <a:pt x="47367" y="67788"/>
                        <a:pt x="50757" y="54614"/>
                        <a:pt x="42846" y="5664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7" name="Freeform: Shape 416">
                  <a:extLst>
                    <a:ext uri="{FF2B5EF4-FFF2-40B4-BE49-F238E27FC236}">
                      <a16:creationId xmlns:a16="http://schemas.microsoft.com/office/drawing/2014/main" id="{8352F1E9-CB18-42D8-B65A-593EE37F3DFC}"/>
                    </a:ext>
                  </a:extLst>
                </p:cNvPr>
                <p:cNvSpPr/>
                <p:nvPr/>
              </p:nvSpPr>
              <p:spPr>
                <a:xfrm>
                  <a:off x="6315243" y="2121454"/>
                  <a:ext cx="226024" cy="131736"/>
                </a:xfrm>
                <a:custGeom>
                  <a:avLst/>
                  <a:gdLst>
                    <a:gd name="connsiteX0" fmla="*/ 178026 w 226023"/>
                    <a:gd name="connsiteY0" fmla="*/ 120483 h 131736"/>
                    <a:gd name="connsiteX1" fmla="*/ 193848 w 226023"/>
                    <a:gd name="connsiteY1" fmla="*/ 105282 h 131736"/>
                    <a:gd name="connsiteX2" fmla="*/ 204018 w 226023"/>
                    <a:gd name="connsiteY2" fmla="*/ 91095 h 131736"/>
                    <a:gd name="connsiteX3" fmla="*/ 222101 w 226023"/>
                    <a:gd name="connsiteY3" fmla="*/ 82989 h 131736"/>
                    <a:gd name="connsiteX4" fmla="*/ 209669 w 226023"/>
                    <a:gd name="connsiteY4" fmla="*/ 64748 h 131736"/>
                    <a:gd name="connsiteX5" fmla="*/ 189327 w 226023"/>
                    <a:gd name="connsiteY5" fmla="*/ 49548 h 131736"/>
                    <a:gd name="connsiteX6" fmla="*/ 166725 w 226023"/>
                    <a:gd name="connsiteY6" fmla="*/ 46508 h 131736"/>
                    <a:gd name="connsiteX7" fmla="*/ 142992 w 226023"/>
                    <a:gd name="connsiteY7" fmla="*/ 32321 h 131736"/>
                    <a:gd name="connsiteX8" fmla="*/ 126041 w 226023"/>
                    <a:gd name="connsiteY8" fmla="*/ 24214 h 131736"/>
                    <a:gd name="connsiteX9" fmla="*/ 107958 w 226023"/>
                    <a:gd name="connsiteY9" fmla="*/ 20160 h 131736"/>
                    <a:gd name="connsiteX10" fmla="*/ 96657 w 226023"/>
                    <a:gd name="connsiteY10" fmla="*/ 15094 h 131736"/>
                    <a:gd name="connsiteX11" fmla="*/ 81966 w 226023"/>
                    <a:gd name="connsiteY11" fmla="*/ 9013 h 131736"/>
                    <a:gd name="connsiteX12" fmla="*/ 58233 w 226023"/>
                    <a:gd name="connsiteY12" fmla="*/ 22187 h 131736"/>
                    <a:gd name="connsiteX13" fmla="*/ 36761 w 226023"/>
                    <a:gd name="connsiteY13" fmla="*/ 36374 h 131736"/>
                    <a:gd name="connsiteX14" fmla="*/ 16419 w 226023"/>
                    <a:gd name="connsiteY14" fmla="*/ 44481 h 131736"/>
                    <a:gd name="connsiteX15" fmla="*/ 13029 w 226023"/>
                    <a:gd name="connsiteY15" fmla="*/ 55628 h 131736"/>
                    <a:gd name="connsiteX16" fmla="*/ 26589 w 226023"/>
                    <a:gd name="connsiteY16" fmla="*/ 74882 h 131736"/>
                    <a:gd name="connsiteX17" fmla="*/ 34500 w 226023"/>
                    <a:gd name="connsiteY17" fmla="*/ 96162 h 131736"/>
                    <a:gd name="connsiteX18" fmla="*/ 52583 w 226023"/>
                    <a:gd name="connsiteY18" fmla="*/ 107309 h 131736"/>
                    <a:gd name="connsiteX19" fmla="*/ 63884 w 226023"/>
                    <a:gd name="connsiteY19" fmla="*/ 117443 h 131736"/>
                    <a:gd name="connsiteX20" fmla="*/ 92137 w 226023"/>
                    <a:gd name="connsiteY20" fmla="*/ 125549 h 131736"/>
                    <a:gd name="connsiteX21" fmla="*/ 104568 w 226023"/>
                    <a:gd name="connsiteY21" fmla="*/ 109336 h 131736"/>
                    <a:gd name="connsiteX22" fmla="*/ 126041 w 226023"/>
                    <a:gd name="connsiteY22" fmla="*/ 112376 h 131736"/>
                    <a:gd name="connsiteX23" fmla="*/ 152033 w 226023"/>
                    <a:gd name="connsiteY23" fmla="*/ 121496 h 131736"/>
                    <a:gd name="connsiteX24" fmla="*/ 178026 w 226023"/>
                    <a:gd name="connsiteY24" fmla="*/ 120483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6023" h="131736">
                      <a:moveTo>
                        <a:pt x="178026" y="120483"/>
                      </a:moveTo>
                      <a:cubicBezTo>
                        <a:pt x="178026" y="120483"/>
                        <a:pt x="184806" y="105282"/>
                        <a:pt x="193848" y="105282"/>
                      </a:cubicBezTo>
                      <a:cubicBezTo>
                        <a:pt x="202889" y="105282"/>
                        <a:pt x="197238" y="92109"/>
                        <a:pt x="204018" y="91095"/>
                      </a:cubicBezTo>
                      <a:cubicBezTo>
                        <a:pt x="210799" y="90082"/>
                        <a:pt x="222101" y="82989"/>
                        <a:pt x="222101" y="82989"/>
                      </a:cubicBezTo>
                      <a:cubicBezTo>
                        <a:pt x="222101" y="82989"/>
                        <a:pt x="215320" y="61708"/>
                        <a:pt x="209669" y="64748"/>
                      </a:cubicBezTo>
                      <a:cubicBezTo>
                        <a:pt x="204018" y="67788"/>
                        <a:pt x="198368" y="45494"/>
                        <a:pt x="189327" y="49548"/>
                      </a:cubicBezTo>
                      <a:cubicBezTo>
                        <a:pt x="180286" y="53601"/>
                        <a:pt x="178026" y="53601"/>
                        <a:pt x="166725" y="46508"/>
                      </a:cubicBezTo>
                      <a:cubicBezTo>
                        <a:pt x="155423" y="39414"/>
                        <a:pt x="150903" y="28267"/>
                        <a:pt x="142992" y="32321"/>
                      </a:cubicBezTo>
                      <a:cubicBezTo>
                        <a:pt x="135081" y="36374"/>
                        <a:pt x="133951" y="24214"/>
                        <a:pt x="126041" y="24214"/>
                      </a:cubicBezTo>
                      <a:cubicBezTo>
                        <a:pt x="116999" y="24214"/>
                        <a:pt x="107958" y="20160"/>
                        <a:pt x="107958" y="20160"/>
                      </a:cubicBezTo>
                      <a:lnTo>
                        <a:pt x="96657" y="15094"/>
                      </a:lnTo>
                      <a:lnTo>
                        <a:pt x="81966" y="9013"/>
                      </a:lnTo>
                      <a:cubicBezTo>
                        <a:pt x="81966" y="9013"/>
                        <a:pt x="70664" y="15094"/>
                        <a:pt x="58233" y="22187"/>
                      </a:cubicBezTo>
                      <a:cubicBezTo>
                        <a:pt x="45802" y="29281"/>
                        <a:pt x="41282" y="28267"/>
                        <a:pt x="36761" y="36374"/>
                      </a:cubicBezTo>
                      <a:cubicBezTo>
                        <a:pt x="32240" y="44481"/>
                        <a:pt x="25460" y="42454"/>
                        <a:pt x="16419" y="44481"/>
                      </a:cubicBezTo>
                      <a:cubicBezTo>
                        <a:pt x="7378" y="46508"/>
                        <a:pt x="9638" y="46508"/>
                        <a:pt x="13029" y="55628"/>
                      </a:cubicBezTo>
                      <a:cubicBezTo>
                        <a:pt x="18679" y="67788"/>
                        <a:pt x="18679" y="66775"/>
                        <a:pt x="26589" y="74882"/>
                      </a:cubicBezTo>
                      <a:cubicBezTo>
                        <a:pt x="34500" y="82989"/>
                        <a:pt x="34500" y="85015"/>
                        <a:pt x="34500" y="96162"/>
                      </a:cubicBezTo>
                      <a:cubicBezTo>
                        <a:pt x="34500" y="107309"/>
                        <a:pt x="43541" y="99202"/>
                        <a:pt x="52583" y="107309"/>
                      </a:cubicBezTo>
                      <a:cubicBezTo>
                        <a:pt x="63884" y="117443"/>
                        <a:pt x="63884" y="117443"/>
                        <a:pt x="63884" y="117443"/>
                      </a:cubicBezTo>
                      <a:cubicBezTo>
                        <a:pt x="63884" y="117443"/>
                        <a:pt x="86486" y="137710"/>
                        <a:pt x="92137" y="125549"/>
                      </a:cubicBezTo>
                      <a:cubicBezTo>
                        <a:pt x="97788" y="112376"/>
                        <a:pt x="104568" y="109336"/>
                        <a:pt x="104568" y="109336"/>
                      </a:cubicBezTo>
                      <a:cubicBezTo>
                        <a:pt x="104568" y="109336"/>
                        <a:pt x="116999" y="104269"/>
                        <a:pt x="126041" y="112376"/>
                      </a:cubicBezTo>
                      <a:cubicBezTo>
                        <a:pt x="135081" y="120483"/>
                        <a:pt x="141862" y="122509"/>
                        <a:pt x="152033" y="121496"/>
                      </a:cubicBezTo>
                      <a:cubicBezTo>
                        <a:pt x="162204" y="120483"/>
                        <a:pt x="178026" y="120483"/>
                        <a:pt x="178026" y="12048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8" name="Freeform: Shape 417">
                  <a:extLst>
                    <a:ext uri="{FF2B5EF4-FFF2-40B4-BE49-F238E27FC236}">
                      <a16:creationId xmlns:a16="http://schemas.microsoft.com/office/drawing/2014/main" id="{66B864CD-210A-4F88-B1C7-124ED5D7F568}"/>
                    </a:ext>
                  </a:extLst>
                </p:cNvPr>
                <p:cNvSpPr/>
                <p:nvPr/>
              </p:nvSpPr>
              <p:spPr>
                <a:xfrm>
                  <a:off x="7029064" y="2831201"/>
                  <a:ext cx="101711" cy="60801"/>
                </a:xfrm>
                <a:custGeom>
                  <a:avLst/>
                  <a:gdLst>
                    <a:gd name="connsiteX0" fmla="*/ 74469 w 101710"/>
                    <a:gd name="connsiteY0" fmla="*/ 35977 h 60801"/>
                    <a:gd name="connsiteX1" fmla="*/ 74469 w 101710"/>
                    <a:gd name="connsiteY1" fmla="*/ 23817 h 60801"/>
                    <a:gd name="connsiteX2" fmla="*/ 80120 w 101710"/>
                    <a:gd name="connsiteY2" fmla="*/ 23817 h 60801"/>
                    <a:gd name="connsiteX3" fmla="*/ 91421 w 101710"/>
                    <a:gd name="connsiteY3" fmla="*/ 9630 h 60801"/>
                    <a:gd name="connsiteX4" fmla="*/ 66558 w 101710"/>
                    <a:gd name="connsiteY4" fmla="*/ 23817 h 60801"/>
                    <a:gd name="connsiteX5" fmla="*/ 37175 w 101710"/>
                    <a:gd name="connsiteY5" fmla="*/ 23817 h 60801"/>
                    <a:gd name="connsiteX6" fmla="*/ 39436 w 101710"/>
                    <a:gd name="connsiteY6" fmla="*/ 30910 h 60801"/>
                    <a:gd name="connsiteX7" fmla="*/ 28134 w 101710"/>
                    <a:gd name="connsiteY7" fmla="*/ 32937 h 60801"/>
                    <a:gd name="connsiteX8" fmla="*/ 46216 w 101710"/>
                    <a:gd name="connsiteY8" fmla="*/ 38004 h 60801"/>
                    <a:gd name="connsiteX9" fmla="*/ 55257 w 101710"/>
                    <a:gd name="connsiteY9" fmla="*/ 31923 h 60801"/>
                    <a:gd name="connsiteX10" fmla="*/ 65428 w 101710"/>
                    <a:gd name="connsiteY10" fmla="*/ 31923 h 60801"/>
                    <a:gd name="connsiteX11" fmla="*/ 74469 w 101710"/>
                    <a:gd name="connsiteY11" fmla="*/ 35977 h 60801"/>
                    <a:gd name="connsiteX12" fmla="*/ 74469 w 101710"/>
                    <a:gd name="connsiteY12" fmla="*/ 35977 h 60801"/>
                    <a:gd name="connsiteX13" fmla="*/ 74469 w 101710"/>
                    <a:gd name="connsiteY13" fmla="*/ 38004 h 60801"/>
                    <a:gd name="connsiteX14" fmla="*/ 58647 w 101710"/>
                    <a:gd name="connsiteY14" fmla="*/ 45097 h 60801"/>
                    <a:gd name="connsiteX15" fmla="*/ 15703 w 101710"/>
                    <a:gd name="connsiteY15" fmla="*/ 47124 h 60801"/>
                    <a:gd name="connsiteX16" fmla="*/ 10052 w 101710"/>
                    <a:gd name="connsiteY16" fmla="*/ 36990 h 60801"/>
                    <a:gd name="connsiteX17" fmla="*/ 28134 w 101710"/>
                    <a:gd name="connsiteY17" fmla="*/ 31923 h 60801"/>
                    <a:gd name="connsiteX18" fmla="*/ 46216 w 101710"/>
                    <a:gd name="connsiteY18" fmla="*/ 36990 h 60801"/>
                    <a:gd name="connsiteX19" fmla="*/ 55257 w 101710"/>
                    <a:gd name="connsiteY19" fmla="*/ 30910 h 60801"/>
                    <a:gd name="connsiteX20" fmla="*/ 65428 w 101710"/>
                    <a:gd name="connsiteY20" fmla="*/ 30910 h 60801"/>
                    <a:gd name="connsiteX21" fmla="*/ 74469 w 101710"/>
                    <a:gd name="connsiteY21" fmla="*/ 35977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710" h="60801">
                      <a:moveTo>
                        <a:pt x="74469" y="35977"/>
                      </a:moveTo>
                      <a:cubicBezTo>
                        <a:pt x="74469" y="31923"/>
                        <a:pt x="74469" y="23817"/>
                        <a:pt x="74469" y="23817"/>
                      </a:cubicBezTo>
                      <a:lnTo>
                        <a:pt x="80120" y="23817"/>
                      </a:lnTo>
                      <a:cubicBezTo>
                        <a:pt x="81249" y="22803"/>
                        <a:pt x="102722" y="5576"/>
                        <a:pt x="91421" y="9630"/>
                      </a:cubicBezTo>
                      <a:cubicBezTo>
                        <a:pt x="83510" y="12670"/>
                        <a:pt x="75599" y="21790"/>
                        <a:pt x="66558" y="23817"/>
                      </a:cubicBezTo>
                      <a:cubicBezTo>
                        <a:pt x="54127" y="27870"/>
                        <a:pt x="47346" y="21790"/>
                        <a:pt x="37175" y="23817"/>
                      </a:cubicBezTo>
                      <a:cubicBezTo>
                        <a:pt x="37175" y="23817"/>
                        <a:pt x="39436" y="28884"/>
                        <a:pt x="39436" y="30910"/>
                      </a:cubicBezTo>
                      <a:cubicBezTo>
                        <a:pt x="34915" y="31923"/>
                        <a:pt x="31525" y="31923"/>
                        <a:pt x="28134" y="32937"/>
                      </a:cubicBezTo>
                      <a:cubicBezTo>
                        <a:pt x="33785" y="33950"/>
                        <a:pt x="39436" y="39017"/>
                        <a:pt x="46216" y="38004"/>
                      </a:cubicBezTo>
                      <a:cubicBezTo>
                        <a:pt x="50737" y="36990"/>
                        <a:pt x="50737" y="32937"/>
                        <a:pt x="55257" y="31923"/>
                      </a:cubicBezTo>
                      <a:cubicBezTo>
                        <a:pt x="58647" y="30910"/>
                        <a:pt x="60907" y="30910"/>
                        <a:pt x="65428" y="31923"/>
                      </a:cubicBezTo>
                      <a:cubicBezTo>
                        <a:pt x="68818" y="31923"/>
                        <a:pt x="69948" y="33950"/>
                        <a:pt x="74469" y="35977"/>
                      </a:cubicBezTo>
                      <a:close/>
                      <a:moveTo>
                        <a:pt x="74469" y="35977"/>
                      </a:moveTo>
                      <a:cubicBezTo>
                        <a:pt x="74469" y="36990"/>
                        <a:pt x="74469" y="38004"/>
                        <a:pt x="74469" y="38004"/>
                      </a:cubicBezTo>
                      <a:cubicBezTo>
                        <a:pt x="71079" y="43070"/>
                        <a:pt x="64298" y="42057"/>
                        <a:pt x="58647" y="45097"/>
                      </a:cubicBezTo>
                      <a:cubicBezTo>
                        <a:pt x="42826" y="53204"/>
                        <a:pt x="34915" y="60298"/>
                        <a:pt x="15703" y="47124"/>
                      </a:cubicBezTo>
                      <a:cubicBezTo>
                        <a:pt x="13442" y="45097"/>
                        <a:pt x="12312" y="39017"/>
                        <a:pt x="10052" y="36990"/>
                      </a:cubicBezTo>
                      <a:cubicBezTo>
                        <a:pt x="17963" y="33950"/>
                        <a:pt x="21353" y="32937"/>
                        <a:pt x="28134" y="31923"/>
                      </a:cubicBezTo>
                      <a:cubicBezTo>
                        <a:pt x="33785" y="32937"/>
                        <a:pt x="39436" y="38004"/>
                        <a:pt x="46216" y="36990"/>
                      </a:cubicBezTo>
                      <a:cubicBezTo>
                        <a:pt x="50737" y="35977"/>
                        <a:pt x="50737" y="31923"/>
                        <a:pt x="55257" y="30910"/>
                      </a:cubicBezTo>
                      <a:cubicBezTo>
                        <a:pt x="58647" y="29897"/>
                        <a:pt x="60907" y="29897"/>
                        <a:pt x="65428" y="30910"/>
                      </a:cubicBezTo>
                      <a:cubicBezTo>
                        <a:pt x="68818" y="31923"/>
                        <a:pt x="69948" y="33950"/>
                        <a:pt x="74469" y="3597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9" name="Freeform: Shape 418">
                  <a:extLst>
                    <a:ext uri="{FF2B5EF4-FFF2-40B4-BE49-F238E27FC236}">
                      <a16:creationId xmlns:a16="http://schemas.microsoft.com/office/drawing/2014/main" id="{DF6972BE-46A1-4E63-9098-6DE706DD1E64}"/>
                    </a:ext>
                  </a:extLst>
                </p:cNvPr>
                <p:cNvSpPr/>
                <p:nvPr/>
              </p:nvSpPr>
              <p:spPr>
                <a:xfrm>
                  <a:off x="2917689" y="3331702"/>
                  <a:ext cx="372939" cy="152004"/>
                </a:xfrm>
                <a:custGeom>
                  <a:avLst/>
                  <a:gdLst>
                    <a:gd name="connsiteX0" fmla="*/ 66558 w 372939"/>
                    <a:gd name="connsiteY0" fmla="*/ 52288 h 152003"/>
                    <a:gd name="connsiteX1" fmla="*/ 64298 w 372939"/>
                    <a:gd name="connsiteY1" fmla="*/ 63435 h 152003"/>
                    <a:gd name="connsiteX2" fmla="*/ 58647 w 372939"/>
                    <a:gd name="connsiteY2" fmla="*/ 77622 h 152003"/>
                    <a:gd name="connsiteX3" fmla="*/ 66558 w 372939"/>
                    <a:gd name="connsiteY3" fmla="*/ 77622 h 152003"/>
                    <a:gd name="connsiteX4" fmla="*/ 82380 w 372939"/>
                    <a:gd name="connsiteY4" fmla="*/ 55328 h 152003"/>
                    <a:gd name="connsiteX5" fmla="*/ 66558 w 372939"/>
                    <a:gd name="connsiteY5" fmla="*/ 52288 h 152003"/>
                    <a:gd name="connsiteX6" fmla="*/ 66558 w 372939"/>
                    <a:gd name="connsiteY6" fmla="*/ 9727 h 152003"/>
                    <a:gd name="connsiteX7" fmla="*/ 17963 w 372939"/>
                    <a:gd name="connsiteY7" fmla="*/ 41141 h 152003"/>
                    <a:gd name="connsiteX8" fmla="*/ 17963 w 372939"/>
                    <a:gd name="connsiteY8" fmla="*/ 53301 h 152003"/>
                    <a:gd name="connsiteX9" fmla="*/ 10052 w 372939"/>
                    <a:gd name="connsiteY9" fmla="*/ 58368 h 152003"/>
                    <a:gd name="connsiteX10" fmla="*/ 37175 w 372939"/>
                    <a:gd name="connsiteY10" fmla="*/ 56342 h 152003"/>
                    <a:gd name="connsiteX11" fmla="*/ 37175 w 372939"/>
                    <a:gd name="connsiteY11" fmla="*/ 49248 h 152003"/>
                    <a:gd name="connsiteX12" fmla="*/ 48476 w 372939"/>
                    <a:gd name="connsiteY12" fmla="*/ 49248 h 152003"/>
                    <a:gd name="connsiteX13" fmla="*/ 54127 w 372939"/>
                    <a:gd name="connsiteY13" fmla="*/ 39114 h 152003"/>
                    <a:gd name="connsiteX14" fmla="*/ 89160 w 372939"/>
                    <a:gd name="connsiteY14" fmla="*/ 24927 h 152003"/>
                    <a:gd name="connsiteX15" fmla="*/ 108373 w 372939"/>
                    <a:gd name="connsiteY15" fmla="*/ 29994 h 152003"/>
                    <a:gd name="connsiteX16" fmla="*/ 108373 w 372939"/>
                    <a:gd name="connsiteY16" fmla="*/ 40128 h 152003"/>
                    <a:gd name="connsiteX17" fmla="*/ 135495 w 372939"/>
                    <a:gd name="connsiteY17" fmla="*/ 45195 h 152003"/>
                    <a:gd name="connsiteX18" fmla="*/ 143406 w 372939"/>
                    <a:gd name="connsiteY18" fmla="*/ 52288 h 152003"/>
                    <a:gd name="connsiteX19" fmla="*/ 154707 w 372939"/>
                    <a:gd name="connsiteY19" fmla="*/ 52288 h 152003"/>
                    <a:gd name="connsiteX20" fmla="*/ 160358 w 372939"/>
                    <a:gd name="connsiteY20" fmla="*/ 64448 h 152003"/>
                    <a:gd name="connsiteX21" fmla="*/ 176180 w 372939"/>
                    <a:gd name="connsiteY21" fmla="*/ 69515 h 152003"/>
                    <a:gd name="connsiteX22" fmla="*/ 184090 w 372939"/>
                    <a:gd name="connsiteY22" fmla="*/ 79649 h 152003"/>
                    <a:gd name="connsiteX23" fmla="*/ 219124 w 372939"/>
                    <a:gd name="connsiteY23" fmla="*/ 77622 h 152003"/>
                    <a:gd name="connsiteX24" fmla="*/ 219124 w 372939"/>
                    <a:gd name="connsiteY24" fmla="*/ 91809 h 152003"/>
                    <a:gd name="connsiteX25" fmla="*/ 265459 w 372939"/>
                    <a:gd name="connsiteY25" fmla="*/ 121196 h 152003"/>
                    <a:gd name="connsiteX26" fmla="*/ 265459 w 372939"/>
                    <a:gd name="connsiteY26" fmla="*/ 131330 h 152003"/>
                    <a:gd name="connsiteX27" fmla="*/ 249637 w 372939"/>
                    <a:gd name="connsiteY27" fmla="*/ 143490 h 152003"/>
                    <a:gd name="connsiteX28" fmla="*/ 251898 w 372939"/>
                    <a:gd name="connsiteY28" fmla="*/ 150584 h 152003"/>
                    <a:gd name="connsiteX29" fmla="*/ 341177 w 372939"/>
                    <a:gd name="connsiteY29" fmla="*/ 140450 h 152003"/>
                    <a:gd name="connsiteX30" fmla="*/ 349088 w 372939"/>
                    <a:gd name="connsiteY30" fmla="*/ 142477 h 152003"/>
                    <a:gd name="connsiteX31" fmla="*/ 368300 w 372939"/>
                    <a:gd name="connsiteY31" fmla="*/ 132343 h 152003"/>
                    <a:gd name="connsiteX32" fmla="*/ 366040 w 372939"/>
                    <a:gd name="connsiteY32" fmla="*/ 122210 h 152003"/>
                    <a:gd name="connsiteX33" fmla="*/ 350218 w 372939"/>
                    <a:gd name="connsiteY33" fmla="*/ 115116 h 152003"/>
                    <a:gd name="connsiteX34" fmla="*/ 320835 w 372939"/>
                    <a:gd name="connsiteY34" fmla="*/ 113090 h 152003"/>
                    <a:gd name="connsiteX35" fmla="*/ 323095 w 372939"/>
                    <a:gd name="connsiteY35" fmla="*/ 95862 h 152003"/>
                    <a:gd name="connsiteX36" fmla="*/ 280151 w 372939"/>
                    <a:gd name="connsiteY36" fmla="*/ 78635 h 152003"/>
                    <a:gd name="connsiteX37" fmla="*/ 268849 w 372939"/>
                    <a:gd name="connsiteY37" fmla="*/ 78635 h 152003"/>
                    <a:gd name="connsiteX38" fmla="*/ 260939 w 372939"/>
                    <a:gd name="connsiteY38" fmla="*/ 64448 h 152003"/>
                    <a:gd name="connsiteX39" fmla="*/ 245117 w 372939"/>
                    <a:gd name="connsiteY39" fmla="*/ 64448 h 152003"/>
                    <a:gd name="connsiteX40" fmla="*/ 245117 w 372939"/>
                    <a:gd name="connsiteY40" fmla="*/ 59382 h 152003"/>
                    <a:gd name="connsiteX41" fmla="*/ 237206 w 372939"/>
                    <a:gd name="connsiteY41" fmla="*/ 59382 h 152003"/>
                    <a:gd name="connsiteX42" fmla="*/ 229295 w 372939"/>
                    <a:gd name="connsiteY42" fmla="*/ 52288 h 152003"/>
                    <a:gd name="connsiteX43" fmla="*/ 199912 w 372939"/>
                    <a:gd name="connsiteY43" fmla="*/ 47221 h 152003"/>
                    <a:gd name="connsiteX44" fmla="*/ 184090 w 372939"/>
                    <a:gd name="connsiteY44" fmla="*/ 24927 h 152003"/>
                    <a:gd name="connsiteX45" fmla="*/ 124194 w 372939"/>
                    <a:gd name="connsiteY45" fmla="*/ 12767 h 152003"/>
                    <a:gd name="connsiteX46" fmla="*/ 112893 w 372939"/>
                    <a:gd name="connsiteY46" fmla="*/ 19861 h 152003"/>
                    <a:gd name="connsiteX47" fmla="*/ 110633 w 372939"/>
                    <a:gd name="connsiteY47" fmla="*/ 9727 h 152003"/>
                    <a:gd name="connsiteX48" fmla="*/ 66558 w 372939"/>
                    <a:gd name="connsiteY48" fmla="*/ 9727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2939" h="152003">
                      <a:moveTo>
                        <a:pt x="66558" y="52288"/>
                      </a:moveTo>
                      <a:cubicBezTo>
                        <a:pt x="66558" y="53301"/>
                        <a:pt x="64298" y="59382"/>
                        <a:pt x="64298" y="63435"/>
                      </a:cubicBezTo>
                      <a:cubicBezTo>
                        <a:pt x="71078" y="57355"/>
                        <a:pt x="80120" y="69515"/>
                        <a:pt x="58647" y="77622"/>
                      </a:cubicBezTo>
                      <a:cubicBezTo>
                        <a:pt x="51867" y="80662"/>
                        <a:pt x="72209" y="77622"/>
                        <a:pt x="66558" y="77622"/>
                      </a:cubicBezTo>
                      <a:cubicBezTo>
                        <a:pt x="85770" y="66475"/>
                        <a:pt x="76729" y="80662"/>
                        <a:pt x="82380" y="55328"/>
                      </a:cubicBezTo>
                      <a:cubicBezTo>
                        <a:pt x="74469" y="54315"/>
                        <a:pt x="72209" y="54315"/>
                        <a:pt x="66558" y="52288"/>
                      </a:cubicBezTo>
                      <a:close/>
                      <a:moveTo>
                        <a:pt x="66558" y="9727"/>
                      </a:moveTo>
                      <a:cubicBezTo>
                        <a:pt x="55257" y="11754"/>
                        <a:pt x="22483" y="33034"/>
                        <a:pt x="17963" y="41141"/>
                      </a:cubicBezTo>
                      <a:cubicBezTo>
                        <a:pt x="16833" y="43168"/>
                        <a:pt x="17963" y="55328"/>
                        <a:pt x="17963" y="53301"/>
                      </a:cubicBezTo>
                      <a:cubicBezTo>
                        <a:pt x="13442" y="55328"/>
                        <a:pt x="12312" y="56342"/>
                        <a:pt x="10052" y="58368"/>
                      </a:cubicBezTo>
                      <a:cubicBezTo>
                        <a:pt x="17963" y="57355"/>
                        <a:pt x="27004" y="60395"/>
                        <a:pt x="37175" y="56342"/>
                      </a:cubicBezTo>
                      <a:cubicBezTo>
                        <a:pt x="37175" y="56342"/>
                        <a:pt x="37175" y="49248"/>
                        <a:pt x="37175" y="49248"/>
                      </a:cubicBezTo>
                      <a:cubicBezTo>
                        <a:pt x="39435" y="48235"/>
                        <a:pt x="45086" y="50261"/>
                        <a:pt x="48476" y="49248"/>
                      </a:cubicBezTo>
                      <a:cubicBezTo>
                        <a:pt x="51867" y="48235"/>
                        <a:pt x="51867" y="42155"/>
                        <a:pt x="54127" y="39114"/>
                      </a:cubicBezTo>
                      <a:cubicBezTo>
                        <a:pt x="58647" y="33034"/>
                        <a:pt x="76729" y="23914"/>
                        <a:pt x="89160" y="24927"/>
                      </a:cubicBezTo>
                      <a:cubicBezTo>
                        <a:pt x="92551" y="24927"/>
                        <a:pt x="102722" y="28981"/>
                        <a:pt x="108373" y="29994"/>
                      </a:cubicBezTo>
                      <a:cubicBezTo>
                        <a:pt x="108373" y="31008"/>
                        <a:pt x="107242" y="39114"/>
                        <a:pt x="108373" y="40128"/>
                      </a:cubicBezTo>
                      <a:cubicBezTo>
                        <a:pt x="117413" y="45195"/>
                        <a:pt x="124194" y="41141"/>
                        <a:pt x="135495" y="45195"/>
                      </a:cubicBezTo>
                      <a:cubicBezTo>
                        <a:pt x="136626" y="45195"/>
                        <a:pt x="142276" y="52288"/>
                        <a:pt x="143406" y="52288"/>
                      </a:cubicBezTo>
                      <a:cubicBezTo>
                        <a:pt x="145666" y="53301"/>
                        <a:pt x="152447" y="51275"/>
                        <a:pt x="154707" y="52288"/>
                      </a:cubicBezTo>
                      <a:cubicBezTo>
                        <a:pt x="158098" y="54315"/>
                        <a:pt x="156968" y="61408"/>
                        <a:pt x="160358" y="64448"/>
                      </a:cubicBezTo>
                      <a:cubicBezTo>
                        <a:pt x="164879" y="68502"/>
                        <a:pt x="171659" y="66475"/>
                        <a:pt x="176180" y="69515"/>
                      </a:cubicBezTo>
                      <a:cubicBezTo>
                        <a:pt x="179570" y="71542"/>
                        <a:pt x="180700" y="78635"/>
                        <a:pt x="184090" y="79649"/>
                      </a:cubicBezTo>
                      <a:cubicBezTo>
                        <a:pt x="194261" y="82689"/>
                        <a:pt x="207823" y="78635"/>
                        <a:pt x="219124" y="77622"/>
                      </a:cubicBezTo>
                      <a:cubicBezTo>
                        <a:pt x="220254" y="82689"/>
                        <a:pt x="217994" y="87756"/>
                        <a:pt x="219124" y="91809"/>
                      </a:cubicBezTo>
                      <a:cubicBezTo>
                        <a:pt x="223645" y="105996"/>
                        <a:pt x="247377" y="117143"/>
                        <a:pt x="265459" y="121196"/>
                      </a:cubicBezTo>
                      <a:cubicBezTo>
                        <a:pt x="264329" y="123223"/>
                        <a:pt x="266589" y="128290"/>
                        <a:pt x="265459" y="131330"/>
                      </a:cubicBezTo>
                      <a:cubicBezTo>
                        <a:pt x="264329" y="136397"/>
                        <a:pt x="253028" y="140450"/>
                        <a:pt x="249637" y="143490"/>
                      </a:cubicBezTo>
                      <a:cubicBezTo>
                        <a:pt x="250767" y="145517"/>
                        <a:pt x="253028" y="149570"/>
                        <a:pt x="251898" y="150584"/>
                      </a:cubicBezTo>
                      <a:cubicBezTo>
                        <a:pt x="279020" y="146530"/>
                        <a:pt x="314054" y="140450"/>
                        <a:pt x="341177" y="140450"/>
                      </a:cubicBezTo>
                      <a:cubicBezTo>
                        <a:pt x="341177" y="140450"/>
                        <a:pt x="345698" y="143490"/>
                        <a:pt x="349088" y="142477"/>
                      </a:cubicBezTo>
                      <a:cubicBezTo>
                        <a:pt x="354738" y="141463"/>
                        <a:pt x="362649" y="135383"/>
                        <a:pt x="368300" y="132343"/>
                      </a:cubicBezTo>
                      <a:cubicBezTo>
                        <a:pt x="368300" y="131330"/>
                        <a:pt x="362649" y="125250"/>
                        <a:pt x="366040" y="122210"/>
                      </a:cubicBezTo>
                      <a:cubicBezTo>
                        <a:pt x="362649" y="121196"/>
                        <a:pt x="354738" y="115116"/>
                        <a:pt x="350218" y="115116"/>
                      </a:cubicBezTo>
                      <a:cubicBezTo>
                        <a:pt x="337787" y="113090"/>
                        <a:pt x="329876" y="120183"/>
                        <a:pt x="320835" y="113090"/>
                      </a:cubicBezTo>
                      <a:cubicBezTo>
                        <a:pt x="320835" y="113090"/>
                        <a:pt x="323095" y="98902"/>
                        <a:pt x="323095" y="95862"/>
                      </a:cubicBezTo>
                      <a:cubicBezTo>
                        <a:pt x="294842" y="94849"/>
                        <a:pt x="293712" y="97889"/>
                        <a:pt x="280151" y="78635"/>
                      </a:cubicBezTo>
                      <a:cubicBezTo>
                        <a:pt x="273370" y="78635"/>
                        <a:pt x="274500" y="82689"/>
                        <a:pt x="268849" y="78635"/>
                      </a:cubicBezTo>
                      <a:cubicBezTo>
                        <a:pt x="266589" y="76609"/>
                        <a:pt x="265459" y="66475"/>
                        <a:pt x="260939" y="64448"/>
                      </a:cubicBezTo>
                      <a:cubicBezTo>
                        <a:pt x="257548" y="62422"/>
                        <a:pt x="248507" y="65462"/>
                        <a:pt x="245117" y="64448"/>
                      </a:cubicBezTo>
                      <a:lnTo>
                        <a:pt x="245117" y="59382"/>
                      </a:lnTo>
                      <a:cubicBezTo>
                        <a:pt x="241727" y="58368"/>
                        <a:pt x="240596" y="60395"/>
                        <a:pt x="237206" y="59382"/>
                      </a:cubicBezTo>
                      <a:cubicBezTo>
                        <a:pt x="236076" y="59382"/>
                        <a:pt x="230425" y="52288"/>
                        <a:pt x="229295" y="52288"/>
                      </a:cubicBezTo>
                      <a:cubicBezTo>
                        <a:pt x="216864" y="48235"/>
                        <a:pt x="208953" y="52288"/>
                        <a:pt x="199912" y="47221"/>
                      </a:cubicBezTo>
                      <a:cubicBezTo>
                        <a:pt x="190871" y="42155"/>
                        <a:pt x="192001" y="29994"/>
                        <a:pt x="184090" y="24927"/>
                      </a:cubicBezTo>
                      <a:cubicBezTo>
                        <a:pt x="179570" y="21887"/>
                        <a:pt x="130975" y="11754"/>
                        <a:pt x="124194" y="12767"/>
                      </a:cubicBezTo>
                      <a:cubicBezTo>
                        <a:pt x="119674" y="13780"/>
                        <a:pt x="121934" y="20874"/>
                        <a:pt x="112893" y="19861"/>
                      </a:cubicBezTo>
                      <a:cubicBezTo>
                        <a:pt x="112893" y="19861"/>
                        <a:pt x="110633" y="11754"/>
                        <a:pt x="110633" y="9727"/>
                      </a:cubicBezTo>
                      <a:cubicBezTo>
                        <a:pt x="90291" y="10741"/>
                        <a:pt x="77859" y="7700"/>
                        <a:pt x="66558" y="972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1" name="Freeform: Shape 420">
                  <a:extLst>
                    <a:ext uri="{FF2B5EF4-FFF2-40B4-BE49-F238E27FC236}">
                      <a16:creationId xmlns:a16="http://schemas.microsoft.com/office/drawing/2014/main" id="{B42F31B5-9A6E-4934-86C4-74D58811251D}"/>
                    </a:ext>
                  </a:extLst>
                </p:cNvPr>
                <p:cNvSpPr/>
                <p:nvPr/>
              </p:nvSpPr>
              <p:spPr>
                <a:xfrm>
                  <a:off x="6358903" y="2331219"/>
                  <a:ext cx="237325" cy="222938"/>
                </a:xfrm>
                <a:custGeom>
                  <a:avLst/>
                  <a:gdLst>
                    <a:gd name="connsiteX0" fmla="*/ 194261 w 237325"/>
                    <a:gd name="connsiteY0" fmla="*/ 215738 h 222938"/>
                    <a:gd name="connsiteX1" fmla="*/ 182960 w 237325"/>
                    <a:gd name="connsiteY1" fmla="*/ 203578 h 222938"/>
                    <a:gd name="connsiteX2" fmla="*/ 176180 w 237325"/>
                    <a:gd name="connsiteY2" fmla="*/ 194458 h 222938"/>
                    <a:gd name="connsiteX3" fmla="*/ 160358 w 237325"/>
                    <a:gd name="connsiteY3" fmla="*/ 185338 h 222938"/>
                    <a:gd name="connsiteX4" fmla="*/ 147927 w 237325"/>
                    <a:gd name="connsiteY4" fmla="*/ 173177 h 222938"/>
                    <a:gd name="connsiteX5" fmla="*/ 114023 w 237325"/>
                    <a:gd name="connsiteY5" fmla="*/ 139737 h 222938"/>
                    <a:gd name="connsiteX6" fmla="*/ 115153 w 237325"/>
                    <a:gd name="connsiteY6" fmla="*/ 129603 h 222938"/>
                    <a:gd name="connsiteX7" fmla="*/ 95941 w 237325"/>
                    <a:gd name="connsiteY7" fmla="*/ 103256 h 222938"/>
                    <a:gd name="connsiteX8" fmla="*/ 94811 w 237325"/>
                    <a:gd name="connsiteY8" fmla="*/ 91095 h 222938"/>
                    <a:gd name="connsiteX9" fmla="*/ 108373 w 237325"/>
                    <a:gd name="connsiteY9" fmla="*/ 88055 h 222938"/>
                    <a:gd name="connsiteX10" fmla="*/ 120804 w 237325"/>
                    <a:gd name="connsiteY10" fmla="*/ 96162 h 222938"/>
                    <a:gd name="connsiteX11" fmla="*/ 135495 w 237325"/>
                    <a:gd name="connsiteY11" fmla="*/ 101229 h 222938"/>
                    <a:gd name="connsiteX12" fmla="*/ 168269 w 237325"/>
                    <a:gd name="connsiteY12" fmla="*/ 95149 h 222938"/>
                    <a:gd name="connsiteX13" fmla="*/ 185221 w 237325"/>
                    <a:gd name="connsiteY13" fmla="*/ 101229 h 222938"/>
                    <a:gd name="connsiteX14" fmla="*/ 192001 w 237325"/>
                    <a:gd name="connsiteY14" fmla="*/ 107309 h 222938"/>
                    <a:gd name="connsiteX15" fmla="*/ 221385 w 237325"/>
                    <a:gd name="connsiteY15" fmla="*/ 110349 h 222938"/>
                    <a:gd name="connsiteX16" fmla="*/ 223645 w 237325"/>
                    <a:gd name="connsiteY16" fmla="*/ 93122 h 222938"/>
                    <a:gd name="connsiteX17" fmla="*/ 227035 w 237325"/>
                    <a:gd name="connsiteY17" fmla="*/ 77922 h 222938"/>
                    <a:gd name="connsiteX18" fmla="*/ 223645 w 237325"/>
                    <a:gd name="connsiteY18" fmla="*/ 78935 h 222938"/>
                    <a:gd name="connsiteX19" fmla="*/ 197652 w 237325"/>
                    <a:gd name="connsiteY19" fmla="*/ 74882 h 222938"/>
                    <a:gd name="connsiteX20" fmla="*/ 168269 w 237325"/>
                    <a:gd name="connsiteY20" fmla="*/ 59681 h 222938"/>
                    <a:gd name="connsiteX21" fmla="*/ 144537 w 237325"/>
                    <a:gd name="connsiteY21" fmla="*/ 29281 h 222938"/>
                    <a:gd name="connsiteX22" fmla="*/ 120804 w 237325"/>
                    <a:gd name="connsiteY22" fmla="*/ 9013 h 222938"/>
                    <a:gd name="connsiteX23" fmla="*/ 110633 w 237325"/>
                    <a:gd name="connsiteY23" fmla="*/ 18134 h 222938"/>
                    <a:gd name="connsiteX24" fmla="*/ 95941 w 237325"/>
                    <a:gd name="connsiteY24" fmla="*/ 24214 h 222938"/>
                    <a:gd name="connsiteX25" fmla="*/ 86900 w 237325"/>
                    <a:gd name="connsiteY25" fmla="*/ 32321 h 222938"/>
                    <a:gd name="connsiteX26" fmla="*/ 71079 w 237325"/>
                    <a:gd name="connsiteY26" fmla="*/ 61708 h 222938"/>
                    <a:gd name="connsiteX27" fmla="*/ 55257 w 237325"/>
                    <a:gd name="connsiteY27" fmla="*/ 55628 h 222938"/>
                    <a:gd name="connsiteX28" fmla="*/ 54127 w 237325"/>
                    <a:gd name="connsiteY28" fmla="*/ 74882 h 222938"/>
                    <a:gd name="connsiteX29" fmla="*/ 10052 w 237325"/>
                    <a:gd name="connsiteY29" fmla="*/ 86029 h 222938"/>
                    <a:gd name="connsiteX30" fmla="*/ 10052 w 237325"/>
                    <a:gd name="connsiteY30" fmla="*/ 86029 h 222938"/>
                    <a:gd name="connsiteX31" fmla="*/ 19093 w 237325"/>
                    <a:gd name="connsiteY31" fmla="*/ 114403 h 222938"/>
                    <a:gd name="connsiteX32" fmla="*/ 27004 w 237325"/>
                    <a:gd name="connsiteY32" fmla="*/ 112376 h 222938"/>
                    <a:gd name="connsiteX33" fmla="*/ 27004 w 237325"/>
                    <a:gd name="connsiteY33" fmla="*/ 105282 h 222938"/>
                    <a:gd name="connsiteX34" fmla="*/ 38305 w 237325"/>
                    <a:gd name="connsiteY34" fmla="*/ 103256 h 222938"/>
                    <a:gd name="connsiteX35" fmla="*/ 46216 w 237325"/>
                    <a:gd name="connsiteY35" fmla="*/ 80962 h 222938"/>
                    <a:gd name="connsiteX36" fmla="*/ 54127 w 237325"/>
                    <a:gd name="connsiteY36" fmla="*/ 117443 h 222938"/>
                    <a:gd name="connsiteX37" fmla="*/ 69948 w 237325"/>
                    <a:gd name="connsiteY37" fmla="*/ 141763 h 222938"/>
                    <a:gd name="connsiteX38" fmla="*/ 69948 w 237325"/>
                    <a:gd name="connsiteY38" fmla="*/ 148857 h 222938"/>
                    <a:gd name="connsiteX39" fmla="*/ 85770 w 237325"/>
                    <a:gd name="connsiteY39" fmla="*/ 158990 h 222938"/>
                    <a:gd name="connsiteX40" fmla="*/ 93681 w 237325"/>
                    <a:gd name="connsiteY40" fmla="*/ 158990 h 222938"/>
                    <a:gd name="connsiteX41" fmla="*/ 101591 w 237325"/>
                    <a:gd name="connsiteY41" fmla="*/ 169124 h 222938"/>
                    <a:gd name="connsiteX42" fmla="*/ 120804 w 237325"/>
                    <a:gd name="connsiteY42" fmla="*/ 167097 h 222938"/>
                    <a:gd name="connsiteX43" fmla="*/ 150187 w 237325"/>
                    <a:gd name="connsiteY43" fmla="*/ 196484 h 222938"/>
                    <a:gd name="connsiteX44" fmla="*/ 166008 w 237325"/>
                    <a:gd name="connsiteY44" fmla="*/ 198511 h 222938"/>
                    <a:gd name="connsiteX45" fmla="*/ 181830 w 237325"/>
                    <a:gd name="connsiteY45" fmla="*/ 215738 h 222938"/>
                    <a:gd name="connsiteX46" fmla="*/ 190871 w 237325"/>
                    <a:gd name="connsiteY46" fmla="*/ 216752 h 222938"/>
                    <a:gd name="connsiteX47" fmla="*/ 194261 w 237325"/>
                    <a:gd name="connsiteY47" fmla="*/ 215738 h 22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37325" h="222938">
                      <a:moveTo>
                        <a:pt x="194261" y="215738"/>
                      </a:moveTo>
                      <a:cubicBezTo>
                        <a:pt x="194261" y="215738"/>
                        <a:pt x="186350" y="208645"/>
                        <a:pt x="182960" y="203578"/>
                      </a:cubicBezTo>
                      <a:cubicBezTo>
                        <a:pt x="179570" y="200538"/>
                        <a:pt x="176180" y="194458"/>
                        <a:pt x="176180" y="194458"/>
                      </a:cubicBezTo>
                      <a:cubicBezTo>
                        <a:pt x="176180" y="194458"/>
                        <a:pt x="164879" y="190404"/>
                        <a:pt x="160358" y="185338"/>
                      </a:cubicBezTo>
                      <a:cubicBezTo>
                        <a:pt x="155838" y="180271"/>
                        <a:pt x="154707" y="182298"/>
                        <a:pt x="147927" y="173177"/>
                      </a:cubicBezTo>
                      <a:cubicBezTo>
                        <a:pt x="141146" y="164057"/>
                        <a:pt x="121934" y="150883"/>
                        <a:pt x="114023" y="139737"/>
                      </a:cubicBezTo>
                      <a:cubicBezTo>
                        <a:pt x="107242" y="129603"/>
                        <a:pt x="116284" y="140750"/>
                        <a:pt x="115153" y="129603"/>
                      </a:cubicBezTo>
                      <a:cubicBezTo>
                        <a:pt x="112893" y="117443"/>
                        <a:pt x="95941" y="103256"/>
                        <a:pt x="95941" y="103256"/>
                      </a:cubicBezTo>
                      <a:cubicBezTo>
                        <a:pt x="95941" y="103256"/>
                        <a:pt x="94811" y="99202"/>
                        <a:pt x="94811" y="91095"/>
                      </a:cubicBezTo>
                      <a:cubicBezTo>
                        <a:pt x="94811" y="84002"/>
                        <a:pt x="106112" y="82989"/>
                        <a:pt x="108373" y="88055"/>
                      </a:cubicBezTo>
                      <a:cubicBezTo>
                        <a:pt x="110633" y="92109"/>
                        <a:pt x="116284" y="101229"/>
                        <a:pt x="120804" y="96162"/>
                      </a:cubicBezTo>
                      <a:cubicBezTo>
                        <a:pt x="125324" y="90082"/>
                        <a:pt x="129844" y="96162"/>
                        <a:pt x="135495" y="101229"/>
                      </a:cubicBezTo>
                      <a:cubicBezTo>
                        <a:pt x="141146" y="106296"/>
                        <a:pt x="159228" y="91095"/>
                        <a:pt x="168269" y="95149"/>
                      </a:cubicBezTo>
                      <a:cubicBezTo>
                        <a:pt x="176180" y="99202"/>
                        <a:pt x="185221" y="101229"/>
                        <a:pt x="185221" y="101229"/>
                      </a:cubicBezTo>
                      <a:cubicBezTo>
                        <a:pt x="185221" y="101229"/>
                        <a:pt x="189741" y="99202"/>
                        <a:pt x="192001" y="107309"/>
                      </a:cubicBezTo>
                      <a:cubicBezTo>
                        <a:pt x="194261" y="116429"/>
                        <a:pt x="221385" y="110349"/>
                        <a:pt x="221385" y="110349"/>
                      </a:cubicBezTo>
                      <a:cubicBezTo>
                        <a:pt x="221385" y="110349"/>
                        <a:pt x="238336" y="101229"/>
                        <a:pt x="223645" y="93122"/>
                      </a:cubicBezTo>
                      <a:cubicBezTo>
                        <a:pt x="216864" y="89069"/>
                        <a:pt x="227035" y="77922"/>
                        <a:pt x="227035" y="77922"/>
                      </a:cubicBezTo>
                      <a:lnTo>
                        <a:pt x="223645" y="78935"/>
                      </a:lnTo>
                      <a:cubicBezTo>
                        <a:pt x="223645" y="78935"/>
                        <a:pt x="206693" y="80962"/>
                        <a:pt x="197652" y="74882"/>
                      </a:cubicBezTo>
                      <a:cubicBezTo>
                        <a:pt x="188611" y="68802"/>
                        <a:pt x="180700" y="68802"/>
                        <a:pt x="168269" y="59681"/>
                      </a:cubicBezTo>
                      <a:cubicBezTo>
                        <a:pt x="155838" y="50561"/>
                        <a:pt x="145666" y="39414"/>
                        <a:pt x="144537" y="29281"/>
                      </a:cubicBezTo>
                      <a:cubicBezTo>
                        <a:pt x="143406" y="19147"/>
                        <a:pt x="120804" y="9013"/>
                        <a:pt x="120804" y="9013"/>
                      </a:cubicBezTo>
                      <a:cubicBezTo>
                        <a:pt x="120804" y="9013"/>
                        <a:pt x="110633" y="12054"/>
                        <a:pt x="110633" y="18134"/>
                      </a:cubicBezTo>
                      <a:cubicBezTo>
                        <a:pt x="110633" y="24214"/>
                        <a:pt x="104982" y="24214"/>
                        <a:pt x="95941" y="24214"/>
                      </a:cubicBezTo>
                      <a:cubicBezTo>
                        <a:pt x="86900" y="24214"/>
                        <a:pt x="90290" y="19147"/>
                        <a:pt x="86900" y="32321"/>
                      </a:cubicBezTo>
                      <a:cubicBezTo>
                        <a:pt x="83510" y="42454"/>
                        <a:pt x="80120" y="60695"/>
                        <a:pt x="71079" y="61708"/>
                      </a:cubicBezTo>
                      <a:cubicBezTo>
                        <a:pt x="59778" y="63735"/>
                        <a:pt x="55257" y="43468"/>
                        <a:pt x="55257" y="55628"/>
                      </a:cubicBezTo>
                      <a:cubicBezTo>
                        <a:pt x="55257" y="67788"/>
                        <a:pt x="58647" y="66775"/>
                        <a:pt x="54127" y="74882"/>
                      </a:cubicBezTo>
                      <a:cubicBezTo>
                        <a:pt x="49606" y="82989"/>
                        <a:pt x="10052" y="86029"/>
                        <a:pt x="10052" y="86029"/>
                      </a:cubicBezTo>
                      <a:lnTo>
                        <a:pt x="10052" y="86029"/>
                      </a:lnTo>
                      <a:cubicBezTo>
                        <a:pt x="13442" y="91095"/>
                        <a:pt x="19093" y="112376"/>
                        <a:pt x="19093" y="114403"/>
                      </a:cubicBezTo>
                      <a:cubicBezTo>
                        <a:pt x="20223" y="113389"/>
                        <a:pt x="25874" y="113389"/>
                        <a:pt x="27004" y="112376"/>
                      </a:cubicBezTo>
                      <a:cubicBezTo>
                        <a:pt x="28134" y="109336"/>
                        <a:pt x="25874" y="107309"/>
                        <a:pt x="27004" y="105282"/>
                      </a:cubicBezTo>
                      <a:cubicBezTo>
                        <a:pt x="28134" y="102242"/>
                        <a:pt x="33784" y="104269"/>
                        <a:pt x="38305" y="103256"/>
                      </a:cubicBezTo>
                      <a:cubicBezTo>
                        <a:pt x="39435" y="96162"/>
                        <a:pt x="45085" y="86029"/>
                        <a:pt x="46216" y="80962"/>
                      </a:cubicBezTo>
                      <a:cubicBezTo>
                        <a:pt x="59778" y="92109"/>
                        <a:pt x="58647" y="97175"/>
                        <a:pt x="54127" y="117443"/>
                      </a:cubicBezTo>
                      <a:cubicBezTo>
                        <a:pt x="62037" y="122509"/>
                        <a:pt x="92551" y="138723"/>
                        <a:pt x="69948" y="141763"/>
                      </a:cubicBezTo>
                      <a:cubicBezTo>
                        <a:pt x="69948" y="142777"/>
                        <a:pt x="69948" y="148857"/>
                        <a:pt x="69948" y="148857"/>
                      </a:cubicBezTo>
                      <a:cubicBezTo>
                        <a:pt x="74469" y="150883"/>
                        <a:pt x="83510" y="156964"/>
                        <a:pt x="85770" y="158990"/>
                      </a:cubicBezTo>
                      <a:cubicBezTo>
                        <a:pt x="89160" y="160004"/>
                        <a:pt x="91421" y="156964"/>
                        <a:pt x="93681" y="158990"/>
                      </a:cubicBezTo>
                      <a:cubicBezTo>
                        <a:pt x="97071" y="161017"/>
                        <a:pt x="97071" y="167097"/>
                        <a:pt x="101591" y="169124"/>
                      </a:cubicBezTo>
                      <a:cubicBezTo>
                        <a:pt x="106112" y="170137"/>
                        <a:pt x="116284" y="165070"/>
                        <a:pt x="120804" y="167097"/>
                      </a:cubicBezTo>
                      <a:cubicBezTo>
                        <a:pt x="124194" y="168110"/>
                        <a:pt x="144537" y="192431"/>
                        <a:pt x="150187" y="196484"/>
                      </a:cubicBezTo>
                      <a:cubicBezTo>
                        <a:pt x="155838" y="199525"/>
                        <a:pt x="166008" y="198511"/>
                        <a:pt x="166008" y="198511"/>
                      </a:cubicBezTo>
                      <a:cubicBezTo>
                        <a:pt x="171659" y="201551"/>
                        <a:pt x="176180" y="212698"/>
                        <a:pt x="181830" y="215738"/>
                      </a:cubicBezTo>
                      <a:cubicBezTo>
                        <a:pt x="184091" y="216752"/>
                        <a:pt x="187481" y="216752"/>
                        <a:pt x="190871" y="216752"/>
                      </a:cubicBezTo>
                      <a:lnTo>
                        <a:pt x="194261" y="21573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2" name="Freeform: Shape 421">
                  <a:extLst>
                    <a:ext uri="{FF2B5EF4-FFF2-40B4-BE49-F238E27FC236}">
                      <a16:creationId xmlns:a16="http://schemas.microsoft.com/office/drawing/2014/main" id="{614F2081-67A9-4A07-9FE9-DB1DB4744810}"/>
                    </a:ext>
                  </a:extLst>
                </p:cNvPr>
                <p:cNvSpPr/>
                <p:nvPr/>
              </p:nvSpPr>
              <p:spPr>
                <a:xfrm>
                  <a:off x="2854402" y="3812666"/>
                  <a:ext cx="146916" cy="141870"/>
                </a:xfrm>
                <a:custGeom>
                  <a:avLst/>
                  <a:gdLst>
                    <a:gd name="connsiteX0" fmla="*/ 55257 w 146915"/>
                    <a:gd name="connsiteY0" fmla="*/ 18215 h 141869"/>
                    <a:gd name="connsiteX1" fmla="*/ 71078 w 146915"/>
                    <a:gd name="connsiteY1" fmla="*/ 17201 h 141869"/>
                    <a:gd name="connsiteX2" fmla="*/ 82380 w 146915"/>
                    <a:gd name="connsiteY2" fmla="*/ 25308 h 141869"/>
                    <a:gd name="connsiteX3" fmla="*/ 97071 w 146915"/>
                    <a:gd name="connsiteY3" fmla="*/ 25308 h 141869"/>
                    <a:gd name="connsiteX4" fmla="*/ 102722 w 146915"/>
                    <a:gd name="connsiteY4" fmla="*/ 47602 h 141869"/>
                    <a:gd name="connsiteX5" fmla="*/ 137756 w 146915"/>
                    <a:gd name="connsiteY5" fmla="*/ 78003 h 141869"/>
                    <a:gd name="connsiteX6" fmla="*/ 125324 w 146915"/>
                    <a:gd name="connsiteY6" fmla="*/ 83070 h 141869"/>
                    <a:gd name="connsiteX7" fmla="*/ 118544 w 146915"/>
                    <a:gd name="connsiteY7" fmla="*/ 82056 h 141869"/>
                    <a:gd name="connsiteX8" fmla="*/ 117413 w 146915"/>
                    <a:gd name="connsiteY8" fmla="*/ 97257 h 141869"/>
                    <a:gd name="connsiteX9" fmla="*/ 124194 w 146915"/>
                    <a:gd name="connsiteY9" fmla="*/ 118537 h 141869"/>
                    <a:gd name="connsiteX10" fmla="*/ 119674 w 146915"/>
                    <a:gd name="connsiteY10" fmla="*/ 135764 h 141869"/>
                    <a:gd name="connsiteX11" fmla="*/ 111763 w 146915"/>
                    <a:gd name="connsiteY11" fmla="*/ 116510 h 141869"/>
                    <a:gd name="connsiteX12" fmla="*/ 103852 w 146915"/>
                    <a:gd name="connsiteY12" fmla="*/ 114483 h 141869"/>
                    <a:gd name="connsiteX13" fmla="*/ 101592 w 146915"/>
                    <a:gd name="connsiteY13" fmla="*/ 131711 h 141869"/>
                    <a:gd name="connsiteX14" fmla="*/ 95941 w 146915"/>
                    <a:gd name="connsiteY14" fmla="*/ 97257 h 141869"/>
                    <a:gd name="connsiteX15" fmla="*/ 76729 w 146915"/>
                    <a:gd name="connsiteY15" fmla="*/ 87123 h 141869"/>
                    <a:gd name="connsiteX16" fmla="*/ 76729 w 146915"/>
                    <a:gd name="connsiteY16" fmla="*/ 85096 h 141869"/>
                    <a:gd name="connsiteX17" fmla="*/ 68818 w 146915"/>
                    <a:gd name="connsiteY17" fmla="*/ 85096 h 141869"/>
                    <a:gd name="connsiteX18" fmla="*/ 60907 w 146915"/>
                    <a:gd name="connsiteY18" fmla="*/ 67869 h 141869"/>
                    <a:gd name="connsiteX19" fmla="*/ 52997 w 146915"/>
                    <a:gd name="connsiteY19" fmla="*/ 62802 h 141869"/>
                    <a:gd name="connsiteX20" fmla="*/ 45086 w 146915"/>
                    <a:gd name="connsiteY20" fmla="*/ 62802 h 141869"/>
                    <a:gd name="connsiteX21" fmla="*/ 47346 w 146915"/>
                    <a:gd name="connsiteY21" fmla="*/ 72936 h 141869"/>
                    <a:gd name="connsiteX22" fmla="*/ 41696 w 146915"/>
                    <a:gd name="connsiteY22" fmla="*/ 83070 h 141869"/>
                    <a:gd name="connsiteX23" fmla="*/ 33785 w 146915"/>
                    <a:gd name="connsiteY23" fmla="*/ 83070 h 141869"/>
                    <a:gd name="connsiteX24" fmla="*/ 25874 w 146915"/>
                    <a:gd name="connsiteY24" fmla="*/ 70909 h 141869"/>
                    <a:gd name="connsiteX25" fmla="*/ 14572 w 146915"/>
                    <a:gd name="connsiteY25" fmla="*/ 65842 h 141869"/>
                    <a:gd name="connsiteX26" fmla="*/ 16833 w 146915"/>
                    <a:gd name="connsiteY26" fmla="*/ 48615 h 141869"/>
                    <a:gd name="connsiteX27" fmla="*/ 24744 w 146915"/>
                    <a:gd name="connsiteY27" fmla="*/ 46589 h 141869"/>
                    <a:gd name="connsiteX28" fmla="*/ 19093 w 146915"/>
                    <a:gd name="connsiteY28" fmla="*/ 39495 h 141869"/>
                    <a:gd name="connsiteX29" fmla="*/ 16833 w 146915"/>
                    <a:gd name="connsiteY29" fmla="*/ 17201 h 141869"/>
                    <a:gd name="connsiteX30" fmla="*/ 10052 w 146915"/>
                    <a:gd name="connsiteY30" fmla="*/ 10108 h 141869"/>
                    <a:gd name="connsiteX31" fmla="*/ 24744 w 146915"/>
                    <a:gd name="connsiteY31" fmla="*/ 11121 h 141869"/>
                    <a:gd name="connsiteX32" fmla="*/ 54127 w 146915"/>
                    <a:gd name="connsiteY32" fmla="*/ 23281 h 141869"/>
                    <a:gd name="connsiteX33" fmla="*/ 55257 w 146915"/>
                    <a:gd name="connsiteY33" fmla="*/ 18215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6915" h="141869">
                      <a:moveTo>
                        <a:pt x="55257" y="18215"/>
                      </a:moveTo>
                      <a:cubicBezTo>
                        <a:pt x="62038" y="15175"/>
                        <a:pt x="71078" y="17201"/>
                        <a:pt x="71078" y="17201"/>
                      </a:cubicBezTo>
                      <a:cubicBezTo>
                        <a:pt x="71078" y="17201"/>
                        <a:pt x="74469" y="25308"/>
                        <a:pt x="82380" y="25308"/>
                      </a:cubicBezTo>
                      <a:cubicBezTo>
                        <a:pt x="91421" y="25308"/>
                        <a:pt x="97071" y="25308"/>
                        <a:pt x="97071" y="25308"/>
                      </a:cubicBezTo>
                      <a:cubicBezTo>
                        <a:pt x="100462" y="32402"/>
                        <a:pt x="98202" y="40508"/>
                        <a:pt x="102722" y="47602"/>
                      </a:cubicBezTo>
                      <a:cubicBezTo>
                        <a:pt x="108373" y="57736"/>
                        <a:pt x="133235" y="69896"/>
                        <a:pt x="137756" y="78003"/>
                      </a:cubicBezTo>
                      <a:lnTo>
                        <a:pt x="125324" y="83070"/>
                      </a:lnTo>
                      <a:lnTo>
                        <a:pt x="118544" y="82056"/>
                      </a:lnTo>
                      <a:cubicBezTo>
                        <a:pt x="118544" y="82056"/>
                        <a:pt x="120804" y="91176"/>
                        <a:pt x="117413" y="97257"/>
                      </a:cubicBezTo>
                      <a:cubicBezTo>
                        <a:pt x="111763" y="107390"/>
                        <a:pt x="125324" y="112457"/>
                        <a:pt x="124194" y="118537"/>
                      </a:cubicBezTo>
                      <a:cubicBezTo>
                        <a:pt x="123064" y="124617"/>
                        <a:pt x="119674" y="135764"/>
                        <a:pt x="119674" y="135764"/>
                      </a:cubicBezTo>
                      <a:lnTo>
                        <a:pt x="111763" y="116510"/>
                      </a:lnTo>
                      <a:cubicBezTo>
                        <a:pt x="111763" y="116510"/>
                        <a:pt x="103852" y="114483"/>
                        <a:pt x="103852" y="114483"/>
                      </a:cubicBezTo>
                      <a:cubicBezTo>
                        <a:pt x="103852" y="120564"/>
                        <a:pt x="101592" y="128671"/>
                        <a:pt x="101592" y="131711"/>
                      </a:cubicBezTo>
                      <a:cubicBezTo>
                        <a:pt x="93681" y="118537"/>
                        <a:pt x="94811" y="112457"/>
                        <a:pt x="95941" y="97257"/>
                      </a:cubicBezTo>
                      <a:cubicBezTo>
                        <a:pt x="89160" y="93203"/>
                        <a:pt x="83510" y="90163"/>
                        <a:pt x="76729" y="87123"/>
                      </a:cubicBezTo>
                      <a:cubicBezTo>
                        <a:pt x="76729" y="86110"/>
                        <a:pt x="76729" y="85096"/>
                        <a:pt x="76729" y="85096"/>
                      </a:cubicBezTo>
                      <a:cubicBezTo>
                        <a:pt x="75599" y="85096"/>
                        <a:pt x="69949" y="86110"/>
                        <a:pt x="68818" y="85096"/>
                      </a:cubicBezTo>
                      <a:cubicBezTo>
                        <a:pt x="63168" y="81043"/>
                        <a:pt x="64298" y="72936"/>
                        <a:pt x="60907" y="67869"/>
                      </a:cubicBezTo>
                      <a:cubicBezTo>
                        <a:pt x="58647" y="64829"/>
                        <a:pt x="55257" y="65842"/>
                        <a:pt x="52997" y="62802"/>
                      </a:cubicBezTo>
                      <a:lnTo>
                        <a:pt x="45086" y="62802"/>
                      </a:lnTo>
                      <a:cubicBezTo>
                        <a:pt x="45086" y="62802"/>
                        <a:pt x="47346" y="69896"/>
                        <a:pt x="47346" y="72936"/>
                      </a:cubicBezTo>
                      <a:cubicBezTo>
                        <a:pt x="42825" y="75976"/>
                        <a:pt x="43956" y="78003"/>
                        <a:pt x="41696" y="83070"/>
                      </a:cubicBezTo>
                      <a:cubicBezTo>
                        <a:pt x="40565" y="82056"/>
                        <a:pt x="36045" y="84083"/>
                        <a:pt x="33785" y="83070"/>
                      </a:cubicBezTo>
                      <a:cubicBezTo>
                        <a:pt x="30394" y="82056"/>
                        <a:pt x="28134" y="72936"/>
                        <a:pt x="25874" y="70909"/>
                      </a:cubicBezTo>
                      <a:cubicBezTo>
                        <a:pt x="22483" y="68882"/>
                        <a:pt x="17963" y="67869"/>
                        <a:pt x="14572" y="65842"/>
                      </a:cubicBezTo>
                      <a:cubicBezTo>
                        <a:pt x="16833" y="59762"/>
                        <a:pt x="16833" y="53682"/>
                        <a:pt x="16833" y="48615"/>
                      </a:cubicBezTo>
                      <a:cubicBezTo>
                        <a:pt x="19093" y="47602"/>
                        <a:pt x="24744" y="48615"/>
                        <a:pt x="24744" y="46589"/>
                      </a:cubicBezTo>
                      <a:cubicBezTo>
                        <a:pt x="27004" y="39495"/>
                        <a:pt x="20223" y="42535"/>
                        <a:pt x="19093" y="39495"/>
                      </a:cubicBezTo>
                      <a:cubicBezTo>
                        <a:pt x="16833" y="32402"/>
                        <a:pt x="21353" y="27335"/>
                        <a:pt x="16833" y="17201"/>
                      </a:cubicBezTo>
                      <a:cubicBezTo>
                        <a:pt x="15703" y="14161"/>
                        <a:pt x="13443" y="12135"/>
                        <a:pt x="10052" y="10108"/>
                      </a:cubicBezTo>
                      <a:cubicBezTo>
                        <a:pt x="10052" y="10108"/>
                        <a:pt x="17963" y="7068"/>
                        <a:pt x="24744" y="11121"/>
                      </a:cubicBezTo>
                      <a:cubicBezTo>
                        <a:pt x="30394" y="19228"/>
                        <a:pt x="34915" y="19228"/>
                        <a:pt x="54127" y="23281"/>
                      </a:cubicBezTo>
                      <a:cubicBezTo>
                        <a:pt x="56387" y="19228"/>
                        <a:pt x="55257" y="18215"/>
                        <a:pt x="55257" y="1821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3" name="Freeform: Shape 422">
                  <a:extLst>
                    <a:ext uri="{FF2B5EF4-FFF2-40B4-BE49-F238E27FC236}">
                      <a16:creationId xmlns:a16="http://schemas.microsoft.com/office/drawing/2014/main" id="{FFA1FE4E-EB8C-4CAF-84A7-256789B597D8}"/>
                    </a:ext>
                  </a:extLst>
                </p:cNvPr>
                <p:cNvSpPr/>
                <p:nvPr/>
              </p:nvSpPr>
              <p:spPr>
                <a:xfrm>
                  <a:off x="6275274" y="4111687"/>
                  <a:ext cx="282530" cy="344541"/>
                </a:xfrm>
                <a:custGeom>
                  <a:avLst/>
                  <a:gdLst>
                    <a:gd name="connsiteX0" fmla="*/ 39436 w 282529"/>
                    <a:gd name="connsiteY0" fmla="*/ 333288 h 344541"/>
                    <a:gd name="connsiteX1" fmla="*/ 52997 w 282529"/>
                    <a:gd name="connsiteY1" fmla="*/ 328221 h 344541"/>
                    <a:gd name="connsiteX2" fmla="*/ 62038 w 282529"/>
                    <a:gd name="connsiteY2" fmla="*/ 321128 h 344541"/>
                    <a:gd name="connsiteX3" fmla="*/ 77859 w 282529"/>
                    <a:gd name="connsiteY3" fmla="*/ 324167 h 344541"/>
                    <a:gd name="connsiteX4" fmla="*/ 88031 w 282529"/>
                    <a:gd name="connsiteY4" fmla="*/ 323154 h 344541"/>
                    <a:gd name="connsiteX5" fmla="*/ 110633 w 282529"/>
                    <a:gd name="connsiteY5" fmla="*/ 323154 h 344541"/>
                    <a:gd name="connsiteX6" fmla="*/ 114023 w 282529"/>
                    <a:gd name="connsiteY6" fmla="*/ 307954 h 344541"/>
                    <a:gd name="connsiteX7" fmla="*/ 126455 w 282529"/>
                    <a:gd name="connsiteY7" fmla="*/ 310994 h 344541"/>
                    <a:gd name="connsiteX8" fmla="*/ 143407 w 282529"/>
                    <a:gd name="connsiteY8" fmla="*/ 306940 h 344541"/>
                    <a:gd name="connsiteX9" fmla="*/ 142276 w 282529"/>
                    <a:gd name="connsiteY9" fmla="*/ 328221 h 344541"/>
                    <a:gd name="connsiteX10" fmla="*/ 145666 w 282529"/>
                    <a:gd name="connsiteY10" fmla="*/ 337341 h 344541"/>
                    <a:gd name="connsiteX11" fmla="*/ 159228 w 282529"/>
                    <a:gd name="connsiteY11" fmla="*/ 333288 h 344541"/>
                    <a:gd name="connsiteX12" fmla="*/ 178440 w 282529"/>
                    <a:gd name="connsiteY12" fmla="*/ 328221 h 344541"/>
                    <a:gd name="connsiteX13" fmla="*/ 193132 w 282529"/>
                    <a:gd name="connsiteY13" fmla="*/ 315047 h 344541"/>
                    <a:gd name="connsiteX14" fmla="*/ 197652 w 282529"/>
                    <a:gd name="connsiteY14" fmla="*/ 302887 h 344541"/>
                    <a:gd name="connsiteX15" fmla="*/ 206693 w 282529"/>
                    <a:gd name="connsiteY15" fmla="*/ 289713 h 344541"/>
                    <a:gd name="connsiteX16" fmla="*/ 208953 w 282529"/>
                    <a:gd name="connsiteY16" fmla="*/ 277553 h 344541"/>
                    <a:gd name="connsiteX17" fmla="*/ 213474 w 282529"/>
                    <a:gd name="connsiteY17" fmla="*/ 267419 h 344541"/>
                    <a:gd name="connsiteX18" fmla="*/ 214604 w 282529"/>
                    <a:gd name="connsiteY18" fmla="*/ 257286 h 344541"/>
                    <a:gd name="connsiteX19" fmla="*/ 213474 w 282529"/>
                    <a:gd name="connsiteY19" fmla="*/ 244112 h 344541"/>
                    <a:gd name="connsiteX20" fmla="*/ 216864 w 282529"/>
                    <a:gd name="connsiteY20" fmla="*/ 232965 h 344541"/>
                    <a:gd name="connsiteX21" fmla="*/ 220255 w 282529"/>
                    <a:gd name="connsiteY21" fmla="*/ 220805 h 344541"/>
                    <a:gd name="connsiteX22" fmla="*/ 224775 w 282529"/>
                    <a:gd name="connsiteY22" fmla="*/ 206618 h 344541"/>
                    <a:gd name="connsiteX23" fmla="*/ 234946 w 282529"/>
                    <a:gd name="connsiteY23" fmla="*/ 196484 h 344541"/>
                    <a:gd name="connsiteX24" fmla="*/ 233816 w 282529"/>
                    <a:gd name="connsiteY24" fmla="*/ 199525 h 344541"/>
                    <a:gd name="connsiteX25" fmla="*/ 238336 w 282529"/>
                    <a:gd name="connsiteY25" fmla="*/ 183311 h 344541"/>
                    <a:gd name="connsiteX26" fmla="*/ 239467 w 282529"/>
                    <a:gd name="connsiteY26" fmla="*/ 170137 h 344541"/>
                    <a:gd name="connsiteX27" fmla="*/ 250768 w 282529"/>
                    <a:gd name="connsiteY27" fmla="*/ 155950 h 344541"/>
                    <a:gd name="connsiteX28" fmla="*/ 256419 w 282529"/>
                    <a:gd name="connsiteY28" fmla="*/ 139736 h 344541"/>
                    <a:gd name="connsiteX29" fmla="*/ 256419 w 282529"/>
                    <a:gd name="connsiteY29" fmla="*/ 123523 h 344541"/>
                    <a:gd name="connsiteX30" fmla="*/ 255288 w 282529"/>
                    <a:gd name="connsiteY30" fmla="*/ 105282 h 344541"/>
                    <a:gd name="connsiteX31" fmla="*/ 254158 w 282529"/>
                    <a:gd name="connsiteY31" fmla="*/ 94135 h 344541"/>
                    <a:gd name="connsiteX32" fmla="*/ 257548 w 282529"/>
                    <a:gd name="connsiteY32" fmla="*/ 78935 h 344541"/>
                    <a:gd name="connsiteX33" fmla="*/ 258678 w 282529"/>
                    <a:gd name="connsiteY33" fmla="*/ 65761 h 344541"/>
                    <a:gd name="connsiteX34" fmla="*/ 263199 w 282529"/>
                    <a:gd name="connsiteY34" fmla="*/ 52588 h 344541"/>
                    <a:gd name="connsiteX35" fmla="*/ 272240 w 282529"/>
                    <a:gd name="connsiteY35" fmla="*/ 43468 h 344541"/>
                    <a:gd name="connsiteX36" fmla="*/ 276761 w 282529"/>
                    <a:gd name="connsiteY36" fmla="*/ 28267 h 344541"/>
                    <a:gd name="connsiteX37" fmla="*/ 277890 w 282529"/>
                    <a:gd name="connsiteY37" fmla="*/ 9013 h 344541"/>
                    <a:gd name="connsiteX38" fmla="*/ 254158 w 282529"/>
                    <a:gd name="connsiteY38" fmla="*/ 15094 h 344541"/>
                    <a:gd name="connsiteX39" fmla="*/ 236076 w 282529"/>
                    <a:gd name="connsiteY39" fmla="*/ 14080 h 344541"/>
                    <a:gd name="connsiteX40" fmla="*/ 224775 w 282529"/>
                    <a:gd name="connsiteY40" fmla="*/ 27254 h 344541"/>
                    <a:gd name="connsiteX41" fmla="*/ 207823 w 282529"/>
                    <a:gd name="connsiteY41" fmla="*/ 36374 h 344541"/>
                    <a:gd name="connsiteX42" fmla="*/ 198782 w 282529"/>
                    <a:gd name="connsiteY42" fmla="*/ 52588 h 344541"/>
                    <a:gd name="connsiteX43" fmla="*/ 205563 w 282529"/>
                    <a:gd name="connsiteY43" fmla="*/ 67788 h 344541"/>
                    <a:gd name="connsiteX44" fmla="*/ 185221 w 282529"/>
                    <a:gd name="connsiteY44" fmla="*/ 63735 h 344541"/>
                    <a:gd name="connsiteX45" fmla="*/ 163749 w 282529"/>
                    <a:gd name="connsiteY45" fmla="*/ 63735 h 344541"/>
                    <a:gd name="connsiteX46" fmla="*/ 151317 w 282529"/>
                    <a:gd name="connsiteY46" fmla="*/ 58668 h 344541"/>
                    <a:gd name="connsiteX47" fmla="*/ 125324 w 282529"/>
                    <a:gd name="connsiteY47" fmla="*/ 54614 h 344541"/>
                    <a:gd name="connsiteX48" fmla="*/ 93681 w 282529"/>
                    <a:gd name="connsiteY48" fmla="*/ 54614 h 344541"/>
                    <a:gd name="connsiteX49" fmla="*/ 94811 w 282529"/>
                    <a:gd name="connsiteY49" fmla="*/ 78935 h 344541"/>
                    <a:gd name="connsiteX50" fmla="*/ 99332 w 282529"/>
                    <a:gd name="connsiteY50" fmla="*/ 90082 h 344541"/>
                    <a:gd name="connsiteX51" fmla="*/ 119674 w 282529"/>
                    <a:gd name="connsiteY51" fmla="*/ 89069 h 344541"/>
                    <a:gd name="connsiteX52" fmla="*/ 140016 w 282529"/>
                    <a:gd name="connsiteY52" fmla="*/ 93122 h 344541"/>
                    <a:gd name="connsiteX53" fmla="*/ 138886 w 282529"/>
                    <a:gd name="connsiteY53" fmla="*/ 118456 h 344541"/>
                    <a:gd name="connsiteX54" fmla="*/ 121934 w 282529"/>
                    <a:gd name="connsiteY54" fmla="*/ 118456 h 344541"/>
                    <a:gd name="connsiteX55" fmla="*/ 107243 w 282529"/>
                    <a:gd name="connsiteY55" fmla="*/ 128590 h 344541"/>
                    <a:gd name="connsiteX56" fmla="*/ 110633 w 282529"/>
                    <a:gd name="connsiteY56" fmla="*/ 146830 h 344541"/>
                    <a:gd name="connsiteX57" fmla="*/ 104982 w 282529"/>
                    <a:gd name="connsiteY57" fmla="*/ 149870 h 344541"/>
                    <a:gd name="connsiteX58" fmla="*/ 120804 w 282529"/>
                    <a:gd name="connsiteY58" fmla="*/ 165070 h 344541"/>
                    <a:gd name="connsiteX59" fmla="*/ 120804 w 282529"/>
                    <a:gd name="connsiteY59" fmla="*/ 183311 h 344541"/>
                    <a:gd name="connsiteX60" fmla="*/ 125324 w 282529"/>
                    <a:gd name="connsiteY60" fmla="*/ 199525 h 344541"/>
                    <a:gd name="connsiteX61" fmla="*/ 124194 w 282529"/>
                    <a:gd name="connsiteY61" fmla="*/ 217765 h 344541"/>
                    <a:gd name="connsiteX62" fmla="*/ 130975 w 282529"/>
                    <a:gd name="connsiteY62" fmla="*/ 237019 h 344541"/>
                    <a:gd name="connsiteX63" fmla="*/ 120804 w 282529"/>
                    <a:gd name="connsiteY63" fmla="*/ 252219 h 344541"/>
                    <a:gd name="connsiteX64" fmla="*/ 103852 w 282529"/>
                    <a:gd name="connsiteY64" fmla="*/ 233979 h 344541"/>
                    <a:gd name="connsiteX65" fmla="*/ 80120 w 282529"/>
                    <a:gd name="connsiteY65" fmla="*/ 239046 h 344541"/>
                    <a:gd name="connsiteX66" fmla="*/ 68818 w 282529"/>
                    <a:gd name="connsiteY66" fmla="*/ 228912 h 344541"/>
                    <a:gd name="connsiteX67" fmla="*/ 65428 w 282529"/>
                    <a:gd name="connsiteY67" fmla="*/ 242085 h 344541"/>
                    <a:gd name="connsiteX68" fmla="*/ 43956 w 282529"/>
                    <a:gd name="connsiteY68" fmla="*/ 248166 h 344541"/>
                    <a:gd name="connsiteX69" fmla="*/ 40565 w 282529"/>
                    <a:gd name="connsiteY69" fmla="*/ 258299 h 344541"/>
                    <a:gd name="connsiteX70" fmla="*/ 49606 w 282529"/>
                    <a:gd name="connsiteY70" fmla="*/ 282620 h 344541"/>
                    <a:gd name="connsiteX71" fmla="*/ 42826 w 282529"/>
                    <a:gd name="connsiteY71" fmla="*/ 296807 h 344541"/>
                    <a:gd name="connsiteX72" fmla="*/ 21353 w 282529"/>
                    <a:gd name="connsiteY72" fmla="*/ 290727 h 344541"/>
                    <a:gd name="connsiteX73" fmla="*/ 10052 w 282529"/>
                    <a:gd name="connsiteY73" fmla="*/ 312007 h 344541"/>
                    <a:gd name="connsiteX74" fmla="*/ 23614 w 282529"/>
                    <a:gd name="connsiteY74" fmla="*/ 324167 h 344541"/>
                    <a:gd name="connsiteX75" fmla="*/ 25874 w 282529"/>
                    <a:gd name="connsiteY75" fmla="*/ 326194 h 344541"/>
                    <a:gd name="connsiteX76" fmla="*/ 31525 w 282529"/>
                    <a:gd name="connsiteY76" fmla="*/ 326194 h 344541"/>
                    <a:gd name="connsiteX77" fmla="*/ 31525 w 282529"/>
                    <a:gd name="connsiteY77" fmla="*/ 333288 h 344541"/>
                    <a:gd name="connsiteX78" fmla="*/ 39436 w 282529"/>
                    <a:gd name="connsiteY78" fmla="*/ 333288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82529" h="344541">
                      <a:moveTo>
                        <a:pt x="39436" y="333288"/>
                      </a:moveTo>
                      <a:cubicBezTo>
                        <a:pt x="40565" y="331261"/>
                        <a:pt x="43956" y="328221"/>
                        <a:pt x="52997" y="328221"/>
                      </a:cubicBezTo>
                      <a:cubicBezTo>
                        <a:pt x="68818" y="328221"/>
                        <a:pt x="52997" y="330248"/>
                        <a:pt x="62038" y="321128"/>
                      </a:cubicBezTo>
                      <a:cubicBezTo>
                        <a:pt x="71079" y="312007"/>
                        <a:pt x="77859" y="324167"/>
                        <a:pt x="77859" y="324167"/>
                      </a:cubicBezTo>
                      <a:cubicBezTo>
                        <a:pt x="77859" y="324167"/>
                        <a:pt x="83510" y="328221"/>
                        <a:pt x="88031" y="323154"/>
                      </a:cubicBezTo>
                      <a:cubicBezTo>
                        <a:pt x="92551" y="318087"/>
                        <a:pt x="102722" y="323154"/>
                        <a:pt x="110633" y="323154"/>
                      </a:cubicBezTo>
                      <a:cubicBezTo>
                        <a:pt x="118544" y="323154"/>
                        <a:pt x="114023" y="307954"/>
                        <a:pt x="114023" y="307954"/>
                      </a:cubicBezTo>
                      <a:cubicBezTo>
                        <a:pt x="114023" y="307954"/>
                        <a:pt x="118544" y="308967"/>
                        <a:pt x="126455" y="310994"/>
                      </a:cubicBezTo>
                      <a:cubicBezTo>
                        <a:pt x="135496" y="312007"/>
                        <a:pt x="143407" y="306940"/>
                        <a:pt x="143407" y="306940"/>
                      </a:cubicBezTo>
                      <a:lnTo>
                        <a:pt x="142276" y="328221"/>
                      </a:lnTo>
                      <a:lnTo>
                        <a:pt x="145666" y="337341"/>
                      </a:lnTo>
                      <a:lnTo>
                        <a:pt x="159228" y="333288"/>
                      </a:lnTo>
                      <a:lnTo>
                        <a:pt x="178440" y="328221"/>
                      </a:lnTo>
                      <a:lnTo>
                        <a:pt x="193132" y="315047"/>
                      </a:lnTo>
                      <a:lnTo>
                        <a:pt x="197652" y="302887"/>
                      </a:lnTo>
                      <a:lnTo>
                        <a:pt x="206693" y="289713"/>
                      </a:lnTo>
                      <a:lnTo>
                        <a:pt x="208953" y="277553"/>
                      </a:lnTo>
                      <a:lnTo>
                        <a:pt x="213474" y="267419"/>
                      </a:lnTo>
                      <a:lnTo>
                        <a:pt x="214604" y="257286"/>
                      </a:lnTo>
                      <a:lnTo>
                        <a:pt x="213474" y="244112"/>
                      </a:lnTo>
                      <a:lnTo>
                        <a:pt x="216864" y="232965"/>
                      </a:lnTo>
                      <a:lnTo>
                        <a:pt x="220255" y="220805"/>
                      </a:lnTo>
                      <a:lnTo>
                        <a:pt x="224775" y="206618"/>
                      </a:lnTo>
                      <a:lnTo>
                        <a:pt x="234946" y="196484"/>
                      </a:lnTo>
                      <a:lnTo>
                        <a:pt x="233816" y="199525"/>
                      </a:lnTo>
                      <a:lnTo>
                        <a:pt x="238336" y="183311"/>
                      </a:lnTo>
                      <a:lnTo>
                        <a:pt x="239467" y="170137"/>
                      </a:lnTo>
                      <a:lnTo>
                        <a:pt x="250768" y="155950"/>
                      </a:lnTo>
                      <a:lnTo>
                        <a:pt x="256419" y="139736"/>
                      </a:lnTo>
                      <a:lnTo>
                        <a:pt x="256419" y="123523"/>
                      </a:lnTo>
                      <a:lnTo>
                        <a:pt x="255288" y="105282"/>
                      </a:lnTo>
                      <a:lnTo>
                        <a:pt x="254158" y="94135"/>
                      </a:lnTo>
                      <a:lnTo>
                        <a:pt x="257548" y="78935"/>
                      </a:lnTo>
                      <a:lnTo>
                        <a:pt x="258678" y="65761"/>
                      </a:lnTo>
                      <a:lnTo>
                        <a:pt x="263199" y="52588"/>
                      </a:lnTo>
                      <a:lnTo>
                        <a:pt x="272240" y="43468"/>
                      </a:lnTo>
                      <a:lnTo>
                        <a:pt x="276761" y="28267"/>
                      </a:lnTo>
                      <a:lnTo>
                        <a:pt x="277890" y="9013"/>
                      </a:lnTo>
                      <a:cubicBezTo>
                        <a:pt x="277890" y="9013"/>
                        <a:pt x="262069" y="13067"/>
                        <a:pt x="254158" y="15094"/>
                      </a:cubicBezTo>
                      <a:cubicBezTo>
                        <a:pt x="246247" y="17120"/>
                        <a:pt x="247377" y="11040"/>
                        <a:pt x="236076" y="14080"/>
                      </a:cubicBezTo>
                      <a:cubicBezTo>
                        <a:pt x="224775" y="17120"/>
                        <a:pt x="229295" y="17120"/>
                        <a:pt x="224775" y="27254"/>
                      </a:cubicBezTo>
                      <a:cubicBezTo>
                        <a:pt x="220255" y="37388"/>
                        <a:pt x="207823" y="36374"/>
                        <a:pt x="207823" y="36374"/>
                      </a:cubicBezTo>
                      <a:cubicBezTo>
                        <a:pt x="207823" y="36374"/>
                        <a:pt x="197652" y="46508"/>
                        <a:pt x="198782" y="52588"/>
                      </a:cubicBezTo>
                      <a:cubicBezTo>
                        <a:pt x="199913" y="58668"/>
                        <a:pt x="205563" y="67788"/>
                        <a:pt x="205563" y="67788"/>
                      </a:cubicBezTo>
                      <a:cubicBezTo>
                        <a:pt x="205563" y="67788"/>
                        <a:pt x="195392" y="64748"/>
                        <a:pt x="185221" y="63735"/>
                      </a:cubicBezTo>
                      <a:cubicBezTo>
                        <a:pt x="175050" y="62722"/>
                        <a:pt x="170529" y="63735"/>
                        <a:pt x="163749" y="63735"/>
                      </a:cubicBezTo>
                      <a:cubicBezTo>
                        <a:pt x="156968" y="63735"/>
                        <a:pt x="156968" y="63735"/>
                        <a:pt x="151317" y="58668"/>
                      </a:cubicBezTo>
                      <a:cubicBezTo>
                        <a:pt x="145666" y="53601"/>
                        <a:pt x="135496" y="50561"/>
                        <a:pt x="125324" y="54614"/>
                      </a:cubicBezTo>
                      <a:lnTo>
                        <a:pt x="93681" y="54614"/>
                      </a:lnTo>
                      <a:cubicBezTo>
                        <a:pt x="93681" y="54614"/>
                        <a:pt x="93681" y="73868"/>
                        <a:pt x="94811" y="78935"/>
                      </a:cubicBezTo>
                      <a:cubicBezTo>
                        <a:pt x="95942" y="84002"/>
                        <a:pt x="90291" y="93122"/>
                        <a:pt x="99332" y="90082"/>
                      </a:cubicBezTo>
                      <a:cubicBezTo>
                        <a:pt x="108373" y="87042"/>
                        <a:pt x="111763" y="89069"/>
                        <a:pt x="119674" y="89069"/>
                      </a:cubicBezTo>
                      <a:cubicBezTo>
                        <a:pt x="127585" y="89069"/>
                        <a:pt x="140016" y="93122"/>
                        <a:pt x="140016" y="93122"/>
                      </a:cubicBezTo>
                      <a:lnTo>
                        <a:pt x="138886" y="118456"/>
                      </a:lnTo>
                      <a:cubicBezTo>
                        <a:pt x="138886" y="118456"/>
                        <a:pt x="132105" y="115416"/>
                        <a:pt x="121934" y="118456"/>
                      </a:cubicBezTo>
                      <a:cubicBezTo>
                        <a:pt x="111763" y="121496"/>
                        <a:pt x="107243" y="121496"/>
                        <a:pt x="107243" y="128590"/>
                      </a:cubicBezTo>
                      <a:cubicBezTo>
                        <a:pt x="107243" y="135683"/>
                        <a:pt x="110633" y="146830"/>
                        <a:pt x="110633" y="146830"/>
                      </a:cubicBezTo>
                      <a:cubicBezTo>
                        <a:pt x="110633" y="146830"/>
                        <a:pt x="99332" y="146830"/>
                        <a:pt x="104982" y="149870"/>
                      </a:cubicBezTo>
                      <a:cubicBezTo>
                        <a:pt x="110633" y="152910"/>
                        <a:pt x="119674" y="160004"/>
                        <a:pt x="120804" y="165070"/>
                      </a:cubicBezTo>
                      <a:cubicBezTo>
                        <a:pt x="121934" y="170137"/>
                        <a:pt x="124194" y="174191"/>
                        <a:pt x="120804" y="183311"/>
                      </a:cubicBezTo>
                      <a:cubicBezTo>
                        <a:pt x="117413" y="194458"/>
                        <a:pt x="119674" y="192431"/>
                        <a:pt x="125324" y="199525"/>
                      </a:cubicBezTo>
                      <a:cubicBezTo>
                        <a:pt x="130975" y="206618"/>
                        <a:pt x="116284" y="213712"/>
                        <a:pt x="124194" y="217765"/>
                      </a:cubicBezTo>
                      <a:cubicBezTo>
                        <a:pt x="132105" y="221818"/>
                        <a:pt x="135496" y="221818"/>
                        <a:pt x="130975" y="237019"/>
                      </a:cubicBezTo>
                      <a:cubicBezTo>
                        <a:pt x="126455" y="252219"/>
                        <a:pt x="127585" y="257286"/>
                        <a:pt x="120804" y="252219"/>
                      </a:cubicBezTo>
                      <a:cubicBezTo>
                        <a:pt x="114023" y="247152"/>
                        <a:pt x="111763" y="236005"/>
                        <a:pt x="103852" y="233979"/>
                      </a:cubicBezTo>
                      <a:cubicBezTo>
                        <a:pt x="95942" y="231952"/>
                        <a:pt x="80120" y="239046"/>
                        <a:pt x="80120" y="239046"/>
                      </a:cubicBezTo>
                      <a:cubicBezTo>
                        <a:pt x="80120" y="239046"/>
                        <a:pt x="78990" y="230939"/>
                        <a:pt x="68818" y="228912"/>
                      </a:cubicBezTo>
                      <a:cubicBezTo>
                        <a:pt x="58648" y="225872"/>
                        <a:pt x="74469" y="239046"/>
                        <a:pt x="65428" y="242085"/>
                      </a:cubicBezTo>
                      <a:cubicBezTo>
                        <a:pt x="56387" y="245126"/>
                        <a:pt x="38305" y="237019"/>
                        <a:pt x="43956" y="248166"/>
                      </a:cubicBezTo>
                      <a:cubicBezTo>
                        <a:pt x="49606" y="259313"/>
                        <a:pt x="47346" y="252219"/>
                        <a:pt x="40565" y="258299"/>
                      </a:cubicBezTo>
                      <a:cubicBezTo>
                        <a:pt x="33785" y="264379"/>
                        <a:pt x="47346" y="271473"/>
                        <a:pt x="49606" y="282620"/>
                      </a:cubicBezTo>
                      <a:cubicBezTo>
                        <a:pt x="51867" y="293767"/>
                        <a:pt x="55257" y="300860"/>
                        <a:pt x="42826" y="296807"/>
                      </a:cubicBezTo>
                      <a:cubicBezTo>
                        <a:pt x="30395" y="292753"/>
                        <a:pt x="30395" y="290727"/>
                        <a:pt x="21353" y="290727"/>
                      </a:cubicBezTo>
                      <a:cubicBezTo>
                        <a:pt x="12312" y="290727"/>
                        <a:pt x="10052" y="312007"/>
                        <a:pt x="10052" y="312007"/>
                      </a:cubicBezTo>
                      <a:cubicBezTo>
                        <a:pt x="14573" y="314034"/>
                        <a:pt x="21353" y="319101"/>
                        <a:pt x="23614" y="324167"/>
                      </a:cubicBezTo>
                      <a:lnTo>
                        <a:pt x="25874" y="326194"/>
                      </a:lnTo>
                      <a:lnTo>
                        <a:pt x="31525" y="326194"/>
                      </a:lnTo>
                      <a:cubicBezTo>
                        <a:pt x="32654" y="327207"/>
                        <a:pt x="30395" y="333288"/>
                        <a:pt x="31525" y="333288"/>
                      </a:cubicBezTo>
                      <a:lnTo>
                        <a:pt x="39436" y="33328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4" name="Freeform: Shape 423">
                  <a:extLst>
                    <a:ext uri="{FF2B5EF4-FFF2-40B4-BE49-F238E27FC236}">
                      <a16:creationId xmlns:a16="http://schemas.microsoft.com/office/drawing/2014/main" id="{CEAFCBA9-A01A-4348-96E1-7E9611464F56}"/>
                    </a:ext>
                  </a:extLst>
                </p:cNvPr>
                <p:cNvSpPr/>
                <p:nvPr/>
              </p:nvSpPr>
              <p:spPr>
                <a:xfrm>
                  <a:off x="3094887" y="3782346"/>
                  <a:ext cx="463349" cy="658682"/>
                </a:xfrm>
                <a:custGeom>
                  <a:avLst/>
                  <a:gdLst>
                    <a:gd name="connsiteX0" fmla="*/ 279251 w 463349"/>
                    <a:gd name="connsiteY0" fmla="*/ 30294 h 658681"/>
                    <a:gd name="connsiteX1" fmla="*/ 287162 w 463349"/>
                    <a:gd name="connsiteY1" fmla="*/ 30294 h 658681"/>
                    <a:gd name="connsiteX2" fmla="*/ 292813 w 463349"/>
                    <a:gd name="connsiteY2" fmla="*/ 23200 h 658681"/>
                    <a:gd name="connsiteX3" fmla="*/ 292813 w 463349"/>
                    <a:gd name="connsiteY3" fmla="*/ 18134 h 658681"/>
                    <a:gd name="connsiteX4" fmla="*/ 284902 w 463349"/>
                    <a:gd name="connsiteY4" fmla="*/ 16107 h 658681"/>
                    <a:gd name="connsiteX5" fmla="*/ 276991 w 463349"/>
                    <a:gd name="connsiteY5" fmla="*/ 9013 h 658681"/>
                    <a:gd name="connsiteX6" fmla="*/ 265689 w 463349"/>
                    <a:gd name="connsiteY6" fmla="*/ 11040 h 658681"/>
                    <a:gd name="connsiteX7" fmla="*/ 257779 w 463349"/>
                    <a:gd name="connsiteY7" fmla="*/ 16107 h 658681"/>
                    <a:gd name="connsiteX8" fmla="*/ 257779 w 463349"/>
                    <a:gd name="connsiteY8" fmla="*/ 26241 h 658681"/>
                    <a:gd name="connsiteX9" fmla="*/ 236307 w 463349"/>
                    <a:gd name="connsiteY9" fmla="*/ 40428 h 658681"/>
                    <a:gd name="connsiteX10" fmla="*/ 222745 w 463349"/>
                    <a:gd name="connsiteY10" fmla="*/ 42454 h 658681"/>
                    <a:gd name="connsiteX11" fmla="*/ 201273 w 463349"/>
                    <a:gd name="connsiteY11" fmla="*/ 59681 h 658681"/>
                    <a:gd name="connsiteX12" fmla="*/ 179801 w 463349"/>
                    <a:gd name="connsiteY12" fmla="*/ 59681 h 658681"/>
                    <a:gd name="connsiteX13" fmla="*/ 174150 w 463349"/>
                    <a:gd name="connsiteY13" fmla="*/ 66775 h 658681"/>
                    <a:gd name="connsiteX14" fmla="*/ 171890 w 463349"/>
                    <a:gd name="connsiteY14" fmla="*/ 71842 h 658681"/>
                    <a:gd name="connsiteX15" fmla="*/ 158328 w 463349"/>
                    <a:gd name="connsiteY15" fmla="*/ 69815 h 658681"/>
                    <a:gd name="connsiteX16" fmla="*/ 150417 w 463349"/>
                    <a:gd name="connsiteY16" fmla="*/ 79948 h 658681"/>
                    <a:gd name="connsiteX17" fmla="*/ 144767 w 463349"/>
                    <a:gd name="connsiteY17" fmla="*/ 81975 h 658681"/>
                    <a:gd name="connsiteX18" fmla="*/ 144767 w 463349"/>
                    <a:gd name="connsiteY18" fmla="*/ 111363 h 658681"/>
                    <a:gd name="connsiteX19" fmla="*/ 131205 w 463349"/>
                    <a:gd name="connsiteY19" fmla="*/ 116429 h 658681"/>
                    <a:gd name="connsiteX20" fmla="*/ 133466 w 463349"/>
                    <a:gd name="connsiteY20" fmla="*/ 130616 h 658681"/>
                    <a:gd name="connsiteX21" fmla="*/ 119904 w 463349"/>
                    <a:gd name="connsiteY21" fmla="*/ 130616 h 658681"/>
                    <a:gd name="connsiteX22" fmla="*/ 104082 w 463349"/>
                    <a:gd name="connsiteY22" fmla="*/ 184324 h 658681"/>
                    <a:gd name="connsiteX23" fmla="*/ 96171 w 463349"/>
                    <a:gd name="connsiteY23" fmla="*/ 184324 h 658681"/>
                    <a:gd name="connsiteX24" fmla="*/ 84870 w 463349"/>
                    <a:gd name="connsiteY24" fmla="*/ 165070 h 658681"/>
                    <a:gd name="connsiteX25" fmla="*/ 75829 w 463349"/>
                    <a:gd name="connsiteY25" fmla="*/ 161017 h 658681"/>
                    <a:gd name="connsiteX26" fmla="*/ 72439 w 463349"/>
                    <a:gd name="connsiteY26" fmla="*/ 174191 h 658681"/>
                    <a:gd name="connsiteX27" fmla="*/ 80350 w 463349"/>
                    <a:gd name="connsiteY27" fmla="*/ 187364 h 658681"/>
                    <a:gd name="connsiteX28" fmla="*/ 72439 w 463349"/>
                    <a:gd name="connsiteY28" fmla="*/ 203578 h 658681"/>
                    <a:gd name="connsiteX29" fmla="*/ 67918 w 463349"/>
                    <a:gd name="connsiteY29" fmla="*/ 213712 h 658681"/>
                    <a:gd name="connsiteX30" fmla="*/ 73569 w 463349"/>
                    <a:gd name="connsiteY30" fmla="*/ 216752 h 658681"/>
                    <a:gd name="connsiteX31" fmla="*/ 75829 w 463349"/>
                    <a:gd name="connsiteY31" fmla="*/ 270460 h 658681"/>
                    <a:gd name="connsiteX32" fmla="*/ 62268 w 463349"/>
                    <a:gd name="connsiteY32" fmla="*/ 275526 h 658681"/>
                    <a:gd name="connsiteX33" fmla="*/ 70179 w 463349"/>
                    <a:gd name="connsiteY33" fmla="*/ 282620 h 658681"/>
                    <a:gd name="connsiteX34" fmla="*/ 67918 w 463349"/>
                    <a:gd name="connsiteY34" fmla="*/ 314034 h 658681"/>
                    <a:gd name="connsiteX35" fmla="*/ 56617 w 463349"/>
                    <a:gd name="connsiteY35" fmla="*/ 331261 h 658681"/>
                    <a:gd name="connsiteX36" fmla="*/ 54357 w 463349"/>
                    <a:gd name="connsiteY36" fmla="*/ 333288 h 658681"/>
                    <a:gd name="connsiteX37" fmla="*/ 65658 w 463349"/>
                    <a:gd name="connsiteY37" fmla="*/ 345448 h 658681"/>
                    <a:gd name="connsiteX38" fmla="*/ 76960 w 463349"/>
                    <a:gd name="connsiteY38" fmla="*/ 345448 h 658681"/>
                    <a:gd name="connsiteX39" fmla="*/ 76960 w 463349"/>
                    <a:gd name="connsiteY39" fmla="*/ 350515 h 658681"/>
                    <a:gd name="connsiteX40" fmla="*/ 61138 w 463349"/>
                    <a:gd name="connsiteY40" fmla="*/ 362675 h 658681"/>
                    <a:gd name="connsiteX41" fmla="*/ 55487 w 463349"/>
                    <a:gd name="connsiteY41" fmla="*/ 379902 h 658681"/>
                    <a:gd name="connsiteX42" fmla="*/ 34015 w 463349"/>
                    <a:gd name="connsiteY42" fmla="*/ 384969 h 658681"/>
                    <a:gd name="connsiteX43" fmla="*/ 26104 w 463349"/>
                    <a:gd name="connsiteY43" fmla="*/ 395102 h 658681"/>
                    <a:gd name="connsiteX44" fmla="*/ 23844 w 463349"/>
                    <a:gd name="connsiteY44" fmla="*/ 395102 h 658681"/>
                    <a:gd name="connsiteX45" fmla="*/ 23844 w 463349"/>
                    <a:gd name="connsiteY45" fmla="*/ 407263 h 658681"/>
                    <a:gd name="connsiteX46" fmla="*/ 21584 w 463349"/>
                    <a:gd name="connsiteY46" fmla="*/ 409289 h 658681"/>
                    <a:gd name="connsiteX47" fmla="*/ 29494 w 463349"/>
                    <a:gd name="connsiteY47" fmla="*/ 416383 h 658681"/>
                    <a:gd name="connsiteX48" fmla="*/ 29494 w 463349"/>
                    <a:gd name="connsiteY48" fmla="*/ 421450 h 658681"/>
                    <a:gd name="connsiteX49" fmla="*/ 10283 w 463349"/>
                    <a:gd name="connsiteY49" fmla="*/ 421450 h 658681"/>
                    <a:gd name="connsiteX50" fmla="*/ 12543 w 463349"/>
                    <a:gd name="connsiteY50" fmla="*/ 435637 h 658681"/>
                    <a:gd name="connsiteX51" fmla="*/ 14803 w 463349"/>
                    <a:gd name="connsiteY51" fmla="*/ 437664 h 658681"/>
                    <a:gd name="connsiteX52" fmla="*/ 26104 w 463349"/>
                    <a:gd name="connsiteY52" fmla="*/ 452864 h 658681"/>
                    <a:gd name="connsiteX53" fmla="*/ 47576 w 463349"/>
                    <a:gd name="connsiteY53" fmla="*/ 460971 h 658681"/>
                    <a:gd name="connsiteX54" fmla="*/ 55487 w 463349"/>
                    <a:gd name="connsiteY54" fmla="*/ 474144 h 658681"/>
                    <a:gd name="connsiteX55" fmla="*/ 65658 w 463349"/>
                    <a:gd name="connsiteY55" fmla="*/ 485291 h 658681"/>
                    <a:gd name="connsiteX56" fmla="*/ 98432 w 463349"/>
                    <a:gd name="connsiteY56" fmla="*/ 491371 h 658681"/>
                    <a:gd name="connsiteX57" fmla="*/ 108603 w 463349"/>
                    <a:gd name="connsiteY57" fmla="*/ 488331 h 658681"/>
                    <a:gd name="connsiteX58" fmla="*/ 137986 w 463349"/>
                    <a:gd name="connsiteY58" fmla="*/ 502518 h 658681"/>
                    <a:gd name="connsiteX59" fmla="*/ 154938 w 463349"/>
                    <a:gd name="connsiteY59" fmla="*/ 502518 h 658681"/>
                    <a:gd name="connsiteX60" fmla="*/ 161719 w 463349"/>
                    <a:gd name="connsiteY60" fmla="*/ 518732 h 658681"/>
                    <a:gd name="connsiteX61" fmla="*/ 177540 w 463349"/>
                    <a:gd name="connsiteY61" fmla="*/ 536972 h 658681"/>
                    <a:gd name="connsiteX62" fmla="*/ 194492 w 463349"/>
                    <a:gd name="connsiteY62" fmla="*/ 551159 h 658681"/>
                    <a:gd name="connsiteX63" fmla="*/ 214834 w 463349"/>
                    <a:gd name="connsiteY63" fmla="*/ 552173 h 658681"/>
                    <a:gd name="connsiteX64" fmla="*/ 215964 w 463349"/>
                    <a:gd name="connsiteY64" fmla="*/ 563320 h 658681"/>
                    <a:gd name="connsiteX65" fmla="*/ 227265 w 463349"/>
                    <a:gd name="connsiteY65" fmla="*/ 574467 h 658681"/>
                    <a:gd name="connsiteX66" fmla="*/ 247608 w 463349"/>
                    <a:gd name="connsiteY66" fmla="*/ 579534 h 658681"/>
                    <a:gd name="connsiteX67" fmla="*/ 250998 w 463349"/>
                    <a:gd name="connsiteY67" fmla="*/ 569400 h 658681"/>
                    <a:gd name="connsiteX68" fmla="*/ 276991 w 463349"/>
                    <a:gd name="connsiteY68" fmla="*/ 573453 h 658681"/>
                    <a:gd name="connsiteX69" fmla="*/ 304114 w 463349"/>
                    <a:gd name="connsiteY69" fmla="*/ 581560 h 658681"/>
                    <a:gd name="connsiteX70" fmla="*/ 321066 w 463349"/>
                    <a:gd name="connsiteY70" fmla="*/ 591694 h 658681"/>
                    <a:gd name="connsiteX71" fmla="*/ 286032 w 463349"/>
                    <a:gd name="connsiteY71" fmla="*/ 652495 h 658681"/>
                    <a:gd name="connsiteX72" fmla="*/ 302984 w 463349"/>
                    <a:gd name="connsiteY72" fmla="*/ 652495 h 658681"/>
                    <a:gd name="connsiteX73" fmla="*/ 314285 w 463349"/>
                    <a:gd name="connsiteY73" fmla="*/ 658575 h 658681"/>
                    <a:gd name="connsiteX74" fmla="*/ 352709 w 463349"/>
                    <a:gd name="connsiteY74" fmla="*/ 568387 h 658681"/>
                    <a:gd name="connsiteX75" fmla="*/ 359490 w 463349"/>
                    <a:gd name="connsiteY75" fmla="*/ 537986 h 658681"/>
                    <a:gd name="connsiteX76" fmla="*/ 344798 w 463349"/>
                    <a:gd name="connsiteY76" fmla="*/ 509612 h 658681"/>
                    <a:gd name="connsiteX77" fmla="*/ 334627 w 463349"/>
                    <a:gd name="connsiteY77" fmla="*/ 503532 h 658681"/>
                    <a:gd name="connsiteX78" fmla="*/ 338017 w 463349"/>
                    <a:gd name="connsiteY78" fmla="*/ 487318 h 658681"/>
                    <a:gd name="connsiteX79" fmla="*/ 358359 w 463349"/>
                    <a:gd name="connsiteY79" fmla="*/ 487318 h 658681"/>
                    <a:gd name="connsiteX80" fmla="*/ 361750 w 463349"/>
                    <a:gd name="connsiteY80" fmla="*/ 482251 h 658681"/>
                    <a:gd name="connsiteX81" fmla="*/ 343668 w 463349"/>
                    <a:gd name="connsiteY81" fmla="*/ 480224 h 658681"/>
                    <a:gd name="connsiteX82" fmla="*/ 344798 w 463349"/>
                    <a:gd name="connsiteY82" fmla="*/ 466037 h 658681"/>
                    <a:gd name="connsiteX83" fmla="*/ 368530 w 463349"/>
                    <a:gd name="connsiteY83" fmla="*/ 472118 h 658681"/>
                    <a:gd name="connsiteX84" fmla="*/ 403564 w 463349"/>
                    <a:gd name="connsiteY84" fmla="*/ 471104 h 658681"/>
                    <a:gd name="connsiteX85" fmla="*/ 404694 w 463349"/>
                    <a:gd name="connsiteY85" fmla="*/ 460971 h 658681"/>
                    <a:gd name="connsiteX86" fmla="*/ 415996 w 463349"/>
                    <a:gd name="connsiteY86" fmla="*/ 469077 h 658681"/>
                    <a:gd name="connsiteX87" fmla="*/ 428427 w 463349"/>
                    <a:gd name="connsiteY87" fmla="*/ 465024 h 658681"/>
                    <a:gd name="connsiteX88" fmla="*/ 432947 w 463349"/>
                    <a:gd name="connsiteY88" fmla="*/ 449824 h 658681"/>
                    <a:gd name="connsiteX89" fmla="*/ 445379 w 463349"/>
                    <a:gd name="connsiteY89" fmla="*/ 450837 h 658681"/>
                    <a:gd name="connsiteX90" fmla="*/ 448769 w 463349"/>
                    <a:gd name="connsiteY90" fmla="*/ 466037 h 658681"/>
                    <a:gd name="connsiteX91" fmla="*/ 460070 w 463349"/>
                    <a:gd name="connsiteY91" fmla="*/ 469077 h 658681"/>
                    <a:gd name="connsiteX92" fmla="*/ 463460 w 463349"/>
                    <a:gd name="connsiteY92" fmla="*/ 449824 h 658681"/>
                    <a:gd name="connsiteX93" fmla="*/ 454420 w 463349"/>
                    <a:gd name="connsiteY93" fmla="*/ 435637 h 658681"/>
                    <a:gd name="connsiteX94" fmla="*/ 445379 w 463349"/>
                    <a:gd name="connsiteY94" fmla="*/ 426517 h 658681"/>
                    <a:gd name="connsiteX95" fmla="*/ 439728 w 463349"/>
                    <a:gd name="connsiteY95" fmla="*/ 412330 h 658681"/>
                    <a:gd name="connsiteX96" fmla="*/ 455550 w 463349"/>
                    <a:gd name="connsiteY96" fmla="*/ 397129 h 658681"/>
                    <a:gd name="connsiteX97" fmla="*/ 464591 w 463349"/>
                    <a:gd name="connsiteY97" fmla="*/ 372808 h 658681"/>
                    <a:gd name="connsiteX98" fmla="*/ 430687 w 463349"/>
                    <a:gd name="connsiteY98" fmla="*/ 353555 h 658681"/>
                    <a:gd name="connsiteX99" fmla="*/ 412605 w 463349"/>
                    <a:gd name="connsiteY99" fmla="*/ 333288 h 658681"/>
                    <a:gd name="connsiteX100" fmla="*/ 392263 w 463349"/>
                    <a:gd name="connsiteY100" fmla="*/ 308967 h 658681"/>
                    <a:gd name="connsiteX101" fmla="*/ 399044 w 463349"/>
                    <a:gd name="connsiteY101" fmla="*/ 290727 h 658681"/>
                    <a:gd name="connsiteX102" fmla="*/ 402434 w 463349"/>
                    <a:gd name="connsiteY102" fmla="*/ 271473 h 658681"/>
                    <a:gd name="connsiteX103" fmla="*/ 379832 w 463349"/>
                    <a:gd name="connsiteY103" fmla="*/ 267419 h 658681"/>
                    <a:gd name="connsiteX104" fmla="*/ 352709 w 463349"/>
                    <a:gd name="connsiteY104" fmla="*/ 268433 h 658681"/>
                    <a:gd name="connsiteX105" fmla="*/ 335757 w 463349"/>
                    <a:gd name="connsiteY105" fmla="*/ 243099 h 658681"/>
                    <a:gd name="connsiteX106" fmla="*/ 313155 w 463349"/>
                    <a:gd name="connsiteY106" fmla="*/ 237019 h 658681"/>
                    <a:gd name="connsiteX107" fmla="*/ 283771 w 463349"/>
                    <a:gd name="connsiteY107" fmla="*/ 237019 h 658681"/>
                    <a:gd name="connsiteX108" fmla="*/ 257779 w 463349"/>
                    <a:gd name="connsiteY108" fmla="*/ 231952 h 658681"/>
                    <a:gd name="connsiteX109" fmla="*/ 252128 w 463349"/>
                    <a:gd name="connsiteY109" fmla="*/ 212698 h 658681"/>
                    <a:gd name="connsiteX110" fmla="*/ 237436 w 463349"/>
                    <a:gd name="connsiteY110" fmla="*/ 191418 h 658681"/>
                    <a:gd name="connsiteX111" fmla="*/ 244217 w 463349"/>
                    <a:gd name="connsiteY111" fmla="*/ 182298 h 658681"/>
                    <a:gd name="connsiteX112" fmla="*/ 228396 w 463349"/>
                    <a:gd name="connsiteY112" fmla="*/ 152910 h 658681"/>
                    <a:gd name="connsiteX113" fmla="*/ 213704 w 463349"/>
                    <a:gd name="connsiteY113" fmla="*/ 155950 h 658681"/>
                    <a:gd name="connsiteX114" fmla="*/ 209183 w 463349"/>
                    <a:gd name="connsiteY114" fmla="*/ 142777 h 658681"/>
                    <a:gd name="connsiteX115" fmla="*/ 214834 w 463349"/>
                    <a:gd name="connsiteY115" fmla="*/ 116429 h 658681"/>
                    <a:gd name="connsiteX116" fmla="*/ 214834 w 463349"/>
                    <a:gd name="connsiteY116" fmla="*/ 93122 h 658681"/>
                    <a:gd name="connsiteX117" fmla="*/ 230656 w 463349"/>
                    <a:gd name="connsiteY117" fmla="*/ 88055 h 658681"/>
                    <a:gd name="connsiteX118" fmla="*/ 243087 w 463349"/>
                    <a:gd name="connsiteY118" fmla="*/ 56641 h 658681"/>
                    <a:gd name="connsiteX119" fmla="*/ 263429 w 463349"/>
                    <a:gd name="connsiteY119" fmla="*/ 33334 h 658681"/>
                    <a:gd name="connsiteX120" fmla="*/ 279251 w 463349"/>
                    <a:gd name="connsiteY120" fmla="*/ 30294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63349" h="658681">
                      <a:moveTo>
                        <a:pt x="279251" y="30294"/>
                      </a:moveTo>
                      <a:cubicBezTo>
                        <a:pt x="280381" y="29281"/>
                        <a:pt x="284902" y="31307"/>
                        <a:pt x="287162" y="30294"/>
                      </a:cubicBezTo>
                      <a:cubicBezTo>
                        <a:pt x="289422" y="29281"/>
                        <a:pt x="290552" y="24214"/>
                        <a:pt x="292813" y="23200"/>
                      </a:cubicBezTo>
                      <a:lnTo>
                        <a:pt x="292813" y="18134"/>
                      </a:lnTo>
                      <a:cubicBezTo>
                        <a:pt x="288292" y="17120"/>
                        <a:pt x="288292" y="18134"/>
                        <a:pt x="284902" y="16107"/>
                      </a:cubicBezTo>
                      <a:cubicBezTo>
                        <a:pt x="283771" y="15094"/>
                        <a:pt x="279251" y="9013"/>
                        <a:pt x="276991" y="9013"/>
                      </a:cubicBezTo>
                      <a:cubicBezTo>
                        <a:pt x="273600" y="9013"/>
                        <a:pt x="272470" y="12054"/>
                        <a:pt x="265689" y="11040"/>
                      </a:cubicBezTo>
                      <a:cubicBezTo>
                        <a:pt x="263429" y="15094"/>
                        <a:pt x="258909" y="14080"/>
                        <a:pt x="257779" y="16107"/>
                      </a:cubicBezTo>
                      <a:cubicBezTo>
                        <a:pt x="256649" y="18134"/>
                        <a:pt x="258909" y="23200"/>
                        <a:pt x="257779" y="26241"/>
                      </a:cubicBezTo>
                      <a:cubicBezTo>
                        <a:pt x="256649" y="31307"/>
                        <a:pt x="240827" y="39414"/>
                        <a:pt x="236307" y="40428"/>
                      </a:cubicBezTo>
                      <a:cubicBezTo>
                        <a:pt x="229526" y="42454"/>
                        <a:pt x="228396" y="39414"/>
                        <a:pt x="222745" y="42454"/>
                      </a:cubicBezTo>
                      <a:cubicBezTo>
                        <a:pt x="215964" y="46508"/>
                        <a:pt x="210314" y="57655"/>
                        <a:pt x="201273" y="59681"/>
                      </a:cubicBezTo>
                      <a:cubicBezTo>
                        <a:pt x="194492" y="60695"/>
                        <a:pt x="185451" y="57655"/>
                        <a:pt x="179801" y="59681"/>
                      </a:cubicBezTo>
                      <a:cubicBezTo>
                        <a:pt x="176410" y="60695"/>
                        <a:pt x="178670" y="65761"/>
                        <a:pt x="174150" y="66775"/>
                      </a:cubicBezTo>
                      <a:cubicBezTo>
                        <a:pt x="178670" y="67788"/>
                        <a:pt x="169629" y="85015"/>
                        <a:pt x="171890" y="71842"/>
                      </a:cubicBezTo>
                      <a:cubicBezTo>
                        <a:pt x="168499" y="71842"/>
                        <a:pt x="165109" y="67788"/>
                        <a:pt x="158328" y="69815"/>
                      </a:cubicBezTo>
                      <a:cubicBezTo>
                        <a:pt x="152677" y="70828"/>
                        <a:pt x="152677" y="74882"/>
                        <a:pt x="150417" y="79948"/>
                      </a:cubicBezTo>
                      <a:lnTo>
                        <a:pt x="144767" y="81975"/>
                      </a:lnTo>
                      <a:cubicBezTo>
                        <a:pt x="140246" y="92109"/>
                        <a:pt x="147027" y="104269"/>
                        <a:pt x="144767" y="111363"/>
                      </a:cubicBezTo>
                      <a:cubicBezTo>
                        <a:pt x="143637" y="112376"/>
                        <a:pt x="132335" y="113389"/>
                        <a:pt x="131205" y="116429"/>
                      </a:cubicBezTo>
                      <a:cubicBezTo>
                        <a:pt x="130075" y="119469"/>
                        <a:pt x="132335" y="126563"/>
                        <a:pt x="133466" y="130616"/>
                      </a:cubicBezTo>
                      <a:cubicBezTo>
                        <a:pt x="126685" y="131630"/>
                        <a:pt x="127815" y="130616"/>
                        <a:pt x="119904" y="130616"/>
                      </a:cubicBezTo>
                      <a:cubicBezTo>
                        <a:pt x="108603" y="152910"/>
                        <a:pt x="108603" y="158990"/>
                        <a:pt x="104082" y="184324"/>
                      </a:cubicBezTo>
                      <a:cubicBezTo>
                        <a:pt x="101822" y="183311"/>
                        <a:pt x="98432" y="185337"/>
                        <a:pt x="96171" y="184324"/>
                      </a:cubicBezTo>
                      <a:cubicBezTo>
                        <a:pt x="89391" y="182298"/>
                        <a:pt x="89391" y="170137"/>
                        <a:pt x="84870" y="165070"/>
                      </a:cubicBezTo>
                      <a:cubicBezTo>
                        <a:pt x="82610" y="163044"/>
                        <a:pt x="80350" y="163044"/>
                        <a:pt x="75829" y="161017"/>
                      </a:cubicBezTo>
                      <a:lnTo>
                        <a:pt x="72439" y="174191"/>
                      </a:lnTo>
                      <a:cubicBezTo>
                        <a:pt x="72439" y="174191"/>
                        <a:pt x="80350" y="178244"/>
                        <a:pt x="80350" y="187364"/>
                      </a:cubicBezTo>
                      <a:cubicBezTo>
                        <a:pt x="80350" y="196484"/>
                        <a:pt x="72439" y="203578"/>
                        <a:pt x="72439" y="203578"/>
                      </a:cubicBezTo>
                      <a:lnTo>
                        <a:pt x="67918" y="213712"/>
                      </a:lnTo>
                      <a:cubicBezTo>
                        <a:pt x="71309" y="214725"/>
                        <a:pt x="70179" y="215738"/>
                        <a:pt x="73569" y="216752"/>
                      </a:cubicBezTo>
                      <a:cubicBezTo>
                        <a:pt x="76960" y="241072"/>
                        <a:pt x="70179" y="251206"/>
                        <a:pt x="75829" y="270460"/>
                      </a:cubicBezTo>
                      <a:lnTo>
                        <a:pt x="62268" y="275526"/>
                      </a:lnTo>
                      <a:cubicBezTo>
                        <a:pt x="64528" y="279580"/>
                        <a:pt x="66789" y="280593"/>
                        <a:pt x="70179" y="282620"/>
                      </a:cubicBezTo>
                      <a:cubicBezTo>
                        <a:pt x="65658" y="296807"/>
                        <a:pt x="70179" y="299847"/>
                        <a:pt x="67918" y="314034"/>
                      </a:cubicBezTo>
                      <a:cubicBezTo>
                        <a:pt x="66789" y="318087"/>
                        <a:pt x="58878" y="326194"/>
                        <a:pt x="56617" y="331261"/>
                      </a:cubicBezTo>
                      <a:cubicBezTo>
                        <a:pt x="54357" y="328221"/>
                        <a:pt x="54357" y="333288"/>
                        <a:pt x="54357" y="333288"/>
                      </a:cubicBezTo>
                      <a:cubicBezTo>
                        <a:pt x="58878" y="338354"/>
                        <a:pt x="57747" y="342408"/>
                        <a:pt x="65658" y="345448"/>
                      </a:cubicBezTo>
                      <a:cubicBezTo>
                        <a:pt x="71309" y="348488"/>
                        <a:pt x="70179" y="345448"/>
                        <a:pt x="76960" y="345448"/>
                      </a:cubicBezTo>
                      <a:lnTo>
                        <a:pt x="76960" y="350515"/>
                      </a:lnTo>
                      <a:cubicBezTo>
                        <a:pt x="72439" y="354568"/>
                        <a:pt x="63398" y="357608"/>
                        <a:pt x="61138" y="362675"/>
                      </a:cubicBezTo>
                      <a:cubicBezTo>
                        <a:pt x="57747" y="367742"/>
                        <a:pt x="61138" y="375849"/>
                        <a:pt x="55487" y="379902"/>
                      </a:cubicBezTo>
                      <a:cubicBezTo>
                        <a:pt x="49837" y="383955"/>
                        <a:pt x="39665" y="381929"/>
                        <a:pt x="34015" y="384969"/>
                      </a:cubicBezTo>
                      <a:cubicBezTo>
                        <a:pt x="31755" y="385982"/>
                        <a:pt x="28364" y="393076"/>
                        <a:pt x="26104" y="395102"/>
                      </a:cubicBezTo>
                      <a:cubicBezTo>
                        <a:pt x="24974" y="395102"/>
                        <a:pt x="23844" y="395102"/>
                        <a:pt x="23844" y="395102"/>
                      </a:cubicBezTo>
                      <a:cubicBezTo>
                        <a:pt x="22714" y="397129"/>
                        <a:pt x="23844" y="404223"/>
                        <a:pt x="23844" y="407263"/>
                      </a:cubicBezTo>
                      <a:cubicBezTo>
                        <a:pt x="19323" y="404223"/>
                        <a:pt x="22714" y="409289"/>
                        <a:pt x="21584" y="409289"/>
                      </a:cubicBezTo>
                      <a:cubicBezTo>
                        <a:pt x="19323" y="408276"/>
                        <a:pt x="24974" y="414356"/>
                        <a:pt x="29494" y="416383"/>
                      </a:cubicBezTo>
                      <a:lnTo>
                        <a:pt x="29494" y="421450"/>
                      </a:lnTo>
                      <a:cubicBezTo>
                        <a:pt x="23844" y="422463"/>
                        <a:pt x="15933" y="419423"/>
                        <a:pt x="10283" y="421450"/>
                      </a:cubicBezTo>
                      <a:cubicBezTo>
                        <a:pt x="9152" y="422463"/>
                        <a:pt x="12543" y="433610"/>
                        <a:pt x="12543" y="435637"/>
                      </a:cubicBezTo>
                      <a:lnTo>
                        <a:pt x="14803" y="437664"/>
                      </a:lnTo>
                      <a:cubicBezTo>
                        <a:pt x="14803" y="437664"/>
                        <a:pt x="17063" y="447797"/>
                        <a:pt x="26104" y="452864"/>
                      </a:cubicBezTo>
                      <a:cubicBezTo>
                        <a:pt x="35145" y="457931"/>
                        <a:pt x="47576" y="460971"/>
                        <a:pt x="47576" y="460971"/>
                      </a:cubicBezTo>
                      <a:cubicBezTo>
                        <a:pt x="47576" y="460971"/>
                        <a:pt x="54357" y="468064"/>
                        <a:pt x="55487" y="474144"/>
                      </a:cubicBezTo>
                      <a:cubicBezTo>
                        <a:pt x="56617" y="480224"/>
                        <a:pt x="65658" y="485291"/>
                        <a:pt x="65658" y="485291"/>
                      </a:cubicBezTo>
                      <a:lnTo>
                        <a:pt x="98432" y="491371"/>
                      </a:lnTo>
                      <a:cubicBezTo>
                        <a:pt x="98432" y="491371"/>
                        <a:pt x="104082" y="481238"/>
                        <a:pt x="108603" y="488331"/>
                      </a:cubicBezTo>
                      <a:cubicBezTo>
                        <a:pt x="113123" y="495425"/>
                        <a:pt x="137986" y="502518"/>
                        <a:pt x="137986" y="502518"/>
                      </a:cubicBezTo>
                      <a:lnTo>
                        <a:pt x="154938" y="502518"/>
                      </a:lnTo>
                      <a:cubicBezTo>
                        <a:pt x="154938" y="502518"/>
                        <a:pt x="154938" y="518732"/>
                        <a:pt x="161719" y="518732"/>
                      </a:cubicBezTo>
                      <a:cubicBezTo>
                        <a:pt x="168499" y="518732"/>
                        <a:pt x="178670" y="531906"/>
                        <a:pt x="177540" y="536972"/>
                      </a:cubicBezTo>
                      <a:cubicBezTo>
                        <a:pt x="176410" y="542039"/>
                        <a:pt x="194492" y="551159"/>
                        <a:pt x="194492" y="551159"/>
                      </a:cubicBezTo>
                      <a:lnTo>
                        <a:pt x="214834" y="552173"/>
                      </a:lnTo>
                      <a:lnTo>
                        <a:pt x="215964" y="563320"/>
                      </a:lnTo>
                      <a:cubicBezTo>
                        <a:pt x="215964" y="563320"/>
                        <a:pt x="220485" y="574467"/>
                        <a:pt x="227265" y="574467"/>
                      </a:cubicBezTo>
                      <a:cubicBezTo>
                        <a:pt x="234046" y="574467"/>
                        <a:pt x="247608" y="579534"/>
                        <a:pt x="247608" y="579534"/>
                      </a:cubicBezTo>
                      <a:lnTo>
                        <a:pt x="250998" y="569400"/>
                      </a:lnTo>
                      <a:cubicBezTo>
                        <a:pt x="250998" y="569400"/>
                        <a:pt x="272470" y="568387"/>
                        <a:pt x="276991" y="573453"/>
                      </a:cubicBezTo>
                      <a:cubicBezTo>
                        <a:pt x="281511" y="578520"/>
                        <a:pt x="293942" y="581560"/>
                        <a:pt x="304114" y="581560"/>
                      </a:cubicBezTo>
                      <a:cubicBezTo>
                        <a:pt x="314285" y="581560"/>
                        <a:pt x="321066" y="591694"/>
                        <a:pt x="321066" y="591694"/>
                      </a:cubicBezTo>
                      <a:lnTo>
                        <a:pt x="286032" y="652495"/>
                      </a:lnTo>
                      <a:lnTo>
                        <a:pt x="302984" y="652495"/>
                      </a:lnTo>
                      <a:lnTo>
                        <a:pt x="314285" y="658575"/>
                      </a:lnTo>
                      <a:cubicBezTo>
                        <a:pt x="314285" y="658575"/>
                        <a:pt x="351579" y="576493"/>
                        <a:pt x="352709" y="568387"/>
                      </a:cubicBezTo>
                      <a:cubicBezTo>
                        <a:pt x="353839" y="560279"/>
                        <a:pt x="365140" y="548119"/>
                        <a:pt x="359490" y="537986"/>
                      </a:cubicBezTo>
                      <a:cubicBezTo>
                        <a:pt x="357229" y="533932"/>
                        <a:pt x="344798" y="509612"/>
                        <a:pt x="344798" y="509612"/>
                      </a:cubicBezTo>
                      <a:lnTo>
                        <a:pt x="334627" y="503532"/>
                      </a:lnTo>
                      <a:lnTo>
                        <a:pt x="338017" y="487318"/>
                      </a:lnTo>
                      <a:lnTo>
                        <a:pt x="358359" y="487318"/>
                      </a:lnTo>
                      <a:lnTo>
                        <a:pt x="361750" y="482251"/>
                      </a:lnTo>
                      <a:lnTo>
                        <a:pt x="343668" y="480224"/>
                      </a:lnTo>
                      <a:lnTo>
                        <a:pt x="344798" y="466037"/>
                      </a:lnTo>
                      <a:cubicBezTo>
                        <a:pt x="344798" y="466037"/>
                        <a:pt x="358359" y="472118"/>
                        <a:pt x="368530" y="472118"/>
                      </a:cubicBezTo>
                      <a:cubicBezTo>
                        <a:pt x="378701" y="472118"/>
                        <a:pt x="403564" y="471104"/>
                        <a:pt x="403564" y="471104"/>
                      </a:cubicBezTo>
                      <a:lnTo>
                        <a:pt x="404694" y="460971"/>
                      </a:lnTo>
                      <a:lnTo>
                        <a:pt x="415996" y="469077"/>
                      </a:lnTo>
                      <a:lnTo>
                        <a:pt x="428427" y="465024"/>
                      </a:lnTo>
                      <a:lnTo>
                        <a:pt x="432947" y="449824"/>
                      </a:lnTo>
                      <a:lnTo>
                        <a:pt x="445379" y="450837"/>
                      </a:lnTo>
                      <a:lnTo>
                        <a:pt x="448769" y="466037"/>
                      </a:lnTo>
                      <a:lnTo>
                        <a:pt x="460070" y="469077"/>
                      </a:lnTo>
                      <a:lnTo>
                        <a:pt x="463460" y="449824"/>
                      </a:lnTo>
                      <a:cubicBezTo>
                        <a:pt x="463460" y="449824"/>
                        <a:pt x="457810" y="443743"/>
                        <a:pt x="454420" y="435637"/>
                      </a:cubicBezTo>
                      <a:cubicBezTo>
                        <a:pt x="451029" y="427530"/>
                        <a:pt x="455550" y="420436"/>
                        <a:pt x="445379" y="426517"/>
                      </a:cubicBezTo>
                      <a:cubicBezTo>
                        <a:pt x="435207" y="432597"/>
                        <a:pt x="439728" y="412330"/>
                        <a:pt x="439728" y="412330"/>
                      </a:cubicBezTo>
                      <a:cubicBezTo>
                        <a:pt x="439728" y="412330"/>
                        <a:pt x="454420" y="404223"/>
                        <a:pt x="455550" y="397129"/>
                      </a:cubicBezTo>
                      <a:cubicBezTo>
                        <a:pt x="456680" y="390036"/>
                        <a:pt x="464591" y="372808"/>
                        <a:pt x="464591" y="372808"/>
                      </a:cubicBezTo>
                      <a:cubicBezTo>
                        <a:pt x="464591" y="372808"/>
                        <a:pt x="436338" y="359635"/>
                        <a:pt x="430687" y="353555"/>
                      </a:cubicBezTo>
                      <a:cubicBezTo>
                        <a:pt x="425036" y="347475"/>
                        <a:pt x="413735" y="339368"/>
                        <a:pt x="412605" y="333288"/>
                      </a:cubicBezTo>
                      <a:cubicBezTo>
                        <a:pt x="411475" y="327207"/>
                        <a:pt x="395653" y="322141"/>
                        <a:pt x="392263" y="308967"/>
                      </a:cubicBezTo>
                      <a:cubicBezTo>
                        <a:pt x="388873" y="295794"/>
                        <a:pt x="399044" y="290727"/>
                        <a:pt x="399044" y="290727"/>
                      </a:cubicBezTo>
                      <a:lnTo>
                        <a:pt x="402434" y="271473"/>
                      </a:lnTo>
                      <a:cubicBezTo>
                        <a:pt x="402434" y="271473"/>
                        <a:pt x="390003" y="267419"/>
                        <a:pt x="379832" y="267419"/>
                      </a:cubicBezTo>
                      <a:cubicBezTo>
                        <a:pt x="369661" y="267419"/>
                        <a:pt x="352709" y="268433"/>
                        <a:pt x="352709" y="268433"/>
                      </a:cubicBezTo>
                      <a:cubicBezTo>
                        <a:pt x="352709" y="268433"/>
                        <a:pt x="340277" y="250193"/>
                        <a:pt x="335757" y="243099"/>
                      </a:cubicBezTo>
                      <a:cubicBezTo>
                        <a:pt x="331237" y="236005"/>
                        <a:pt x="323326" y="233979"/>
                        <a:pt x="313155" y="237019"/>
                      </a:cubicBezTo>
                      <a:cubicBezTo>
                        <a:pt x="302984" y="240059"/>
                        <a:pt x="283771" y="237019"/>
                        <a:pt x="283771" y="237019"/>
                      </a:cubicBezTo>
                      <a:lnTo>
                        <a:pt x="257779" y="231952"/>
                      </a:lnTo>
                      <a:cubicBezTo>
                        <a:pt x="257779" y="231952"/>
                        <a:pt x="258909" y="222832"/>
                        <a:pt x="252128" y="212698"/>
                      </a:cubicBezTo>
                      <a:cubicBezTo>
                        <a:pt x="245347" y="202565"/>
                        <a:pt x="239697" y="199525"/>
                        <a:pt x="237436" y="191418"/>
                      </a:cubicBezTo>
                      <a:cubicBezTo>
                        <a:pt x="235176" y="183311"/>
                        <a:pt x="244217" y="182298"/>
                        <a:pt x="244217" y="182298"/>
                      </a:cubicBezTo>
                      <a:lnTo>
                        <a:pt x="228396" y="152910"/>
                      </a:lnTo>
                      <a:lnTo>
                        <a:pt x="213704" y="155950"/>
                      </a:lnTo>
                      <a:cubicBezTo>
                        <a:pt x="213704" y="155950"/>
                        <a:pt x="201273" y="160004"/>
                        <a:pt x="209183" y="142777"/>
                      </a:cubicBezTo>
                      <a:cubicBezTo>
                        <a:pt x="217094" y="125549"/>
                        <a:pt x="209183" y="126563"/>
                        <a:pt x="214834" y="116429"/>
                      </a:cubicBezTo>
                      <a:cubicBezTo>
                        <a:pt x="220485" y="106296"/>
                        <a:pt x="214834" y="93122"/>
                        <a:pt x="214834" y="93122"/>
                      </a:cubicBezTo>
                      <a:lnTo>
                        <a:pt x="230656" y="88055"/>
                      </a:lnTo>
                      <a:lnTo>
                        <a:pt x="243087" y="56641"/>
                      </a:lnTo>
                      <a:lnTo>
                        <a:pt x="263429" y="33334"/>
                      </a:lnTo>
                      <a:cubicBezTo>
                        <a:pt x="258909" y="34347"/>
                        <a:pt x="272470" y="31307"/>
                        <a:pt x="279251" y="3029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5" name="Freeform: Shape 424">
                  <a:extLst>
                    <a:ext uri="{FF2B5EF4-FFF2-40B4-BE49-F238E27FC236}">
                      <a16:creationId xmlns:a16="http://schemas.microsoft.com/office/drawing/2014/main" id="{83E9ADC2-B5C3-424E-A6B0-B9102819C496}"/>
                    </a:ext>
                  </a:extLst>
                </p:cNvPr>
                <p:cNvSpPr/>
                <p:nvPr/>
              </p:nvSpPr>
              <p:spPr>
                <a:xfrm>
                  <a:off x="8453015" y="2008972"/>
                  <a:ext cx="2192432" cy="1570703"/>
                </a:xfrm>
                <a:custGeom>
                  <a:avLst/>
                  <a:gdLst>
                    <a:gd name="connsiteX0" fmla="*/ 1343593 w 2192431"/>
                    <a:gd name="connsiteY0" fmla="*/ 1485474 h 1570703"/>
                    <a:gd name="connsiteX1" fmla="*/ 1308560 w 2192431"/>
                    <a:gd name="connsiteY1" fmla="*/ 1497635 h 1570703"/>
                    <a:gd name="connsiteX2" fmla="*/ 1287087 w 2192431"/>
                    <a:gd name="connsiteY2" fmla="*/ 1499661 h 1570703"/>
                    <a:gd name="connsiteX3" fmla="*/ 1284827 w 2192431"/>
                    <a:gd name="connsiteY3" fmla="*/ 1509795 h 1570703"/>
                    <a:gd name="connsiteX4" fmla="*/ 1276917 w 2192431"/>
                    <a:gd name="connsiteY4" fmla="*/ 1511822 h 1570703"/>
                    <a:gd name="connsiteX5" fmla="*/ 1261095 w 2192431"/>
                    <a:gd name="connsiteY5" fmla="*/ 1521955 h 1570703"/>
                    <a:gd name="connsiteX6" fmla="*/ 1266745 w 2192431"/>
                    <a:gd name="connsiteY6" fmla="*/ 1551343 h 1570703"/>
                    <a:gd name="connsiteX7" fmla="*/ 1282567 w 2192431"/>
                    <a:gd name="connsiteY7" fmla="*/ 1558436 h 1570703"/>
                    <a:gd name="connsiteX8" fmla="*/ 1296128 w 2192431"/>
                    <a:gd name="connsiteY8" fmla="*/ 1568570 h 1570703"/>
                    <a:gd name="connsiteX9" fmla="*/ 1323251 w 2192431"/>
                    <a:gd name="connsiteY9" fmla="*/ 1556409 h 1570703"/>
                    <a:gd name="connsiteX10" fmla="*/ 1325512 w 2192431"/>
                    <a:gd name="connsiteY10" fmla="*/ 1549316 h 1570703"/>
                    <a:gd name="connsiteX11" fmla="*/ 1339073 w 2192431"/>
                    <a:gd name="connsiteY11" fmla="*/ 1544249 h 1570703"/>
                    <a:gd name="connsiteX12" fmla="*/ 1341333 w 2192431"/>
                    <a:gd name="connsiteY12" fmla="*/ 1530062 h 1570703"/>
                    <a:gd name="connsiteX13" fmla="*/ 1346983 w 2192431"/>
                    <a:gd name="connsiteY13" fmla="*/ 1524995 h 1570703"/>
                    <a:gd name="connsiteX14" fmla="*/ 1358285 w 2192431"/>
                    <a:gd name="connsiteY14" fmla="*/ 1505742 h 1570703"/>
                    <a:gd name="connsiteX15" fmla="*/ 1356025 w 2192431"/>
                    <a:gd name="connsiteY15" fmla="*/ 1500675 h 1570703"/>
                    <a:gd name="connsiteX16" fmla="*/ 1356025 w 2192431"/>
                    <a:gd name="connsiteY16" fmla="*/ 1493581 h 1570703"/>
                    <a:gd name="connsiteX17" fmla="*/ 1343593 w 2192431"/>
                    <a:gd name="connsiteY17" fmla="*/ 1485474 h 1570703"/>
                    <a:gd name="connsiteX18" fmla="*/ 1413661 w 2192431"/>
                    <a:gd name="connsiteY18" fmla="*/ 1113572 h 1570703"/>
                    <a:gd name="connsiteX19" fmla="*/ 1419311 w 2192431"/>
                    <a:gd name="connsiteY19" fmla="*/ 1120666 h 1570703"/>
                    <a:gd name="connsiteX20" fmla="*/ 1417051 w 2192431"/>
                    <a:gd name="connsiteY20" fmla="*/ 1127759 h 1570703"/>
                    <a:gd name="connsiteX21" fmla="*/ 1409140 w 2192431"/>
                    <a:gd name="connsiteY21" fmla="*/ 1132826 h 1570703"/>
                    <a:gd name="connsiteX22" fmla="*/ 1387668 w 2192431"/>
                    <a:gd name="connsiteY22" fmla="*/ 1125733 h 1570703"/>
                    <a:gd name="connsiteX23" fmla="*/ 1387668 w 2192431"/>
                    <a:gd name="connsiteY23" fmla="*/ 1120666 h 1570703"/>
                    <a:gd name="connsiteX24" fmla="*/ 1395579 w 2192431"/>
                    <a:gd name="connsiteY24" fmla="*/ 1115599 h 1570703"/>
                    <a:gd name="connsiteX25" fmla="*/ 1395579 w 2192431"/>
                    <a:gd name="connsiteY25" fmla="*/ 1122693 h 1570703"/>
                    <a:gd name="connsiteX26" fmla="*/ 1403489 w 2192431"/>
                    <a:gd name="connsiteY26" fmla="*/ 1122693 h 1570703"/>
                    <a:gd name="connsiteX27" fmla="*/ 1405750 w 2192431"/>
                    <a:gd name="connsiteY27" fmla="*/ 1115599 h 1570703"/>
                    <a:gd name="connsiteX28" fmla="*/ 1413661 w 2192431"/>
                    <a:gd name="connsiteY28" fmla="*/ 1113572 h 1570703"/>
                    <a:gd name="connsiteX29" fmla="*/ 1557186 w 2192431"/>
                    <a:gd name="connsiteY29" fmla="*/ 1096346 h 1570703"/>
                    <a:gd name="connsiteX30" fmla="*/ 1551535 w 2192431"/>
                    <a:gd name="connsiteY30" fmla="*/ 1110532 h 1570703"/>
                    <a:gd name="connsiteX31" fmla="*/ 1557186 w 2192431"/>
                    <a:gd name="connsiteY31" fmla="*/ 1096346 h 1570703"/>
                    <a:gd name="connsiteX32" fmla="*/ 1673588 w 2192431"/>
                    <a:gd name="connsiteY32" fmla="*/ 1009197 h 1570703"/>
                    <a:gd name="connsiteX33" fmla="*/ 1681499 w 2192431"/>
                    <a:gd name="connsiteY33" fmla="*/ 1011223 h 1570703"/>
                    <a:gd name="connsiteX34" fmla="*/ 1681499 w 2192431"/>
                    <a:gd name="connsiteY34" fmla="*/ 1028450 h 1570703"/>
                    <a:gd name="connsiteX35" fmla="*/ 1670198 w 2192431"/>
                    <a:gd name="connsiteY35" fmla="*/ 1026424 h 1570703"/>
                    <a:gd name="connsiteX36" fmla="*/ 1662287 w 2192431"/>
                    <a:gd name="connsiteY36" fmla="*/ 1024397 h 1570703"/>
                    <a:gd name="connsiteX37" fmla="*/ 1662287 w 2192431"/>
                    <a:gd name="connsiteY37" fmla="*/ 1014264 h 1570703"/>
                    <a:gd name="connsiteX38" fmla="*/ 1673588 w 2192431"/>
                    <a:gd name="connsiteY38" fmla="*/ 1009197 h 1570703"/>
                    <a:gd name="connsiteX39" fmla="*/ 1719923 w 2192431"/>
                    <a:gd name="connsiteY39" fmla="*/ 1004130 h 1570703"/>
                    <a:gd name="connsiteX40" fmla="*/ 1722183 w 2192431"/>
                    <a:gd name="connsiteY40" fmla="*/ 1011223 h 1570703"/>
                    <a:gd name="connsiteX41" fmla="*/ 1719923 w 2192431"/>
                    <a:gd name="connsiteY41" fmla="*/ 1004130 h 1570703"/>
                    <a:gd name="connsiteX42" fmla="*/ 1574138 w 2192431"/>
                    <a:gd name="connsiteY42" fmla="*/ 865300 h 1570703"/>
                    <a:gd name="connsiteX43" fmla="*/ 1574138 w 2192431"/>
                    <a:gd name="connsiteY43" fmla="*/ 872394 h 1570703"/>
                    <a:gd name="connsiteX44" fmla="*/ 1574138 w 2192431"/>
                    <a:gd name="connsiteY44" fmla="*/ 865300 h 1570703"/>
                    <a:gd name="connsiteX45" fmla="*/ 2103034 w 2192431"/>
                    <a:gd name="connsiteY45" fmla="*/ 413343 h 1570703"/>
                    <a:gd name="connsiteX46" fmla="*/ 2112075 w 2192431"/>
                    <a:gd name="connsiteY46" fmla="*/ 403209 h 1570703"/>
                    <a:gd name="connsiteX47" fmla="*/ 2127897 w 2192431"/>
                    <a:gd name="connsiteY47" fmla="*/ 394089 h 1570703"/>
                    <a:gd name="connsiteX48" fmla="*/ 2132417 w 2192431"/>
                    <a:gd name="connsiteY48" fmla="*/ 382942 h 1570703"/>
                    <a:gd name="connsiteX49" fmla="*/ 2143718 w 2192431"/>
                    <a:gd name="connsiteY49" fmla="*/ 377875 h 1570703"/>
                    <a:gd name="connsiteX50" fmla="*/ 2158410 w 2192431"/>
                    <a:gd name="connsiteY50" fmla="*/ 364702 h 1570703"/>
                    <a:gd name="connsiteX51" fmla="*/ 2167451 w 2192431"/>
                    <a:gd name="connsiteY51" fmla="*/ 348488 h 1570703"/>
                    <a:gd name="connsiteX52" fmla="*/ 2171971 w 2192431"/>
                    <a:gd name="connsiteY52" fmla="*/ 325181 h 1570703"/>
                    <a:gd name="connsiteX53" fmla="*/ 2170841 w 2192431"/>
                    <a:gd name="connsiteY53" fmla="*/ 314034 h 1570703"/>
                    <a:gd name="connsiteX54" fmla="*/ 2181012 w 2192431"/>
                    <a:gd name="connsiteY54" fmla="*/ 304914 h 1570703"/>
                    <a:gd name="connsiteX55" fmla="*/ 2183272 w 2192431"/>
                    <a:gd name="connsiteY55" fmla="*/ 288700 h 1570703"/>
                    <a:gd name="connsiteX56" fmla="*/ 2174231 w 2192431"/>
                    <a:gd name="connsiteY56" fmla="*/ 280593 h 1570703"/>
                    <a:gd name="connsiteX57" fmla="*/ 2174231 w 2192431"/>
                    <a:gd name="connsiteY57" fmla="*/ 267419 h 1570703"/>
                    <a:gd name="connsiteX58" fmla="*/ 2183272 w 2192431"/>
                    <a:gd name="connsiteY58" fmla="*/ 248166 h 1570703"/>
                    <a:gd name="connsiteX59" fmla="*/ 2162930 w 2192431"/>
                    <a:gd name="connsiteY59" fmla="*/ 254246 h 1570703"/>
                    <a:gd name="connsiteX60" fmla="*/ 2156149 w 2192431"/>
                    <a:gd name="connsiteY60" fmla="*/ 264379 h 1570703"/>
                    <a:gd name="connsiteX61" fmla="*/ 2141458 w 2192431"/>
                    <a:gd name="connsiteY61" fmla="*/ 268433 h 1570703"/>
                    <a:gd name="connsiteX62" fmla="*/ 2129026 w 2192431"/>
                    <a:gd name="connsiteY62" fmla="*/ 268433 h 1570703"/>
                    <a:gd name="connsiteX63" fmla="*/ 2114335 w 2192431"/>
                    <a:gd name="connsiteY63" fmla="*/ 276540 h 1570703"/>
                    <a:gd name="connsiteX64" fmla="*/ 2103034 w 2192431"/>
                    <a:gd name="connsiteY64" fmla="*/ 287687 h 1570703"/>
                    <a:gd name="connsiteX65" fmla="*/ 2088342 w 2192431"/>
                    <a:gd name="connsiteY65" fmla="*/ 293767 h 1570703"/>
                    <a:gd name="connsiteX66" fmla="*/ 2078171 w 2192431"/>
                    <a:gd name="connsiteY66" fmla="*/ 297820 h 1570703"/>
                    <a:gd name="connsiteX67" fmla="*/ 2061219 w 2192431"/>
                    <a:gd name="connsiteY67" fmla="*/ 288700 h 1570703"/>
                    <a:gd name="connsiteX68" fmla="*/ 2045398 w 2192431"/>
                    <a:gd name="connsiteY68" fmla="*/ 280593 h 1570703"/>
                    <a:gd name="connsiteX69" fmla="*/ 2036356 w 2192431"/>
                    <a:gd name="connsiteY69" fmla="*/ 267419 h 1570703"/>
                    <a:gd name="connsiteX70" fmla="*/ 2040877 w 2192431"/>
                    <a:gd name="connsiteY70" fmla="*/ 253232 h 1570703"/>
                    <a:gd name="connsiteX71" fmla="*/ 2034097 w 2192431"/>
                    <a:gd name="connsiteY71" fmla="*/ 240059 h 1570703"/>
                    <a:gd name="connsiteX72" fmla="*/ 2018275 w 2192431"/>
                    <a:gd name="connsiteY72" fmla="*/ 225872 h 1570703"/>
                    <a:gd name="connsiteX73" fmla="*/ 2011494 w 2192431"/>
                    <a:gd name="connsiteY73" fmla="*/ 209658 h 1570703"/>
                    <a:gd name="connsiteX74" fmla="*/ 2005844 w 2192431"/>
                    <a:gd name="connsiteY74" fmla="*/ 195471 h 1570703"/>
                    <a:gd name="connsiteX75" fmla="*/ 1994542 w 2192431"/>
                    <a:gd name="connsiteY75" fmla="*/ 186351 h 1570703"/>
                    <a:gd name="connsiteX76" fmla="*/ 1974200 w 2192431"/>
                    <a:gd name="connsiteY76" fmla="*/ 180271 h 1570703"/>
                    <a:gd name="connsiteX77" fmla="*/ 1959508 w 2192431"/>
                    <a:gd name="connsiteY77" fmla="*/ 177231 h 1570703"/>
                    <a:gd name="connsiteX78" fmla="*/ 1943687 w 2192431"/>
                    <a:gd name="connsiteY78" fmla="*/ 177231 h 1570703"/>
                    <a:gd name="connsiteX79" fmla="*/ 1932386 w 2192431"/>
                    <a:gd name="connsiteY79" fmla="*/ 168111 h 1570703"/>
                    <a:gd name="connsiteX80" fmla="*/ 1921085 w 2192431"/>
                    <a:gd name="connsiteY80" fmla="*/ 147843 h 1570703"/>
                    <a:gd name="connsiteX81" fmla="*/ 1905263 w 2192431"/>
                    <a:gd name="connsiteY81" fmla="*/ 124536 h 1570703"/>
                    <a:gd name="connsiteX82" fmla="*/ 1899612 w 2192431"/>
                    <a:gd name="connsiteY82" fmla="*/ 104269 h 1570703"/>
                    <a:gd name="connsiteX83" fmla="*/ 1899612 w 2192431"/>
                    <a:gd name="connsiteY83" fmla="*/ 91095 h 1570703"/>
                    <a:gd name="connsiteX84" fmla="*/ 1887181 w 2192431"/>
                    <a:gd name="connsiteY84" fmla="*/ 72855 h 1570703"/>
                    <a:gd name="connsiteX85" fmla="*/ 1877010 w 2192431"/>
                    <a:gd name="connsiteY85" fmla="*/ 61708 h 1570703"/>
                    <a:gd name="connsiteX86" fmla="*/ 1858928 w 2192431"/>
                    <a:gd name="connsiteY86" fmla="*/ 48534 h 1570703"/>
                    <a:gd name="connsiteX87" fmla="*/ 1832935 w 2192431"/>
                    <a:gd name="connsiteY87" fmla="*/ 44481 h 1570703"/>
                    <a:gd name="connsiteX88" fmla="*/ 1820504 w 2192431"/>
                    <a:gd name="connsiteY88" fmla="*/ 33334 h 1570703"/>
                    <a:gd name="connsiteX89" fmla="*/ 1808073 w 2192431"/>
                    <a:gd name="connsiteY89" fmla="*/ 21174 h 1570703"/>
                    <a:gd name="connsiteX90" fmla="*/ 1792251 w 2192431"/>
                    <a:gd name="connsiteY90" fmla="*/ 12054 h 1570703"/>
                    <a:gd name="connsiteX91" fmla="*/ 1770778 w 2192431"/>
                    <a:gd name="connsiteY91" fmla="*/ 9013 h 1570703"/>
                    <a:gd name="connsiteX92" fmla="*/ 1759477 w 2192431"/>
                    <a:gd name="connsiteY92" fmla="*/ 13067 h 1570703"/>
                    <a:gd name="connsiteX93" fmla="*/ 1741395 w 2192431"/>
                    <a:gd name="connsiteY93" fmla="*/ 19147 h 1570703"/>
                    <a:gd name="connsiteX94" fmla="*/ 1721053 w 2192431"/>
                    <a:gd name="connsiteY94" fmla="*/ 19147 h 1570703"/>
                    <a:gd name="connsiteX95" fmla="*/ 1706362 w 2192431"/>
                    <a:gd name="connsiteY95" fmla="*/ 29281 h 1570703"/>
                    <a:gd name="connsiteX96" fmla="*/ 1690540 w 2192431"/>
                    <a:gd name="connsiteY96" fmla="*/ 40428 h 1570703"/>
                    <a:gd name="connsiteX97" fmla="*/ 1678109 w 2192431"/>
                    <a:gd name="connsiteY97" fmla="*/ 53601 h 1570703"/>
                    <a:gd name="connsiteX98" fmla="*/ 1672458 w 2192431"/>
                    <a:gd name="connsiteY98" fmla="*/ 59681 h 1570703"/>
                    <a:gd name="connsiteX99" fmla="*/ 1669067 w 2192431"/>
                    <a:gd name="connsiteY99" fmla="*/ 68802 h 1570703"/>
                    <a:gd name="connsiteX100" fmla="*/ 1680369 w 2192431"/>
                    <a:gd name="connsiteY100" fmla="*/ 67788 h 1570703"/>
                    <a:gd name="connsiteX101" fmla="*/ 1683760 w 2192431"/>
                    <a:gd name="connsiteY101" fmla="*/ 84002 h 1570703"/>
                    <a:gd name="connsiteX102" fmla="*/ 1680369 w 2192431"/>
                    <a:gd name="connsiteY102" fmla="*/ 99202 h 1570703"/>
                    <a:gd name="connsiteX103" fmla="*/ 1671328 w 2192431"/>
                    <a:gd name="connsiteY103" fmla="*/ 107309 h 1570703"/>
                    <a:gd name="connsiteX104" fmla="*/ 1675849 w 2192431"/>
                    <a:gd name="connsiteY104" fmla="*/ 123523 h 1570703"/>
                    <a:gd name="connsiteX105" fmla="*/ 1663417 w 2192431"/>
                    <a:gd name="connsiteY105" fmla="*/ 139737 h 1570703"/>
                    <a:gd name="connsiteX106" fmla="*/ 1653246 w 2192431"/>
                    <a:gd name="connsiteY106" fmla="*/ 154937 h 1570703"/>
                    <a:gd name="connsiteX107" fmla="*/ 1637424 w 2192431"/>
                    <a:gd name="connsiteY107" fmla="*/ 176217 h 1570703"/>
                    <a:gd name="connsiteX108" fmla="*/ 1611432 w 2192431"/>
                    <a:gd name="connsiteY108" fmla="*/ 190404 h 1570703"/>
                    <a:gd name="connsiteX109" fmla="*/ 1588829 w 2192431"/>
                    <a:gd name="connsiteY109" fmla="*/ 208645 h 1570703"/>
                    <a:gd name="connsiteX110" fmla="*/ 1573007 w 2192431"/>
                    <a:gd name="connsiteY110" fmla="*/ 199525 h 1570703"/>
                    <a:gd name="connsiteX111" fmla="*/ 1551535 w 2192431"/>
                    <a:gd name="connsiteY111" fmla="*/ 186351 h 1570703"/>
                    <a:gd name="connsiteX112" fmla="*/ 1533453 w 2192431"/>
                    <a:gd name="connsiteY112" fmla="*/ 192431 h 1570703"/>
                    <a:gd name="connsiteX113" fmla="*/ 1517632 w 2192431"/>
                    <a:gd name="connsiteY113" fmla="*/ 228912 h 1570703"/>
                    <a:gd name="connsiteX114" fmla="*/ 1523282 w 2192431"/>
                    <a:gd name="connsiteY114" fmla="*/ 243099 h 1570703"/>
                    <a:gd name="connsiteX115" fmla="*/ 1513111 w 2192431"/>
                    <a:gd name="connsiteY115" fmla="*/ 268433 h 1570703"/>
                    <a:gd name="connsiteX116" fmla="*/ 1509721 w 2192431"/>
                    <a:gd name="connsiteY116" fmla="*/ 283633 h 1570703"/>
                    <a:gd name="connsiteX117" fmla="*/ 1537974 w 2192431"/>
                    <a:gd name="connsiteY117" fmla="*/ 292753 h 1570703"/>
                    <a:gd name="connsiteX118" fmla="*/ 1561706 w 2192431"/>
                    <a:gd name="connsiteY118" fmla="*/ 288700 h 1570703"/>
                    <a:gd name="connsiteX119" fmla="*/ 1582049 w 2192431"/>
                    <a:gd name="connsiteY119" fmla="*/ 272486 h 1570703"/>
                    <a:gd name="connsiteX120" fmla="*/ 1593350 w 2192431"/>
                    <a:gd name="connsiteY120" fmla="*/ 273500 h 1570703"/>
                    <a:gd name="connsiteX121" fmla="*/ 1602391 w 2192431"/>
                    <a:gd name="connsiteY121" fmla="*/ 283633 h 1570703"/>
                    <a:gd name="connsiteX122" fmla="*/ 1618212 w 2192431"/>
                    <a:gd name="connsiteY122" fmla="*/ 297820 h 1570703"/>
                    <a:gd name="connsiteX123" fmla="*/ 1644205 w 2192431"/>
                    <a:gd name="connsiteY123" fmla="*/ 304914 h 1570703"/>
                    <a:gd name="connsiteX124" fmla="*/ 1657766 w 2192431"/>
                    <a:gd name="connsiteY124" fmla="*/ 318087 h 1570703"/>
                    <a:gd name="connsiteX125" fmla="*/ 1652116 w 2192431"/>
                    <a:gd name="connsiteY125" fmla="*/ 332274 h 1570703"/>
                    <a:gd name="connsiteX126" fmla="*/ 1620472 w 2192431"/>
                    <a:gd name="connsiteY126" fmla="*/ 335314 h 1570703"/>
                    <a:gd name="connsiteX127" fmla="*/ 1596740 w 2192431"/>
                    <a:gd name="connsiteY127" fmla="*/ 352541 h 1570703"/>
                    <a:gd name="connsiteX128" fmla="*/ 1574138 w 2192431"/>
                    <a:gd name="connsiteY128" fmla="*/ 348488 h 1570703"/>
                    <a:gd name="connsiteX129" fmla="*/ 1547015 w 2192431"/>
                    <a:gd name="connsiteY129" fmla="*/ 364702 h 1570703"/>
                    <a:gd name="connsiteX130" fmla="*/ 1535713 w 2192431"/>
                    <a:gd name="connsiteY130" fmla="*/ 356595 h 1570703"/>
                    <a:gd name="connsiteX131" fmla="*/ 1524412 w 2192431"/>
                    <a:gd name="connsiteY131" fmla="*/ 359635 h 1570703"/>
                    <a:gd name="connsiteX132" fmla="*/ 1517632 w 2192431"/>
                    <a:gd name="connsiteY132" fmla="*/ 374835 h 1570703"/>
                    <a:gd name="connsiteX133" fmla="*/ 1506331 w 2192431"/>
                    <a:gd name="connsiteY133" fmla="*/ 384969 h 1570703"/>
                    <a:gd name="connsiteX134" fmla="*/ 1459995 w 2192431"/>
                    <a:gd name="connsiteY134" fmla="*/ 396116 h 1570703"/>
                    <a:gd name="connsiteX135" fmla="*/ 1453215 w 2192431"/>
                    <a:gd name="connsiteY135" fmla="*/ 417396 h 1570703"/>
                    <a:gd name="connsiteX136" fmla="*/ 1424962 w 2192431"/>
                    <a:gd name="connsiteY136" fmla="*/ 431583 h 1570703"/>
                    <a:gd name="connsiteX137" fmla="*/ 1403489 w 2192431"/>
                    <a:gd name="connsiteY137" fmla="*/ 425503 h 1570703"/>
                    <a:gd name="connsiteX138" fmla="*/ 1386538 w 2192431"/>
                    <a:gd name="connsiteY138" fmla="*/ 407263 h 1570703"/>
                    <a:gd name="connsiteX139" fmla="*/ 1369586 w 2192431"/>
                    <a:gd name="connsiteY139" fmla="*/ 406249 h 1570703"/>
                    <a:gd name="connsiteX140" fmla="*/ 1356025 w 2192431"/>
                    <a:gd name="connsiteY140" fmla="*/ 414356 h 1570703"/>
                    <a:gd name="connsiteX141" fmla="*/ 1346983 w 2192431"/>
                    <a:gd name="connsiteY141" fmla="*/ 432597 h 1570703"/>
                    <a:gd name="connsiteX142" fmla="*/ 1345854 w 2192431"/>
                    <a:gd name="connsiteY142" fmla="*/ 448810 h 1570703"/>
                    <a:gd name="connsiteX143" fmla="*/ 1350374 w 2192431"/>
                    <a:gd name="connsiteY143" fmla="*/ 469078 h 1570703"/>
                    <a:gd name="connsiteX144" fmla="*/ 1357155 w 2192431"/>
                    <a:gd name="connsiteY144" fmla="*/ 484278 h 1570703"/>
                    <a:gd name="connsiteX145" fmla="*/ 1345854 w 2192431"/>
                    <a:gd name="connsiteY145" fmla="*/ 500491 h 1570703"/>
                    <a:gd name="connsiteX146" fmla="*/ 1330032 w 2192431"/>
                    <a:gd name="connsiteY146" fmla="*/ 508598 h 1570703"/>
                    <a:gd name="connsiteX147" fmla="*/ 1300649 w 2192431"/>
                    <a:gd name="connsiteY147" fmla="*/ 514679 h 1570703"/>
                    <a:gd name="connsiteX148" fmla="*/ 1266745 w 2192431"/>
                    <a:gd name="connsiteY148" fmla="*/ 523799 h 1570703"/>
                    <a:gd name="connsiteX149" fmla="*/ 1238492 w 2192431"/>
                    <a:gd name="connsiteY149" fmla="*/ 526839 h 1570703"/>
                    <a:gd name="connsiteX150" fmla="*/ 1218150 w 2192431"/>
                    <a:gd name="connsiteY150" fmla="*/ 531906 h 1570703"/>
                    <a:gd name="connsiteX151" fmla="*/ 1205718 w 2192431"/>
                    <a:gd name="connsiteY151" fmla="*/ 534946 h 1570703"/>
                    <a:gd name="connsiteX152" fmla="*/ 1187637 w 2192431"/>
                    <a:gd name="connsiteY152" fmla="*/ 553186 h 1570703"/>
                    <a:gd name="connsiteX153" fmla="*/ 1163905 w 2192431"/>
                    <a:gd name="connsiteY153" fmla="*/ 561293 h 1570703"/>
                    <a:gd name="connsiteX154" fmla="*/ 1137911 w 2192431"/>
                    <a:gd name="connsiteY154" fmla="*/ 561293 h 1570703"/>
                    <a:gd name="connsiteX155" fmla="*/ 1114179 w 2192431"/>
                    <a:gd name="connsiteY155" fmla="*/ 570413 h 1570703"/>
                    <a:gd name="connsiteX156" fmla="*/ 1079146 w 2192431"/>
                    <a:gd name="connsiteY156" fmla="*/ 570413 h 1570703"/>
                    <a:gd name="connsiteX157" fmla="*/ 1061063 w 2192431"/>
                    <a:gd name="connsiteY157" fmla="*/ 557240 h 1570703"/>
                    <a:gd name="connsiteX158" fmla="*/ 1042982 w 2192431"/>
                    <a:gd name="connsiteY158" fmla="*/ 541026 h 1570703"/>
                    <a:gd name="connsiteX159" fmla="*/ 1033941 w 2192431"/>
                    <a:gd name="connsiteY159" fmla="*/ 536972 h 1570703"/>
                    <a:gd name="connsiteX160" fmla="*/ 978565 w 2192431"/>
                    <a:gd name="connsiteY160" fmla="*/ 533932 h 1570703"/>
                    <a:gd name="connsiteX161" fmla="*/ 949182 w 2192431"/>
                    <a:gd name="connsiteY161" fmla="*/ 530892 h 1570703"/>
                    <a:gd name="connsiteX162" fmla="*/ 919798 w 2192431"/>
                    <a:gd name="connsiteY162" fmla="*/ 526839 h 1570703"/>
                    <a:gd name="connsiteX163" fmla="*/ 892676 w 2192431"/>
                    <a:gd name="connsiteY163" fmla="*/ 530892 h 1570703"/>
                    <a:gd name="connsiteX164" fmla="*/ 871203 w 2192431"/>
                    <a:gd name="connsiteY164" fmla="*/ 526839 h 1570703"/>
                    <a:gd name="connsiteX165" fmla="*/ 850861 w 2192431"/>
                    <a:gd name="connsiteY165" fmla="*/ 516705 h 1570703"/>
                    <a:gd name="connsiteX166" fmla="*/ 833909 w 2192431"/>
                    <a:gd name="connsiteY166" fmla="*/ 498465 h 1570703"/>
                    <a:gd name="connsiteX167" fmla="*/ 812437 w 2192431"/>
                    <a:gd name="connsiteY167" fmla="*/ 485291 h 1570703"/>
                    <a:gd name="connsiteX168" fmla="*/ 800006 w 2192431"/>
                    <a:gd name="connsiteY168" fmla="*/ 475158 h 1570703"/>
                    <a:gd name="connsiteX169" fmla="*/ 793225 w 2192431"/>
                    <a:gd name="connsiteY169" fmla="*/ 456917 h 1570703"/>
                    <a:gd name="connsiteX170" fmla="*/ 777404 w 2192431"/>
                    <a:gd name="connsiteY170" fmla="*/ 442730 h 1570703"/>
                    <a:gd name="connsiteX171" fmla="*/ 757061 w 2192431"/>
                    <a:gd name="connsiteY171" fmla="*/ 436650 h 1570703"/>
                    <a:gd name="connsiteX172" fmla="*/ 745760 w 2192431"/>
                    <a:gd name="connsiteY172" fmla="*/ 428543 h 1570703"/>
                    <a:gd name="connsiteX173" fmla="*/ 727678 w 2192431"/>
                    <a:gd name="connsiteY173" fmla="*/ 417396 h 1570703"/>
                    <a:gd name="connsiteX174" fmla="*/ 703946 w 2192431"/>
                    <a:gd name="connsiteY174" fmla="*/ 416383 h 1570703"/>
                    <a:gd name="connsiteX175" fmla="*/ 683604 w 2192431"/>
                    <a:gd name="connsiteY175" fmla="*/ 410303 h 1570703"/>
                    <a:gd name="connsiteX176" fmla="*/ 679083 w 2192431"/>
                    <a:gd name="connsiteY176" fmla="*/ 396116 h 1570703"/>
                    <a:gd name="connsiteX177" fmla="*/ 683604 w 2192431"/>
                    <a:gd name="connsiteY177" fmla="*/ 376862 h 1570703"/>
                    <a:gd name="connsiteX178" fmla="*/ 689254 w 2192431"/>
                    <a:gd name="connsiteY178" fmla="*/ 362675 h 1570703"/>
                    <a:gd name="connsiteX179" fmla="*/ 676823 w 2192431"/>
                    <a:gd name="connsiteY179" fmla="*/ 344435 h 1570703"/>
                    <a:gd name="connsiteX180" fmla="*/ 658741 w 2192431"/>
                    <a:gd name="connsiteY180" fmla="*/ 336328 h 1570703"/>
                    <a:gd name="connsiteX181" fmla="*/ 657610 w 2192431"/>
                    <a:gd name="connsiteY181" fmla="*/ 325181 h 1570703"/>
                    <a:gd name="connsiteX182" fmla="*/ 636139 w 2192431"/>
                    <a:gd name="connsiteY182" fmla="*/ 303900 h 1570703"/>
                    <a:gd name="connsiteX183" fmla="*/ 614666 w 2192431"/>
                    <a:gd name="connsiteY183" fmla="*/ 292753 h 1570703"/>
                    <a:gd name="connsiteX184" fmla="*/ 593194 w 2192431"/>
                    <a:gd name="connsiteY184" fmla="*/ 296807 h 1570703"/>
                    <a:gd name="connsiteX185" fmla="*/ 575112 w 2192431"/>
                    <a:gd name="connsiteY185" fmla="*/ 292753 h 1570703"/>
                    <a:gd name="connsiteX186" fmla="*/ 562681 w 2192431"/>
                    <a:gd name="connsiteY186" fmla="*/ 282620 h 1570703"/>
                    <a:gd name="connsiteX187" fmla="*/ 561550 w 2192431"/>
                    <a:gd name="connsiteY187" fmla="*/ 271473 h 1570703"/>
                    <a:gd name="connsiteX188" fmla="*/ 554770 w 2192431"/>
                    <a:gd name="connsiteY188" fmla="*/ 246139 h 1570703"/>
                    <a:gd name="connsiteX189" fmla="*/ 559291 w 2192431"/>
                    <a:gd name="connsiteY189" fmla="*/ 215738 h 1570703"/>
                    <a:gd name="connsiteX190" fmla="*/ 540078 w 2192431"/>
                    <a:gd name="connsiteY190" fmla="*/ 226885 h 1570703"/>
                    <a:gd name="connsiteX191" fmla="*/ 491483 w 2192431"/>
                    <a:gd name="connsiteY191" fmla="*/ 233979 h 1570703"/>
                    <a:gd name="connsiteX192" fmla="*/ 475661 w 2192431"/>
                    <a:gd name="connsiteY192" fmla="*/ 247152 h 1570703"/>
                    <a:gd name="connsiteX193" fmla="*/ 464360 w 2192431"/>
                    <a:gd name="connsiteY193" fmla="*/ 261339 h 1570703"/>
                    <a:gd name="connsiteX194" fmla="*/ 442888 w 2192431"/>
                    <a:gd name="connsiteY194" fmla="*/ 269446 h 1570703"/>
                    <a:gd name="connsiteX195" fmla="*/ 438368 w 2192431"/>
                    <a:gd name="connsiteY195" fmla="*/ 279580 h 1570703"/>
                    <a:gd name="connsiteX196" fmla="*/ 433847 w 2192431"/>
                    <a:gd name="connsiteY196" fmla="*/ 294780 h 1570703"/>
                    <a:gd name="connsiteX197" fmla="*/ 405594 w 2192431"/>
                    <a:gd name="connsiteY197" fmla="*/ 305927 h 1570703"/>
                    <a:gd name="connsiteX198" fmla="*/ 384122 w 2192431"/>
                    <a:gd name="connsiteY198" fmla="*/ 305927 h 1570703"/>
                    <a:gd name="connsiteX199" fmla="*/ 369430 w 2192431"/>
                    <a:gd name="connsiteY199" fmla="*/ 315047 h 1570703"/>
                    <a:gd name="connsiteX200" fmla="*/ 358129 w 2192431"/>
                    <a:gd name="connsiteY200" fmla="*/ 333288 h 1570703"/>
                    <a:gd name="connsiteX201" fmla="*/ 343437 w 2192431"/>
                    <a:gd name="connsiteY201" fmla="*/ 344435 h 1570703"/>
                    <a:gd name="connsiteX202" fmla="*/ 336657 w 2192431"/>
                    <a:gd name="connsiteY202" fmla="*/ 368755 h 1570703"/>
                    <a:gd name="connsiteX203" fmla="*/ 341177 w 2192431"/>
                    <a:gd name="connsiteY203" fmla="*/ 389022 h 1570703"/>
                    <a:gd name="connsiteX204" fmla="*/ 353609 w 2192431"/>
                    <a:gd name="connsiteY204" fmla="*/ 399156 h 1570703"/>
                    <a:gd name="connsiteX205" fmla="*/ 344568 w 2192431"/>
                    <a:gd name="connsiteY205" fmla="*/ 410303 h 1570703"/>
                    <a:gd name="connsiteX206" fmla="*/ 310664 w 2192431"/>
                    <a:gd name="connsiteY206" fmla="*/ 410303 h 1570703"/>
                    <a:gd name="connsiteX207" fmla="*/ 282411 w 2192431"/>
                    <a:gd name="connsiteY207" fmla="*/ 421450 h 1570703"/>
                    <a:gd name="connsiteX208" fmla="*/ 254158 w 2192431"/>
                    <a:gd name="connsiteY208" fmla="*/ 426517 h 1570703"/>
                    <a:gd name="connsiteX209" fmla="*/ 247377 w 2192431"/>
                    <a:gd name="connsiteY209" fmla="*/ 434623 h 1570703"/>
                    <a:gd name="connsiteX210" fmla="*/ 253028 w 2192431"/>
                    <a:gd name="connsiteY210" fmla="*/ 445770 h 1570703"/>
                    <a:gd name="connsiteX211" fmla="*/ 269980 w 2192431"/>
                    <a:gd name="connsiteY211" fmla="*/ 460971 h 1570703"/>
                    <a:gd name="connsiteX212" fmla="*/ 279020 w 2192431"/>
                    <a:gd name="connsiteY212" fmla="*/ 475158 h 1570703"/>
                    <a:gd name="connsiteX213" fmla="*/ 271110 w 2192431"/>
                    <a:gd name="connsiteY213" fmla="*/ 489345 h 1570703"/>
                    <a:gd name="connsiteX214" fmla="*/ 264329 w 2192431"/>
                    <a:gd name="connsiteY214" fmla="*/ 502518 h 1570703"/>
                    <a:gd name="connsiteX215" fmla="*/ 263199 w 2192431"/>
                    <a:gd name="connsiteY215" fmla="*/ 527852 h 1570703"/>
                    <a:gd name="connsiteX216" fmla="*/ 236076 w 2192431"/>
                    <a:gd name="connsiteY216" fmla="*/ 540013 h 1570703"/>
                    <a:gd name="connsiteX217" fmla="*/ 219124 w 2192431"/>
                    <a:gd name="connsiteY217" fmla="*/ 554199 h 1570703"/>
                    <a:gd name="connsiteX218" fmla="*/ 201042 w 2192431"/>
                    <a:gd name="connsiteY218" fmla="*/ 560280 h 1570703"/>
                    <a:gd name="connsiteX219" fmla="*/ 195392 w 2192431"/>
                    <a:gd name="connsiteY219" fmla="*/ 574467 h 1570703"/>
                    <a:gd name="connsiteX220" fmla="*/ 137755 w 2192431"/>
                    <a:gd name="connsiteY220" fmla="*/ 593720 h 1570703"/>
                    <a:gd name="connsiteX221" fmla="*/ 128715 w 2192431"/>
                    <a:gd name="connsiteY221" fmla="*/ 622094 h 1570703"/>
                    <a:gd name="connsiteX222" fmla="*/ 99332 w 2192431"/>
                    <a:gd name="connsiteY222" fmla="*/ 630201 h 1570703"/>
                    <a:gd name="connsiteX223" fmla="*/ 82380 w 2192431"/>
                    <a:gd name="connsiteY223" fmla="*/ 638308 h 1570703"/>
                    <a:gd name="connsiteX224" fmla="*/ 67689 w 2192431"/>
                    <a:gd name="connsiteY224" fmla="*/ 623108 h 1570703"/>
                    <a:gd name="connsiteX225" fmla="*/ 47346 w 2192431"/>
                    <a:gd name="connsiteY225" fmla="*/ 633241 h 1570703"/>
                    <a:gd name="connsiteX226" fmla="*/ 32654 w 2192431"/>
                    <a:gd name="connsiteY226" fmla="*/ 647428 h 1570703"/>
                    <a:gd name="connsiteX227" fmla="*/ 21353 w 2192431"/>
                    <a:gd name="connsiteY227" fmla="*/ 652495 h 1570703"/>
                    <a:gd name="connsiteX228" fmla="*/ 10052 w 2192431"/>
                    <a:gd name="connsiteY228" fmla="*/ 661615 h 1570703"/>
                    <a:gd name="connsiteX229" fmla="*/ 11183 w 2192431"/>
                    <a:gd name="connsiteY229" fmla="*/ 664655 h 1570703"/>
                    <a:gd name="connsiteX230" fmla="*/ 13442 w 2192431"/>
                    <a:gd name="connsiteY230" fmla="*/ 680869 h 1570703"/>
                    <a:gd name="connsiteX231" fmla="*/ 12312 w 2192431"/>
                    <a:gd name="connsiteY231" fmla="*/ 691003 h 1570703"/>
                    <a:gd name="connsiteX232" fmla="*/ 22484 w 2192431"/>
                    <a:gd name="connsiteY232" fmla="*/ 700123 h 1570703"/>
                    <a:gd name="connsiteX233" fmla="*/ 46216 w 2192431"/>
                    <a:gd name="connsiteY233" fmla="*/ 691003 h 1570703"/>
                    <a:gd name="connsiteX234" fmla="*/ 51867 w 2192431"/>
                    <a:gd name="connsiteY234" fmla="*/ 696069 h 1570703"/>
                    <a:gd name="connsiteX235" fmla="*/ 48476 w 2192431"/>
                    <a:gd name="connsiteY235" fmla="*/ 705190 h 1570703"/>
                    <a:gd name="connsiteX236" fmla="*/ 43956 w 2192431"/>
                    <a:gd name="connsiteY236" fmla="*/ 720390 h 1570703"/>
                    <a:gd name="connsiteX237" fmla="*/ 52996 w 2192431"/>
                    <a:gd name="connsiteY237" fmla="*/ 736604 h 1570703"/>
                    <a:gd name="connsiteX238" fmla="*/ 54127 w 2192431"/>
                    <a:gd name="connsiteY238" fmla="*/ 752817 h 1570703"/>
                    <a:gd name="connsiteX239" fmla="*/ 63168 w 2192431"/>
                    <a:gd name="connsiteY239" fmla="*/ 758897 h 1570703"/>
                    <a:gd name="connsiteX240" fmla="*/ 64298 w 2192431"/>
                    <a:gd name="connsiteY240" fmla="*/ 769031 h 1570703"/>
                    <a:gd name="connsiteX241" fmla="*/ 51867 w 2192431"/>
                    <a:gd name="connsiteY241" fmla="*/ 773085 h 1570703"/>
                    <a:gd name="connsiteX242" fmla="*/ 51867 w 2192431"/>
                    <a:gd name="connsiteY242" fmla="*/ 786258 h 1570703"/>
                    <a:gd name="connsiteX243" fmla="*/ 75599 w 2192431"/>
                    <a:gd name="connsiteY243" fmla="*/ 785245 h 1570703"/>
                    <a:gd name="connsiteX244" fmla="*/ 116284 w 2192431"/>
                    <a:gd name="connsiteY244" fmla="*/ 808552 h 1570703"/>
                    <a:gd name="connsiteX245" fmla="*/ 125324 w 2192431"/>
                    <a:gd name="connsiteY245" fmla="*/ 818685 h 1570703"/>
                    <a:gd name="connsiteX246" fmla="*/ 140016 w 2192431"/>
                    <a:gd name="connsiteY246" fmla="*/ 831859 h 1570703"/>
                    <a:gd name="connsiteX247" fmla="*/ 155838 w 2192431"/>
                    <a:gd name="connsiteY247" fmla="*/ 820712 h 1570703"/>
                    <a:gd name="connsiteX248" fmla="*/ 164879 w 2192431"/>
                    <a:gd name="connsiteY248" fmla="*/ 814632 h 1570703"/>
                    <a:gd name="connsiteX249" fmla="*/ 179570 w 2192431"/>
                    <a:gd name="connsiteY249" fmla="*/ 814632 h 1570703"/>
                    <a:gd name="connsiteX250" fmla="*/ 195392 w 2192431"/>
                    <a:gd name="connsiteY250" fmla="*/ 818685 h 1570703"/>
                    <a:gd name="connsiteX251" fmla="*/ 212344 w 2192431"/>
                    <a:gd name="connsiteY251" fmla="*/ 819699 h 1570703"/>
                    <a:gd name="connsiteX252" fmla="*/ 219124 w 2192431"/>
                    <a:gd name="connsiteY252" fmla="*/ 833886 h 1570703"/>
                    <a:gd name="connsiteX253" fmla="*/ 229295 w 2192431"/>
                    <a:gd name="connsiteY253" fmla="*/ 844019 h 1570703"/>
                    <a:gd name="connsiteX254" fmla="*/ 234946 w 2192431"/>
                    <a:gd name="connsiteY254" fmla="*/ 858207 h 1570703"/>
                    <a:gd name="connsiteX255" fmla="*/ 225905 w 2192431"/>
                    <a:gd name="connsiteY255" fmla="*/ 867327 h 1570703"/>
                    <a:gd name="connsiteX256" fmla="*/ 222514 w 2192431"/>
                    <a:gd name="connsiteY256" fmla="*/ 877460 h 1570703"/>
                    <a:gd name="connsiteX257" fmla="*/ 214604 w 2192431"/>
                    <a:gd name="connsiteY257" fmla="*/ 887594 h 1570703"/>
                    <a:gd name="connsiteX258" fmla="*/ 204433 w 2192431"/>
                    <a:gd name="connsiteY258" fmla="*/ 896714 h 1570703"/>
                    <a:gd name="connsiteX259" fmla="*/ 197652 w 2192431"/>
                    <a:gd name="connsiteY259" fmla="*/ 910901 h 1570703"/>
                    <a:gd name="connsiteX260" fmla="*/ 188611 w 2192431"/>
                    <a:gd name="connsiteY260" fmla="*/ 919008 h 1570703"/>
                    <a:gd name="connsiteX261" fmla="*/ 181830 w 2192431"/>
                    <a:gd name="connsiteY261" fmla="*/ 932182 h 1570703"/>
                    <a:gd name="connsiteX262" fmla="*/ 197652 w 2192431"/>
                    <a:gd name="connsiteY262" fmla="*/ 942315 h 1570703"/>
                    <a:gd name="connsiteX263" fmla="*/ 204433 w 2192431"/>
                    <a:gd name="connsiteY263" fmla="*/ 953462 h 1570703"/>
                    <a:gd name="connsiteX264" fmla="*/ 203303 w 2192431"/>
                    <a:gd name="connsiteY264" fmla="*/ 974743 h 1570703"/>
                    <a:gd name="connsiteX265" fmla="*/ 215734 w 2192431"/>
                    <a:gd name="connsiteY265" fmla="*/ 979809 h 1570703"/>
                    <a:gd name="connsiteX266" fmla="*/ 224775 w 2192431"/>
                    <a:gd name="connsiteY266" fmla="*/ 980823 h 1570703"/>
                    <a:gd name="connsiteX267" fmla="*/ 224775 w 2192431"/>
                    <a:gd name="connsiteY267" fmla="*/ 991970 h 1570703"/>
                    <a:gd name="connsiteX268" fmla="*/ 219124 w 2192431"/>
                    <a:gd name="connsiteY268" fmla="*/ 1008183 h 1570703"/>
                    <a:gd name="connsiteX269" fmla="*/ 222514 w 2192431"/>
                    <a:gd name="connsiteY269" fmla="*/ 1017303 h 1570703"/>
                    <a:gd name="connsiteX270" fmla="*/ 215734 w 2192431"/>
                    <a:gd name="connsiteY270" fmla="*/ 1025411 h 1570703"/>
                    <a:gd name="connsiteX271" fmla="*/ 221385 w 2192431"/>
                    <a:gd name="connsiteY271" fmla="*/ 1039597 h 1570703"/>
                    <a:gd name="connsiteX272" fmla="*/ 238336 w 2192431"/>
                    <a:gd name="connsiteY272" fmla="*/ 1045678 h 1570703"/>
                    <a:gd name="connsiteX273" fmla="*/ 253028 w 2192431"/>
                    <a:gd name="connsiteY273" fmla="*/ 1054798 h 1570703"/>
                    <a:gd name="connsiteX274" fmla="*/ 271110 w 2192431"/>
                    <a:gd name="connsiteY274" fmla="*/ 1057838 h 1570703"/>
                    <a:gd name="connsiteX275" fmla="*/ 285801 w 2192431"/>
                    <a:gd name="connsiteY275" fmla="*/ 1067971 h 1570703"/>
                    <a:gd name="connsiteX276" fmla="*/ 297103 w 2192431"/>
                    <a:gd name="connsiteY276" fmla="*/ 1078105 h 1570703"/>
                    <a:gd name="connsiteX277" fmla="*/ 307273 w 2192431"/>
                    <a:gd name="connsiteY277" fmla="*/ 1077091 h 1570703"/>
                    <a:gd name="connsiteX278" fmla="*/ 320835 w 2192431"/>
                    <a:gd name="connsiteY278" fmla="*/ 1078105 h 1570703"/>
                    <a:gd name="connsiteX279" fmla="*/ 340047 w 2192431"/>
                    <a:gd name="connsiteY279" fmla="*/ 1079118 h 1570703"/>
                    <a:gd name="connsiteX280" fmla="*/ 352478 w 2192431"/>
                    <a:gd name="connsiteY280" fmla="*/ 1081145 h 1570703"/>
                    <a:gd name="connsiteX281" fmla="*/ 368300 w 2192431"/>
                    <a:gd name="connsiteY281" fmla="*/ 1103439 h 1570703"/>
                    <a:gd name="connsiteX282" fmla="*/ 384122 w 2192431"/>
                    <a:gd name="connsiteY282" fmla="*/ 1104452 h 1570703"/>
                    <a:gd name="connsiteX283" fmla="*/ 403333 w 2192431"/>
                    <a:gd name="connsiteY283" fmla="*/ 1100399 h 1570703"/>
                    <a:gd name="connsiteX284" fmla="*/ 414635 w 2192431"/>
                    <a:gd name="connsiteY284" fmla="*/ 1108506 h 1570703"/>
                    <a:gd name="connsiteX285" fmla="*/ 415765 w 2192431"/>
                    <a:gd name="connsiteY285" fmla="*/ 1122693 h 1570703"/>
                    <a:gd name="connsiteX286" fmla="*/ 434977 w 2192431"/>
                    <a:gd name="connsiteY286" fmla="*/ 1131813 h 1570703"/>
                    <a:gd name="connsiteX287" fmla="*/ 449669 w 2192431"/>
                    <a:gd name="connsiteY287" fmla="*/ 1147013 h 1570703"/>
                    <a:gd name="connsiteX288" fmla="*/ 457580 w 2192431"/>
                    <a:gd name="connsiteY288" fmla="*/ 1158160 h 1570703"/>
                    <a:gd name="connsiteX289" fmla="*/ 474532 w 2192431"/>
                    <a:gd name="connsiteY289" fmla="*/ 1159173 h 1570703"/>
                    <a:gd name="connsiteX290" fmla="*/ 491483 w 2192431"/>
                    <a:gd name="connsiteY290" fmla="*/ 1169307 h 1570703"/>
                    <a:gd name="connsiteX291" fmla="*/ 520866 w 2192431"/>
                    <a:gd name="connsiteY291" fmla="*/ 1170320 h 1570703"/>
                    <a:gd name="connsiteX292" fmla="*/ 543469 w 2192431"/>
                    <a:gd name="connsiteY292" fmla="*/ 1174374 h 1570703"/>
                    <a:gd name="connsiteX293" fmla="*/ 559291 w 2192431"/>
                    <a:gd name="connsiteY293" fmla="*/ 1167280 h 1570703"/>
                    <a:gd name="connsiteX294" fmla="*/ 571722 w 2192431"/>
                    <a:gd name="connsiteY294" fmla="*/ 1168294 h 1570703"/>
                    <a:gd name="connsiteX295" fmla="*/ 583023 w 2192431"/>
                    <a:gd name="connsiteY295" fmla="*/ 1184507 h 1570703"/>
                    <a:gd name="connsiteX296" fmla="*/ 598845 w 2192431"/>
                    <a:gd name="connsiteY296" fmla="*/ 1160187 h 1570703"/>
                    <a:gd name="connsiteX297" fmla="*/ 609015 w 2192431"/>
                    <a:gd name="connsiteY297" fmla="*/ 1154107 h 1570703"/>
                    <a:gd name="connsiteX298" fmla="*/ 628228 w 2192431"/>
                    <a:gd name="connsiteY298" fmla="*/ 1152080 h 1570703"/>
                    <a:gd name="connsiteX299" fmla="*/ 647440 w 2192431"/>
                    <a:gd name="connsiteY299" fmla="*/ 1158160 h 1570703"/>
                    <a:gd name="connsiteX300" fmla="*/ 663261 w 2192431"/>
                    <a:gd name="connsiteY300" fmla="*/ 1158160 h 1570703"/>
                    <a:gd name="connsiteX301" fmla="*/ 685863 w 2192431"/>
                    <a:gd name="connsiteY301" fmla="*/ 1160187 h 1570703"/>
                    <a:gd name="connsiteX302" fmla="*/ 703946 w 2192431"/>
                    <a:gd name="connsiteY302" fmla="*/ 1157147 h 1570703"/>
                    <a:gd name="connsiteX303" fmla="*/ 724288 w 2192431"/>
                    <a:gd name="connsiteY303" fmla="*/ 1148026 h 1570703"/>
                    <a:gd name="connsiteX304" fmla="*/ 736719 w 2192431"/>
                    <a:gd name="connsiteY304" fmla="*/ 1139920 h 1570703"/>
                    <a:gd name="connsiteX305" fmla="*/ 753671 w 2192431"/>
                    <a:gd name="connsiteY305" fmla="*/ 1138906 h 1570703"/>
                    <a:gd name="connsiteX306" fmla="*/ 766102 w 2192431"/>
                    <a:gd name="connsiteY306" fmla="*/ 1141947 h 1570703"/>
                    <a:gd name="connsiteX307" fmla="*/ 778533 w 2192431"/>
                    <a:gd name="connsiteY307" fmla="*/ 1131813 h 1570703"/>
                    <a:gd name="connsiteX308" fmla="*/ 792095 w 2192431"/>
                    <a:gd name="connsiteY308" fmla="*/ 1133840 h 1570703"/>
                    <a:gd name="connsiteX309" fmla="*/ 812437 w 2192431"/>
                    <a:gd name="connsiteY309" fmla="*/ 1139920 h 1570703"/>
                    <a:gd name="connsiteX310" fmla="*/ 811307 w 2192431"/>
                    <a:gd name="connsiteY310" fmla="*/ 1158160 h 1570703"/>
                    <a:gd name="connsiteX311" fmla="*/ 820348 w 2192431"/>
                    <a:gd name="connsiteY311" fmla="*/ 1166267 h 1570703"/>
                    <a:gd name="connsiteX312" fmla="*/ 832779 w 2192431"/>
                    <a:gd name="connsiteY312" fmla="*/ 1163227 h 1570703"/>
                    <a:gd name="connsiteX313" fmla="*/ 840690 w 2192431"/>
                    <a:gd name="connsiteY313" fmla="*/ 1165254 h 1570703"/>
                    <a:gd name="connsiteX314" fmla="*/ 854251 w 2192431"/>
                    <a:gd name="connsiteY314" fmla="*/ 1170320 h 1570703"/>
                    <a:gd name="connsiteX315" fmla="*/ 865553 w 2192431"/>
                    <a:gd name="connsiteY315" fmla="*/ 1173360 h 1570703"/>
                    <a:gd name="connsiteX316" fmla="*/ 872333 w 2192431"/>
                    <a:gd name="connsiteY316" fmla="*/ 1184507 h 1570703"/>
                    <a:gd name="connsiteX317" fmla="*/ 875724 w 2192431"/>
                    <a:gd name="connsiteY317" fmla="*/ 1195654 h 1570703"/>
                    <a:gd name="connsiteX318" fmla="*/ 885895 w 2192431"/>
                    <a:gd name="connsiteY318" fmla="*/ 1192614 h 1570703"/>
                    <a:gd name="connsiteX319" fmla="*/ 897196 w 2192431"/>
                    <a:gd name="connsiteY319" fmla="*/ 1192614 h 1570703"/>
                    <a:gd name="connsiteX320" fmla="*/ 902846 w 2192431"/>
                    <a:gd name="connsiteY320" fmla="*/ 1206801 h 1570703"/>
                    <a:gd name="connsiteX321" fmla="*/ 909628 w 2192431"/>
                    <a:gd name="connsiteY321" fmla="*/ 1216935 h 1570703"/>
                    <a:gd name="connsiteX322" fmla="*/ 903977 w 2192431"/>
                    <a:gd name="connsiteY322" fmla="*/ 1235175 h 1570703"/>
                    <a:gd name="connsiteX323" fmla="*/ 909628 w 2192431"/>
                    <a:gd name="connsiteY323" fmla="*/ 1245309 h 1570703"/>
                    <a:gd name="connsiteX324" fmla="*/ 908497 w 2192431"/>
                    <a:gd name="connsiteY324" fmla="*/ 1256456 h 1570703"/>
                    <a:gd name="connsiteX325" fmla="*/ 905107 w 2192431"/>
                    <a:gd name="connsiteY325" fmla="*/ 1277736 h 1570703"/>
                    <a:gd name="connsiteX326" fmla="*/ 896066 w 2192431"/>
                    <a:gd name="connsiteY326" fmla="*/ 1293950 h 1570703"/>
                    <a:gd name="connsiteX327" fmla="*/ 883634 w 2192431"/>
                    <a:gd name="connsiteY327" fmla="*/ 1309150 h 1570703"/>
                    <a:gd name="connsiteX328" fmla="*/ 883634 w 2192431"/>
                    <a:gd name="connsiteY328" fmla="*/ 1318271 h 1570703"/>
                    <a:gd name="connsiteX329" fmla="*/ 891545 w 2192431"/>
                    <a:gd name="connsiteY329" fmla="*/ 1327391 h 1570703"/>
                    <a:gd name="connsiteX330" fmla="*/ 891545 w 2192431"/>
                    <a:gd name="connsiteY330" fmla="*/ 1338538 h 1570703"/>
                    <a:gd name="connsiteX331" fmla="*/ 892676 w 2192431"/>
                    <a:gd name="connsiteY331" fmla="*/ 1344618 h 1570703"/>
                    <a:gd name="connsiteX332" fmla="*/ 899456 w 2192431"/>
                    <a:gd name="connsiteY332" fmla="*/ 1342591 h 1570703"/>
                    <a:gd name="connsiteX333" fmla="*/ 906237 w 2192431"/>
                    <a:gd name="connsiteY333" fmla="*/ 1336511 h 1570703"/>
                    <a:gd name="connsiteX334" fmla="*/ 920929 w 2192431"/>
                    <a:gd name="connsiteY334" fmla="*/ 1331444 h 1570703"/>
                    <a:gd name="connsiteX335" fmla="*/ 932230 w 2192431"/>
                    <a:gd name="connsiteY335" fmla="*/ 1332458 h 1570703"/>
                    <a:gd name="connsiteX336" fmla="*/ 940140 w 2192431"/>
                    <a:gd name="connsiteY336" fmla="*/ 1340564 h 1570703"/>
                    <a:gd name="connsiteX337" fmla="*/ 936750 w 2192431"/>
                    <a:gd name="connsiteY337" fmla="*/ 1350698 h 1570703"/>
                    <a:gd name="connsiteX338" fmla="*/ 942401 w 2192431"/>
                    <a:gd name="connsiteY338" fmla="*/ 1364885 h 1570703"/>
                    <a:gd name="connsiteX339" fmla="*/ 953702 w 2192431"/>
                    <a:gd name="connsiteY339" fmla="*/ 1364885 h 1570703"/>
                    <a:gd name="connsiteX340" fmla="*/ 955962 w 2192431"/>
                    <a:gd name="connsiteY340" fmla="*/ 1370965 h 1570703"/>
                    <a:gd name="connsiteX341" fmla="*/ 944661 w 2192431"/>
                    <a:gd name="connsiteY341" fmla="*/ 1389206 h 1570703"/>
                    <a:gd name="connsiteX342" fmla="*/ 944661 w 2192431"/>
                    <a:gd name="connsiteY342" fmla="*/ 1396299 h 1570703"/>
                    <a:gd name="connsiteX343" fmla="*/ 959352 w 2192431"/>
                    <a:gd name="connsiteY343" fmla="*/ 1399339 h 1570703"/>
                    <a:gd name="connsiteX344" fmla="*/ 969524 w 2192431"/>
                    <a:gd name="connsiteY344" fmla="*/ 1401366 h 1570703"/>
                    <a:gd name="connsiteX345" fmla="*/ 975174 w 2192431"/>
                    <a:gd name="connsiteY345" fmla="*/ 1418593 h 1570703"/>
                    <a:gd name="connsiteX346" fmla="*/ 979694 w 2192431"/>
                    <a:gd name="connsiteY346" fmla="*/ 1432780 h 1570703"/>
                    <a:gd name="connsiteX347" fmla="*/ 1005688 w 2192431"/>
                    <a:gd name="connsiteY347" fmla="*/ 1440887 h 1570703"/>
                    <a:gd name="connsiteX348" fmla="*/ 1000037 w 2192431"/>
                    <a:gd name="connsiteY348" fmla="*/ 1452033 h 1570703"/>
                    <a:gd name="connsiteX349" fmla="*/ 1024899 w 2192431"/>
                    <a:gd name="connsiteY349" fmla="*/ 1453047 h 1570703"/>
                    <a:gd name="connsiteX350" fmla="*/ 1031680 w 2192431"/>
                    <a:gd name="connsiteY350" fmla="*/ 1437847 h 1570703"/>
                    <a:gd name="connsiteX351" fmla="*/ 1032810 w 2192431"/>
                    <a:gd name="connsiteY351" fmla="*/ 1413526 h 1570703"/>
                    <a:gd name="connsiteX352" fmla="*/ 1022640 w 2192431"/>
                    <a:gd name="connsiteY352" fmla="*/ 1395286 h 1570703"/>
                    <a:gd name="connsiteX353" fmla="*/ 1031680 w 2192431"/>
                    <a:gd name="connsiteY353" fmla="*/ 1381099 h 1570703"/>
                    <a:gd name="connsiteX354" fmla="*/ 1047502 w 2192431"/>
                    <a:gd name="connsiteY354" fmla="*/ 1385152 h 1570703"/>
                    <a:gd name="connsiteX355" fmla="*/ 1065584 w 2192431"/>
                    <a:gd name="connsiteY355" fmla="*/ 1375019 h 1570703"/>
                    <a:gd name="connsiteX356" fmla="*/ 1085926 w 2192431"/>
                    <a:gd name="connsiteY356" fmla="*/ 1384139 h 1570703"/>
                    <a:gd name="connsiteX357" fmla="*/ 1109658 w 2192431"/>
                    <a:gd name="connsiteY357" fmla="*/ 1377045 h 1570703"/>
                    <a:gd name="connsiteX358" fmla="*/ 1133391 w 2192431"/>
                    <a:gd name="connsiteY358" fmla="*/ 1376032 h 1570703"/>
                    <a:gd name="connsiteX359" fmla="*/ 1150343 w 2192431"/>
                    <a:gd name="connsiteY359" fmla="*/ 1363872 h 1570703"/>
                    <a:gd name="connsiteX360" fmla="*/ 1162774 w 2192431"/>
                    <a:gd name="connsiteY360" fmla="*/ 1367925 h 1570703"/>
                    <a:gd name="connsiteX361" fmla="*/ 1177465 w 2192431"/>
                    <a:gd name="connsiteY361" fmla="*/ 1372992 h 1570703"/>
                    <a:gd name="connsiteX362" fmla="*/ 1189897 w 2192431"/>
                    <a:gd name="connsiteY362" fmla="*/ 1377045 h 1570703"/>
                    <a:gd name="connsiteX363" fmla="*/ 1188767 w 2192431"/>
                    <a:gd name="connsiteY363" fmla="*/ 1395286 h 1570703"/>
                    <a:gd name="connsiteX364" fmla="*/ 1197808 w 2192431"/>
                    <a:gd name="connsiteY364" fmla="*/ 1410486 h 1570703"/>
                    <a:gd name="connsiteX365" fmla="*/ 1206849 w 2192431"/>
                    <a:gd name="connsiteY365" fmla="*/ 1419606 h 1570703"/>
                    <a:gd name="connsiteX366" fmla="*/ 1222670 w 2192431"/>
                    <a:gd name="connsiteY366" fmla="*/ 1425686 h 1570703"/>
                    <a:gd name="connsiteX367" fmla="*/ 1235102 w 2192431"/>
                    <a:gd name="connsiteY367" fmla="*/ 1423660 h 1570703"/>
                    <a:gd name="connsiteX368" fmla="*/ 1252054 w 2192431"/>
                    <a:gd name="connsiteY368" fmla="*/ 1430753 h 1570703"/>
                    <a:gd name="connsiteX369" fmla="*/ 1255444 w 2192431"/>
                    <a:gd name="connsiteY369" fmla="*/ 1421633 h 1570703"/>
                    <a:gd name="connsiteX370" fmla="*/ 1282567 w 2192431"/>
                    <a:gd name="connsiteY370" fmla="*/ 1419606 h 1570703"/>
                    <a:gd name="connsiteX371" fmla="*/ 1284827 w 2192431"/>
                    <a:gd name="connsiteY371" fmla="*/ 1426700 h 1570703"/>
                    <a:gd name="connsiteX372" fmla="*/ 1298388 w 2192431"/>
                    <a:gd name="connsiteY372" fmla="*/ 1424673 h 1570703"/>
                    <a:gd name="connsiteX373" fmla="*/ 1300649 w 2192431"/>
                    <a:gd name="connsiteY373" fmla="*/ 1434807 h 1570703"/>
                    <a:gd name="connsiteX374" fmla="*/ 1294998 w 2192431"/>
                    <a:gd name="connsiteY374" fmla="*/ 1459127 h 1570703"/>
                    <a:gd name="connsiteX375" fmla="*/ 1300649 w 2192431"/>
                    <a:gd name="connsiteY375" fmla="*/ 1459127 h 1570703"/>
                    <a:gd name="connsiteX376" fmla="*/ 1308560 w 2192431"/>
                    <a:gd name="connsiteY376" fmla="*/ 1481421 h 1570703"/>
                    <a:gd name="connsiteX377" fmla="*/ 1327772 w 2192431"/>
                    <a:gd name="connsiteY377" fmla="*/ 1479394 h 1570703"/>
                    <a:gd name="connsiteX378" fmla="*/ 1316471 w 2192431"/>
                    <a:gd name="connsiteY378" fmla="*/ 1457100 h 1570703"/>
                    <a:gd name="connsiteX379" fmla="*/ 1324381 w 2192431"/>
                    <a:gd name="connsiteY379" fmla="*/ 1457100 h 1570703"/>
                    <a:gd name="connsiteX380" fmla="*/ 1326641 w 2192431"/>
                    <a:gd name="connsiteY380" fmla="*/ 1446967 h 1570703"/>
                    <a:gd name="connsiteX381" fmla="*/ 1348114 w 2192431"/>
                    <a:gd name="connsiteY381" fmla="*/ 1439873 h 1570703"/>
                    <a:gd name="connsiteX382" fmla="*/ 1359415 w 2192431"/>
                    <a:gd name="connsiteY382" fmla="*/ 1425686 h 1570703"/>
                    <a:gd name="connsiteX383" fmla="*/ 1367326 w 2192431"/>
                    <a:gd name="connsiteY383" fmla="*/ 1425686 h 1570703"/>
                    <a:gd name="connsiteX384" fmla="*/ 1367326 w 2192431"/>
                    <a:gd name="connsiteY384" fmla="*/ 1420620 h 1570703"/>
                    <a:gd name="connsiteX385" fmla="*/ 1375236 w 2192431"/>
                    <a:gd name="connsiteY385" fmla="*/ 1422646 h 1570703"/>
                    <a:gd name="connsiteX386" fmla="*/ 1380887 w 2192431"/>
                    <a:gd name="connsiteY386" fmla="*/ 1412513 h 1570703"/>
                    <a:gd name="connsiteX387" fmla="*/ 1388798 w 2192431"/>
                    <a:gd name="connsiteY387" fmla="*/ 1414539 h 1570703"/>
                    <a:gd name="connsiteX388" fmla="*/ 1394449 w 2192431"/>
                    <a:gd name="connsiteY388" fmla="*/ 1409473 h 1570703"/>
                    <a:gd name="connsiteX389" fmla="*/ 1427222 w 2192431"/>
                    <a:gd name="connsiteY389" fmla="*/ 1409473 h 1570703"/>
                    <a:gd name="connsiteX390" fmla="*/ 1446434 w 2192431"/>
                    <a:gd name="connsiteY390" fmla="*/ 1385152 h 1570703"/>
                    <a:gd name="connsiteX391" fmla="*/ 1448694 w 2192431"/>
                    <a:gd name="connsiteY391" fmla="*/ 1385152 h 1570703"/>
                    <a:gd name="connsiteX392" fmla="*/ 1448694 w 2192431"/>
                    <a:gd name="connsiteY392" fmla="*/ 1372992 h 1570703"/>
                    <a:gd name="connsiteX393" fmla="*/ 1448694 w 2192431"/>
                    <a:gd name="connsiteY393" fmla="*/ 1367925 h 1570703"/>
                    <a:gd name="connsiteX394" fmla="*/ 1456605 w 2192431"/>
                    <a:gd name="connsiteY394" fmla="*/ 1369952 h 1570703"/>
                    <a:gd name="connsiteX395" fmla="*/ 1463386 w 2192431"/>
                    <a:gd name="connsiteY395" fmla="*/ 1380085 h 1570703"/>
                    <a:gd name="connsiteX396" fmla="*/ 1481468 w 2192431"/>
                    <a:gd name="connsiteY396" fmla="*/ 1384139 h 1570703"/>
                    <a:gd name="connsiteX397" fmla="*/ 1482598 w 2192431"/>
                    <a:gd name="connsiteY397" fmla="*/ 1386165 h 1570703"/>
                    <a:gd name="connsiteX398" fmla="*/ 1488248 w 2192431"/>
                    <a:gd name="connsiteY398" fmla="*/ 1384139 h 1570703"/>
                    <a:gd name="connsiteX399" fmla="*/ 1488248 w 2192431"/>
                    <a:gd name="connsiteY399" fmla="*/ 1379072 h 1570703"/>
                    <a:gd name="connsiteX400" fmla="*/ 1509721 w 2192431"/>
                    <a:gd name="connsiteY400" fmla="*/ 1374005 h 1570703"/>
                    <a:gd name="connsiteX401" fmla="*/ 1528933 w 2192431"/>
                    <a:gd name="connsiteY401" fmla="*/ 1376032 h 1570703"/>
                    <a:gd name="connsiteX402" fmla="*/ 1528933 w 2192431"/>
                    <a:gd name="connsiteY402" fmla="*/ 1370965 h 1570703"/>
                    <a:gd name="connsiteX403" fmla="*/ 1540234 w 2192431"/>
                    <a:gd name="connsiteY403" fmla="*/ 1365898 h 1570703"/>
                    <a:gd name="connsiteX404" fmla="*/ 1540234 w 2192431"/>
                    <a:gd name="connsiteY404" fmla="*/ 1353738 h 1570703"/>
                    <a:gd name="connsiteX405" fmla="*/ 1540234 w 2192431"/>
                    <a:gd name="connsiteY405" fmla="*/ 1346644 h 1570703"/>
                    <a:gd name="connsiteX406" fmla="*/ 1556056 w 2192431"/>
                    <a:gd name="connsiteY406" fmla="*/ 1339551 h 1570703"/>
                    <a:gd name="connsiteX407" fmla="*/ 1558316 w 2192431"/>
                    <a:gd name="connsiteY407" fmla="*/ 1332458 h 1570703"/>
                    <a:gd name="connsiteX408" fmla="*/ 1566227 w 2192431"/>
                    <a:gd name="connsiteY408" fmla="*/ 1334484 h 1570703"/>
                    <a:gd name="connsiteX409" fmla="*/ 1574138 w 2192431"/>
                    <a:gd name="connsiteY409" fmla="*/ 1327391 h 1570703"/>
                    <a:gd name="connsiteX410" fmla="*/ 1574138 w 2192431"/>
                    <a:gd name="connsiteY410" fmla="*/ 1320297 h 1570703"/>
                    <a:gd name="connsiteX411" fmla="*/ 1589959 w 2192431"/>
                    <a:gd name="connsiteY411" fmla="*/ 1318271 h 1570703"/>
                    <a:gd name="connsiteX412" fmla="*/ 1592219 w 2192431"/>
                    <a:gd name="connsiteY412" fmla="*/ 1311177 h 1570703"/>
                    <a:gd name="connsiteX413" fmla="*/ 1592219 w 2192431"/>
                    <a:gd name="connsiteY413" fmla="*/ 1299017 h 1570703"/>
                    <a:gd name="connsiteX414" fmla="*/ 1630644 w 2192431"/>
                    <a:gd name="connsiteY414" fmla="*/ 1291923 h 1570703"/>
                    <a:gd name="connsiteX415" fmla="*/ 1628383 w 2192431"/>
                    <a:gd name="connsiteY415" fmla="*/ 1286856 h 1570703"/>
                    <a:gd name="connsiteX416" fmla="*/ 1636294 w 2192431"/>
                    <a:gd name="connsiteY416" fmla="*/ 1276723 h 1570703"/>
                    <a:gd name="connsiteX417" fmla="*/ 1636294 w 2192431"/>
                    <a:gd name="connsiteY417" fmla="*/ 1271656 h 1570703"/>
                    <a:gd name="connsiteX418" fmla="*/ 1634034 w 2192431"/>
                    <a:gd name="connsiteY418" fmla="*/ 1261523 h 1570703"/>
                    <a:gd name="connsiteX419" fmla="*/ 1653246 w 2192431"/>
                    <a:gd name="connsiteY419" fmla="*/ 1261523 h 1570703"/>
                    <a:gd name="connsiteX420" fmla="*/ 1655507 w 2192431"/>
                    <a:gd name="connsiteY420" fmla="*/ 1256456 h 1570703"/>
                    <a:gd name="connsiteX421" fmla="*/ 1653246 w 2192431"/>
                    <a:gd name="connsiteY421" fmla="*/ 1234162 h 1570703"/>
                    <a:gd name="connsiteX422" fmla="*/ 1639685 w 2192431"/>
                    <a:gd name="connsiteY422" fmla="*/ 1232135 h 1570703"/>
                    <a:gd name="connsiteX423" fmla="*/ 1641945 w 2192431"/>
                    <a:gd name="connsiteY423" fmla="*/ 1225042 h 1570703"/>
                    <a:gd name="connsiteX424" fmla="*/ 1649856 w 2192431"/>
                    <a:gd name="connsiteY424" fmla="*/ 1225042 h 1570703"/>
                    <a:gd name="connsiteX425" fmla="*/ 1649856 w 2192431"/>
                    <a:gd name="connsiteY425" fmla="*/ 1207815 h 1570703"/>
                    <a:gd name="connsiteX426" fmla="*/ 1674718 w 2192431"/>
                    <a:gd name="connsiteY426" fmla="*/ 1197681 h 1570703"/>
                    <a:gd name="connsiteX427" fmla="*/ 1674718 w 2192431"/>
                    <a:gd name="connsiteY427" fmla="*/ 1190588 h 1570703"/>
                    <a:gd name="connsiteX428" fmla="*/ 1688280 w 2192431"/>
                    <a:gd name="connsiteY428" fmla="*/ 1183494 h 1570703"/>
                    <a:gd name="connsiteX429" fmla="*/ 1688280 w 2192431"/>
                    <a:gd name="connsiteY429" fmla="*/ 1166267 h 1570703"/>
                    <a:gd name="connsiteX430" fmla="*/ 1696191 w 2192431"/>
                    <a:gd name="connsiteY430" fmla="*/ 1161200 h 1570703"/>
                    <a:gd name="connsiteX431" fmla="*/ 1693930 w 2192431"/>
                    <a:gd name="connsiteY431" fmla="*/ 1159173 h 1570703"/>
                    <a:gd name="connsiteX432" fmla="*/ 1705231 w 2192431"/>
                    <a:gd name="connsiteY432" fmla="*/ 1157147 h 1570703"/>
                    <a:gd name="connsiteX433" fmla="*/ 1710882 w 2192431"/>
                    <a:gd name="connsiteY433" fmla="*/ 1144987 h 1570703"/>
                    <a:gd name="connsiteX434" fmla="*/ 1724444 w 2192431"/>
                    <a:gd name="connsiteY434" fmla="*/ 1144987 h 1570703"/>
                    <a:gd name="connsiteX435" fmla="*/ 1724444 w 2192431"/>
                    <a:gd name="connsiteY435" fmla="*/ 1137893 h 1570703"/>
                    <a:gd name="connsiteX436" fmla="*/ 1713142 w 2192431"/>
                    <a:gd name="connsiteY436" fmla="*/ 1130800 h 1570703"/>
                    <a:gd name="connsiteX437" fmla="*/ 1718793 w 2192431"/>
                    <a:gd name="connsiteY437" fmla="*/ 1123706 h 1570703"/>
                    <a:gd name="connsiteX438" fmla="*/ 1716533 w 2192431"/>
                    <a:gd name="connsiteY438" fmla="*/ 1106479 h 1570703"/>
                    <a:gd name="connsiteX439" fmla="*/ 1738005 w 2192431"/>
                    <a:gd name="connsiteY439" fmla="*/ 1106479 h 1570703"/>
                    <a:gd name="connsiteX440" fmla="*/ 1732355 w 2192431"/>
                    <a:gd name="connsiteY440" fmla="*/ 1082158 h 1570703"/>
                    <a:gd name="connsiteX441" fmla="*/ 1740266 w 2192431"/>
                    <a:gd name="connsiteY441" fmla="*/ 1080132 h 1570703"/>
                    <a:gd name="connsiteX442" fmla="*/ 1745916 w 2192431"/>
                    <a:gd name="connsiteY442" fmla="*/ 1078105 h 1570703"/>
                    <a:gd name="connsiteX443" fmla="*/ 1743656 w 2192431"/>
                    <a:gd name="connsiteY443" fmla="*/ 1071012 h 1570703"/>
                    <a:gd name="connsiteX444" fmla="*/ 1730094 w 2192431"/>
                    <a:gd name="connsiteY444" fmla="*/ 1068985 h 1570703"/>
                    <a:gd name="connsiteX445" fmla="*/ 1727834 w 2192431"/>
                    <a:gd name="connsiteY445" fmla="*/ 1063918 h 1570703"/>
                    <a:gd name="connsiteX446" fmla="*/ 1698451 w 2192431"/>
                    <a:gd name="connsiteY446" fmla="*/ 1065945 h 1570703"/>
                    <a:gd name="connsiteX447" fmla="*/ 1698451 w 2192431"/>
                    <a:gd name="connsiteY447" fmla="*/ 1058851 h 1570703"/>
                    <a:gd name="connsiteX448" fmla="*/ 1727834 w 2192431"/>
                    <a:gd name="connsiteY448" fmla="*/ 1039597 h 1570703"/>
                    <a:gd name="connsiteX449" fmla="*/ 1679239 w 2192431"/>
                    <a:gd name="connsiteY449" fmla="*/ 1010210 h 1570703"/>
                    <a:gd name="connsiteX450" fmla="*/ 1671328 w 2192431"/>
                    <a:gd name="connsiteY450" fmla="*/ 998050 h 1570703"/>
                    <a:gd name="connsiteX451" fmla="*/ 1712013 w 2192431"/>
                    <a:gd name="connsiteY451" fmla="*/ 1000077 h 1570703"/>
                    <a:gd name="connsiteX452" fmla="*/ 1712013 w 2192431"/>
                    <a:gd name="connsiteY452" fmla="*/ 987916 h 1570703"/>
                    <a:gd name="connsiteX453" fmla="*/ 1669067 w 2192431"/>
                    <a:gd name="connsiteY453" fmla="*/ 925088 h 1570703"/>
                    <a:gd name="connsiteX454" fmla="*/ 1653246 w 2192431"/>
                    <a:gd name="connsiteY454" fmla="*/ 927115 h 1570703"/>
                    <a:gd name="connsiteX455" fmla="*/ 1661157 w 2192431"/>
                    <a:gd name="connsiteY455" fmla="*/ 920021 h 1570703"/>
                    <a:gd name="connsiteX456" fmla="*/ 1645335 w 2192431"/>
                    <a:gd name="connsiteY456" fmla="*/ 854153 h 1570703"/>
                    <a:gd name="connsiteX457" fmla="*/ 1666808 w 2192431"/>
                    <a:gd name="connsiteY457" fmla="*/ 836926 h 1570703"/>
                    <a:gd name="connsiteX458" fmla="*/ 1664547 w 2192431"/>
                    <a:gd name="connsiteY458" fmla="*/ 824766 h 1570703"/>
                    <a:gd name="connsiteX459" fmla="*/ 1689410 w 2192431"/>
                    <a:gd name="connsiteY459" fmla="*/ 807539 h 1570703"/>
                    <a:gd name="connsiteX460" fmla="*/ 1691670 w 2192431"/>
                    <a:gd name="connsiteY460" fmla="*/ 800445 h 1570703"/>
                    <a:gd name="connsiteX461" fmla="*/ 1707492 w 2192431"/>
                    <a:gd name="connsiteY461" fmla="*/ 795378 h 1570703"/>
                    <a:gd name="connsiteX462" fmla="*/ 1713142 w 2192431"/>
                    <a:gd name="connsiteY462" fmla="*/ 788285 h 1570703"/>
                    <a:gd name="connsiteX463" fmla="*/ 1726704 w 2192431"/>
                    <a:gd name="connsiteY463" fmla="*/ 788285 h 1570703"/>
                    <a:gd name="connsiteX464" fmla="*/ 1728964 w 2192431"/>
                    <a:gd name="connsiteY464" fmla="*/ 781191 h 1570703"/>
                    <a:gd name="connsiteX465" fmla="*/ 1734615 w 2192431"/>
                    <a:gd name="connsiteY465" fmla="*/ 776125 h 1570703"/>
                    <a:gd name="connsiteX466" fmla="*/ 1742525 w 2192431"/>
                    <a:gd name="connsiteY466" fmla="*/ 781191 h 1570703"/>
                    <a:gd name="connsiteX467" fmla="*/ 1753826 w 2192431"/>
                    <a:gd name="connsiteY467" fmla="*/ 779165 h 1570703"/>
                    <a:gd name="connsiteX468" fmla="*/ 1765128 w 2192431"/>
                    <a:gd name="connsiteY468" fmla="*/ 759911 h 1570703"/>
                    <a:gd name="connsiteX469" fmla="*/ 1765128 w 2192431"/>
                    <a:gd name="connsiteY469" fmla="*/ 754844 h 1570703"/>
                    <a:gd name="connsiteX470" fmla="*/ 1749306 w 2192431"/>
                    <a:gd name="connsiteY470" fmla="*/ 749777 h 1570703"/>
                    <a:gd name="connsiteX471" fmla="*/ 1716533 w 2192431"/>
                    <a:gd name="connsiteY471" fmla="*/ 754844 h 1570703"/>
                    <a:gd name="connsiteX472" fmla="*/ 1708622 w 2192431"/>
                    <a:gd name="connsiteY472" fmla="*/ 744711 h 1570703"/>
                    <a:gd name="connsiteX473" fmla="*/ 1673588 w 2192431"/>
                    <a:gd name="connsiteY473" fmla="*/ 744711 h 1570703"/>
                    <a:gd name="connsiteX474" fmla="*/ 1671328 w 2192431"/>
                    <a:gd name="connsiteY474" fmla="*/ 751804 h 1570703"/>
                    <a:gd name="connsiteX475" fmla="*/ 1655507 w 2192431"/>
                    <a:gd name="connsiteY475" fmla="*/ 756871 h 1570703"/>
                    <a:gd name="connsiteX476" fmla="*/ 1649856 w 2192431"/>
                    <a:gd name="connsiteY476" fmla="*/ 769031 h 1570703"/>
                    <a:gd name="connsiteX477" fmla="*/ 1636294 w 2192431"/>
                    <a:gd name="connsiteY477" fmla="*/ 769031 h 1570703"/>
                    <a:gd name="connsiteX478" fmla="*/ 1630644 w 2192431"/>
                    <a:gd name="connsiteY478" fmla="*/ 774098 h 1570703"/>
                    <a:gd name="connsiteX479" fmla="*/ 1622733 w 2192431"/>
                    <a:gd name="connsiteY479" fmla="*/ 772071 h 1570703"/>
                    <a:gd name="connsiteX480" fmla="*/ 1614822 w 2192431"/>
                    <a:gd name="connsiteY480" fmla="*/ 752817 h 1570703"/>
                    <a:gd name="connsiteX481" fmla="*/ 1603521 w 2192431"/>
                    <a:gd name="connsiteY481" fmla="*/ 738630 h 1570703"/>
                    <a:gd name="connsiteX482" fmla="*/ 1597870 w 2192431"/>
                    <a:gd name="connsiteY482" fmla="*/ 738630 h 1570703"/>
                    <a:gd name="connsiteX483" fmla="*/ 1584309 w 2192431"/>
                    <a:gd name="connsiteY483" fmla="*/ 707216 h 1570703"/>
                    <a:gd name="connsiteX484" fmla="*/ 1584309 w 2192431"/>
                    <a:gd name="connsiteY484" fmla="*/ 693029 h 1570703"/>
                    <a:gd name="connsiteX485" fmla="*/ 1589959 w 2192431"/>
                    <a:gd name="connsiteY485" fmla="*/ 687963 h 1570703"/>
                    <a:gd name="connsiteX486" fmla="*/ 1624993 w 2192431"/>
                    <a:gd name="connsiteY486" fmla="*/ 687963 h 1570703"/>
                    <a:gd name="connsiteX487" fmla="*/ 1638555 w 2192431"/>
                    <a:gd name="connsiteY487" fmla="*/ 665669 h 1570703"/>
                    <a:gd name="connsiteX488" fmla="*/ 1660027 w 2192431"/>
                    <a:gd name="connsiteY488" fmla="*/ 651482 h 1570703"/>
                    <a:gd name="connsiteX489" fmla="*/ 1667938 w 2192431"/>
                    <a:gd name="connsiteY489" fmla="*/ 651482 h 1570703"/>
                    <a:gd name="connsiteX490" fmla="*/ 1679239 w 2192431"/>
                    <a:gd name="connsiteY490" fmla="*/ 639322 h 1570703"/>
                    <a:gd name="connsiteX491" fmla="*/ 1684889 w 2192431"/>
                    <a:gd name="connsiteY491" fmla="*/ 639322 h 1570703"/>
                    <a:gd name="connsiteX492" fmla="*/ 1690540 w 2192431"/>
                    <a:gd name="connsiteY492" fmla="*/ 622094 h 1570703"/>
                    <a:gd name="connsiteX493" fmla="*/ 1712013 w 2192431"/>
                    <a:gd name="connsiteY493" fmla="*/ 599800 h 1570703"/>
                    <a:gd name="connsiteX494" fmla="*/ 1754957 w 2192431"/>
                    <a:gd name="connsiteY494" fmla="*/ 611961 h 1570703"/>
                    <a:gd name="connsiteX495" fmla="*/ 1727834 w 2192431"/>
                    <a:gd name="connsiteY495" fmla="*/ 653508 h 1570703"/>
                    <a:gd name="connsiteX496" fmla="*/ 1719923 w 2192431"/>
                    <a:gd name="connsiteY496" fmla="*/ 658575 h 1570703"/>
                    <a:gd name="connsiteX497" fmla="*/ 1719923 w 2192431"/>
                    <a:gd name="connsiteY497" fmla="*/ 675802 h 1570703"/>
                    <a:gd name="connsiteX498" fmla="*/ 1733484 w 2192431"/>
                    <a:gd name="connsiteY498" fmla="*/ 675802 h 1570703"/>
                    <a:gd name="connsiteX499" fmla="*/ 1719923 w 2192431"/>
                    <a:gd name="connsiteY499" fmla="*/ 698096 h 1570703"/>
                    <a:gd name="connsiteX500" fmla="*/ 1725573 w 2192431"/>
                    <a:gd name="connsiteY500" fmla="*/ 698096 h 1570703"/>
                    <a:gd name="connsiteX501" fmla="*/ 1733484 w 2192431"/>
                    <a:gd name="connsiteY501" fmla="*/ 698096 h 1570703"/>
                    <a:gd name="connsiteX502" fmla="*/ 1733484 w 2192431"/>
                    <a:gd name="connsiteY502" fmla="*/ 687963 h 1570703"/>
                    <a:gd name="connsiteX503" fmla="*/ 1814853 w 2192431"/>
                    <a:gd name="connsiteY503" fmla="*/ 651482 h 1570703"/>
                    <a:gd name="connsiteX504" fmla="*/ 1822764 w 2192431"/>
                    <a:gd name="connsiteY504" fmla="*/ 658575 h 1570703"/>
                    <a:gd name="connsiteX505" fmla="*/ 1836326 w 2192431"/>
                    <a:gd name="connsiteY505" fmla="*/ 653508 h 1570703"/>
                    <a:gd name="connsiteX506" fmla="*/ 1837456 w 2192431"/>
                    <a:gd name="connsiteY506" fmla="*/ 655535 h 1570703"/>
                    <a:gd name="connsiteX507" fmla="*/ 1849887 w 2192431"/>
                    <a:gd name="connsiteY507" fmla="*/ 631215 h 1570703"/>
                    <a:gd name="connsiteX508" fmla="*/ 1864579 w 2192431"/>
                    <a:gd name="connsiteY508" fmla="*/ 620068 h 1570703"/>
                    <a:gd name="connsiteX509" fmla="*/ 1879270 w 2192431"/>
                    <a:gd name="connsiteY509" fmla="*/ 598787 h 1570703"/>
                    <a:gd name="connsiteX510" fmla="*/ 1890571 w 2192431"/>
                    <a:gd name="connsiteY510" fmla="*/ 584600 h 1570703"/>
                    <a:gd name="connsiteX511" fmla="*/ 1912043 w 2192431"/>
                    <a:gd name="connsiteY511" fmla="*/ 568387 h 1570703"/>
                    <a:gd name="connsiteX512" fmla="*/ 1910913 w 2192431"/>
                    <a:gd name="connsiteY512" fmla="*/ 549133 h 1570703"/>
                    <a:gd name="connsiteX513" fmla="*/ 1925605 w 2192431"/>
                    <a:gd name="connsiteY513" fmla="*/ 544066 h 1570703"/>
                    <a:gd name="connsiteX514" fmla="*/ 1935776 w 2192431"/>
                    <a:gd name="connsiteY514" fmla="*/ 557240 h 1570703"/>
                    <a:gd name="connsiteX515" fmla="*/ 1950468 w 2192431"/>
                    <a:gd name="connsiteY515" fmla="*/ 561293 h 1570703"/>
                    <a:gd name="connsiteX516" fmla="*/ 1970810 w 2192431"/>
                    <a:gd name="connsiteY516" fmla="*/ 565346 h 1570703"/>
                    <a:gd name="connsiteX517" fmla="*/ 1970810 w 2192431"/>
                    <a:gd name="connsiteY517" fmla="*/ 547106 h 1570703"/>
                    <a:gd name="connsiteX518" fmla="*/ 1969680 w 2192431"/>
                    <a:gd name="connsiteY518" fmla="*/ 536972 h 1570703"/>
                    <a:gd name="connsiteX519" fmla="*/ 1982111 w 2192431"/>
                    <a:gd name="connsiteY519" fmla="*/ 527852 h 1570703"/>
                    <a:gd name="connsiteX520" fmla="*/ 1999063 w 2192431"/>
                    <a:gd name="connsiteY520" fmla="*/ 528866 h 1570703"/>
                    <a:gd name="connsiteX521" fmla="*/ 2008103 w 2192431"/>
                    <a:gd name="connsiteY521" fmla="*/ 522785 h 1570703"/>
                    <a:gd name="connsiteX522" fmla="*/ 2006974 w 2192431"/>
                    <a:gd name="connsiteY522" fmla="*/ 514679 h 1570703"/>
                    <a:gd name="connsiteX523" fmla="*/ 2023925 w 2192431"/>
                    <a:gd name="connsiteY523" fmla="*/ 508598 h 1570703"/>
                    <a:gd name="connsiteX524" fmla="*/ 2026186 w 2192431"/>
                    <a:gd name="connsiteY524" fmla="*/ 485291 h 1570703"/>
                    <a:gd name="connsiteX525" fmla="*/ 2048788 w 2192431"/>
                    <a:gd name="connsiteY525" fmla="*/ 514679 h 1570703"/>
                    <a:gd name="connsiteX526" fmla="*/ 2055569 w 2192431"/>
                    <a:gd name="connsiteY526" fmla="*/ 504545 h 1570703"/>
                    <a:gd name="connsiteX527" fmla="*/ 2052178 w 2192431"/>
                    <a:gd name="connsiteY527" fmla="*/ 491371 h 1570703"/>
                    <a:gd name="connsiteX528" fmla="*/ 2062350 w 2192431"/>
                    <a:gd name="connsiteY528" fmla="*/ 485291 h 1570703"/>
                    <a:gd name="connsiteX529" fmla="*/ 2063479 w 2192431"/>
                    <a:gd name="connsiteY529" fmla="*/ 471104 h 1570703"/>
                    <a:gd name="connsiteX530" fmla="*/ 2060089 w 2192431"/>
                    <a:gd name="connsiteY530" fmla="*/ 446784 h 1570703"/>
                    <a:gd name="connsiteX531" fmla="*/ 2065740 w 2192431"/>
                    <a:gd name="connsiteY531" fmla="*/ 431583 h 1570703"/>
                    <a:gd name="connsiteX532" fmla="*/ 2065740 w 2192431"/>
                    <a:gd name="connsiteY532" fmla="*/ 417396 h 1570703"/>
                    <a:gd name="connsiteX533" fmla="*/ 2077041 w 2192431"/>
                    <a:gd name="connsiteY533" fmla="*/ 411316 h 1570703"/>
                    <a:gd name="connsiteX534" fmla="*/ 2087212 w 2192431"/>
                    <a:gd name="connsiteY534" fmla="*/ 404223 h 1570703"/>
                    <a:gd name="connsiteX535" fmla="*/ 2084952 w 2192431"/>
                    <a:gd name="connsiteY535" fmla="*/ 401183 h 1570703"/>
                    <a:gd name="connsiteX536" fmla="*/ 2087212 w 2192431"/>
                    <a:gd name="connsiteY536" fmla="*/ 396116 h 1570703"/>
                    <a:gd name="connsiteX537" fmla="*/ 2106424 w 2192431"/>
                    <a:gd name="connsiteY537" fmla="*/ 406249 h 1570703"/>
                    <a:gd name="connsiteX538" fmla="*/ 2103034 w 2192431"/>
                    <a:gd name="connsiteY538" fmla="*/ 413343 h 1570703"/>
                    <a:gd name="connsiteX539" fmla="*/ 977435 w 2192431"/>
                    <a:gd name="connsiteY539" fmla="*/ 773085 h 1570703"/>
                    <a:gd name="connsiteX540" fmla="*/ 988736 w 2192431"/>
                    <a:gd name="connsiteY540" fmla="*/ 787272 h 1570703"/>
                    <a:gd name="connsiteX541" fmla="*/ 975174 w 2192431"/>
                    <a:gd name="connsiteY541" fmla="*/ 782205 h 1570703"/>
                    <a:gd name="connsiteX542" fmla="*/ 975174 w 2192431"/>
                    <a:gd name="connsiteY542" fmla="*/ 775111 h 1570703"/>
                    <a:gd name="connsiteX543" fmla="*/ 977435 w 2192431"/>
                    <a:gd name="connsiteY543" fmla="*/ 773085 h 157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Lst>
                  <a:rect l="l" t="t" r="r" b="b"/>
                  <a:pathLst>
                    <a:path w="2192431" h="1570703">
                      <a:moveTo>
                        <a:pt x="1343593" y="1485474"/>
                      </a:moveTo>
                      <a:cubicBezTo>
                        <a:pt x="1331162" y="1487501"/>
                        <a:pt x="1317601" y="1495608"/>
                        <a:pt x="1308560" y="1497635"/>
                      </a:cubicBezTo>
                      <a:cubicBezTo>
                        <a:pt x="1300649" y="1499661"/>
                        <a:pt x="1292738" y="1496621"/>
                        <a:pt x="1287087" y="1499661"/>
                      </a:cubicBezTo>
                      <a:cubicBezTo>
                        <a:pt x="1283697" y="1501688"/>
                        <a:pt x="1287087" y="1505742"/>
                        <a:pt x="1284827" y="1509795"/>
                      </a:cubicBezTo>
                      <a:cubicBezTo>
                        <a:pt x="1282567" y="1512835"/>
                        <a:pt x="1279176" y="1509795"/>
                        <a:pt x="1276917" y="1511822"/>
                      </a:cubicBezTo>
                      <a:cubicBezTo>
                        <a:pt x="1271266" y="1515875"/>
                        <a:pt x="1267875" y="1517902"/>
                        <a:pt x="1261095" y="1521955"/>
                      </a:cubicBezTo>
                      <a:cubicBezTo>
                        <a:pt x="1262224" y="1533102"/>
                        <a:pt x="1261095" y="1543236"/>
                        <a:pt x="1266745" y="1551343"/>
                      </a:cubicBezTo>
                      <a:cubicBezTo>
                        <a:pt x="1270135" y="1556409"/>
                        <a:pt x="1276917" y="1556409"/>
                        <a:pt x="1282567" y="1558436"/>
                      </a:cubicBezTo>
                      <a:cubicBezTo>
                        <a:pt x="1284827" y="1559449"/>
                        <a:pt x="1294998" y="1567556"/>
                        <a:pt x="1296128" y="1568570"/>
                      </a:cubicBezTo>
                      <a:cubicBezTo>
                        <a:pt x="1299519" y="1568570"/>
                        <a:pt x="1320991" y="1558436"/>
                        <a:pt x="1323251" y="1556409"/>
                      </a:cubicBezTo>
                      <a:cubicBezTo>
                        <a:pt x="1325512" y="1554383"/>
                        <a:pt x="1323251" y="1550329"/>
                        <a:pt x="1325512" y="1549316"/>
                      </a:cubicBezTo>
                      <a:cubicBezTo>
                        <a:pt x="1331162" y="1546276"/>
                        <a:pt x="1335682" y="1548302"/>
                        <a:pt x="1339073" y="1544249"/>
                      </a:cubicBezTo>
                      <a:cubicBezTo>
                        <a:pt x="1343593" y="1538169"/>
                        <a:pt x="1339073" y="1536142"/>
                        <a:pt x="1341333" y="1530062"/>
                      </a:cubicBezTo>
                      <a:lnTo>
                        <a:pt x="1346983" y="1524995"/>
                      </a:lnTo>
                      <a:cubicBezTo>
                        <a:pt x="1352634" y="1507768"/>
                        <a:pt x="1342463" y="1514862"/>
                        <a:pt x="1358285" y="1505742"/>
                      </a:cubicBezTo>
                      <a:cubicBezTo>
                        <a:pt x="1358285" y="1505742"/>
                        <a:pt x="1359415" y="1497635"/>
                        <a:pt x="1356025" y="1500675"/>
                      </a:cubicBezTo>
                      <a:cubicBezTo>
                        <a:pt x="1356025" y="1499661"/>
                        <a:pt x="1354894" y="1493581"/>
                        <a:pt x="1356025" y="1493581"/>
                      </a:cubicBezTo>
                      <a:cubicBezTo>
                        <a:pt x="1351504" y="1490541"/>
                        <a:pt x="1344724" y="1487501"/>
                        <a:pt x="1343593" y="1485474"/>
                      </a:cubicBezTo>
                      <a:close/>
                      <a:moveTo>
                        <a:pt x="1413661" y="1113572"/>
                      </a:moveTo>
                      <a:cubicBezTo>
                        <a:pt x="1413661" y="1113572"/>
                        <a:pt x="1418181" y="1119653"/>
                        <a:pt x="1419311" y="1120666"/>
                      </a:cubicBezTo>
                      <a:cubicBezTo>
                        <a:pt x="1415921" y="1123706"/>
                        <a:pt x="1417051" y="1122693"/>
                        <a:pt x="1417051" y="1127759"/>
                      </a:cubicBezTo>
                      <a:cubicBezTo>
                        <a:pt x="1414791" y="1127759"/>
                        <a:pt x="1409140" y="1132826"/>
                        <a:pt x="1409140" y="1132826"/>
                      </a:cubicBezTo>
                      <a:cubicBezTo>
                        <a:pt x="1403489" y="1133840"/>
                        <a:pt x="1392188" y="1126746"/>
                        <a:pt x="1387668" y="1125733"/>
                      </a:cubicBezTo>
                      <a:lnTo>
                        <a:pt x="1387668" y="1120666"/>
                      </a:lnTo>
                      <a:cubicBezTo>
                        <a:pt x="1392188" y="1117626"/>
                        <a:pt x="1389928" y="1118639"/>
                        <a:pt x="1395579" y="1115599"/>
                      </a:cubicBezTo>
                      <a:cubicBezTo>
                        <a:pt x="1395579" y="1115599"/>
                        <a:pt x="1395579" y="1122693"/>
                        <a:pt x="1395579" y="1122693"/>
                      </a:cubicBezTo>
                      <a:cubicBezTo>
                        <a:pt x="1397839" y="1120666"/>
                        <a:pt x="1401230" y="1123706"/>
                        <a:pt x="1403489" y="1122693"/>
                      </a:cubicBezTo>
                      <a:cubicBezTo>
                        <a:pt x="1405750" y="1121679"/>
                        <a:pt x="1404620" y="1116613"/>
                        <a:pt x="1405750" y="1115599"/>
                      </a:cubicBezTo>
                      <a:cubicBezTo>
                        <a:pt x="1408010" y="1113572"/>
                        <a:pt x="1411400" y="1114586"/>
                        <a:pt x="1413661" y="1113572"/>
                      </a:cubicBezTo>
                      <a:close/>
                      <a:moveTo>
                        <a:pt x="1557186" y="1096346"/>
                      </a:moveTo>
                      <a:cubicBezTo>
                        <a:pt x="1580918" y="1095332"/>
                        <a:pt x="1557186" y="1107492"/>
                        <a:pt x="1551535" y="1110532"/>
                      </a:cubicBezTo>
                      <a:cubicBezTo>
                        <a:pt x="1548145" y="1102425"/>
                        <a:pt x="1535713" y="1097359"/>
                        <a:pt x="1557186" y="1096346"/>
                      </a:cubicBezTo>
                      <a:close/>
                      <a:moveTo>
                        <a:pt x="1673588" y="1009197"/>
                      </a:moveTo>
                      <a:lnTo>
                        <a:pt x="1681499" y="1011223"/>
                      </a:lnTo>
                      <a:cubicBezTo>
                        <a:pt x="1676978" y="1013250"/>
                        <a:pt x="1681499" y="1022370"/>
                        <a:pt x="1681499" y="1028450"/>
                      </a:cubicBezTo>
                      <a:cubicBezTo>
                        <a:pt x="1681499" y="1028450"/>
                        <a:pt x="1665677" y="1028450"/>
                        <a:pt x="1670198" y="1026424"/>
                      </a:cubicBezTo>
                      <a:cubicBezTo>
                        <a:pt x="1669067" y="1024397"/>
                        <a:pt x="1664547" y="1024397"/>
                        <a:pt x="1662287" y="1024397"/>
                      </a:cubicBezTo>
                      <a:cubicBezTo>
                        <a:pt x="1663417" y="1022370"/>
                        <a:pt x="1662287" y="1016290"/>
                        <a:pt x="1662287" y="1014264"/>
                      </a:cubicBezTo>
                      <a:cubicBezTo>
                        <a:pt x="1665677" y="1012237"/>
                        <a:pt x="1672458" y="1010210"/>
                        <a:pt x="1673588" y="1009197"/>
                      </a:cubicBezTo>
                      <a:close/>
                      <a:moveTo>
                        <a:pt x="1719923" y="1004130"/>
                      </a:moveTo>
                      <a:cubicBezTo>
                        <a:pt x="1719923" y="1004130"/>
                        <a:pt x="1722183" y="1011223"/>
                        <a:pt x="1722183" y="1011223"/>
                      </a:cubicBezTo>
                      <a:cubicBezTo>
                        <a:pt x="1727834" y="1012237"/>
                        <a:pt x="1725573" y="1005143"/>
                        <a:pt x="1719923" y="1004130"/>
                      </a:cubicBezTo>
                      <a:close/>
                      <a:moveTo>
                        <a:pt x="1574138" y="865300"/>
                      </a:moveTo>
                      <a:cubicBezTo>
                        <a:pt x="1574138" y="865300"/>
                        <a:pt x="1579788" y="875434"/>
                        <a:pt x="1574138" y="872394"/>
                      </a:cubicBezTo>
                      <a:cubicBezTo>
                        <a:pt x="1573007" y="872394"/>
                        <a:pt x="1568487" y="862260"/>
                        <a:pt x="1574138" y="865300"/>
                      </a:cubicBezTo>
                      <a:close/>
                      <a:moveTo>
                        <a:pt x="2103034" y="413343"/>
                      </a:moveTo>
                      <a:lnTo>
                        <a:pt x="2112075" y="403209"/>
                      </a:lnTo>
                      <a:lnTo>
                        <a:pt x="2127897" y="394089"/>
                      </a:lnTo>
                      <a:lnTo>
                        <a:pt x="2132417" y="382942"/>
                      </a:lnTo>
                      <a:lnTo>
                        <a:pt x="2143718" y="377875"/>
                      </a:lnTo>
                      <a:lnTo>
                        <a:pt x="2158410" y="364702"/>
                      </a:lnTo>
                      <a:lnTo>
                        <a:pt x="2167451" y="348488"/>
                      </a:lnTo>
                      <a:lnTo>
                        <a:pt x="2171971" y="325181"/>
                      </a:lnTo>
                      <a:lnTo>
                        <a:pt x="2170841" y="314034"/>
                      </a:lnTo>
                      <a:lnTo>
                        <a:pt x="2181012" y="304914"/>
                      </a:lnTo>
                      <a:lnTo>
                        <a:pt x="2183272" y="288700"/>
                      </a:lnTo>
                      <a:lnTo>
                        <a:pt x="2174231" y="280593"/>
                      </a:lnTo>
                      <a:lnTo>
                        <a:pt x="2174231" y="267419"/>
                      </a:lnTo>
                      <a:lnTo>
                        <a:pt x="2183272" y="248166"/>
                      </a:lnTo>
                      <a:lnTo>
                        <a:pt x="2162930" y="254246"/>
                      </a:lnTo>
                      <a:lnTo>
                        <a:pt x="2156149" y="264379"/>
                      </a:lnTo>
                      <a:lnTo>
                        <a:pt x="2141458" y="268433"/>
                      </a:lnTo>
                      <a:lnTo>
                        <a:pt x="2129026" y="268433"/>
                      </a:lnTo>
                      <a:lnTo>
                        <a:pt x="2114335" y="276540"/>
                      </a:lnTo>
                      <a:lnTo>
                        <a:pt x="2103034" y="287687"/>
                      </a:lnTo>
                      <a:lnTo>
                        <a:pt x="2088342" y="293767"/>
                      </a:lnTo>
                      <a:lnTo>
                        <a:pt x="2078171" y="297820"/>
                      </a:lnTo>
                      <a:lnTo>
                        <a:pt x="2061219" y="288700"/>
                      </a:lnTo>
                      <a:lnTo>
                        <a:pt x="2045398" y="280593"/>
                      </a:lnTo>
                      <a:lnTo>
                        <a:pt x="2036356" y="267419"/>
                      </a:lnTo>
                      <a:lnTo>
                        <a:pt x="2040877" y="253232"/>
                      </a:lnTo>
                      <a:lnTo>
                        <a:pt x="2034097" y="240059"/>
                      </a:lnTo>
                      <a:lnTo>
                        <a:pt x="2018275" y="225872"/>
                      </a:lnTo>
                      <a:lnTo>
                        <a:pt x="2011494" y="209658"/>
                      </a:lnTo>
                      <a:lnTo>
                        <a:pt x="2005844" y="195471"/>
                      </a:lnTo>
                      <a:lnTo>
                        <a:pt x="1994542" y="186351"/>
                      </a:lnTo>
                      <a:lnTo>
                        <a:pt x="1974200" y="180271"/>
                      </a:lnTo>
                      <a:lnTo>
                        <a:pt x="1959508" y="177231"/>
                      </a:lnTo>
                      <a:lnTo>
                        <a:pt x="1943687" y="177231"/>
                      </a:lnTo>
                      <a:lnTo>
                        <a:pt x="1932386" y="168111"/>
                      </a:lnTo>
                      <a:lnTo>
                        <a:pt x="1921085" y="147843"/>
                      </a:lnTo>
                      <a:lnTo>
                        <a:pt x="1905263" y="124536"/>
                      </a:lnTo>
                      <a:lnTo>
                        <a:pt x="1899612" y="104269"/>
                      </a:lnTo>
                      <a:lnTo>
                        <a:pt x="1899612" y="91095"/>
                      </a:lnTo>
                      <a:lnTo>
                        <a:pt x="1887181" y="72855"/>
                      </a:lnTo>
                      <a:lnTo>
                        <a:pt x="1877010" y="61708"/>
                      </a:lnTo>
                      <a:lnTo>
                        <a:pt x="1858928" y="48534"/>
                      </a:lnTo>
                      <a:lnTo>
                        <a:pt x="1832935" y="44481"/>
                      </a:lnTo>
                      <a:lnTo>
                        <a:pt x="1820504" y="33334"/>
                      </a:lnTo>
                      <a:lnTo>
                        <a:pt x="1808073" y="21174"/>
                      </a:lnTo>
                      <a:lnTo>
                        <a:pt x="1792251" y="12054"/>
                      </a:lnTo>
                      <a:lnTo>
                        <a:pt x="1770778" y="9013"/>
                      </a:lnTo>
                      <a:lnTo>
                        <a:pt x="1759477" y="13067"/>
                      </a:lnTo>
                      <a:lnTo>
                        <a:pt x="1741395" y="19147"/>
                      </a:lnTo>
                      <a:lnTo>
                        <a:pt x="1721053" y="19147"/>
                      </a:lnTo>
                      <a:lnTo>
                        <a:pt x="1706362" y="29281"/>
                      </a:lnTo>
                      <a:lnTo>
                        <a:pt x="1690540" y="40428"/>
                      </a:lnTo>
                      <a:lnTo>
                        <a:pt x="1678109" y="53601"/>
                      </a:lnTo>
                      <a:lnTo>
                        <a:pt x="1672458" y="59681"/>
                      </a:lnTo>
                      <a:lnTo>
                        <a:pt x="1669067" y="68802"/>
                      </a:lnTo>
                      <a:lnTo>
                        <a:pt x="1680369" y="67788"/>
                      </a:lnTo>
                      <a:lnTo>
                        <a:pt x="1683760" y="84002"/>
                      </a:lnTo>
                      <a:lnTo>
                        <a:pt x="1680369" y="99202"/>
                      </a:lnTo>
                      <a:lnTo>
                        <a:pt x="1671328" y="107309"/>
                      </a:lnTo>
                      <a:lnTo>
                        <a:pt x="1675849" y="123523"/>
                      </a:lnTo>
                      <a:lnTo>
                        <a:pt x="1663417" y="139737"/>
                      </a:lnTo>
                      <a:lnTo>
                        <a:pt x="1653246" y="154937"/>
                      </a:lnTo>
                      <a:cubicBezTo>
                        <a:pt x="1653246" y="154937"/>
                        <a:pt x="1623863" y="171151"/>
                        <a:pt x="1637424" y="176217"/>
                      </a:cubicBezTo>
                      <a:cubicBezTo>
                        <a:pt x="1638555" y="184324"/>
                        <a:pt x="1611432" y="190404"/>
                        <a:pt x="1611432" y="190404"/>
                      </a:cubicBezTo>
                      <a:lnTo>
                        <a:pt x="1588829" y="208645"/>
                      </a:lnTo>
                      <a:lnTo>
                        <a:pt x="1573007" y="199525"/>
                      </a:lnTo>
                      <a:lnTo>
                        <a:pt x="1551535" y="186351"/>
                      </a:lnTo>
                      <a:lnTo>
                        <a:pt x="1533453" y="192431"/>
                      </a:lnTo>
                      <a:lnTo>
                        <a:pt x="1517632" y="228912"/>
                      </a:lnTo>
                      <a:cubicBezTo>
                        <a:pt x="1517632" y="228912"/>
                        <a:pt x="1518762" y="238032"/>
                        <a:pt x="1523282" y="243099"/>
                      </a:cubicBezTo>
                      <a:cubicBezTo>
                        <a:pt x="1524412" y="254246"/>
                        <a:pt x="1513111" y="268433"/>
                        <a:pt x="1513111" y="268433"/>
                      </a:cubicBezTo>
                      <a:lnTo>
                        <a:pt x="1509721" y="283633"/>
                      </a:lnTo>
                      <a:lnTo>
                        <a:pt x="1537974" y="292753"/>
                      </a:lnTo>
                      <a:lnTo>
                        <a:pt x="1561706" y="288700"/>
                      </a:lnTo>
                      <a:lnTo>
                        <a:pt x="1582049" y="272486"/>
                      </a:lnTo>
                      <a:lnTo>
                        <a:pt x="1593350" y="273500"/>
                      </a:lnTo>
                      <a:lnTo>
                        <a:pt x="1602391" y="283633"/>
                      </a:lnTo>
                      <a:lnTo>
                        <a:pt x="1618212" y="297820"/>
                      </a:lnTo>
                      <a:lnTo>
                        <a:pt x="1644205" y="304914"/>
                      </a:lnTo>
                      <a:lnTo>
                        <a:pt x="1657766" y="318087"/>
                      </a:lnTo>
                      <a:lnTo>
                        <a:pt x="1652116" y="332274"/>
                      </a:lnTo>
                      <a:cubicBezTo>
                        <a:pt x="1652116" y="332274"/>
                        <a:pt x="1630644" y="328221"/>
                        <a:pt x="1620472" y="335314"/>
                      </a:cubicBezTo>
                      <a:cubicBezTo>
                        <a:pt x="1609171" y="335314"/>
                        <a:pt x="1596740" y="352541"/>
                        <a:pt x="1596740" y="352541"/>
                      </a:cubicBezTo>
                      <a:lnTo>
                        <a:pt x="1574138" y="348488"/>
                      </a:lnTo>
                      <a:lnTo>
                        <a:pt x="1547015" y="364702"/>
                      </a:lnTo>
                      <a:lnTo>
                        <a:pt x="1535713" y="356595"/>
                      </a:lnTo>
                      <a:lnTo>
                        <a:pt x="1524412" y="359635"/>
                      </a:lnTo>
                      <a:lnTo>
                        <a:pt x="1517632" y="374835"/>
                      </a:lnTo>
                      <a:lnTo>
                        <a:pt x="1506331" y="384969"/>
                      </a:lnTo>
                      <a:lnTo>
                        <a:pt x="1459995" y="396116"/>
                      </a:lnTo>
                      <a:lnTo>
                        <a:pt x="1453215" y="417396"/>
                      </a:lnTo>
                      <a:lnTo>
                        <a:pt x="1424962" y="431583"/>
                      </a:lnTo>
                      <a:lnTo>
                        <a:pt x="1403489" y="425503"/>
                      </a:lnTo>
                      <a:lnTo>
                        <a:pt x="1386538" y="407263"/>
                      </a:lnTo>
                      <a:lnTo>
                        <a:pt x="1369586" y="406249"/>
                      </a:lnTo>
                      <a:lnTo>
                        <a:pt x="1356025" y="414356"/>
                      </a:lnTo>
                      <a:lnTo>
                        <a:pt x="1346983" y="432597"/>
                      </a:lnTo>
                      <a:lnTo>
                        <a:pt x="1345854" y="448810"/>
                      </a:lnTo>
                      <a:lnTo>
                        <a:pt x="1350374" y="469078"/>
                      </a:lnTo>
                      <a:lnTo>
                        <a:pt x="1357155" y="484278"/>
                      </a:lnTo>
                      <a:lnTo>
                        <a:pt x="1345854" y="500491"/>
                      </a:lnTo>
                      <a:lnTo>
                        <a:pt x="1330032" y="508598"/>
                      </a:lnTo>
                      <a:lnTo>
                        <a:pt x="1300649" y="514679"/>
                      </a:lnTo>
                      <a:lnTo>
                        <a:pt x="1266745" y="523799"/>
                      </a:lnTo>
                      <a:lnTo>
                        <a:pt x="1238492" y="526839"/>
                      </a:lnTo>
                      <a:lnTo>
                        <a:pt x="1218150" y="531906"/>
                      </a:lnTo>
                      <a:lnTo>
                        <a:pt x="1205718" y="534946"/>
                      </a:lnTo>
                      <a:lnTo>
                        <a:pt x="1187637" y="553186"/>
                      </a:lnTo>
                      <a:lnTo>
                        <a:pt x="1163905" y="561293"/>
                      </a:lnTo>
                      <a:lnTo>
                        <a:pt x="1137911" y="561293"/>
                      </a:lnTo>
                      <a:lnTo>
                        <a:pt x="1114179" y="570413"/>
                      </a:lnTo>
                      <a:lnTo>
                        <a:pt x="1079146" y="570413"/>
                      </a:lnTo>
                      <a:lnTo>
                        <a:pt x="1061063" y="557240"/>
                      </a:lnTo>
                      <a:lnTo>
                        <a:pt x="1042982" y="541026"/>
                      </a:lnTo>
                      <a:lnTo>
                        <a:pt x="1033941" y="536972"/>
                      </a:lnTo>
                      <a:lnTo>
                        <a:pt x="978565" y="533932"/>
                      </a:lnTo>
                      <a:lnTo>
                        <a:pt x="949182" y="530892"/>
                      </a:lnTo>
                      <a:lnTo>
                        <a:pt x="919798" y="526839"/>
                      </a:lnTo>
                      <a:lnTo>
                        <a:pt x="892676" y="530892"/>
                      </a:lnTo>
                      <a:lnTo>
                        <a:pt x="871203" y="526839"/>
                      </a:lnTo>
                      <a:lnTo>
                        <a:pt x="850861" y="516705"/>
                      </a:lnTo>
                      <a:lnTo>
                        <a:pt x="833909" y="498465"/>
                      </a:lnTo>
                      <a:lnTo>
                        <a:pt x="812437" y="485291"/>
                      </a:lnTo>
                      <a:lnTo>
                        <a:pt x="800006" y="475158"/>
                      </a:lnTo>
                      <a:lnTo>
                        <a:pt x="793225" y="456917"/>
                      </a:lnTo>
                      <a:lnTo>
                        <a:pt x="777404" y="442730"/>
                      </a:lnTo>
                      <a:lnTo>
                        <a:pt x="757061" y="436650"/>
                      </a:lnTo>
                      <a:lnTo>
                        <a:pt x="745760" y="428543"/>
                      </a:lnTo>
                      <a:lnTo>
                        <a:pt x="727678" y="417396"/>
                      </a:lnTo>
                      <a:lnTo>
                        <a:pt x="703946" y="416383"/>
                      </a:lnTo>
                      <a:lnTo>
                        <a:pt x="683604" y="410303"/>
                      </a:lnTo>
                      <a:lnTo>
                        <a:pt x="679083" y="396116"/>
                      </a:lnTo>
                      <a:lnTo>
                        <a:pt x="683604" y="376862"/>
                      </a:lnTo>
                      <a:lnTo>
                        <a:pt x="689254" y="362675"/>
                      </a:lnTo>
                      <a:lnTo>
                        <a:pt x="676823" y="344435"/>
                      </a:lnTo>
                      <a:lnTo>
                        <a:pt x="658741" y="336328"/>
                      </a:lnTo>
                      <a:lnTo>
                        <a:pt x="657610" y="325181"/>
                      </a:lnTo>
                      <a:lnTo>
                        <a:pt x="636139" y="303900"/>
                      </a:lnTo>
                      <a:lnTo>
                        <a:pt x="614666" y="292753"/>
                      </a:lnTo>
                      <a:lnTo>
                        <a:pt x="593194" y="296807"/>
                      </a:lnTo>
                      <a:lnTo>
                        <a:pt x="575112" y="292753"/>
                      </a:lnTo>
                      <a:lnTo>
                        <a:pt x="562681" y="282620"/>
                      </a:lnTo>
                      <a:lnTo>
                        <a:pt x="561550" y="271473"/>
                      </a:lnTo>
                      <a:lnTo>
                        <a:pt x="554770" y="246139"/>
                      </a:lnTo>
                      <a:lnTo>
                        <a:pt x="559291" y="215738"/>
                      </a:lnTo>
                      <a:lnTo>
                        <a:pt x="540078" y="226885"/>
                      </a:lnTo>
                      <a:lnTo>
                        <a:pt x="491483" y="233979"/>
                      </a:lnTo>
                      <a:lnTo>
                        <a:pt x="475661" y="247152"/>
                      </a:lnTo>
                      <a:lnTo>
                        <a:pt x="464360" y="261339"/>
                      </a:lnTo>
                      <a:lnTo>
                        <a:pt x="442888" y="269446"/>
                      </a:lnTo>
                      <a:lnTo>
                        <a:pt x="438368" y="279580"/>
                      </a:lnTo>
                      <a:lnTo>
                        <a:pt x="433847" y="294780"/>
                      </a:lnTo>
                      <a:lnTo>
                        <a:pt x="405594" y="305927"/>
                      </a:lnTo>
                      <a:lnTo>
                        <a:pt x="384122" y="305927"/>
                      </a:lnTo>
                      <a:lnTo>
                        <a:pt x="369430" y="315047"/>
                      </a:lnTo>
                      <a:lnTo>
                        <a:pt x="358129" y="333288"/>
                      </a:lnTo>
                      <a:lnTo>
                        <a:pt x="343437" y="344435"/>
                      </a:lnTo>
                      <a:lnTo>
                        <a:pt x="336657" y="368755"/>
                      </a:lnTo>
                      <a:lnTo>
                        <a:pt x="341177" y="389022"/>
                      </a:lnTo>
                      <a:lnTo>
                        <a:pt x="353609" y="399156"/>
                      </a:lnTo>
                      <a:lnTo>
                        <a:pt x="344568" y="410303"/>
                      </a:lnTo>
                      <a:lnTo>
                        <a:pt x="310664" y="410303"/>
                      </a:lnTo>
                      <a:lnTo>
                        <a:pt x="282411" y="421450"/>
                      </a:lnTo>
                      <a:lnTo>
                        <a:pt x="254158" y="426517"/>
                      </a:lnTo>
                      <a:lnTo>
                        <a:pt x="247377" y="434623"/>
                      </a:lnTo>
                      <a:lnTo>
                        <a:pt x="253028" y="445770"/>
                      </a:lnTo>
                      <a:lnTo>
                        <a:pt x="269980" y="460971"/>
                      </a:lnTo>
                      <a:lnTo>
                        <a:pt x="279020" y="475158"/>
                      </a:lnTo>
                      <a:lnTo>
                        <a:pt x="271110" y="489345"/>
                      </a:lnTo>
                      <a:lnTo>
                        <a:pt x="264329" y="502518"/>
                      </a:lnTo>
                      <a:lnTo>
                        <a:pt x="263199" y="527852"/>
                      </a:lnTo>
                      <a:cubicBezTo>
                        <a:pt x="253028" y="531906"/>
                        <a:pt x="245117" y="534946"/>
                        <a:pt x="236076" y="540013"/>
                      </a:cubicBezTo>
                      <a:cubicBezTo>
                        <a:pt x="229295" y="545079"/>
                        <a:pt x="227035" y="550146"/>
                        <a:pt x="219124" y="554199"/>
                      </a:cubicBezTo>
                      <a:cubicBezTo>
                        <a:pt x="212344" y="557240"/>
                        <a:pt x="205563" y="555213"/>
                        <a:pt x="201042" y="560280"/>
                      </a:cubicBezTo>
                      <a:cubicBezTo>
                        <a:pt x="196522" y="564333"/>
                        <a:pt x="195392" y="570413"/>
                        <a:pt x="195392" y="574467"/>
                      </a:cubicBezTo>
                      <a:cubicBezTo>
                        <a:pt x="194261" y="584600"/>
                        <a:pt x="150187" y="575480"/>
                        <a:pt x="137755" y="593720"/>
                      </a:cubicBezTo>
                      <a:cubicBezTo>
                        <a:pt x="130975" y="602841"/>
                        <a:pt x="137755" y="613988"/>
                        <a:pt x="128715" y="622094"/>
                      </a:cubicBezTo>
                      <a:cubicBezTo>
                        <a:pt x="119674" y="629188"/>
                        <a:pt x="110633" y="625134"/>
                        <a:pt x="99332" y="630201"/>
                      </a:cubicBezTo>
                      <a:cubicBezTo>
                        <a:pt x="92551" y="633241"/>
                        <a:pt x="89160" y="638308"/>
                        <a:pt x="82380" y="638308"/>
                      </a:cubicBezTo>
                      <a:cubicBezTo>
                        <a:pt x="73339" y="637295"/>
                        <a:pt x="76729" y="624121"/>
                        <a:pt x="67689" y="623108"/>
                      </a:cubicBezTo>
                      <a:cubicBezTo>
                        <a:pt x="58647" y="622094"/>
                        <a:pt x="55257" y="628175"/>
                        <a:pt x="47346" y="633241"/>
                      </a:cubicBezTo>
                      <a:cubicBezTo>
                        <a:pt x="40565" y="638308"/>
                        <a:pt x="39436" y="643375"/>
                        <a:pt x="32654" y="647428"/>
                      </a:cubicBezTo>
                      <a:cubicBezTo>
                        <a:pt x="28134" y="649455"/>
                        <a:pt x="25874" y="650468"/>
                        <a:pt x="21353" y="652495"/>
                      </a:cubicBezTo>
                      <a:cubicBezTo>
                        <a:pt x="16833" y="655535"/>
                        <a:pt x="14573" y="657562"/>
                        <a:pt x="10052" y="661615"/>
                      </a:cubicBezTo>
                      <a:lnTo>
                        <a:pt x="11183" y="664655"/>
                      </a:lnTo>
                      <a:cubicBezTo>
                        <a:pt x="12312" y="672762"/>
                        <a:pt x="13442" y="680869"/>
                        <a:pt x="13442" y="680869"/>
                      </a:cubicBezTo>
                      <a:lnTo>
                        <a:pt x="12312" y="691003"/>
                      </a:lnTo>
                      <a:lnTo>
                        <a:pt x="22484" y="700123"/>
                      </a:lnTo>
                      <a:lnTo>
                        <a:pt x="46216" y="691003"/>
                      </a:lnTo>
                      <a:lnTo>
                        <a:pt x="51867" y="696069"/>
                      </a:lnTo>
                      <a:lnTo>
                        <a:pt x="48476" y="705190"/>
                      </a:lnTo>
                      <a:lnTo>
                        <a:pt x="43956" y="720390"/>
                      </a:lnTo>
                      <a:lnTo>
                        <a:pt x="52996" y="736604"/>
                      </a:lnTo>
                      <a:lnTo>
                        <a:pt x="54127" y="752817"/>
                      </a:lnTo>
                      <a:lnTo>
                        <a:pt x="63168" y="758897"/>
                      </a:lnTo>
                      <a:lnTo>
                        <a:pt x="64298" y="769031"/>
                      </a:lnTo>
                      <a:lnTo>
                        <a:pt x="51867" y="773085"/>
                      </a:lnTo>
                      <a:lnTo>
                        <a:pt x="51867" y="786258"/>
                      </a:lnTo>
                      <a:lnTo>
                        <a:pt x="75599" y="785245"/>
                      </a:lnTo>
                      <a:lnTo>
                        <a:pt x="116284" y="808552"/>
                      </a:lnTo>
                      <a:lnTo>
                        <a:pt x="125324" y="818685"/>
                      </a:lnTo>
                      <a:lnTo>
                        <a:pt x="140016" y="831859"/>
                      </a:lnTo>
                      <a:lnTo>
                        <a:pt x="155838" y="820712"/>
                      </a:lnTo>
                      <a:lnTo>
                        <a:pt x="164879" y="814632"/>
                      </a:lnTo>
                      <a:lnTo>
                        <a:pt x="179570" y="814632"/>
                      </a:lnTo>
                      <a:lnTo>
                        <a:pt x="195392" y="818685"/>
                      </a:lnTo>
                      <a:lnTo>
                        <a:pt x="212344" y="819699"/>
                      </a:lnTo>
                      <a:lnTo>
                        <a:pt x="219124" y="833886"/>
                      </a:lnTo>
                      <a:lnTo>
                        <a:pt x="229295" y="844019"/>
                      </a:lnTo>
                      <a:lnTo>
                        <a:pt x="234946" y="858207"/>
                      </a:lnTo>
                      <a:lnTo>
                        <a:pt x="225905" y="867327"/>
                      </a:lnTo>
                      <a:lnTo>
                        <a:pt x="222514" y="877460"/>
                      </a:lnTo>
                      <a:lnTo>
                        <a:pt x="214604" y="887594"/>
                      </a:lnTo>
                      <a:lnTo>
                        <a:pt x="204433" y="896714"/>
                      </a:lnTo>
                      <a:lnTo>
                        <a:pt x="197652" y="910901"/>
                      </a:lnTo>
                      <a:lnTo>
                        <a:pt x="188611" y="919008"/>
                      </a:lnTo>
                      <a:lnTo>
                        <a:pt x="181830" y="932182"/>
                      </a:lnTo>
                      <a:lnTo>
                        <a:pt x="197652" y="942315"/>
                      </a:lnTo>
                      <a:lnTo>
                        <a:pt x="204433" y="953462"/>
                      </a:lnTo>
                      <a:lnTo>
                        <a:pt x="203303" y="974743"/>
                      </a:lnTo>
                      <a:lnTo>
                        <a:pt x="215734" y="979809"/>
                      </a:lnTo>
                      <a:lnTo>
                        <a:pt x="224775" y="980823"/>
                      </a:lnTo>
                      <a:lnTo>
                        <a:pt x="224775" y="991970"/>
                      </a:lnTo>
                      <a:lnTo>
                        <a:pt x="219124" y="1008183"/>
                      </a:lnTo>
                      <a:lnTo>
                        <a:pt x="222514" y="1017303"/>
                      </a:lnTo>
                      <a:lnTo>
                        <a:pt x="215734" y="1025411"/>
                      </a:lnTo>
                      <a:lnTo>
                        <a:pt x="221385" y="1039597"/>
                      </a:lnTo>
                      <a:lnTo>
                        <a:pt x="238336" y="1045678"/>
                      </a:lnTo>
                      <a:lnTo>
                        <a:pt x="253028" y="1054798"/>
                      </a:lnTo>
                      <a:lnTo>
                        <a:pt x="271110" y="1057838"/>
                      </a:lnTo>
                      <a:lnTo>
                        <a:pt x="285801" y="1067971"/>
                      </a:lnTo>
                      <a:lnTo>
                        <a:pt x="297103" y="1078105"/>
                      </a:lnTo>
                      <a:lnTo>
                        <a:pt x="307273" y="1077091"/>
                      </a:lnTo>
                      <a:lnTo>
                        <a:pt x="320835" y="1078105"/>
                      </a:lnTo>
                      <a:lnTo>
                        <a:pt x="340047" y="1079118"/>
                      </a:lnTo>
                      <a:lnTo>
                        <a:pt x="352478" y="1081145"/>
                      </a:lnTo>
                      <a:lnTo>
                        <a:pt x="368300" y="1103439"/>
                      </a:lnTo>
                      <a:lnTo>
                        <a:pt x="384122" y="1104452"/>
                      </a:lnTo>
                      <a:lnTo>
                        <a:pt x="403333" y="1100399"/>
                      </a:lnTo>
                      <a:lnTo>
                        <a:pt x="414635" y="1108506"/>
                      </a:lnTo>
                      <a:lnTo>
                        <a:pt x="415765" y="1122693"/>
                      </a:lnTo>
                      <a:lnTo>
                        <a:pt x="434977" y="1131813"/>
                      </a:lnTo>
                      <a:lnTo>
                        <a:pt x="449669" y="1147013"/>
                      </a:lnTo>
                      <a:lnTo>
                        <a:pt x="457580" y="1158160"/>
                      </a:lnTo>
                      <a:lnTo>
                        <a:pt x="474532" y="1159173"/>
                      </a:lnTo>
                      <a:lnTo>
                        <a:pt x="491483" y="1169307"/>
                      </a:lnTo>
                      <a:lnTo>
                        <a:pt x="520866" y="1170320"/>
                      </a:lnTo>
                      <a:lnTo>
                        <a:pt x="543469" y="1174374"/>
                      </a:lnTo>
                      <a:lnTo>
                        <a:pt x="559291" y="1167280"/>
                      </a:lnTo>
                      <a:lnTo>
                        <a:pt x="571722" y="1168294"/>
                      </a:lnTo>
                      <a:lnTo>
                        <a:pt x="583023" y="1184507"/>
                      </a:lnTo>
                      <a:lnTo>
                        <a:pt x="598845" y="1160187"/>
                      </a:lnTo>
                      <a:lnTo>
                        <a:pt x="609015" y="1154107"/>
                      </a:lnTo>
                      <a:lnTo>
                        <a:pt x="628228" y="1152080"/>
                      </a:lnTo>
                      <a:lnTo>
                        <a:pt x="647440" y="1158160"/>
                      </a:lnTo>
                      <a:lnTo>
                        <a:pt x="663261" y="1158160"/>
                      </a:lnTo>
                      <a:lnTo>
                        <a:pt x="685863" y="1160187"/>
                      </a:lnTo>
                      <a:lnTo>
                        <a:pt x="703946" y="1157147"/>
                      </a:lnTo>
                      <a:lnTo>
                        <a:pt x="724288" y="1148026"/>
                      </a:lnTo>
                      <a:lnTo>
                        <a:pt x="736719" y="1139920"/>
                      </a:lnTo>
                      <a:lnTo>
                        <a:pt x="753671" y="1138906"/>
                      </a:lnTo>
                      <a:lnTo>
                        <a:pt x="766102" y="1141947"/>
                      </a:lnTo>
                      <a:lnTo>
                        <a:pt x="778533" y="1131813"/>
                      </a:lnTo>
                      <a:lnTo>
                        <a:pt x="792095" y="1133840"/>
                      </a:lnTo>
                      <a:lnTo>
                        <a:pt x="812437" y="1139920"/>
                      </a:lnTo>
                      <a:lnTo>
                        <a:pt x="811307" y="1158160"/>
                      </a:lnTo>
                      <a:lnTo>
                        <a:pt x="820348" y="1166267"/>
                      </a:lnTo>
                      <a:lnTo>
                        <a:pt x="832779" y="1163227"/>
                      </a:lnTo>
                      <a:lnTo>
                        <a:pt x="840690" y="1165254"/>
                      </a:lnTo>
                      <a:lnTo>
                        <a:pt x="854251" y="1170320"/>
                      </a:lnTo>
                      <a:lnTo>
                        <a:pt x="865553" y="1173360"/>
                      </a:lnTo>
                      <a:lnTo>
                        <a:pt x="872333" y="1184507"/>
                      </a:lnTo>
                      <a:lnTo>
                        <a:pt x="875724" y="1195654"/>
                      </a:lnTo>
                      <a:lnTo>
                        <a:pt x="885895" y="1192614"/>
                      </a:lnTo>
                      <a:lnTo>
                        <a:pt x="897196" y="1192614"/>
                      </a:lnTo>
                      <a:lnTo>
                        <a:pt x="902846" y="1206801"/>
                      </a:lnTo>
                      <a:lnTo>
                        <a:pt x="909628" y="1216935"/>
                      </a:lnTo>
                      <a:lnTo>
                        <a:pt x="903977" y="1235175"/>
                      </a:lnTo>
                      <a:lnTo>
                        <a:pt x="909628" y="1245309"/>
                      </a:lnTo>
                      <a:lnTo>
                        <a:pt x="908497" y="1256456"/>
                      </a:lnTo>
                      <a:lnTo>
                        <a:pt x="905107" y="1277736"/>
                      </a:lnTo>
                      <a:lnTo>
                        <a:pt x="896066" y="1293950"/>
                      </a:lnTo>
                      <a:lnTo>
                        <a:pt x="883634" y="1309150"/>
                      </a:lnTo>
                      <a:lnTo>
                        <a:pt x="883634" y="1318271"/>
                      </a:lnTo>
                      <a:lnTo>
                        <a:pt x="891545" y="1327391"/>
                      </a:lnTo>
                      <a:lnTo>
                        <a:pt x="891545" y="1338538"/>
                      </a:lnTo>
                      <a:lnTo>
                        <a:pt x="892676" y="1344618"/>
                      </a:lnTo>
                      <a:lnTo>
                        <a:pt x="899456" y="1342591"/>
                      </a:lnTo>
                      <a:lnTo>
                        <a:pt x="906237" y="1336511"/>
                      </a:lnTo>
                      <a:lnTo>
                        <a:pt x="920929" y="1331444"/>
                      </a:lnTo>
                      <a:lnTo>
                        <a:pt x="932230" y="1332458"/>
                      </a:lnTo>
                      <a:lnTo>
                        <a:pt x="940140" y="1340564"/>
                      </a:lnTo>
                      <a:lnTo>
                        <a:pt x="936750" y="1350698"/>
                      </a:lnTo>
                      <a:lnTo>
                        <a:pt x="942401" y="1364885"/>
                      </a:lnTo>
                      <a:lnTo>
                        <a:pt x="953702" y="1364885"/>
                      </a:lnTo>
                      <a:lnTo>
                        <a:pt x="955962" y="1370965"/>
                      </a:lnTo>
                      <a:lnTo>
                        <a:pt x="944661" y="1389206"/>
                      </a:lnTo>
                      <a:lnTo>
                        <a:pt x="944661" y="1396299"/>
                      </a:lnTo>
                      <a:lnTo>
                        <a:pt x="959352" y="1399339"/>
                      </a:lnTo>
                      <a:lnTo>
                        <a:pt x="969524" y="1401366"/>
                      </a:lnTo>
                      <a:lnTo>
                        <a:pt x="975174" y="1418593"/>
                      </a:lnTo>
                      <a:lnTo>
                        <a:pt x="979694" y="1432780"/>
                      </a:lnTo>
                      <a:lnTo>
                        <a:pt x="1005688" y="1440887"/>
                      </a:lnTo>
                      <a:lnTo>
                        <a:pt x="1000037" y="1452033"/>
                      </a:lnTo>
                      <a:lnTo>
                        <a:pt x="1024899" y="1453047"/>
                      </a:lnTo>
                      <a:lnTo>
                        <a:pt x="1031680" y="1437847"/>
                      </a:lnTo>
                      <a:lnTo>
                        <a:pt x="1032810" y="1413526"/>
                      </a:lnTo>
                      <a:lnTo>
                        <a:pt x="1022640" y="1395286"/>
                      </a:lnTo>
                      <a:lnTo>
                        <a:pt x="1031680" y="1381099"/>
                      </a:lnTo>
                      <a:lnTo>
                        <a:pt x="1047502" y="1385152"/>
                      </a:lnTo>
                      <a:lnTo>
                        <a:pt x="1065584" y="1375019"/>
                      </a:lnTo>
                      <a:lnTo>
                        <a:pt x="1085926" y="1384139"/>
                      </a:lnTo>
                      <a:lnTo>
                        <a:pt x="1109658" y="1377045"/>
                      </a:lnTo>
                      <a:lnTo>
                        <a:pt x="1133391" y="1376032"/>
                      </a:lnTo>
                      <a:lnTo>
                        <a:pt x="1150343" y="1363872"/>
                      </a:lnTo>
                      <a:lnTo>
                        <a:pt x="1162774" y="1367925"/>
                      </a:lnTo>
                      <a:lnTo>
                        <a:pt x="1177465" y="1372992"/>
                      </a:lnTo>
                      <a:lnTo>
                        <a:pt x="1189897" y="1377045"/>
                      </a:lnTo>
                      <a:lnTo>
                        <a:pt x="1188767" y="1395286"/>
                      </a:lnTo>
                      <a:lnTo>
                        <a:pt x="1197808" y="1410486"/>
                      </a:lnTo>
                      <a:lnTo>
                        <a:pt x="1206849" y="1419606"/>
                      </a:lnTo>
                      <a:lnTo>
                        <a:pt x="1222670" y="1425686"/>
                      </a:lnTo>
                      <a:lnTo>
                        <a:pt x="1235102" y="1423660"/>
                      </a:lnTo>
                      <a:lnTo>
                        <a:pt x="1252054" y="1430753"/>
                      </a:lnTo>
                      <a:cubicBezTo>
                        <a:pt x="1253184" y="1427713"/>
                        <a:pt x="1253184" y="1425686"/>
                        <a:pt x="1255444" y="1421633"/>
                      </a:cubicBezTo>
                      <a:cubicBezTo>
                        <a:pt x="1267875" y="1420620"/>
                        <a:pt x="1267875" y="1423660"/>
                        <a:pt x="1282567" y="1419606"/>
                      </a:cubicBezTo>
                      <a:lnTo>
                        <a:pt x="1284827" y="1426700"/>
                      </a:lnTo>
                      <a:cubicBezTo>
                        <a:pt x="1292738" y="1428726"/>
                        <a:pt x="1291608" y="1422646"/>
                        <a:pt x="1298388" y="1424673"/>
                      </a:cubicBezTo>
                      <a:cubicBezTo>
                        <a:pt x="1298388" y="1426700"/>
                        <a:pt x="1301779" y="1429740"/>
                        <a:pt x="1300649" y="1434807"/>
                      </a:cubicBezTo>
                      <a:cubicBezTo>
                        <a:pt x="1299519" y="1439873"/>
                        <a:pt x="1291608" y="1447980"/>
                        <a:pt x="1294998" y="1459127"/>
                      </a:cubicBezTo>
                      <a:lnTo>
                        <a:pt x="1300649" y="1459127"/>
                      </a:lnTo>
                      <a:cubicBezTo>
                        <a:pt x="1304039" y="1466221"/>
                        <a:pt x="1306299" y="1472301"/>
                        <a:pt x="1308560" y="1481421"/>
                      </a:cubicBezTo>
                      <a:cubicBezTo>
                        <a:pt x="1316471" y="1480408"/>
                        <a:pt x="1319861" y="1479394"/>
                        <a:pt x="1327772" y="1479394"/>
                      </a:cubicBezTo>
                      <a:cubicBezTo>
                        <a:pt x="1325512" y="1464194"/>
                        <a:pt x="1332292" y="1468247"/>
                        <a:pt x="1316471" y="1457100"/>
                      </a:cubicBezTo>
                      <a:cubicBezTo>
                        <a:pt x="1317601" y="1456087"/>
                        <a:pt x="1322121" y="1458114"/>
                        <a:pt x="1324381" y="1457100"/>
                      </a:cubicBezTo>
                      <a:cubicBezTo>
                        <a:pt x="1327772" y="1456087"/>
                        <a:pt x="1324381" y="1450007"/>
                        <a:pt x="1326641" y="1446967"/>
                      </a:cubicBezTo>
                      <a:cubicBezTo>
                        <a:pt x="1331162" y="1442913"/>
                        <a:pt x="1342463" y="1442913"/>
                        <a:pt x="1348114" y="1439873"/>
                      </a:cubicBezTo>
                      <a:cubicBezTo>
                        <a:pt x="1348114" y="1439873"/>
                        <a:pt x="1359415" y="1425686"/>
                        <a:pt x="1359415" y="1425686"/>
                      </a:cubicBezTo>
                      <a:cubicBezTo>
                        <a:pt x="1362805" y="1424673"/>
                        <a:pt x="1365066" y="1426700"/>
                        <a:pt x="1367326" y="1425686"/>
                      </a:cubicBezTo>
                      <a:lnTo>
                        <a:pt x="1367326" y="1420620"/>
                      </a:lnTo>
                      <a:cubicBezTo>
                        <a:pt x="1374107" y="1418593"/>
                        <a:pt x="1371846" y="1424673"/>
                        <a:pt x="1375236" y="1422646"/>
                      </a:cubicBezTo>
                      <a:cubicBezTo>
                        <a:pt x="1377497" y="1421633"/>
                        <a:pt x="1378627" y="1413526"/>
                        <a:pt x="1380887" y="1412513"/>
                      </a:cubicBezTo>
                      <a:cubicBezTo>
                        <a:pt x="1387668" y="1410486"/>
                        <a:pt x="1384278" y="1415553"/>
                        <a:pt x="1388798" y="1414539"/>
                      </a:cubicBezTo>
                      <a:lnTo>
                        <a:pt x="1394449" y="1409473"/>
                      </a:lnTo>
                      <a:cubicBezTo>
                        <a:pt x="1405750" y="1406432"/>
                        <a:pt x="1421572" y="1411499"/>
                        <a:pt x="1427222" y="1409473"/>
                      </a:cubicBezTo>
                      <a:cubicBezTo>
                        <a:pt x="1428352" y="1408459"/>
                        <a:pt x="1444174" y="1386165"/>
                        <a:pt x="1446434" y="1385152"/>
                      </a:cubicBezTo>
                      <a:lnTo>
                        <a:pt x="1448694" y="1385152"/>
                      </a:lnTo>
                      <a:cubicBezTo>
                        <a:pt x="1448694" y="1385152"/>
                        <a:pt x="1457736" y="1366912"/>
                        <a:pt x="1448694" y="1372992"/>
                      </a:cubicBezTo>
                      <a:lnTo>
                        <a:pt x="1448694" y="1367925"/>
                      </a:lnTo>
                      <a:cubicBezTo>
                        <a:pt x="1449825" y="1368938"/>
                        <a:pt x="1455475" y="1368938"/>
                        <a:pt x="1456605" y="1369952"/>
                      </a:cubicBezTo>
                      <a:cubicBezTo>
                        <a:pt x="1459995" y="1372992"/>
                        <a:pt x="1461126" y="1376032"/>
                        <a:pt x="1463386" y="1380085"/>
                      </a:cubicBezTo>
                      <a:cubicBezTo>
                        <a:pt x="1470167" y="1381099"/>
                        <a:pt x="1476947" y="1378059"/>
                        <a:pt x="1481468" y="1384139"/>
                      </a:cubicBezTo>
                      <a:lnTo>
                        <a:pt x="1482598" y="1386165"/>
                      </a:lnTo>
                      <a:cubicBezTo>
                        <a:pt x="1484858" y="1386165"/>
                        <a:pt x="1485989" y="1385152"/>
                        <a:pt x="1488248" y="1384139"/>
                      </a:cubicBezTo>
                      <a:lnTo>
                        <a:pt x="1488248" y="1379072"/>
                      </a:lnTo>
                      <a:cubicBezTo>
                        <a:pt x="1495029" y="1378059"/>
                        <a:pt x="1505200" y="1374005"/>
                        <a:pt x="1509721" y="1374005"/>
                      </a:cubicBezTo>
                      <a:cubicBezTo>
                        <a:pt x="1517632" y="1372992"/>
                        <a:pt x="1522152" y="1379072"/>
                        <a:pt x="1528933" y="1376032"/>
                      </a:cubicBezTo>
                      <a:lnTo>
                        <a:pt x="1528933" y="1370965"/>
                      </a:lnTo>
                      <a:cubicBezTo>
                        <a:pt x="1530063" y="1368938"/>
                        <a:pt x="1537974" y="1367925"/>
                        <a:pt x="1540234" y="1365898"/>
                      </a:cubicBezTo>
                      <a:cubicBezTo>
                        <a:pt x="1542495" y="1361845"/>
                        <a:pt x="1540234" y="1353738"/>
                        <a:pt x="1540234" y="1353738"/>
                      </a:cubicBezTo>
                      <a:lnTo>
                        <a:pt x="1540234" y="1346644"/>
                      </a:lnTo>
                      <a:cubicBezTo>
                        <a:pt x="1543624" y="1344618"/>
                        <a:pt x="1553796" y="1341578"/>
                        <a:pt x="1556056" y="1339551"/>
                      </a:cubicBezTo>
                      <a:cubicBezTo>
                        <a:pt x="1557186" y="1338538"/>
                        <a:pt x="1557186" y="1333471"/>
                        <a:pt x="1558316" y="1332458"/>
                      </a:cubicBezTo>
                      <a:cubicBezTo>
                        <a:pt x="1561706" y="1333471"/>
                        <a:pt x="1561706" y="1336511"/>
                        <a:pt x="1566227" y="1334484"/>
                      </a:cubicBezTo>
                      <a:cubicBezTo>
                        <a:pt x="1568487" y="1333471"/>
                        <a:pt x="1570748" y="1328404"/>
                        <a:pt x="1574138" y="1327391"/>
                      </a:cubicBezTo>
                      <a:cubicBezTo>
                        <a:pt x="1574138" y="1326377"/>
                        <a:pt x="1573007" y="1320297"/>
                        <a:pt x="1574138" y="1320297"/>
                      </a:cubicBezTo>
                      <a:cubicBezTo>
                        <a:pt x="1578658" y="1317257"/>
                        <a:pt x="1586569" y="1320297"/>
                        <a:pt x="1589959" y="1318271"/>
                      </a:cubicBezTo>
                      <a:cubicBezTo>
                        <a:pt x="1591090" y="1317257"/>
                        <a:pt x="1592219" y="1311177"/>
                        <a:pt x="1592219" y="1311177"/>
                      </a:cubicBezTo>
                      <a:cubicBezTo>
                        <a:pt x="1593350" y="1317257"/>
                        <a:pt x="1592219" y="1300030"/>
                        <a:pt x="1592219" y="1299017"/>
                      </a:cubicBezTo>
                      <a:cubicBezTo>
                        <a:pt x="1595610" y="1299017"/>
                        <a:pt x="1629513" y="1291923"/>
                        <a:pt x="1630644" y="1291923"/>
                      </a:cubicBezTo>
                      <a:cubicBezTo>
                        <a:pt x="1634034" y="1289896"/>
                        <a:pt x="1628383" y="1286856"/>
                        <a:pt x="1628383" y="1286856"/>
                      </a:cubicBezTo>
                      <a:cubicBezTo>
                        <a:pt x="1624993" y="1275709"/>
                        <a:pt x="1631774" y="1280776"/>
                        <a:pt x="1636294" y="1276723"/>
                      </a:cubicBezTo>
                      <a:lnTo>
                        <a:pt x="1636294" y="1271656"/>
                      </a:lnTo>
                      <a:cubicBezTo>
                        <a:pt x="1629513" y="1274696"/>
                        <a:pt x="1634034" y="1261523"/>
                        <a:pt x="1634034" y="1261523"/>
                      </a:cubicBezTo>
                      <a:cubicBezTo>
                        <a:pt x="1639685" y="1261523"/>
                        <a:pt x="1647596" y="1262536"/>
                        <a:pt x="1653246" y="1261523"/>
                      </a:cubicBezTo>
                      <a:cubicBezTo>
                        <a:pt x="1654376" y="1257469"/>
                        <a:pt x="1650986" y="1257469"/>
                        <a:pt x="1655507" y="1256456"/>
                      </a:cubicBezTo>
                      <a:cubicBezTo>
                        <a:pt x="1655507" y="1252402"/>
                        <a:pt x="1655507" y="1239229"/>
                        <a:pt x="1653246" y="1234162"/>
                      </a:cubicBezTo>
                      <a:cubicBezTo>
                        <a:pt x="1652116" y="1232135"/>
                        <a:pt x="1643075" y="1232135"/>
                        <a:pt x="1639685" y="1232135"/>
                      </a:cubicBezTo>
                      <a:lnTo>
                        <a:pt x="1641945" y="1225042"/>
                      </a:lnTo>
                      <a:cubicBezTo>
                        <a:pt x="1644205" y="1225042"/>
                        <a:pt x="1647596" y="1226055"/>
                        <a:pt x="1649856" y="1225042"/>
                      </a:cubicBezTo>
                      <a:cubicBezTo>
                        <a:pt x="1649856" y="1220988"/>
                        <a:pt x="1647596" y="1210855"/>
                        <a:pt x="1649856" y="1207815"/>
                      </a:cubicBezTo>
                      <a:cubicBezTo>
                        <a:pt x="1653246" y="1201735"/>
                        <a:pt x="1667938" y="1202748"/>
                        <a:pt x="1674718" y="1197681"/>
                      </a:cubicBezTo>
                      <a:cubicBezTo>
                        <a:pt x="1675849" y="1196668"/>
                        <a:pt x="1673588" y="1191601"/>
                        <a:pt x="1674718" y="1190588"/>
                      </a:cubicBezTo>
                      <a:cubicBezTo>
                        <a:pt x="1674718" y="1190588"/>
                        <a:pt x="1688280" y="1184507"/>
                        <a:pt x="1688280" y="1183494"/>
                      </a:cubicBezTo>
                      <a:cubicBezTo>
                        <a:pt x="1690540" y="1178427"/>
                        <a:pt x="1688280" y="1172347"/>
                        <a:pt x="1688280" y="1166267"/>
                      </a:cubicBezTo>
                      <a:cubicBezTo>
                        <a:pt x="1688280" y="1163227"/>
                        <a:pt x="1695061" y="1165254"/>
                        <a:pt x="1696191" y="1161200"/>
                      </a:cubicBezTo>
                      <a:cubicBezTo>
                        <a:pt x="1696191" y="1161200"/>
                        <a:pt x="1696191" y="1161200"/>
                        <a:pt x="1693930" y="1159173"/>
                      </a:cubicBezTo>
                      <a:cubicBezTo>
                        <a:pt x="1686019" y="1154107"/>
                        <a:pt x="1700711" y="1159173"/>
                        <a:pt x="1705231" y="1157147"/>
                      </a:cubicBezTo>
                      <a:cubicBezTo>
                        <a:pt x="1708622" y="1155120"/>
                        <a:pt x="1707492" y="1147013"/>
                        <a:pt x="1710882" y="1144987"/>
                      </a:cubicBezTo>
                      <a:cubicBezTo>
                        <a:pt x="1710882" y="1144987"/>
                        <a:pt x="1721053" y="1146000"/>
                        <a:pt x="1724444" y="1144987"/>
                      </a:cubicBezTo>
                      <a:cubicBezTo>
                        <a:pt x="1724444" y="1144987"/>
                        <a:pt x="1724444" y="1137893"/>
                        <a:pt x="1724444" y="1137893"/>
                      </a:cubicBezTo>
                      <a:cubicBezTo>
                        <a:pt x="1722183" y="1134853"/>
                        <a:pt x="1716533" y="1132826"/>
                        <a:pt x="1713142" y="1130800"/>
                      </a:cubicBezTo>
                      <a:cubicBezTo>
                        <a:pt x="1714272" y="1124719"/>
                        <a:pt x="1716533" y="1126746"/>
                        <a:pt x="1718793" y="1123706"/>
                      </a:cubicBezTo>
                      <a:lnTo>
                        <a:pt x="1716533" y="1106479"/>
                      </a:lnTo>
                      <a:cubicBezTo>
                        <a:pt x="1726704" y="1107492"/>
                        <a:pt x="1733484" y="1106479"/>
                        <a:pt x="1738005" y="1106479"/>
                      </a:cubicBezTo>
                      <a:cubicBezTo>
                        <a:pt x="1725573" y="1100399"/>
                        <a:pt x="1742525" y="1086212"/>
                        <a:pt x="1732355" y="1082158"/>
                      </a:cubicBezTo>
                      <a:cubicBezTo>
                        <a:pt x="1735745" y="1081145"/>
                        <a:pt x="1735745" y="1081145"/>
                        <a:pt x="1740266" y="1080132"/>
                      </a:cubicBezTo>
                      <a:lnTo>
                        <a:pt x="1745916" y="1078105"/>
                      </a:lnTo>
                      <a:cubicBezTo>
                        <a:pt x="1744786" y="1077091"/>
                        <a:pt x="1744786" y="1072025"/>
                        <a:pt x="1743656" y="1071012"/>
                      </a:cubicBezTo>
                      <a:cubicBezTo>
                        <a:pt x="1739135" y="1067971"/>
                        <a:pt x="1734615" y="1071012"/>
                        <a:pt x="1730094" y="1068985"/>
                      </a:cubicBezTo>
                      <a:lnTo>
                        <a:pt x="1727834" y="1063918"/>
                      </a:lnTo>
                      <a:cubicBezTo>
                        <a:pt x="1716533" y="1061891"/>
                        <a:pt x="1709752" y="1069998"/>
                        <a:pt x="1698451" y="1065945"/>
                      </a:cubicBezTo>
                      <a:cubicBezTo>
                        <a:pt x="1695061" y="1064931"/>
                        <a:pt x="1695061" y="1059865"/>
                        <a:pt x="1698451" y="1058851"/>
                      </a:cubicBezTo>
                      <a:cubicBezTo>
                        <a:pt x="1709752" y="1053784"/>
                        <a:pt x="1717663" y="1045678"/>
                        <a:pt x="1727834" y="1039597"/>
                      </a:cubicBezTo>
                      <a:cubicBezTo>
                        <a:pt x="1716533" y="1015277"/>
                        <a:pt x="1709752" y="997036"/>
                        <a:pt x="1679239" y="1010210"/>
                      </a:cubicBezTo>
                      <a:cubicBezTo>
                        <a:pt x="1675849" y="1005143"/>
                        <a:pt x="1674718" y="1002103"/>
                        <a:pt x="1671328" y="998050"/>
                      </a:cubicBezTo>
                      <a:cubicBezTo>
                        <a:pt x="1687150" y="996023"/>
                        <a:pt x="1696191" y="996023"/>
                        <a:pt x="1712013" y="1000077"/>
                      </a:cubicBezTo>
                      <a:cubicBezTo>
                        <a:pt x="1712013" y="999063"/>
                        <a:pt x="1710882" y="988930"/>
                        <a:pt x="1712013" y="987916"/>
                      </a:cubicBezTo>
                      <a:cubicBezTo>
                        <a:pt x="1695061" y="967649"/>
                        <a:pt x="1676978" y="953462"/>
                        <a:pt x="1669067" y="925088"/>
                      </a:cubicBezTo>
                      <a:cubicBezTo>
                        <a:pt x="1662287" y="926101"/>
                        <a:pt x="1660027" y="927115"/>
                        <a:pt x="1653246" y="927115"/>
                      </a:cubicBezTo>
                      <a:cubicBezTo>
                        <a:pt x="1655507" y="923061"/>
                        <a:pt x="1657766" y="922048"/>
                        <a:pt x="1661157" y="920021"/>
                      </a:cubicBezTo>
                      <a:cubicBezTo>
                        <a:pt x="1652116" y="903808"/>
                        <a:pt x="1634034" y="879487"/>
                        <a:pt x="1645335" y="854153"/>
                      </a:cubicBezTo>
                      <a:cubicBezTo>
                        <a:pt x="1649856" y="845033"/>
                        <a:pt x="1662287" y="845033"/>
                        <a:pt x="1666808" y="836926"/>
                      </a:cubicBezTo>
                      <a:cubicBezTo>
                        <a:pt x="1667938" y="834899"/>
                        <a:pt x="1664547" y="827806"/>
                        <a:pt x="1664547" y="824766"/>
                      </a:cubicBezTo>
                      <a:cubicBezTo>
                        <a:pt x="1674718" y="819699"/>
                        <a:pt x="1683760" y="815646"/>
                        <a:pt x="1689410" y="807539"/>
                      </a:cubicBezTo>
                      <a:cubicBezTo>
                        <a:pt x="1691670" y="804499"/>
                        <a:pt x="1689410" y="802472"/>
                        <a:pt x="1691670" y="800445"/>
                      </a:cubicBezTo>
                      <a:cubicBezTo>
                        <a:pt x="1696191" y="797405"/>
                        <a:pt x="1702971" y="798418"/>
                        <a:pt x="1707492" y="795378"/>
                      </a:cubicBezTo>
                      <a:cubicBezTo>
                        <a:pt x="1708622" y="794365"/>
                        <a:pt x="1710882" y="788285"/>
                        <a:pt x="1713142" y="788285"/>
                      </a:cubicBezTo>
                      <a:cubicBezTo>
                        <a:pt x="1716533" y="787272"/>
                        <a:pt x="1723314" y="790312"/>
                        <a:pt x="1726704" y="788285"/>
                      </a:cubicBezTo>
                      <a:cubicBezTo>
                        <a:pt x="1728964" y="786258"/>
                        <a:pt x="1727834" y="784231"/>
                        <a:pt x="1728964" y="781191"/>
                      </a:cubicBezTo>
                      <a:cubicBezTo>
                        <a:pt x="1732355" y="781191"/>
                        <a:pt x="1733484" y="776125"/>
                        <a:pt x="1734615" y="776125"/>
                      </a:cubicBezTo>
                      <a:cubicBezTo>
                        <a:pt x="1736875" y="775111"/>
                        <a:pt x="1741395" y="781191"/>
                        <a:pt x="1742525" y="781191"/>
                      </a:cubicBezTo>
                      <a:cubicBezTo>
                        <a:pt x="1749306" y="782205"/>
                        <a:pt x="1745916" y="778151"/>
                        <a:pt x="1753826" y="779165"/>
                      </a:cubicBezTo>
                      <a:cubicBezTo>
                        <a:pt x="1757217" y="773085"/>
                        <a:pt x="1761737" y="765991"/>
                        <a:pt x="1765128" y="759911"/>
                      </a:cubicBezTo>
                      <a:lnTo>
                        <a:pt x="1765128" y="754844"/>
                      </a:lnTo>
                      <a:cubicBezTo>
                        <a:pt x="1759477" y="753831"/>
                        <a:pt x="1750436" y="749777"/>
                        <a:pt x="1749306" y="749777"/>
                      </a:cubicBezTo>
                      <a:cubicBezTo>
                        <a:pt x="1734615" y="748764"/>
                        <a:pt x="1732355" y="757884"/>
                        <a:pt x="1716533" y="754844"/>
                      </a:cubicBezTo>
                      <a:cubicBezTo>
                        <a:pt x="1713142" y="753831"/>
                        <a:pt x="1712013" y="745724"/>
                        <a:pt x="1708622" y="744711"/>
                      </a:cubicBezTo>
                      <a:cubicBezTo>
                        <a:pt x="1701841" y="742684"/>
                        <a:pt x="1680369" y="742684"/>
                        <a:pt x="1673588" y="744711"/>
                      </a:cubicBezTo>
                      <a:cubicBezTo>
                        <a:pt x="1671328" y="745724"/>
                        <a:pt x="1672458" y="750791"/>
                        <a:pt x="1671328" y="751804"/>
                      </a:cubicBezTo>
                      <a:cubicBezTo>
                        <a:pt x="1667938" y="754844"/>
                        <a:pt x="1658897" y="753831"/>
                        <a:pt x="1655507" y="756871"/>
                      </a:cubicBezTo>
                      <a:cubicBezTo>
                        <a:pt x="1653246" y="758897"/>
                        <a:pt x="1653246" y="767004"/>
                        <a:pt x="1649856" y="769031"/>
                      </a:cubicBezTo>
                      <a:cubicBezTo>
                        <a:pt x="1647596" y="770044"/>
                        <a:pt x="1639685" y="769031"/>
                        <a:pt x="1636294" y="769031"/>
                      </a:cubicBezTo>
                      <a:cubicBezTo>
                        <a:pt x="1638555" y="769031"/>
                        <a:pt x="1630644" y="774098"/>
                        <a:pt x="1630644" y="774098"/>
                      </a:cubicBezTo>
                      <a:cubicBezTo>
                        <a:pt x="1628383" y="772071"/>
                        <a:pt x="1624993" y="773085"/>
                        <a:pt x="1622733" y="772071"/>
                      </a:cubicBezTo>
                      <a:cubicBezTo>
                        <a:pt x="1617082" y="768018"/>
                        <a:pt x="1618212" y="759911"/>
                        <a:pt x="1614822" y="752817"/>
                      </a:cubicBezTo>
                      <a:cubicBezTo>
                        <a:pt x="1613692" y="749777"/>
                        <a:pt x="1608041" y="739644"/>
                        <a:pt x="1603521" y="738630"/>
                      </a:cubicBezTo>
                      <a:lnTo>
                        <a:pt x="1597870" y="738630"/>
                      </a:lnTo>
                      <a:cubicBezTo>
                        <a:pt x="1592219" y="731537"/>
                        <a:pt x="1587699" y="715323"/>
                        <a:pt x="1584309" y="707216"/>
                      </a:cubicBezTo>
                      <a:cubicBezTo>
                        <a:pt x="1584309" y="710256"/>
                        <a:pt x="1584309" y="693029"/>
                        <a:pt x="1584309" y="693029"/>
                      </a:cubicBezTo>
                      <a:cubicBezTo>
                        <a:pt x="1587699" y="692016"/>
                        <a:pt x="1588829" y="687963"/>
                        <a:pt x="1589959" y="687963"/>
                      </a:cubicBezTo>
                      <a:cubicBezTo>
                        <a:pt x="1600130" y="684923"/>
                        <a:pt x="1614822" y="692016"/>
                        <a:pt x="1624993" y="687963"/>
                      </a:cubicBezTo>
                      <a:cubicBezTo>
                        <a:pt x="1628383" y="686949"/>
                        <a:pt x="1635164" y="669722"/>
                        <a:pt x="1638555" y="665669"/>
                      </a:cubicBezTo>
                      <a:cubicBezTo>
                        <a:pt x="1641945" y="662629"/>
                        <a:pt x="1655507" y="652495"/>
                        <a:pt x="1660027" y="651482"/>
                      </a:cubicBezTo>
                      <a:cubicBezTo>
                        <a:pt x="1662287" y="651482"/>
                        <a:pt x="1666808" y="652495"/>
                        <a:pt x="1667938" y="651482"/>
                      </a:cubicBezTo>
                      <a:cubicBezTo>
                        <a:pt x="1671328" y="649455"/>
                        <a:pt x="1674718" y="640335"/>
                        <a:pt x="1679239" y="639322"/>
                      </a:cubicBezTo>
                      <a:lnTo>
                        <a:pt x="1684889" y="639322"/>
                      </a:lnTo>
                      <a:cubicBezTo>
                        <a:pt x="1689410" y="634255"/>
                        <a:pt x="1686019" y="629188"/>
                        <a:pt x="1690540" y="622094"/>
                      </a:cubicBezTo>
                      <a:cubicBezTo>
                        <a:pt x="1693930" y="615001"/>
                        <a:pt x="1705231" y="605881"/>
                        <a:pt x="1712013" y="599800"/>
                      </a:cubicBezTo>
                      <a:cubicBezTo>
                        <a:pt x="1726704" y="603854"/>
                        <a:pt x="1741395" y="607907"/>
                        <a:pt x="1754957" y="611961"/>
                      </a:cubicBezTo>
                      <a:cubicBezTo>
                        <a:pt x="1744786" y="624121"/>
                        <a:pt x="1736875" y="640335"/>
                        <a:pt x="1727834" y="653508"/>
                      </a:cubicBezTo>
                      <a:cubicBezTo>
                        <a:pt x="1726704" y="654522"/>
                        <a:pt x="1721053" y="657562"/>
                        <a:pt x="1719923" y="658575"/>
                      </a:cubicBezTo>
                      <a:cubicBezTo>
                        <a:pt x="1723314" y="659589"/>
                        <a:pt x="1722183" y="674789"/>
                        <a:pt x="1719923" y="675802"/>
                      </a:cubicBezTo>
                      <a:cubicBezTo>
                        <a:pt x="1722183" y="674789"/>
                        <a:pt x="1733484" y="675802"/>
                        <a:pt x="1733484" y="675802"/>
                      </a:cubicBezTo>
                      <a:cubicBezTo>
                        <a:pt x="1730094" y="676816"/>
                        <a:pt x="1714272" y="695056"/>
                        <a:pt x="1719923" y="698096"/>
                      </a:cubicBezTo>
                      <a:cubicBezTo>
                        <a:pt x="1719923" y="698096"/>
                        <a:pt x="1730094" y="701136"/>
                        <a:pt x="1725573" y="698096"/>
                      </a:cubicBezTo>
                      <a:cubicBezTo>
                        <a:pt x="1726704" y="697083"/>
                        <a:pt x="1732355" y="698096"/>
                        <a:pt x="1733484" y="698096"/>
                      </a:cubicBezTo>
                      <a:cubicBezTo>
                        <a:pt x="1733484" y="697083"/>
                        <a:pt x="1738005" y="689989"/>
                        <a:pt x="1733484" y="687963"/>
                      </a:cubicBezTo>
                      <a:cubicBezTo>
                        <a:pt x="1750436" y="678842"/>
                        <a:pt x="1786600" y="644388"/>
                        <a:pt x="1814853" y="651482"/>
                      </a:cubicBezTo>
                      <a:cubicBezTo>
                        <a:pt x="1815983" y="651482"/>
                        <a:pt x="1822764" y="658575"/>
                        <a:pt x="1822764" y="658575"/>
                      </a:cubicBezTo>
                      <a:cubicBezTo>
                        <a:pt x="1830675" y="659589"/>
                        <a:pt x="1828415" y="651482"/>
                        <a:pt x="1836326" y="653508"/>
                      </a:cubicBezTo>
                      <a:cubicBezTo>
                        <a:pt x="1836326" y="653508"/>
                        <a:pt x="1837456" y="653508"/>
                        <a:pt x="1837456" y="655535"/>
                      </a:cubicBezTo>
                      <a:lnTo>
                        <a:pt x="1849887" y="631215"/>
                      </a:lnTo>
                      <a:lnTo>
                        <a:pt x="1864579" y="620068"/>
                      </a:lnTo>
                      <a:lnTo>
                        <a:pt x="1879270" y="598787"/>
                      </a:lnTo>
                      <a:lnTo>
                        <a:pt x="1890571" y="584600"/>
                      </a:lnTo>
                      <a:lnTo>
                        <a:pt x="1912043" y="568387"/>
                      </a:lnTo>
                      <a:lnTo>
                        <a:pt x="1910913" y="549133"/>
                      </a:lnTo>
                      <a:lnTo>
                        <a:pt x="1925605" y="544066"/>
                      </a:lnTo>
                      <a:lnTo>
                        <a:pt x="1935776" y="557240"/>
                      </a:lnTo>
                      <a:lnTo>
                        <a:pt x="1950468" y="561293"/>
                      </a:lnTo>
                      <a:lnTo>
                        <a:pt x="1970810" y="565346"/>
                      </a:lnTo>
                      <a:lnTo>
                        <a:pt x="1970810" y="547106"/>
                      </a:lnTo>
                      <a:lnTo>
                        <a:pt x="1969680" y="536972"/>
                      </a:lnTo>
                      <a:lnTo>
                        <a:pt x="1982111" y="527852"/>
                      </a:lnTo>
                      <a:lnTo>
                        <a:pt x="1999063" y="528866"/>
                      </a:lnTo>
                      <a:lnTo>
                        <a:pt x="2008103" y="522785"/>
                      </a:lnTo>
                      <a:lnTo>
                        <a:pt x="2006974" y="514679"/>
                      </a:lnTo>
                      <a:lnTo>
                        <a:pt x="2023925" y="508598"/>
                      </a:lnTo>
                      <a:lnTo>
                        <a:pt x="2026186" y="485291"/>
                      </a:lnTo>
                      <a:lnTo>
                        <a:pt x="2048788" y="514679"/>
                      </a:lnTo>
                      <a:lnTo>
                        <a:pt x="2055569" y="504545"/>
                      </a:lnTo>
                      <a:lnTo>
                        <a:pt x="2052178" y="491371"/>
                      </a:lnTo>
                      <a:lnTo>
                        <a:pt x="2062350" y="485291"/>
                      </a:lnTo>
                      <a:lnTo>
                        <a:pt x="2063479" y="471104"/>
                      </a:lnTo>
                      <a:lnTo>
                        <a:pt x="2060089" y="446784"/>
                      </a:lnTo>
                      <a:lnTo>
                        <a:pt x="2065740" y="431583"/>
                      </a:lnTo>
                      <a:lnTo>
                        <a:pt x="2065740" y="417396"/>
                      </a:lnTo>
                      <a:lnTo>
                        <a:pt x="2077041" y="411316"/>
                      </a:lnTo>
                      <a:lnTo>
                        <a:pt x="2087212" y="404223"/>
                      </a:lnTo>
                      <a:cubicBezTo>
                        <a:pt x="2086082" y="403209"/>
                        <a:pt x="2086082" y="402196"/>
                        <a:pt x="2084952" y="401183"/>
                      </a:cubicBezTo>
                      <a:cubicBezTo>
                        <a:pt x="2083821" y="397129"/>
                        <a:pt x="2083821" y="396116"/>
                        <a:pt x="2087212" y="396116"/>
                      </a:cubicBezTo>
                      <a:cubicBezTo>
                        <a:pt x="2099644" y="396116"/>
                        <a:pt x="2104164" y="400169"/>
                        <a:pt x="2106424" y="406249"/>
                      </a:cubicBezTo>
                      <a:lnTo>
                        <a:pt x="2103034" y="413343"/>
                      </a:lnTo>
                      <a:close/>
                      <a:moveTo>
                        <a:pt x="977435" y="773085"/>
                      </a:moveTo>
                      <a:cubicBezTo>
                        <a:pt x="989866" y="776125"/>
                        <a:pt x="997777" y="789298"/>
                        <a:pt x="988736" y="787272"/>
                      </a:cubicBezTo>
                      <a:cubicBezTo>
                        <a:pt x="985345" y="786258"/>
                        <a:pt x="979694" y="783218"/>
                        <a:pt x="975174" y="782205"/>
                      </a:cubicBezTo>
                      <a:cubicBezTo>
                        <a:pt x="975174" y="781191"/>
                        <a:pt x="975174" y="775111"/>
                        <a:pt x="975174" y="775111"/>
                      </a:cubicBezTo>
                      <a:cubicBezTo>
                        <a:pt x="978565" y="773085"/>
                        <a:pt x="977435" y="773085"/>
                        <a:pt x="977435" y="77308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6" name="Freeform: Shape 425">
                  <a:extLst>
                    <a:ext uri="{FF2B5EF4-FFF2-40B4-BE49-F238E27FC236}">
                      <a16:creationId xmlns:a16="http://schemas.microsoft.com/office/drawing/2014/main" id="{7796F067-4392-44BE-B6B5-0162D5E087F9}"/>
                    </a:ext>
                  </a:extLst>
                </p:cNvPr>
                <p:cNvSpPr/>
                <p:nvPr/>
              </p:nvSpPr>
              <p:spPr>
                <a:xfrm>
                  <a:off x="3218301" y="4958833"/>
                  <a:ext cx="327735" cy="1702439"/>
                </a:xfrm>
                <a:custGeom>
                  <a:avLst/>
                  <a:gdLst>
                    <a:gd name="connsiteX0" fmla="*/ 300493 w 327734"/>
                    <a:gd name="connsiteY0" fmla="*/ 193465 h 1702439"/>
                    <a:gd name="connsiteX1" fmla="*/ 280151 w 327734"/>
                    <a:gd name="connsiteY1" fmla="*/ 184345 h 1702439"/>
                    <a:gd name="connsiteX2" fmla="*/ 275630 w 327734"/>
                    <a:gd name="connsiteY2" fmla="*/ 155971 h 1702439"/>
                    <a:gd name="connsiteX3" fmla="*/ 272240 w 327734"/>
                    <a:gd name="connsiteY3" fmla="*/ 124557 h 1702439"/>
                    <a:gd name="connsiteX4" fmla="*/ 260938 w 327734"/>
                    <a:gd name="connsiteY4" fmla="*/ 93143 h 1702439"/>
                    <a:gd name="connsiteX5" fmla="*/ 254158 w 327734"/>
                    <a:gd name="connsiteY5" fmla="*/ 63755 h 1702439"/>
                    <a:gd name="connsiteX6" fmla="*/ 236076 w 327734"/>
                    <a:gd name="connsiteY6" fmla="*/ 44502 h 1702439"/>
                    <a:gd name="connsiteX7" fmla="*/ 220254 w 327734"/>
                    <a:gd name="connsiteY7" fmla="*/ 9034 h 1702439"/>
                    <a:gd name="connsiteX8" fmla="*/ 211213 w 327734"/>
                    <a:gd name="connsiteY8" fmla="*/ 20181 h 1702439"/>
                    <a:gd name="connsiteX9" fmla="*/ 198782 w 327734"/>
                    <a:gd name="connsiteY9" fmla="*/ 28288 h 1702439"/>
                    <a:gd name="connsiteX10" fmla="*/ 204432 w 327734"/>
                    <a:gd name="connsiteY10" fmla="*/ 35381 h 1702439"/>
                    <a:gd name="connsiteX11" fmla="*/ 204432 w 327734"/>
                    <a:gd name="connsiteY11" fmla="*/ 49568 h 1702439"/>
                    <a:gd name="connsiteX12" fmla="*/ 212343 w 327734"/>
                    <a:gd name="connsiteY12" fmla="*/ 112397 h 1702439"/>
                    <a:gd name="connsiteX13" fmla="*/ 206693 w 327734"/>
                    <a:gd name="connsiteY13" fmla="*/ 143810 h 1702439"/>
                    <a:gd name="connsiteX14" fmla="*/ 212343 w 327734"/>
                    <a:gd name="connsiteY14" fmla="*/ 161038 h 1702439"/>
                    <a:gd name="connsiteX15" fmla="*/ 206693 w 327734"/>
                    <a:gd name="connsiteY15" fmla="*/ 161038 h 1702439"/>
                    <a:gd name="connsiteX16" fmla="*/ 204432 w 327734"/>
                    <a:gd name="connsiteY16" fmla="*/ 173198 h 1702439"/>
                    <a:gd name="connsiteX17" fmla="*/ 202172 w 327734"/>
                    <a:gd name="connsiteY17" fmla="*/ 173198 h 1702439"/>
                    <a:gd name="connsiteX18" fmla="*/ 199912 w 327734"/>
                    <a:gd name="connsiteY18" fmla="*/ 228933 h 1702439"/>
                    <a:gd name="connsiteX19" fmla="*/ 192001 w 327734"/>
                    <a:gd name="connsiteY19" fmla="*/ 230959 h 1702439"/>
                    <a:gd name="connsiteX20" fmla="*/ 199912 w 327734"/>
                    <a:gd name="connsiteY20" fmla="*/ 250213 h 1702439"/>
                    <a:gd name="connsiteX21" fmla="*/ 199912 w 327734"/>
                    <a:gd name="connsiteY21" fmla="*/ 257307 h 1702439"/>
                    <a:gd name="connsiteX22" fmla="*/ 197652 w 327734"/>
                    <a:gd name="connsiteY22" fmla="*/ 264400 h 1702439"/>
                    <a:gd name="connsiteX23" fmla="*/ 189741 w 327734"/>
                    <a:gd name="connsiteY23" fmla="*/ 318108 h 1702439"/>
                    <a:gd name="connsiteX24" fmla="*/ 195392 w 327734"/>
                    <a:gd name="connsiteY24" fmla="*/ 332295 h 1702439"/>
                    <a:gd name="connsiteX25" fmla="*/ 187481 w 327734"/>
                    <a:gd name="connsiteY25" fmla="*/ 358642 h 1702439"/>
                    <a:gd name="connsiteX26" fmla="*/ 187481 w 327734"/>
                    <a:gd name="connsiteY26" fmla="*/ 363709 h 1702439"/>
                    <a:gd name="connsiteX27" fmla="*/ 187481 w 327734"/>
                    <a:gd name="connsiteY27" fmla="*/ 377896 h 1702439"/>
                    <a:gd name="connsiteX28" fmla="*/ 187481 w 327734"/>
                    <a:gd name="connsiteY28" fmla="*/ 388030 h 1702439"/>
                    <a:gd name="connsiteX29" fmla="*/ 185221 w 327734"/>
                    <a:gd name="connsiteY29" fmla="*/ 400190 h 1702439"/>
                    <a:gd name="connsiteX30" fmla="*/ 177310 w 327734"/>
                    <a:gd name="connsiteY30" fmla="*/ 402216 h 1702439"/>
                    <a:gd name="connsiteX31" fmla="*/ 179570 w 327734"/>
                    <a:gd name="connsiteY31" fmla="*/ 426537 h 1702439"/>
                    <a:gd name="connsiteX32" fmla="*/ 173919 w 327734"/>
                    <a:gd name="connsiteY32" fmla="*/ 428564 h 1702439"/>
                    <a:gd name="connsiteX33" fmla="*/ 173919 w 327734"/>
                    <a:gd name="connsiteY33" fmla="*/ 447817 h 1702439"/>
                    <a:gd name="connsiteX34" fmla="*/ 162618 w 327734"/>
                    <a:gd name="connsiteY34" fmla="*/ 470111 h 1702439"/>
                    <a:gd name="connsiteX35" fmla="*/ 173919 w 327734"/>
                    <a:gd name="connsiteY35" fmla="*/ 501525 h 1702439"/>
                    <a:gd name="connsiteX36" fmla="*/ 171659 w 327734"/>
                    <a:gd name="connsiteY36" fmla="*/ 532940 h 1702439"/>
                    <a:gd name="connsiteX37" fmla="*/ 166008 w 327734"/>
                    <a:gd name="connsiteY37" fmla="*/ 534967 h 1702439"/>
                    <a:gd name="connsiteX38" fmla="*/ 160358 w 327734"/>
                    <a:gd name="connsiteY38" fmla="*/ 557260 h 1702439"/>
                    <a:gd name="connsiteX39" fmla="*/ 171659 w 327734"/>
                    <a:gd name="connsiteY39" fmla="*/ 581581 h 1702439"/>
                    <a:gd name="connsiteX40" fmla="*/ 169399 w 327734"/>
                    <a:gd name="connsiteY40" fmla="*/ 635289 h 1702439"/>
                    <a:gd name="connsiteX41" fmla="*/ 155837 w 327734"/>
                    <a:gd name="connsiteY41" fmla="*/ 645422 h 1702439"/>
                    <a:gd name="connsiteX42" fmla="*/ 155837 w 327734"/>
                    <a:gd name="connsiteY42" fmla="*/ 659609 h 1702439"/>
                    <a:gd name="connsiteX43" fmla="*/ 158098 w 327734"/>
                    <a:gd name="connsiteY43" fmla="*/ 666703 h 1702439"/>
                    <a:gd name="connsiteX44" fmla="*/ 144536 w 327734"/>
                    <a:gd name="connsiteY44" fmla="*/ 680890 h 1702439"/>
                    <a:gd name="connsiteX45" fmla="*/ 144536 w 327734"/>
                    <a:gd name="connsiteY45" fmla="*/ 703184 h 1702439"/>
                    <a:gd name="connsiteX46" fmla="*/ 125324 w 327734"/>
                    <a:gd name="connsiteY46" fmla="*/ 734597 h 1702439"/>
                    <a:gd name="connsiteX47" fmla="*/ 130975 w 327734"/>
                    <a:gd name="connsiteY47" fmla="*/ 746758 h 1702439"/>
                    <a:gd name="connsiteX48" fmla="*/ 128715 w 327734"/>
                    <a:gd name="connsiteY48" fmla="*/ 776145 h 1702439"/>
                    <a:gd name="connsiteX49" fmla="*/ 117413 w 327734"/>
                    <a:gd name="connsiteY49" fmla="*/ 786279 h 1702439"/>
                    <a:gd name="connsiteX50" fmla="*/ 117413 w 327734"/>
                    <a:gd name="connsiteY50" fmla="*/ 798439 h 1702439"/>
                    <a:gd name="connsiteX51" fmla="*/ 109502 w 327734"/>
                    <a:gd name="connsiteY51" fmla="*/ 829853 h 1702439"/>
                    <a:gd name="connsiteX52" fmla="*/ 95941 w 327734"/>
                    <a:gd name="connsiteY52" fmla="*/ 829853 h 1702439"/>
                    <a:gd name="connsiteX53" fmla="*/ 90291 w 327734"/>
                    <a:gd name="connsiteY53" fmla="*/ 834920 h 1702439"/>
                    <a:gd name="connsiteX54" fmla="*/ 95941 w 327734"/>
                    <a:gd name="connsiteY54" fmla="*/ 845053 h 1702439"/>
                    <a:gd name="connsiteX55" fmla="*/ 93681 w 327734"/>
                    <a:gd name="connsiteY55" fmla="*/ 857214 h 1702439"/>
                    <a:gd name="connsiteX56" fmla="*/ 101592 w 327734"/>
                    <a:gd name="connsiteY56" fmla="*/ 862281 h 1702439"/>
                    <a:gd name="connsiteX57" fmla="*/ 99331 w 327734"/>
                    <a:gd name="connsiteY57" fmla="*/ 876467 h 1702439"/>
                    <a:gd name="connsiteX58" fmla="*/ 97071 w 327734"/>
                    <a:gd name="connsiteY58" fmla="*/ 883561 h 1702439"/>
                    <a:gd name="connsiteX59" fmla="*/ 102722 w 327734"/>
                    <a:gd name="connsiteY59" fmla="*/ 888628 h 1702439"/>
                    <a:gd name="connsiteX60" fmla="*/ 100462 w 327734"/>
                    <a:gd name="connsiteY60" fmla="*/ 893694 h 1702439"/>
                    <a:gd name="connsiteX61" fmla="*/ 106112 w 327734"/>
                    <a:gd name="connsiteY61" fmla="*/ 942335 h 1702439"/>
                    <a:gd name="connsiteX62" fmla="*/ 98201 w 327734"/>
                    <a:gd name="connsiteY62" fmla="*/ 942335 h 1702439"/>
                    <a:gd name="connsiteX63" fmla="*/ 90291 w 327734"/>
                    <a:gd name="connsiteY63" fmla="*/ 971723 h 1702439"/>
                    <a:gd name="connsiteX64" fmla="*/ 84640 w 327734"/>
                    <a:gd name="connsiteY64" fmla="*/ 996044 h 1702439"/>
                    <a:gd name="connsiteX65" fmla="*/ 92551 w 327734"/>
                    <a:gd name="connsiteY65" fmla="*/ 1025431 h 1702439"/>
                    <a:gd name="connsiteX66" fmla="*/ 103852 w 327734"/>
                    <a:gd name="connsiteY66" fmla="*/ 1025431 h 1702439"/>
                    <a:gd name="connsiteX67" fmla="*/ 106112 w 327734"/>
                    <a:gd name="connsiteY67" fmla="*/ 1015297 h 1702439"/>
                    <a:gd name="connsiteX68" fmla="*/ 117413 w 327734"/>
                    <a:gd name="connsiteY68" fmla="*/ 1010231 h 1702439"/>
                    <a:gd name="connsiteX69" fmla="*/ 123064 w 327734"/>
                    <a:gd name="connsiteY69" fmla="*/ 1020364 h 1702439"/>
                    <a:gd name="connsiteX70" fmla="*/ 128715 w 327734"/>
                    <a:gd name="connsiteY70" fmla="*/ 1020364 h 1702439"/>
                    <a:gd name="connsiteX71" fmla="*/ 128715 w 327734"/>
                    <a:gd name="connsiteY71" fmla="*/ 1027458 h 1702439"/>
                    <a:gd name="connsiteX72" fmla="*/ 117413 w 327734"/>
                    <a:gd name="connsiteY72" fmla="*/ 1032524 h 1702439"/>
                    <a:gd name="connsiteX73" fmla="*/ 119673 w 327734"/>
                    <a:gd name="connsiteY73" fmla="*/ 1081166 h 1702439"/>
                    <a:gd name="connsiteX74" fmla="*/ 116283 w 327734"/>
                    <a:gd name="connsiteY74" fmla="*/ 1078126 h 1702439"/>
                    <a:gd name="connsiteX75" fmla="*/ 110633 w 327734"/>
                    <a:gd name="connsiteY75" fmla="*/ 1086232 h 1702439"/>
                    <a:gd name="connsiteX76" fmla="*/ 104982 w 327734"/>
                    <a:gd name="connsiteY76" fmla="*/ 1096366 h 1702439"/>
                    <a:gd name="connsiteX77" fmla="*/ 110633 w 327734"/>
                    <a:gd name="connsiteY77" fmla="*/ 1096366 h 1702439"/>
                    <a:gd name="connsiteX78" fmla="*/ 110633 w 327734"/>
                    <a:gd name="connsiteY78" fmla="*/ 1108526 h 1702439"/>
                    <a:gd name="connsiteX79" fmla="*/ 118544 w 327734"/>
                    <a:gd name="connsiteY79" fmla="*/ 1118660 h 1702439"/>
                    <a:gd name="connsiteX80" fmla="*/ 99331 w 327734"/>
                    <a:gd name="connsiteY80" fmla="*/ 1128793 h 1702439"/>
                    <a:gd name="connsiteX81" fmla="*/ 99331 w 327734"/>
                    <a:gd name="connsiteY81" fmla="*/ 1135887 h 1702439"/>
                    <a:gd name="connsiteX82" fmla="*/ 107242 w 327734"/>
                    <a:gd name="connsiteY82" fmla="*/ 1142981 h 1702439"/>
                    <a:gd name="connsiteX83" fmla="*/ 91420 w 327734"/>
                    <a:gd name="connsiteY83" fmla="*/ 1142981 h 1702439"/>
                    <a:gd name="connsiteX84" fmla="*/ 99331 w 327734"/>
                    <a:gd name="connsiteY84" fmla="*/ 1153114 h 1702439"/>
                    <a:gd name="connsiteX85" fmla="*/ 91420 w 327734"/>
                    <a:gd name="connsiteY85" fmla="*/ 1155140 h 1702439"/>
                    <a:gd name="connsiteX86" fmla="*/ 89160 w 327734"/>
                    <a:gd name="connsiteY86" fmla="*/ 1193649 h 1702439"/>
                    <a:gd name="connsiteX87" fmla="*/ 97071 w 327734"/>
                    <a:gd name="connsiteY87" fmla="*/ 1198715 h 1702439"/>
                    <a:gd name="connsiteX88" fmla="*/ 91420 w 327734"/>
                    <a:gd name="connsiteY88" fmla="*/ 1203782 h 1702439"/>
                    <a:gd name="connsiteX89" fmla="*/ 91420 w 327734"/>
                    <a:gd name="connsiteY89" fmla="*/ 1235196 h 1702439"/>
                    <a:gd name="connsiteX90" fmla="*/ 80119 w 327734"/>
                    <a:gd name="connsiteY90" fmla="*/ 1240263 h 1702439"/>
                    <a:gd name="connsiteX91" fmla="*/ 80119 w 327734"/>
                    <a:gd name="connsiteY91" fmla="*/ 1238236 h 1702439"/>
                    <a:gd name="connsiteX92" fmla="*/ 68818 w 327734"/>
                    <a:gd name="connsiteY92" fmla="*/ 1231142 h 1702439"/>
                    <a:gd name="connsiteX93" fmla="*/ 68818 w 327734"/>
                    <a:gd name="connsiteY93" fmla="*/ 1238236 h 1702439"/>
                    <a:gd name="connsiteX94" fmla="*/ 60907 w 327734"/>
                    <a:gd name="connsiteY94" fmla="*/ 1236209 h 1702439"/>
                    <a:gd name="connsiteX95" fmla="*/ 63167 w 327734"/>
                    <a:gd name="connsiteY95" fmla="*/ 1226075 h 1702439"/>
                    <a:gd name="connsiteX96" fmla="*/ 49606 w 327734"/>
                    <a:gd name="connsiteY96" fmla="*/ 1236209 h 1702439"/>
                    <a:gd name="connsiteX97" fmla="*/ 51866 w 327734"/>
                    <a:gd name="connsiteY97" fmla="*/ 1224049 h 1702439"/>
                    <a:gd name="connsiteX98" fmla="*/ 40565 w 327734"/>
                    <a:gd name="connsiteY98" fmla="*/ 1222022 h 1702439"/>
                    <a:gd name="connsiteX99" fmla="*/ 34914 w 327734"/>
                    <a:gd name="connsiteY99" fmla="*/ 1227089 h 1702439"/>
                    <a:gd name="connsiteX100" fmla="*/ 32654 w 327734"/>
                    <a:gd name="connsiteY100" fmla="*/ 1241276 h 1702439"/>
                    <a:gd name="connsiteX101" fmla="*/ 19093 w 327734"/>
                    <a:gd name="connsiteY101" fmla="*/ 1253436 h 1702439"/>
                    <a:gd name="connsiteX102" fmla="*/ 19093 w 327734"/>
                    <a:gd name="connsiteY102" fmla="*/ 1265597 h 1702439"/>
                    <a:gd name="connsiteX103" fmla="*/ 24743 w 327734"/>
                    <a:gd name="connsiteY103" fmla="*/ 1265597 h 1702439"/>
                    <a:gd name="connsiteX104" fmla="*/ 36045 w 327734"/>
                    <a:gd name="connsiteY104" fmla="*/ 1255463 h 1702439"/>
                    <a:gd name="connsiteX105" fmla="*/ 36045 w 327734"/>
                    <a:gd name="connsiteY105" fmla="*/ 1257490 h 1702439"/>
                    <a:gd name="connsiteX106" fmla="*/ 31524 w 327734"/>
                    <a:gd name="connsiteY106" fmla="*/ 1257490 h 1702439"/>
                    <a:gd name="connsiteX107" fmla="*/ 31524 w 327734"/>
                    <a:gd name="connsiteY107" fmla="*/ 1264583 h 1702439"/>
                    <a:gd name="connsiteX108" fmla="*/ 50736 w 327734"/>
                    <a:gd name="connsiteY108" fmla="*/ 1266610 h 1702439"/>
                    <a:gd name="connsiteX109" fmla="*/ 50736 w 327734"/>
                    <a:gd name="connsiteY109" fmla="*/ 1259517 h 1702439"/>
                    <a:gd name="connsiteX110" fmla="*/ 64298 w 327734"/>
                    <a:gd name="connsiteY110" fmla="*/ 1259517 h 1702439"/>
                    <a:gd name="connsiteX111" fmla="*/ 66558 w 327734"/>
                    <a:gd name="connsiteY111" fmla="*/ 1295997 h 1702439"/>
                    <a:gd name="connsiteX112" fmla="*/ 74469 w 327734"/>
                    <a:gd name="connsiteY112" fmla="*/ 1298024 h 1702439"/>
                    <a:gd name="connsiteX113" fmla="*/ 72209 w 327734"/>
                    <a:gd name="connsiteY113" fmla="*/ 1305118 h 1702439"/>
                    <a:gd name="connsiteX114" fmla="*/ 58647 w 327734"/>
                    <a:gd name="connsiteY114" fmla="*/ 1303091 h 1702439"/>
                    <a:gd name="connsiteX115" fmla="*/ 60907 w 327734"/>
                    <a:gd name="connsiteY115" fmla="*/ 1339572 h 1702439"/>
                    <a:gd name="connsiteX116" fmla="*/ 66558 w 327734"/>
                    <a:gd name="connsiteY116" fmla="*/ 1346665 h 1702439"/>
                    <a:gd name="connsiteX117" fmla="*/ 60907 w 327734"/>
                    <a:gd name="connsiteY117" fmla="*/ 1346665 h 1702439"/>
                    <a:gd name="connsiteX118" fmla="*/ 58647 w 327734"/>
                    <a:gd name="connsiteY118" fmla="*/ 1378079 h 1702439"/>
                    <a:gd name="connsiteX119" fmla="*/ 66558 w 327734"/>
                    <a:gd name="connsiteY119" fmla="*/ 1378079 h 1702439"/>
                    <a:gd name="connsiteX120" fmla="*/ 66558 w 327734"/>
                    <a:gd name="connsiteY120" fmla="*/ 1370986 h 1702439"/>
                    <a:gd name="connsiteX121" fmla="*/ 74469 w 327734"/>
                    <a:gd name="connsiteY121" fmla="*/ 1368959 h 1702439"/>
                    <a:gd name="connsiteX122" fmla="*/ 72209 w 327734"/>
                    <a:gd name="connsiteY122" fmla="*/ 1381120 h 1702439"/>
                    <a:gd name="connsiteX123" fmla="*/ 72209 w 327734"/>
                    <a:gd name="connsiteY123" fmla="*/ 1386186 h 1702439"/>
                    <a:gd name="connsiteX124" fmla="*/ 58647 w 327734"/>
                    <a:gd name="connsiteY124" fmla="*/ 1391253 h 1702439"/>
                    <a:gd name="connsiteX125" fmla="*/ 58647 w 327734"/>
                    <a:gd name="connsiteY125" fmla="*/ 1403413 h 1702439"/>
                    <a:gd name="connsiteX126" fmla="*/ 50736 w 327734"/>
                    <a:gd name="connsiteY126" fmla="*/ 1410506 h 1702439"/>
                    <a:gd name="connsiteX127" fmla="*/ 50736 w 327734"/>
                    <a:gd name="connsiteY127" fmla="*/ 1422667 h 1702439"/>
                    <a:gd name="connsiteX128" fmla="*/ 72209 w 327734"/>
                    <a:gd name="connsiteY128" fmla="*/ 1427734 h 1702439"/>
                    <a:gd name="connsiteX129" fmla="*/ 66558 w 327734"/>
                    <a:gd name="connsiteY129" fmla="*/ 1429761 h 1702439"/>
                    <a:gd name="connsiteX130" fmla="*/ 66558 w 327734"/>
                    <a:gd name="connsiteY130" fmla="*/ 1436854 h 1702439"/>
                    <a:gd name="connsiteX131" fmla="*/ 74469 w 327734"/>
                    <a:gd name="connsiteY131" fmla="*/ 1443947 h 1702439"/>
                    <a:gd name="connsiteX132" fmla="*/ 82380 w 327734"/>
                    <a:gd name="connsiteY132" fmla="*/ 1443947 h 1702439"/>
                    <a:gd name="connsiteX133" fmla="*/ 66558 w 327734"/>
                    <a:gd name="connsiteY133" fmla="*/ 1454081 h 1702439"/>
                    <a:gd name="connsiteX134" fmla="*/ 64298 w 327734"/>
                    <a:gd name="connsiteY134" fmla="*/ 1464214 h 1702439"/>
                    <a:gd name="connsiteX135" fmla="*/ 77859 w 327734"/>
                    <a:gd name="connsiteY135" fmla="*/ 1471308 h 1702439"/>
                    <a:gd name="connsiteX136" fmla="*/ 80119 w 327734"/>
                    <a:gd name="connsiteY136" fmla="*/ 1483468 h 1702439"/>
                    <a:gd name="connsiteX137" fmla="*/ 68818 w 327734"/>
                    <a:gd name="connsiteY137" fmla="*/ 1483468 h 1702439"/>
                    <a:gd name="connsiteX138" fmla="*/ 68818 w 327734"/>
                    <a:gd name="connsiteY138" fmla="*/ 1493602 h 1702439"/>
                    <a:gd name="connsiteX139" fmla="*/ 52996 w 327734"/>
                    <a:gd name="connsiteY139" fmla="*/ 1491575 h 1702439"/>
                    <a:gd name="connsiteX140" fmla="*/ 50736 w 327734"/>
                    <a:gd name="connsiteY140" fmla="*/ 1496642 h 1702439"/>
                    <a:gd name="connsiteX141" fmla="*/ 37175 w 327734"/>
                    <a:gd name="connsiteY141" fmla="*/ 1489548 h 1702439"/>
                    <a:gd name="connsiteX142" fmla="*/ 23613 w 327734"/>
                    <a:gd name="connsiteY142" fmla="*/ 1501709 h 1702439"/>
                    <a:gd name="connsiteX143" fmla="*/ 25874 w 327734"/>
                    <a:gd name="connsiteY143" fmla="*/ 1513869 h 1702439"/>
                    <a:gd name="connsiteX144" fmla="*/ 41695 w 327734"/>
                    <a:gd name="connsiteY144" fmla="*/ 1531096 h 1702439"/>
                    <a:gd name="connsiteX145" fmla="*/ 39435 w 327734"/>
                    <a:gd name="connsiteY145" fmla="*/ 1541230 h 1702439"/>
                    <a:gd name="connsiteX146" fmla="*/ 58647 w 327734"/>
                    <a:gd name="connsiteY146" fmla="*/ 1558457 h 1702439"/>
                    <a:gd name="connsiteX147" fmla="*/ 74469 w 327734"/>
                    <a:gd name="connsiteY147" fmla="*/ 1560483 h 1702439"/>
                    <a:gd name="connsiteX148" fmla="*/ 80119 w 327734"/>
                    <a:gd name="connsiteY148" fmla="*/ 1560483 h 1702439"/>
                    <a:gd name="connsiteX149" fmla="*/ 82380 w 327734"/>
                    <a:gd name="connsiteY149" fmla="*/ 1555416 h 1702439"/>
                    <a:gd name="connsiteX150" fmla="*/ 60907 w 327734"/>
                    <a:gd name="connsiteY150" fmla="*/ 1541230 h 1702439"/>
                    <a:gd name="connsiteX151" fmla="*/ 52996 w 327734"/>
                    <a:gd name="connsiteY151" fmla="*/ 1541230 h 1702439"/>
                    <a:gd name="connsiteX152" fmla="*/ 47346 w 327734"/>
                    <a:gd name="connsiteY152" fmla="*/ 1534136 h 1702439"/>
                    <a:gd name="connsiteX153" fmla="*/ 68818 w 327734"/>
                    <a:gd name="connsiteY153" fmla="*/ 1539203 h 1702439"/>
                    <a:gd name="connsiteX154" fmla="*/ 57517 w 327734"/>
                    <a:gd name="connsiteY154" fmla="*/ 1500695 h 1702439"/>
                    <a:gd name="connsiteX155" fmla="*/ 65428 w 327734"/>
                    <a:gd name="connsiteY155" fmla="*/ 1502722 h 1702439"/>
                    <a:gd name="connsiteX156" fmla="*/ 81249 w 327734"/>
                    <a:gd name="connsiteY156" fmla="*/ 1495629 h 1702439"/>
                    <a:gd name="connsiteX157" fmla="*/ 81249 w 327734"/>
                    <a:gd name="connsiteY157" fmla="*/ 1505762 h 1702439"/>
                    <a:gd name="connsiteX158" fmla="*/ 86900 w 327734"/>
                    <a:gd name="connsiteY158" fmla="*/ 1507789 h 1702439"/>
                    <a:gd name="connsiteX159" fmla="*/ 102722 w 327734"/>
                    <a:gd name="connsiteY159" fmla="*/ 1485495 h 1702439"/>
                    <a:gd name="connsiteX160" fmla="*/ 110633 w 327734"/>
                    <a:gd name="connsiteY160" fmla="*/ 1492589 h 1702439"/>
                    <a:gd name="connsiteX161" fmla="*/ 121934 w 327734"/>
                    <a:gd name="connsiteY161" fmla="*/ 1490562 h 1702439"/>
                    <a:gd name="connsiteX162" fmla="*/ 121934 w 327734"/>
                    <a:gd name="connsiteY162" fmla="*/ 1495629 h 1702439"/>
                    <a:gd name="connsiteX163" fmla="*/ 108372 w 327734"/>
                    <a:gd name="connsiteY163" fmla="*/ 1500695 h 1702439"/>
                    <a:gd name="connsiteX164" fmla="*/ 102722 w 327734"/>
                    <a:gd name="connsiteY164" fmla="*/ 1500695 h 1702439"/>
                    <a:gd name="connsiteX165" fmla="*/ 100462 w 327734"/>
                    <a:gd name="connsiteY165" fmla="*/ 1517923 h 1702439"/>
                    <a:gd name="connsiteX166" fmla="*/ 94811 w 327734"/>
                    <a:gd name="connsiteY166" fmla="*/ 1517923 h 1702439"/>
                    <a:gd name="connsiteX167" fmla="*/ 94811 w 327734"/>
                    <a:gd name="connsiteY167" fmla="*/ 1510829 h 1702439"/>
                    <a:gd name="connsiteX168" fmla="*/ 75599 w 327734"/>
                    <a:gd name="connsiteY168" fmla="*/ 1512856 h 1702439"/>
                    <a:gd name="connsiteX169" fmla="*/ 83510 w 327734"/>
                    <a:gd name="connsiteY169" fmla="*/ 1551363 h 1702439"/>
                    <a:gd name="connsiteX170" fmla="*/ 99331 w 327734"/>
                    <a:gd name="connsiteY170" fmla="*/ 1553390 h 1702439"/>
                    <a:gd name="connsiteX171" fmla="*/ 97071 w 327734"/>
                    <a:gd name="connsiteY171" fmla="*/ 1560483 h 1702439"/>
                    <a:gd name="connsiteX172" fmla="*/ 91420 w 327734"/>
                    <a:gd name="connsiteY172" fmla="*/ 1555416 h 1702439"/>
                    <a:gd name="connsiteX173" fmla="*/ 88030 w 327734"/>
                    <a:gd name="connsiteY173" fmla="*/ 1555416 h 1702439"/>
                    <a:gd name="connsiteX174" fmla="*/ 80119 w 327734"/>
                    <a:gd name="connsiteY174" fmla="*/ 1574670 h 1702439"/>
                    <a:gd name="connsiteX175" fmla="*/ 80119 w 327734"/>
                    <a:gd name="connsiteY175" fmla="*/ 1581764 h 1702439"/>
                    <a:gd name="connsiteX176" fmla="*/ 88030 w 327734"/>
                    <a:gd name="connsiteY176" fmla="*/ 1581764 h 1702439"/>
                    <a:gd name="connsiteX177" fmla="*/ 90291 w 327734"/>
                    <a:gd name="connsiteY177" fmla="*/ 1586831 h 1702439"/>
                    <a:gd name="connsiteX178" fmla="*/ 90291 w 327734"/>
                    <a:gd name="connsiteY178" fmla="*/ 1588858 h 1702439"/>
                    <a:gd name="connsiteX179" fmla="*/ 101592 w 327734"/>
                    <a:gd name="connsiteY179" fmla="*/ 1586831 h 1702439"/>
                    <a:gd name="connsiteX180" fmla="*/ 103852 w 327734"/>
                    <a:gd name="connsiteY180" fmla="*/ 1601017 h 1702439"/>
                    <a:gd name="connsiteX181" fmla="*/ 115153 w 327734"/>
                    <a:gd name="connsiteY181" fmla="*/ 1598991 h 1702439"/>
                    <a:gd name="connsiteX182" fmla="*/ 117413 w 327734"/>
                    <a:gd name="connsiteY182" fmla="*/ 1604058 h 1702439"/>
                    <a:gd name="connsiteX183" fmla="*/ 125324 w 327734"/>
                    <a:gd name="connsiteY183" fmla="*/ 1602031 h 1702439"/>
                    <a:gd name="connsiteX184" fmla="*/ 127584 w 327734"/>
                    <a:gd name="connsiteY184" fmla="*/ 1602031 h 1702439"/>
                    <a:gd name="connsiteX185" fmla="*/ 127584 w 327734"/>
                    <a:gd name="connsiteY185" fmla="*/ 1579737 h 1702439"/>
                    <a:gd name="connsiteX186" fmla="*/ 111763 w 327734"/>
                    <a:gd name="connsiteY186" fmla="*/ 1572644 h 1702439"/>
                    <a:gd name="connsiteX187" fmla="*/ 123064 w 327734"/>
                    <a:gd name="connsiteY187" fmla="*/ 1572644 h 1702439"/>
                    <a:gd name="connsiteX188" fmla="*/ 120804 w 327734"/>
                    <a:gd name="connsiteY188" fmla="*/ 1562510 h 1702439"/>
                    <a:gd name="connsiteX189" fmla="*/ 132105 w 327734"/>
                    <a:gd name="connsiteY189" fmla="*/ 1560483 h 1702439"/>
                    <a:gd name="connsiteX190" fmla="*/ 143406 w 327734"/>
                    <a:gd name="connsiteY190" fmla="*/ 1582777 h 1702439"/>
                    <a:gd name="connsiteX191" fmla="*/ 162618 w 327734"/>
                    <a:gd name="connsiteY191" fmla="*/ 1587844 h 1702439"/>
                    <a:gd name="connsiteX192" fmla="*/ 168269 w 327734"/>
                    <a:gd name="connsiteY192" fmla="*/ 1582777 h 1702439"/>
                    <a:gd name="connsiteX193" fmla="*/ 168269 w 327734"/>
                    <a:gd name="connsiteY193" fmla="*/ 1556430 h 1702439"/>
                    <a:gd name="connsiteX194" fmla="*/ 176179 w 327734"/>
                    <a:gd name="connsiteY194" fmla="*/ 1539203 h 1702439"/>
                    <a:gd name="connsiteX195" fmla="*/ 173919 w 327734"/>
                    <a:gd name="connsiteY195" fmla="*/ 1532109 h 1702439"/>
                    <a:gd name="connsiteX196" fmla="*/ 216864 w 327734"/>
                    <a:gd name="connsiteY196" fmla="*/ 1530082 h 1702439"/>
                    <a:gd name="connsiteX197" fmla="*/ 259808 w 327734"/>
                    <a:gd name="connsiteY197" fmla="*/ 1512856 h 1702439"/>
                    <a:gd name="connsiteX198" fmla="*/ 257548 w 327734"/>
                    <a:gd name="connsiteY198" fmla="*/ 1508802 h 1702439"/>
                    <a:gd name="connsiteX199" fmla="*/ 196522 w 327734"/>
                    <a:gd name="connsiteY199" fmla="*/ 1502722 h 1702439"/>
                    <a:gd name="connsiteX200" fmla="*/ 150187 w 327734"/>
                    <a:gd name="connsiteY200" fmla="*/ 1505762 h 1702439"/>
                    <a:gd name="connsiteX201" fmla="*/ 120804 w 327734"/>
                    <a:gd name="connsiteY201" fmla="*/ 1473335 h 1702439"/>
                    <a:gd name="connsiteX202" fmla="*/ 116283 w 327734"/>
                    <a:gd name="connsiteY202" fmla="*/ 1449014 h 1702439"/>
                    <a:gd name="connsiteX203" fmla="*/ 116283 w 327734"/>
                    <a:gd name="connsiteY203" fmla="*/ 1426721 h 1702439"/>
                    <a:gd name="connsiteX204" fmla="*/ 99331 w 327734"/>
                    <a:gd name="connsiteY204" fmla="*/ 1430774 h 1702439"/>
                    <a:gd name="connsiteX205" fmla="*/ 91420 w 327734"/>
                    <a:gd name="connsiteY205" fmla="*/ 1409493 h 1702439"/>
                    <a:gd name="connsiteX206" fmla="*/ 100462 w 327734"/>
                    <a:gd name="connsiteY206" fmla="*/ 1385173 h 1702439"/>
                    <a:gd name="connsiteX207" fmla="*/ 95941 w 327734"/>
                    <a:gd name="connsiteY207" fmla="*/ 1355786 h 1702439"/>
                    <a:gd name="connsiteX208" fmla="*/ 121934 w 327734"/>
                    <a:gd name="connsiteY208" fmla="*/ 1335518 h 1702439"/>
                    <a:gd name="connsiteX209" fmla="*/ 127584 w 327734"/>
                    <a:gd name="connsiteY209" fmla="*/ 1312211 h 1702439"/>
                    <a:gd name="connsiteX210" fmla="*/ 128715 w 327734"/>
                    <a:gd name="connsiteY210" fmla="*/ 1288904 h 1702439"/>
                    <a:gd name="connsiteX211" fmla="*/ 140016 w 327734"/>
                    <a:gd name="connsiteY211" fmla="*/ 1275730 h 1702439"/>
                    <a:gd name="connsiteX212" fmla="*/ 141146 w 327734"/>
                    <a:gd name="connsiteY212" fmla="*/ 1262557 h 1702439"/>
                    <a:gd name="connsiteX213" fmla="*/ 145666 w 327734"/>
                    <a:gd name="connsiteY213" fmla="*/ 1233169 h 1702439"/>
                    <a:gd name="connsiteX214" fmla="*/ 144536 w 327734"/>
                    <a:gd name="connsiteY214" fmla="*/ 1208849 h 1702439"/>
                    <a:gd name="connsiteX215" fmla="*/ 141146 w 327734"/>
                    <a:gd name="connsiteY215" fmla="*/ 1189595 h 1702439"/>
                    <a:gd name="connsiteX216" fmla="*/ 152447 w 327734"/>
                    <a:gd name="connsiteY216" fmla="*/ 1175408 h 1702439"/>
                    <a:gd name="connsiteX217" fmla="*/ 149057 w 327734"/>
                    <a:gd name="connsiteY217" fmla="*/ 1162234 h 1702439"/>
                    <a:gd name="connsiteX218" fmla="*/ 155837 w 327734"/>
                    <a:gd name="connsiteY218" fmla="*/ 1141967 h 1702439"/>
                    <a:gd name="connsiteX219" fmla="*/ 151317 w 327734"/>
                    <a:gd name="connsiteY219" fmla="*/ 1117647 h 1702439"/>
                    <a:gd name="connsiteX220" fmla="*/ 150187 w 327734"/>
                    <a:gd name="connsiteY220" fmla="*/ 1097380 h 1702439"/>
                    <a:gd name="connsiteX221" fmla="*/ 137755 w 327734"/>
                    <a:gd name="connsiteY221" fmla="*/ 1073059 h 1702439"/>
                    <a:gd name="connsiteX222" fmla="*/ 150187 w 327734"/>
                    <a:gd name="connsiteY222" fmla="*/ 1038604 h 1702439"/>
                    <a:gd name="connsiteX223" fmla="*/ 150187 w 327734"/>
                    <a:gd name="connsiteY223" fmla="*/ 1010231 h 1702439"/>
                    <a:gd name="connsiteX224" fmla="*/ 140016 w 327734"/>
                    <a:gd name="connsiteY224" fmla="*/ 999084 h 1702439"/>
                    <a:gd name="connsiteX225" fmla="*/ 138886 w 327734"/>
                    <a:gd name="connsiteY225" fmla="*/ 969696 h 1702439"/>
                    <a:gd name="connsiteX226" fmla="*/ 134365 w 327734"/>
                    <a:gd name="connsiteY226" fmla="*/ 939296 h 1702439"/>
                    <a:gd name="connsiteX227" fmla="*/ 145666 w 327734"/>
                    <a:gd name="connsiteY227" fmla="*/ 915988 h 1702439"/>
                    <a:gd name="connsiteX228" fmla="*/ 158098 w 327734"/>
                    <a:gd name="connsiteY228" fmla="*/ 867347 h 1702439"/>
                    <a:gd name="connsiteX229" fmla="*/ 168269 w 327734"/>
                    <a:gd name="connsiteY229" fmla="*/ 857214 h 1702439"/>
                    <a:gd name="connsiteX230" fmla="*/ 159228 w 327734"/>
                    <a:gd name="connsiteY230" fmla="*/ 831880 h 1702439"/>
                    <a:gd name="connsiteX231" fmla="*/ 162618 w 327734"/>
                    <a:gd name="connsiteY231" fmla="*/ 801479 h 1702439"/>
                    <a:gd name="connsiteX232" fmla="*/ 177310 w 327734"/>
                    <a:gd name="connsiteY232" fmla="*/ 778172 h 1702439"/>
                    <a:gd name="connsiteX233" fmla="*/ 193131 w 327734"/>
                    <a:gd name="connsiteY233" fmla="*/ 772092 h 1702439"/>
                    <a:gd name="connsiteX234" fmla="*/ 192001 w 327734"/>
                    <a:gd name="connsiteY234" fmla="*/ 750811 h 1702439"/>
                    <a:gd name="connsiteX235" fmla="*/ 193131 w 327734"/>
                    <a:gd name="connsiteY235" fmla="*/ 725478 h 1702439"/>
                    <a:gd name="connsiteX236" fmla="*/ 208953 w 327734"/>
                    <a:gd name="connsiteY236" fmla="*/ 678863 h 1702439"/>
                    <a:gd name="connsiteX237" fmla="*/ 207823 w 327734"/>
                    <a:gd name="connsiteY237" fmla="*/ 648462 h 1702439"/>
                    <a:gd name="connsiteX238" fmla="*/ 212343 w 327734"/>
                    <a:gd name="connsiteY238" fmla="*/ 623128 h 1702439"/>
                    <a:gd name="connsiteX239" fmla="*/ 213474 w 327734"/>
                    <a:gd name="connsiteY239" fmla="*/ 593741 h 1702439"/>
                    <a:gd name="connsiteX240" fmla="*/ 216864 w 327734"/>
                    <a:gd name="connsiteY240" fmla="*/ 558274 h 1702439"/>
                    <a:gd name="connsiteX241" fmla="*/ 225905 w 327734"/>
                    <a:gd name="connsiteY241" fmla="*/ 529900 h 1702439"/>
                    <a:gd name="connsiteX242" fmla="*/ 225905 w 327734"/>
                    <a:gd name="connsiteY242" fmla="*/ 498485 h 1702439"/>
                    <a:gd name="connsiteX243" fmla="*/ 231556 w 327734"/>
                    <a:gd name="connsiteY243" fmla="*/ 453898 h 1702439"/>
                    <a:gd name="connsiteX244" fmla="*/ 251898 w 327734"/>
                    <a:gd name="connsiteY244" fmla="*/ 422484 h 1702439"/>
                    <a:gd name="connsiteX245" fmla="*/ 267719 w 327734"/>
                    <a:gd name="connsiteY245" fmla="*/ 396137 h 1702439"/>
                    <a:gd name="connsiteX246" fmla="*/ 272240 w 327734"/>
                    <a:gd name="connsiteY246" fmla="*/ 367762 h 1702439"/>
                    <a:gd name="connsiteX247" fmla="*/ 275630 w 327734"/>
                    <a:gd name="connsiteY247" fmla="*/ 346482 h 1702439"/>
                    <a:gd name="connsiteX248" fmla="*/ 271110 w 327734"/>
                    <a:gd name="connsiteY248" fmla="*/ 321148 h 1702439"/>
                    <a:gd name="connsiteX249" fmla="*/ 271110 w 327734"/>
                    <a:gd name="connsiteY249" fmla="*/ 282640 h 1702439"/>
                    <a:gd name="connsiteX250" fmla="*/ 294842 w 327734"/>
                    <a:gd name="connsiteY250" fmla="*/ 263387 h 1702439"/>
                    <a:gd name="connsiteX251" fmla="*/ 318575 w 327734"/>
                    <a:gd name="connsiteY251" fmla="*/ 244133 h 1702439"/>
                    <a:gd name="connsiteX252" fmla="*/ 312924 w 327734"/>
                    <a:gd name="connsiteY252" fmla="*/ 210692 h 1702439"/>
                    <a:gd name="connsiteX253" fmla="*/ 300493 w 327734"/>
                    <a:gd name="connsiteY253" fmla="*/ 193465 h 1702439"/>
                    <a:gd name="connsiteX254" fmla="*/ 297102 w 327734"/>
                    <a:gd name="connsiteY254" fmla="*/ 1638512 h 1702439"/>
                    <a:gd name="connsiteX255" fmla="*/ 277890 w 327734"/>
                    <a:gd name="connsiteY255" fmla="*/ 1633445 h 1702439"/>
                    <a:gd name="connsiteX256" fmla="*/ 254158 w 327734"/>
                    <a:gd name="connsiteY256" fmla="*/ 1636485 h 1702439"/>
                    <a:gd name="connsiteX257" fmla="*/ 245117 w 327734"/>
                    <a:gd name="connsiteY257" fmla="*/ 1528056 h 1702439"/>
                    <a:gd name="connsiteX258" fmla="*/ 231556 w 327734"/>
                    <a:gd name="connsiteY258" fmla="*/ 1535149 h 1702439"/>
                    <a:gd name="connsiteX259" fmla="*/ 223645 w 327734"/>
                    <a:gd name="connsiteY259" fmla="*/ 1525016 h 1702439"/>
                    <a:gd name="connsiteX260" fmla="*/ 207823 w 327734"/>
                    <a:gd name="connsiteY260" fmla="*/ 1537176 h 1702439"/>
                    <a:gd name="connsiteX261" fmla="*/ 194261 w 327734"/>
                    <a:gd name="connsiteY261" fmla="*/ 1532109 h 1702439"/>
                    <a:gd name="connsiteX262" fmla="*/ 180700 w 327734"/>
                    <a:gd name="connsiteY262" fmla="*/ 1534136 h 1702439"/>
                    <a:gd name="connsiteX263" fmla="*/ 210083 w 327734"/>
                    <a:gd name="connsiteY263" fmla="*/ 1568591 h 1702439"/>
                    <a:gd name="connsiteX264" fmla="*/ 185221 w 327734"/>
                    <a:gd name="connsiteY264" fmla="*/ 1580750 h 1702439"/>
                    <a:gd name="connsiteX265" fmla="*/ 190871 w 327734"/>
                    <a:gd name="connsiteY265" fmla="*/ 1600004 h 1702439"/>
                    <a:gd name="connsiteX266" fmla="*/ 204432 w 327734"/>
                    <a:gd name="connsiteY266" fmla="*/ 1600004 h 1702439"/>
                    <a:gd name="connsiteX267" fmla="*/ 223645 w 327734"/>
                    <a:gd name="connsiteY267" fmla="*/ 1614192 h 1702439"/>
                    <a:gd name="connsiteX268" fmla="*/ 212343 w 327734"/>
                    <a:gd name="connsiteY268" fmla="*/ 1614192 h 1702439"/>
                    <a:gd name="connsiteX269" fmla="*/ 206693 w 327734"/>
                    <a:gd name="connsiteY269" fmla="*/ 1607098 h 1702439"/>
                    <a:gd name="connsiteX270" fmla="*/ 187481 w 327734"/>
                    <a:gd name="connsiteY270" fmla="*/ 1619258 h 1702439"/>
                    <a:gd name="connsiteX271" fmla="*/ 179570 w 327734"/>
                    <a:gd name="connsiteY271" fmla="*/ 1617232 h 1702439"/>
                    <a:gd name="connsiteX272" fmla="*/ 181830 w 327734"/>
                    <a:gd name="connsiteY272" fmla="*/ 1610138 h 1702439"/>
                    <a:gd name="connsiteX273" fmla="*/ 176179 w 327734"/>
                    <a:gd name="connsiteY273" fmla="*/ 1603044 h 1702439"/>
                    <a:gd name="connsiteX274" fmla="*/ 176179 w 327734"/>
                    <a:gd name="connsiteY274" fmla="*/ 1585817 h 1702439"/>
                    <a:gd name="connsiteX275" fmla="*/ 164878 w 327734"/>
                    <a:gd name="connsiteY275" fmla="*/ 1583791 h 1702439"/>
                    <a:gd name="connsiteX276" fmla="*/ 159228 w 327734"/>
                    <a:gd name="connsiteY276" fmla="*/ 1601017 h 1702439"/>
                    <a:gd name="connsiteX277" fmla="*/ 156968 w 327734"/>
                    <a:gd name="connsiteY277" fmla="*/ 1595951 h 1702439"/>
                    <a:gd name="connsiteX278" fmla="*/ 145666 w 327734"/>
                    <a:gd name="connsiteY278" fmla="*/ 1597977 h 1702439"/>
                    <a:gd name="connsiteX279" fmla="*/ 145666 w 327734"/>
                    <a:gd name="connsiteY279" fmla="*/ 1587844 h 1702439"/>
                    <a:gd name="connsiteX280" fmla="*/ 132105 w 327734"/>
                    <a:gd name="connsiteY280" fmla="*/ 1587844 h 1702439"/>
                    <a:gd name="connsiteX281" fmla="*/ 153577 w 327734"/>
                    <a:gd name="connsiteY281" fmla="*/ 1610138 h 1702439"/>
                    <a:gd name="connsiteX282" fmla="*/ 161488 w 327734"/>
                    <a:gd name="connsiteY282" fmla="*/ 1603044 h 1702439"/>
                    <a:gd name="connsiteX283" fmla="*/ 163748 w 327734"/>
                    <a:gd name="connsiteY283" fmla="*/ 1615205 h 1702439"/>
                    <a:gd name="connsiteX284" fmla="*/ 128715 w 327734"/>
                    <a:gd name="connsiteY284" fmla="*/ 1620271 h 1702439"/>
                    <a:gd name="connsiteX285" fmla="*/ 126454 w 327734"/>
                    <a:gd name="connsiteY285" fmla="*/ 1622298 h 1702439"/>
                    <a:gd name="connsiteX286" fmla="*/ 126454 w 327734"/>
                    <a:gd name="connsiteY286" fmla="*/ 1629392 h 1702439"/>
                    <a:gd name="connsiteX287" fmla="*/ 134365 w 327734"/>
                    <a:gd name="connsiteY287" fmla="*/ 1631418 h 1702439"/>
                    <a:gd name="connsiteX288" fmla="*/ 145666 w 327734"/>
                    <a:gd name="connsiteY288" fmla="*/ 1624325 h 1702439"/>
                    <a:gd name="connsiteX289" fmla="*/ 145666 w 327734"/>
                    <a:gd name="connsiteY289" fmla="*/ 1629392 h 1702439"/>
                    <a:gd name="connsiteX290" fmla="*/ 167139 w 327734"/>
                    <a:gd name="connsiteY290" fmla="*/ 1629392 h 1702439"/>
                    <a:gd name="connsiteX291" fmla="*/ 167139 w 327734"/>
                    <a:gd name="connsiteY291" fmla="*/ 1636485 h 1702439"/>
                    <a:gd name="connsiteX292" fmla="*/ 188611 w 327734"/>
                    <a:gd name="connsiteY292" fmla="*/ 1634459 h 1702439"/>
                    <a:gd name="connsiteX293" fmla="*/ 190871 w 327734"/>
                    <a:gd name="connsiteY293" fmla="*/ 1641552 h 1702439"/>
                    <a:gd name="connsiteX294" fmla="*/ 193131 w 327734"/>
                    <a:gd name="connsiteY294" fmla="*/ 1646618 h 1702439"/>
                    <a:gd name="connsiteX295" fmla="*/ 220254 w 327734"/>
                    <a:gd name="connsiteY295" fmla="*/ 1646618 h 1702439"/>
                    <a:gd name="connsiteX296" fmla="*/ 222514 w 327734"/>
                    <a:gd name="connsiteY296" fmla="*/ 1641552 h 1702439"/>
                    <a:gd name="connsiteX297" fmla="*/ 257548 w 327734"/>
                    <a:gd name="connsiteY297" fmla="*/ 1634459 h 1702439"/>
                    <a:gd name="connsiteX298" fmla="*/ 259808 w 327734"/>
                    <a:gd name="connsiteY298" fmla="*/ 1648645 h 1702439"/>
                    <a:gd name="connsiteX299" fmla="*/ 273370 w 327734"/>
                    <a:gd name="connsiteY299" fmla="*/ 1653712 h 1702439"/>
                    <a:gd name="connsiteX300" fmla="*/ 273370 w 327734"/>
                    <a:gd name="connsiteY300" fmla="*/ 1663846 h 1702439"/>
                    <a:gd name="connsiteX301" fmla="*/ 295972 w 327734"/>
                    <a:gd name="connsiteY301" fmla="*/ 1636485 h 1702439"/>
                    <a:gd name="connsiteX302" fmla="*/ 297102 w 327734"/>
                    <a:gd name="connsiteY302" fmla="*/ 1638512 h 1702439"/>
                    <a:gd name="connsiteX303" fmla="*/ 297102 w 327734"/>
                    <a:gd name="connsiteY303" fmla="*/ 1638512 h 1702439"/>
                    <a:gd name="connsiteX304" fmla="*/ 37175 w 327734"/>
                    <a:gd name="connsiteY304" fmla="*/ 1252423 h 1702439"/>
                    <a:gd name="connsiteX305" fmla="*/ 34914 w 327734"/>
                    <a:gd name="connsiteY305" fmla="*/ 1257490 h 1702439"/>
                    <a:gd name="connsiteX306" fmla="*/ 37175 w 327734"/>
                    <a:gd name="connsiteY306" fmla="*/ 1252423 h 1702439"/>
                    <a:gd name="connsiteX307" fmla="*/ 275630 w 327734"/>
                    <a:gd name="connsiteY307" fmla="*/ 1690193 h 1702439"/>
                    <a:gd name="connsiteX308" fmla="*/ 273370 w 327734"/>
                    <a:gd name="connsiteY308" fmla="*/ 1695260 h 1702439"/>
                    <a:gd name="connsiteX309" fmla="*/ 275630 w 327734"/>
                    <a:gd name="connsiteY309" fmla="*/ 1690193 h 1702439"/>
                    <a:gd name="connsiteX310" fmla="*/ 281281 w 327734"/>
                    <a:gd name="connsiteY310" fmla="*/ 1678033 h 1702439"/>
                    <a:gd name="connsiteX311" fmla="*/ 283541 w 327734"/>
                    <a:gd name="connsiteY311" fmla="*/ 1685127 h 1702439"/>
                    <a:gd name="connsiteX312" fmla="*/ 281281 w 327734"/>
                    <a:gd name="connsiteY312" fmla="*/ 1678033 h 1702439"/>
                    <a:gd name="connsiteX313" fmla="*/ 248507 w 327734"/>
                    <a:gd name="connsiteY313" fmla="*/ 1667899 h 1702439"/>
                    <a:gd name="connsiteX314" fmla="*/ 254158 w 327734"/>
                    <a:gd name="connsiteY314" fmla="*/ 1682086 h 1702439"/>
                    <a:gd name="connsiteX315" fmla="*/ 265459 w 327734"/>
                    <a:gd name="connsiteY315" fmla="*/ 1684113 h 1702439"/>
                    <a:gd name="connsiteX316" fmla="*/ 263199 w 327734"/>
                    <a:gd name="connsiteY316" fmla="*/ 1669926 h 1702439"/>
                    <a:gd name="connsiteX317" fmla="*/ 248507 w 327734"/>
                    <a:gd name="connsiteY317" fmla="*/ 1667899 h 1702439"/>
                    <a:gd name="connsiteX318" fmla="*/ 245117 w 327734"/>
                    <a:gd name="connsiteY318" fmla="*/ 1643579 h 1702439"/>
                    <a:gd name="connsiteX319" fmla="*/ 220254 w 327734"/>
                    <a:gd name="connsiteY319" fmla="*/ 1653712 h 1702439"/>
                    <a:gd name="connsiteX320" fmla="*/ 198782 w 327734"/>
                    <a:gd name="connsiteY320" fmla="*/ 1653712 h 1702439"/>
                    <a:gd name="connsiteX321" fmla="*/ 193131 w 327734"/>
                    <a:gd name="connsiteY321" fmla="*/ 1658779 h 1702439"/>
                    <a:gd name="connsiteX322" fmla="*/ 195392 w 327734"/>
                    <a:gd name="connsiteY322" fmla="*/ 1665873 h 1702439"/>
                    <a:gd name="connsiteX323" fmla="*/ 220254 w 327734"/>
                    <a:gd name="connsiteY323" fmla="*/ 1670939 h 1702439"/>
                    <a:gd name="connsiteX324" fmla="*/ 222514 w 327734"/>
                    <a:gd name="connsiteY324" fmla="*/ 1676006 h 1702439"/>
                    <a:gd name="connsiteX325" fmla="*/ 230425 w 327734"/>
                    <a:gd name="connsiteY325" fmla="*/ 1673979 h 1702439"/>
                    <a:gd name="connsiteX326" fmla="*/ 228165 w 327734"/>
                    <a:gd name="connsiteY326" fmla="*/ 1668912 h 1702439"/>
                    <a:gd name="connsiteX327" fmla="*/ 228165 w 327734"/>
                    <a:gd name="connsiteY327" fmla="*/ 1663846 h 1702439"/>
                    <a:gd name="connsiteX328" fmla="*/ 257548 w 327734"/>
                    <a:gd name="connsiteY328" fmla="*/ 1663846 h 1702439"/>
                    <a:gd name="connsiteX329" fmla="*/ 255288 w 327734"/>
                    <a:gd name="connsiteY329" fmla="*/ 1656752 h 1702439"/>
                    <a:gd name="connsiteX330" fmla="*/ 245117 w 327734"/>
                    <a:gd name="connsiteY330" fmla="*/ 1643579 h 1702439"/>
                    <a:gd name="connsiteX331" fmla="*/ 167139 w 327734"/>
                    <a:gd name="connsiteY331" fmla="*/ 1643579 h 1702439"/>
                    <a:gd name="connsiteX332" fmla="*/ 161488 w 327734"/>
                    <a:gd name="connsiteY332" fmla="*/ 1645605 h 1702439"/>
                    <a:gd name="connsiteX333" fmla="*/ 161488 w 327734"/>
                    <a:gd name="connsiteY333" fmla="*/ 1652699 h 1702439"/>
                    <a:gd name="connsiteX334" fmla="*/ 177310 w 327734"/>
                    <a:gd name="connsiteY334" fmla="*/ 1654726 h 1702439"/>
                    <a:gd name="connsiteX335" fmla="*/ 177310 w 327734"/>
                    <a:gd name="connsiteY335" fmla="*/ 1647632 h 1702439"/>
                    <a:gd name="connsiteX336" fmla="*/ 185221 w 327734"/>
                    <a:gd name="connsiteY336" fmla="*/ 1642565 h 1702439"/>
                    <a:gd name="connsiteX337" fmla="*/ 167139 w 327734"/>
                    <a:gd name="connsiteY337" fmla="*/ 1643579 h 1702439"/>
                    <a:gd name="connsiteX338" fmla="*/ 150187 w 327734"/>
                    <a:gd name="connsiteY338" fmla="*/ 1636485 h 1702439"/>
                    <a:gd name="connsiteX339" fmla="*/ 147926 w 327734"/>
                    <a:gd name="connsiteY339" fmla="*/ 1638512 h 1702439"/>
                    <a:gd name="connsiteX340" fmla="*/ 155837 w 327734"/>
                    <a:gd name="connsiteY340" fmla="*/ 1638512 h 1702439"/>
                    <a:gd name="connsiteX341" fmla="*/ 150187 w 327734"/>
                    <a:gd name="connsiteY341" fmla="*/ 1636485 h 1702439"/>
                    <a:gd name="connsiteX342" fmla="*/ 120804 w 327734"/>
                    <a:gd name="connsiteY342" fmla="*/ 1539203 h 1702439"/>
                    <a:gd name="connsiteX343" fmla="*/ 120804 w 327734"/>
                    <a:gd name="connsiteY343" fmla="*/ 1553390 h 1702439"/>
                    <a:gd name="connsiteX344" fmla="*/ 120804 w 327734"/>
                    <a:gd name="connsiteY344" fmla="*/ 1539203 h 1702439"/>
                    <a:gd name="connsiteX345" fmla="*/ 153577 w 327734"/>
                    <a:gd name="connsiteY345" fmla="*/ 1537176 h 1702439"/>
                    <a:gd name="connsiteX346" fmla="*/ 161488 w 327734"/>
                    <a:gd name="connsiteY346" fmla="*/ 1542243 h 1702439"/>
                    <a:gd name="connsiteX347" fmla="*/ 161488 w 327734"/>
                    <a:gd name="connsiteY347" fmla="*/ 1549336 h 1702439"/>
                    <a:gd name="connsiteX348" fmla="*/ 147926 w 327734"/>
                    <a:gd name="connsiteY348" fmla="*/ 1561497 h 1702439"/>
                    <a:gd name="connsiteX349" fmla="*/ 153577 w 327734"/>
                    <a:gd name="connsiteY349" fmla="*/ 1537176 h 1702439"/>
                    <a:gd name="connsiteX350" fmla="*/ 134365 w 327734"/>
                    <a:gd name="connsiteY350" fmla="*/ 1529069 h 1702439"/>
                    <a:gd name="connsiteX351" fmla="*/ 140016 w 327734"/>
                    <a:gd name="connsiteY351" fmla="*/ 1534136 h 1702439"/>
                    <a:gd name="connsiteX352" fmla="*/ 134365 w 327734"/>
                    <a:gd name="connsiteY352" fmla="*/ 1529069 h 1702439"/>
                    <a:gd name="connsiteX353" fmla="*/ 33785 w 327734"/>
                    <a:gd name="connsiteY353" fmla="*/ 1441921 h 1702439"/>
                    <a:gd name="connsiteX354" fmla="*/ 33785 w 327734"/>
                    <a:gd name="connsiteY354" fmla="*/ 1454081 h 1702439"/>
                    <a:gd name="connsiteX355" fmla="*/ 25874 w 327734"/>
                    <a:gd name="connsiteY355" fmla="*/ 1464214 h 1702439"/>
                    <a:gd name="connsiteX356" fmla="*/ 28134 w 327734"/>
                    <a:gd name="connsiteY356" fmla="*/ 1471308 h 1702439"/>
                    <a:gd name="connsiteX357" fmla="*/ 28134 w 327734"/>
                    <a:gd name="connsiteY357" fmla="*/ 1485495 h 1702439"/>
                    <a:gd name="connsiteX358" fmla="*/ 39435 w 327734"/>
                    <a:gd name="connsiteY358" fmla="*/ 1485495 h 1702439"/>
                    <a:gd name="connsiteX359" fmla="*/ 39435 w 327734"/>
                    <a:gd name="connsiteY359" fmla="*/ 1480428 h 1702439"/>
                    <a:gd name="connsiteX360" fmla="*/ 50736 w 327734"/>
                    <a:gd name="connsiteY360" fmla="*/ 1480428 h 1702439"/>
                    <a:gd name="connsiteX361" fmla="*/ 48476 w 327734"/>
                    <a:gd name="connsiteY361" fmla="*/ 1473335 h 1702439"/>
                    <a:gd name="connsiteX362" fmla="*/ 48476 w 327734"/>
                    <a:gd name="connsiteY362" fmla="*/ 1466241 h 1702439"/>
                    <a:gd name="connsiteX363" fmla="*/ 54127 w 327734"/>
                    <a:gd name="connsiteY363" fmla="*/ 1466241 h 1702439"/>
                    <a:gd name="connsiteX364" fmla="*/ 56387 w 327734"/>
                    <a:gd name="connsiteY364" fmla="*/ 1473335 h 1702439"/>
                    <a:gd name="connsiteX365" fmla="*/ 58647 w 327734"/>
                    <a:gd name="connsiteY365" fmla="*/ 1456108 h 1702439"/>
                    <a:gd name="connsiteX366" fmla="*/ 52996 w 327734"/>
                    <a:gd name="connsiteY366" fmla="*/ 1456108 h 1702439"/>
                    <a:gd name="connsiteX367" fmla="*/ 41695 w 327734"/>
                    <a:gd name="connsiteY367" fmla="*/ 1441921 h 1702439"/>
                    <a:gd name="connsiteX368" fmla="*/ 33785 w 327734"/>
                    <a:gd name="connsiteY368" fmla="*/ 1441921 h 1702439"/>
                    <a:gd name="connsiteX369" fmla="*/ 17963 w 327734"/>
                    <a:gd name="connsiteY369" fmla="*/ 1439894 h 1702439"/>
                    <a:gd name="connsiteX370" fmla="*/ 12312 w 327734"/>
                    <a:gd name="connsiteY370" fmla="*/ 1446988 h 1702439"/>
                    <a:gd name="connsiteX371" fmla="*/ 23613 w 327734"/>
                    <a:gd name="connsiteY371" fmla="*/ 1446988 h 1702439"/>
                    <a:gd name="connsiteX372" fmla="*/ 17963 w 327734"/>
                    <a:gd name="connsiteY372" fmla="*/ 1439894 h 1702439"/>
                    <a:gd name="connsiteX373" fmla="*/ 47346 w 327734"/>
                    <a:gd name="connsiteY373" fmla="*/ 1431787 h 1702439"/>
                    <a:gd name="connsiteX374" fmla="*/ 47346 w 327734"/>
                    <a:gd name="connsiteY374" fmla="*/ 1438880 h 1702439"/>
                    <a:gd name="connsiteX375" fmla="*/ 63167 w 327734"/>
                    <a:gd name="connsiteY375" fmla="*/ 1443947 h 1702439"/>
                    <a:gd name="connsiteX376" fmla="*/ 47346 w 327734"/>
                    <a:gd name="connsiteY376" fmla="*/ 1431787 h 1702439"/>
                    <a:gd name="connsiteX377" fmla="*/ 25874 w 327734"/>
                    <a:gd name="connsiteY377" fmla="*/ 1415573 h 1702439"/>
                    <a:gd name="connsiteX378" fmla="*/ 14572 w 327734"/>
                    <a:gd name="connsiteY378" fmla="*/ 1425707 h 1702439"/>
                    <a:gd name="connsiteX379" fmla="*/ 14572 w 327734"/>
                    <a:gd name="connsiteY379" fmla="*/ 1432800 h 1702439"/>
                    <a:gd name="connsiteX380" fmla="*/ 20223 w 327734"/>
                    <a:gd name="connsiteY380" fmla="*/ 1432800 h 1702439"/>
                    <a:gd name="connsiteX381" fmla="*/ 22483 w 327734"/>
                    <a:gd name="connsiteY381" fmla="*/ 1433814 h 1702439"/>
                    <a:gd name="connsiteX382" fmla="*/ 28134 w 327734"/>
                    <a:gd name="connsiteY382" fmla="*/ 1435840 h 1702439"/>
                    <a:gd name="connsiteX383" fmla="*/ 39435 w 327734"/>
                    <a:gd name="connsiteY383" fmla="*/ 1423680 h 1702439"/>
                    <a:gd name="connsiteX384" fmla="*/ 25874 w 327734"/>
                    <a:gd name="connsiteY384" fmla="*/ 1415573 h 1702439"/>
                    <a:gd name="connsiteX385" fmla="*/ 25874 w 327734"/>
                    <a:gd name="connsiteY385" fmla="*/ 1318291 h 1702439"/>
                    <a:gd name="connsiteX386" fmla="*/ 23613 w 327734"/>
                    <a:gd name="connsiteY386" fmla="*/ 1335518 h 1702439"/>
                    <a:gd name="connsiteX387" fmla="*/ 21353 w 327734"/>
                    <a:gd name="connsiteY387" fmla="*/ 1330452 h 1702439"/>
                    <a:gd name="connsiteX388" fmla="*/ 15703 w 327734"/>
                    <a:gd name="connsiteY388" fmla="*/ 1335518 h 1702439"/>
                    <a:gd name="connsiteX389" fmla="*/ 10052 w 327734"/>
                    <a:gd name="connsiteY389" fmla="*/ 1347678 h 1702439"/>
                    <a:gd name="connsiteX390" fmla="*/ 15703 w 327734"/>
                    <a:gd name="connsiteY390" fmla="*/ 1361865 h 1702439"/>
                    <a:gd name="connsiteX391" fmla="*/ 17963 w 327734"/>
                    <a:gd name="connsiteY391" fmla="*/ 1359839 h 1702439"/>
                    <a:gd name="connsiteX392" fmla="*/ 15703 w 327734"/>
                    <a:gd name="connsiteY392" fmla="*/ 1369972 h 1702439"/>
                    <a:gd name="connsiteX393" fmla="*/ 15703 w 327734"/>
                    <a:gd name="connsiteY393" fmla="*/ 1375039 h 1702439"/>
                    <a:gd name="connsiteX394" fmla="*/ 23613 w 327734"/>
                    <a:gd name="connsiteY394" fmla="*/ 1380106 h 1702439"/>
                    <a:gd name="connsiteX395" fmla="*/ 15703 w 327734"/>
                    <a:gd name="connsiteY395" fmla="*/ 1390239 h 1702439"/>
                    <a:gd name="connsiteX396" fmla="*/ 13442 w 327734"/>
                    <a:gd name="connsiteY396" fmla="*/ 1390239 h 1702439"/>
                    <a:gd name="connsiteX397" fmla="*/ 24743 w 327734"/>
                    <a:gd name="connsiteY397" fmla="*/ 1414560 h 1702439"/>
                    <a:gd name="connsiteX398" fmla="*/ 30394 w 327734"/>
                    <a:gd name="connsiteY398" fmla="*/ 1412533 h 1702439"/>
                    <a:gd name="connsiteX399" fmla="*/ 36045 w 327734"/>
                    <a:gd name="connsiteY399" fmla="*/ 1410506 h 1702439"/>
                    <a:gd name="connsiteX400" fmla="*/ 41695 w 327734"/>
                    <a:gd name="connsiteY400" fmla="*/ 1417600 h 1702439"/>
                    <a:gd name="connsiteX401" fmla="*/ 49606 w 327734"/>
                    <a:gd name="connsiteY401" fmla="*/ 1415573 h 1702439"/>
                    <a:gd name="connsiteX402" fmla="*/ 57517 w 327734"/>
                    <a:gd name="connsiteY402" fmla="*/ 1384159 h 1702439"/>
                    <a:gd name="connsiteX403" fmla="*/ 46216 w 327734"/>
                    <a:gd name="connsiteY403" fmla="*/ 1321331 h 1702439"/>
                    <a:gd name="connsiteX404" fmla="*/ 25874 w 327734"/>
                    <a:gd name="connsiteY404" fmla="*/ 1318291 h 1702439"/>
                    <a:gd name="connsiteX405" fmla="*/ 72209 w 327734"/>
                    <a:gd name="connsiteY405" fmla="*/ 1174394 h 1702439"/>
                    <a:gd name="connsiteX406" fmla="*/ 66558 w 327734"/>
                    <a:gd name="connsiteY406" fmla="*/ 1181488 h 1702439"/>
                    <a:gd name="connsiteX407" fmla="*/ 58647 w 327734"/>
                    <a:gd name="connsiteY407" fmla="*/ 1179461 h 1702439"/>
                    <a:gd name="connsiteX408" fmla="*/ 50736 w 327734"/>
                    <a:gd name="connsiteY408" fmla="*/ 1186555 h 1702439"/>
                    <a:gd name="connsiteX409" fmla="*/ 52996 w 327734"/>
                    <a:gd name="connsiteY409" fmla="*/ 1198715 h 1702439"/>
                    <a:gd name="connsiteX410" fmla="*/ 64298 w 327734"/>
                    <a:gd name="connsiteY410" fmla="*/ 1205808 h 1702439"/>
                    <a:gd name="connsiteX411" fmla="*/ 48476 w 327734"/>
                    <a:gd name="connsiteY411" fmla="*/ 1210875 h 1702439"/>
                    <a:gd name="connsiteX412" fmla="*/ 48476 w 327734"/>
                    <a:gd name="connsiteY412" fmla="*/ 1217969 h 1702439"/>
                    <a:gd name="connsiteX413" fmla="*/ 54127 w 327734"/>
                    <a:gd name="connsiteY413" fmla="*/ 1219996 h 1702439"/>
                    <a:gd name="connsiteX414" fmla="*/ 59777 w 327734"/>
                    <a:gd name="connsiteY414" fmla="*/ 1212902 h 1702439"/>
                    <a:gd name="connsiteX415" fmla="*/ 84640 w 327734"/>
                    <a:gd name="connsiteY415" fmla="*/ 1207835 h 1702439"/>
                    <a:gd name="connsiteX416" fmla="*/ 84640 w 327734"/>
                    <a:gd name="connsiteY416" fmla="*/ 1202768 h 1702439"/>
                    <a:gd name="connsiteX417" fmla="*/ 68818 w 327734"/>
                    <a:gd name="connsiteY417" fmla="*/ 1200742 h 1702439"/>
                    <a:gd name="connsiteX418" fmla="*/ 68818 w 327734"/>
                    <a:gd name="connsiteY418" fmla="*/ 1193649 h 1702439"/>
                    <a:gd name="connsiteX419" fmla="*/ 82380 w 327734"/>
                    <a:gd name="connsiteY419" fmla="*/ 1191622 h 1702439"/>
                    <a:gd name="connsiteX420" fmla="*/ 80119 w 327734"/>
                    <a:gd name="connsiteY420" fmla="*/ 1174394 h 1702439"/>
                    <a:gd name="connsiteX421" fmla="*/ 72209 w 327734"/>
                    <a:gd name="connsiteY421" fmla="*/ 1174394 h 1702439"/>
                    <a:gd name="connsiteX422" fmla="*/ 72209 w 327734"/>
                    <a:gd name="connsiteY422" fmla="*/ 1162234 h 1702439"/>
                    <a:gd name="connsiteX423" fmla="*/ 74469 w 327734"/>
                    <a:gd name="connsiteY423" fmla="*/ 1167301 h 1702439"/>
                    <a:gd name="connsiteX424" fmla="*/ 72209 w 327734"/>
                    <a:gd name="connsiteY424" fmla="*/ 1162234 h 1702439"/>
                    <a:gd name="connsiteX425" fmla="*/ 64298 w 327734"/>
                    <a:gd name="connsiteY425" fmla="*/ 1150074 h 1702439"/>
                    <a:gd name="connsiteX426" fmla="*/ 62038 w 327734"/>
                    <a:gd name="connsiteY426" fmla="*/ 1157167 h 1702439"/>
                    <a:gd name="connsiteX427" fmla="*/ 69948 w 327734"/>
                    <a:gd name="connsiteY427" fmla="*/ 1159194 h 1702439"/>
                    <a:gd name="connsiteX428" fmla="*/ 64298 w 327734"/>
                    <a:gd name="connsiteY428" fmla="*/ 1150074 h 1702439"/>
                    <a:gd name="connsiteX429" fmla="*/ 64298 w 327734"/>
                    <a:gd name="connsiteY429" fmla="*/ 1135887 h 1702439"/>
                    <a:gd name="connsiteX430" fmla="*/ 62038 w 327734"/>
                    <a:gd name="connsiteY430" fmla="*/ 1146021 h 1702439"/>
                    <a:gd name="connsiteX431" fmla="*/ 67688 w 327734"/>
                    <a:gd name="connsiteY431" fmla="*/ 1148047 h 1702439"/>
                    <a:gd name="connsiteX432" fmla="*/ 64298 w 327734"/>
                    <a:gd name="connsiteY432" fmla="*/ 1135887 h 1702439"/>
                    <a:gd name="connsiteX433" fmla="*/ 88030 w 327734"/>
                    <a:gd name="connsiteY433" fmla="*/ 1030498 h 1702439"/>
                    <a:gd name="connsiteX434" fmla="*/ 82380 w 327734"/>
                    <a:gd name="connsiteY434" fmla="*/ 1035564 h 1702439"/>
                    <a:gd name="connsiteX435" fmla="*/ 71078 w 327734"/>
                    <a:gd name="connsiteY435" fmla="*/ 1033538 h 1702439"/>
                    <a:gd name="connsiteX436" fmla="*/ 65428 w 327734"/>
                    <a:gd name="connsiteY436" fmla="*/ 1101433 h 1702439"/>
                    <a:gd name="connsiteX437" fmla="*/ 71078 w 327734"/>
                    <a:gd name="connsiteY437" fmla="*/ 1103460 h 1702439"/>
                    <a:gd name="connsiteX438" fmla="*/ 82380 w 327734"/>
                    <a:gd name="connsiteY438" fmla="*/ 1103460 h 1702439"/>
                    <a:gd name="connsiteX439" fmla="*/ 90291 w 327734"/>
                    <a:gd name="connsiteY439" fmla="*/ 1096366 h 1702439"/>
                    <a:gd name="connsiteX440" fmla="*/ 90291 w 327734"/>
                    <a:gd name="connsiteY440" fmla="*/ 1086232 h 1702439"/>
                    <a:gd name="connsiteX441" fmla="*/ 95941 w 327734"/>
                    <a:gd name="connsiteY441" fmla="*/ 1086232 h 1702439"/>
                    <a:gd name="connsiteX442" fmla="*/ 98201 w 327734"/>
                    <a:gd name="connsiteY442" fmla="*/ 1066979 h 1702439"/>
                    <a:gd name="connsiteX443" fmla="*/ 84640 w 327734"/>
                    <a:gd name="connsiteY443" fmla="*/ 1064952 h 1702439"/>
                    <a:gd name="connsiteX444" fmla="*/ 90291 w 327734"/>
                    <a:gd name="connsiteY444" fmla="*/ 1050765 h 1702439"/>
                    <a:gd name="connsiteX445" fmla="*/ 95941 w 327734"/>
                    <a:gd name="connsiteY445" fmla="*/ 1050765 h 1702439"/>
                    <a:gd name="connsiteX446" fmla="*/ 95941 w 327734"/>
                    <a:gd name="connsiteY446" fmla="*/ 1033538 h 1702439"/>
                    <a:gd name="connsiteX447" fmla="*/ 88030 w 327734"/>
                    <a:gd name="connsiteY447" fmla="*/ 1030498 h 170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27734" h="1702439">
                      <a:moveTo>
                        <a:pt x="300493" y="193465"/>
                      </a:moveTo>
                      <a:lnTo>
                        <a:pt x="280151" y="184345"/>
                      </a:lnTo>
                      <a:lnTo>
                        <a:pt x="275630" y="155971"/>
                      </a:lnTo>
                      <a:cubicBezTo>
                        <a:pt x="275630" y="155971"/>
                        <a:pt x="279020" y="130637"/>
                        <a:pt x="272240" y="124557"/>
                      </a:cubicBezTo>
                      <a:cubicBezTo>
                        <a:pt x="265459" y="118477"/>
                        <a:pt x="265459" y="101250"/>
                        <a:pt x="260938" y="93143"/>
                      </a:cubicBezTo>
                      <a:cubicBezTo>
                        <a:pt x="256418" y="85036"/>
                        <a:pt x="254158" y="63755"/>
                        <a:pt x="254158" y="63755"/>
                      </a:cubicBezTo>
                      <a:cubicBezTo>
                        <a:pt x="254158" y="63755"/>
                        <a:pt x="243987" y="49568"/>
                        <a:pt x="236076" y="44502"/>
                      </a:cubicBezTo>
                      <a:cubicBezTo>
                        <a:pt x="227035" y="39435"/>
                        <a:pt x="220254" y="9034"/>
                        <a:pt x="220254" y="9034"/>
                      </a:cubicBezTo>
                      <a:cubicBezTo>
                        <a:pt x="220254" y="9034"/>
                        <a:pt x="215734" y="8021"/>
                        <a:pt x="211213" y="20181"/>
                      </a:cubicBezTo>
                      <a:cubicBezTo>
                        <a:pt x="208953" y="26261"/>
                        <a:pt x="198782" y="28288"/>
                        <a:pt x="198782" y="28288"/>
                      </a:cubicBezTo>
                      <a:cubicBezTo>
                        <a:pt x="202172" y="30315"/>
                        <a:pt x="203303" y="33355"/>
                        <a:pt x="204432" y="35381"/>
                      </a:cubicBezTo>
                      <a:cubicBezTo>
                        <a:pt x="206693" y="39435"/>
                        <a:pt x="203303" y="45515"/>
                        <a:pt x="204432" y="49568"/>
                      </a:cubicBezTo>
                      <a:cubicBezTo>
                        <a:pt x="206693" y="67809"/>
                        <a:pt x="214604" y="88076"/>
                        <a:pt x="212343" y="112397"/>
                      </a:cubicBezTo>
                      <a:cubicBezTo>
                        <a:pt x="211213" y="119490"/>
                        <a:pt x="205563" y="135704"/>
                        <a:pt x="206693" y="143810"/>
                      </a:cubicBezTo>
                      <a:cubicBezTo>
                        <a:pt x="206693" y="147864"/>
                        <a:pt x="214604" y="150904"/>
                        <a:pt x="212343" y="161038"/>
                      </a:cubicBezTo>
                      <a:lnTo>
                        <a:pt x="206693" y="161038"/>
                      </a:lnTo>
                      <a:cubicBezTo>
                        <a:pt x="205563" y="165091"/>
                        <a:pt x="206693" y="168131"/>
                        <a:pt x="204432" y="173198"/>
                      </a:cubicBezTo>
                      <a:lnTo>
                        <a:pt x="202172" y="173198"/>
                      </a:lnTo>
                      <a:cubicBezTo>
                        <a:pt x="197652" y="192452"/>
                        <a:pt x="202172" y="210692"/>
                        <a:pt x="199912" y="228933"/>
                      </a:cubicBezTo>
                      <a:lnTo>
                        <a:pt x="192001" y="230959"/>
                      </a:lnTo>
                      <a:cubicBezTo>
                        <a:pt x="189741" y="244133"/>
                        <a:pt x="197652" y="244133"/>
                        <a:pt x="199912" y="250213"/>
                      </a:cubicBezTo>
                      <a:cubicBezTo>
                        <a:pt x="199912" y="251226"/>
                        <a:pt x="199912" y="257307"/>
                        <a:pt x="199912" y="257307"/>
                      </a:cubicBezTo>
                      <a:cubicBezTo>
                        <a:pt x="194261" y="257307"/>
                        <a:pt x="198782" y="261360"/>
                        <a:pt x="197652" y="264400"/>
                      </a:cubicBezTo>
                      <a:cubicBezTo>
                        <a:pt x="193131" y="277574"/>
                        <a:pt x="185221" y="295814"/>
                        <a:pt x="189741" y="318108"/>
                      </a:cubicBezTo>
                      <a:cubicBezTo>
                        <a:pt x="190871" y="322161"/>
                        <a:pt x="195392" y="326215"/>
                        <a:pt x="195392" y="332295"/>
                      </a:cubicBezTo>
                      <a:cubicBezTo>
                        <a:pt x="195392" y="336348"/>
                        <a:pt x="189741" y="349522"/>
                        <a:pt x="187481" y="358642"/>
                      </a:cubicBezTo>
                      <a:cubicBezTo>
                        <a:pt x="195392" y="358642"/>
                        <a:pt x="187481" y="364722"/>
                        <a:pt x="187481" y="363709"/>
                      </a:cubicBezTo>
                      <a:cubicBezTo>
                        <a:pt x="186351" y="368776"/>
                        <a:pt x="187481" y="377896"/>
                        <a:pt x="187481" y="377896"/>
                      </a:cubicBezTo>
                      <a:cubicBezTo>
                        <a:pt x="187481" y="380936"/>
                        <a:pt x="187481" y="384990"/>
                        <a:pt x="187481" y="388030"/>
                      </a:cubicBezTo>
                      <a:cubicBezTo>
                        <a:pt x="187481" y="389043"/>
                        <a:pt x="185221" y="395123"/>
                        <a:pt x="185221" y="400190"/>
                      </a:cubicBezTo>
                      <a:lnTo>
                        <a:pt x="177310" y="402216"/>
                      </a:lnTo>
                      <a:cubicBezTo>
                        <a:pt x="175050" y="413363"/>
                        <a:pt x="180700" y="416404"/>
                        <a:pt x="179570" y="426537"/>
                      </a:cubicBezTo>
                      <a:cubicBezTo>
                        <a:pt x="179570" y="426537"/>
                        <a:pt x="173919" y="428564"/>
                        <a:pt x="173919" y="428564"/>
                      </a:cubicBezTo>
                      <a:cubicBezTo>
                        <a:pt x="171659" y="433631"/>
                        <a:pt x="175050" y="442751"/>
                        <a:pt x="173919" y="447817"/>
                      </a:cubicBezTo>
                      <a:cubicBezTo>
                        <a:pt x="172789" y="451871"/>
                        <a:pt x="163748" y="465045"/>
                        <a:pt x="162618" y="470111"/>
                      </a:cubicBezTo>
                      <a:cubicBezTo>
                        <a:pt x="160358" y="487339"/>
                        <a:pt x="171659" y="490379"/>
                        <a:pt x="173919" y="501525"/>
                      </a:cubicBezTo>
                      <a:cubicBezTo>
                        <a:pt x="175050" y="508619"/>
                        <a:pt x="173919" y="523819"/>
                        <a:pt x="171659" y="532940"/>
                      </a:cubicBezTo>
                      <a:cubicBezTo>
                        <a:pt x="171659" y="533953"/>
                        <a:pt x="166008" y="534967"/>
                        <a:pt x="166008" y="534967"/>
                      </a:cubicBezTo>
                      <a:cubicBezTo>
                        <a:pt x="162618" y="542060"/>
                        <a:pt x="160358" y="549153"/>
                        <a:pt x="160358" y="557260"/>
                      </a:cubicBezTo>
                      <a:cubicBezTo>
                        <a:pt x="160358" y="563340"/>
                        <a:pt x="170529" y="576514"/>
                        <a:pt x="171659" y="581581"/>
                      </a:cubicBezTo>
                      <a:cubicBezTo>
                        <a:pt x="171659" y="584621"/>
                        <a:pt x="171659" y="629209"/>
                        <a:pt x="169399" y="635289"/>
                      </a:cubicBezTo>
                      <a:lnTo>
                        <a:pt x="155837" y="645422"/>
                      </a:lnTo>
                      <a:cubicBezTo>
                        <a:pt x="155837" y="645422"/>
                        <a:pt x="154707" y="664676"/>
                        <a:pt x="155837" y="659609"/>
                      </a:cubicBezTo>
                      <a:cubicBezTo>
                        <a:pt x="154707" y="663662"/>
                        <a:pt x="160358" y="660622"/>
                        <a:pt x="158098" y="666703"/>
                      </a:cubicBezTo>
                      <a:cubicBezTo>
                        <a:pt x="156968" y="670756"/>
                        <a:pt x="145666" y="677850"/>
                        <a:pt x="144536" y="680890"/>
                      </a:cubicBezTo>
                      <a:cubicBezTo>
                        <a:pt x="142276" y="687983"/>
                        <a:pt x="145666" y="696090"/>
                        <a:pt x="144536" y="703184"/>
                      </a:cubicBezTo>
                      <a:cubicBezTo>
                        <a:pt x="142276" y="713317"/>
                        <a:pt x="126454" y="725478"/>
                        <a:pt x="125324" y="734597"/>
                      </a:cubicBezTo>
                      <a:cubicBezTo>
                        <a:pt x="124194" y="742705"/>
                        <a:pt x="129845" y="744731"/>
                        <a:pt x="130975" y="746758"/>
                      </a:cubicBezTo>
                      <a:cubicBezTo>
                        <a:pt x="132105" y="753851"/>
                        <a:pt x="130975" y="768039"/>
                        <a:pt x="128715" y="776145"/>
                      </a:cubicBezTo>
                      <a:cubicBezTo>
                        <a:pt x="127584" y="778172"/>
                        <a:pt x="118544" y="783239"/>
                        <a:pt x="117413" y="786279"/>
                      </a:cubicBezTo>
                      <a:cubicBezTo>
                        <a:pt x="115153" y="790332"/>
                        <a:pt x="118544" y="794386"/>
                        <a:pt x="117413" y="798439"/>
                      </a:cubicBezTo>
                      <a:cubicBezTo>
                        <a:pt x="112893" y="814653"/>
                        <a:pt x="98201" y="796412"/>
                        <a:pt x="109502" y="829853"/>
                      </a:cubicBezTo>
                      <a:cubicBezTo>
                        <a:pt x="104982" y="830866"/>
                        <a:pt x="100462" y="828840"/>
                        <a:pt x="95941" y="829853"/>
                      </a:cubicBezTo>
                      <a:cubicBezTo>
                        <a:pt x="94811" y="829853"/>
                        <a:pt x="93681" y="833907"/>
                        <a:pt x="90291" y="834920"/>
                      </a:cubicBezTo>
                      <a:cubicBezTo>
                        <a:pt x="91420" y="839987"/>
                        <a:pt x="94811" y="841000"/>
                        <a:pt x="95941" y="845053"/>
                      </a:cubicBezTo>
                      <a:cubicBezTo>
                        <a:pt x="95941" y="845053"/>
                        <a:pt x="91420" y="853160"/>
                        <a:pt x="93681" y="857214"/>
                      </a:cubicBezTo>
                      <a:cubicBezTo>
                        <a:pt x="93681" y="857214"/>
                        <a:pt x="101592" y="862281"/>
                        <a:pt x="101592" y="862281"/>
                      </a:cubicBezTo>
                      <a:cubicBezTo>
                        <a:pt x="102722" y="867347"/>
                        <a:pt x="99331" y="876467"/>
                        <a:pt x="99331" y="876467"/>
                      </a:cubicBezTo>
                      <a:cubicBezTo>
                        <a:pt x="99331" y="876467"/>
                        <a:pt x="95941" y="883561"/>
                        <a:pt x="97071" y="883561"/>
                      </a:cubicBezTo>
                      <a:cubicBezTo>
                        <a:pt x="98201" y="882548"/>
                        <a:pt x="102722" y="888628"/>
                        <a:pt x="102722" y="888628"/>
                      </a:cubicBezTo>
                      <a:cubicBezTo>
                        <a:pt x="103852" y="891668"/>
                        <a:pt x="98201" y="892681"/>
                        <a:pt x="100462" y="893694"/>
                      </a:cubicBezTo>
                      <a:cubicBezTo>
                        <a:pt x="104982" y="895721"/>
                        <a:pt x="109502" y="932202"/>
                        <a:pt x="106112" y="942335"/>
                      </a:cubicBezTo>
                      <a:cubicBezTo>
                        <a:pt x="106112" y="942335"/>
                        <a:pt x="98201" y="942335"/>
                        <a:pt x="98201" y="942335"/>
                      </a:cubicBezTo>
                      <a:cubicBezTo>
                        <a:pt x="97071" y="951456"/>
                        <a:pt x="92551" y="964629"/>
                        <a:pt x="90291" y="971723"/>
                      </a:cubicBezTo>
                      <a:cubicBezTo>
                        <a:pt x="89160" y="973750"/>
                        <a:pt x="84640" y="996044"/>
                        <a:pt x="84640" y="996044"/>
                      </a:cubicBezTo>
                      <a:cubicBezTo>
                        <a:pt x="89160" y="998070"/>
                        <a:pt x="91420" y="1020364"/>
                        <a:pt x="92551" y="1025431"/>
                      </a:cubicBezTo>
                      <a:cubicBezTo>
                        <a:pt x="94811" y="1023404"/>
                        <a:pt x="100462" y="1026445"/>
                        <a:pt x="103852" y="1025431"/>
                      </a:cubicBezTo>
                      <a:cubicBezTo>
                        <a:pt x="104982" y="1024418"/>
                        <a:pt x="104982" y="1017324"/>
                        <a:pt x="106112" y="1015297"/>
                      </a:cubicBezTo>
                      <a:cubicBezTo>
                        <a:pt x="108372" y="1012257"/>
                        <a:pt x="115153" y="1012257"/>
                        <a:pt x="117413" y="1010231"/>
                      </a:cubicBezTo>
                      <a:cubicBezTo>
                        <a:pt x="119673" y="1012257"/>
                        <a:pt x="120804" y="1016311"/>
                        <a:pt x="123064" y="1020364"/>
                      </a:cubicBezTo>
                      <a:lnTo>
                        <a:pt x="128715" y="1020364"/>
                      </a:lnTo>
                      <a:cubicBezTo>
                        <a:pt x="127584" y="1021378"/>
                        <a:pt x="129845" y="1026445"/>
                        <a:pt x="128715" y="1027458"/>
                      </a:cubicBezTo>
                      <a:cubicBezTo>
                        <a:pt x="127584" y="1028471"/>
                        <a:pt x="119673" y="1031511"/>
                        <a:pt x="117413" y="1032524"/>
                      </a:cubicBezTo>
                      <a:cubicBezTo>
                        <a:pt x="119673" y="1047725"/>
                        <a:pt x="118544" y="1065965"/>
                        <a:pt x="119673" y="1081166"/>
                      </a:cubicBezTo>
                      <a:cubicBezTo>
                        <a:pt x="112893" y="1084205"/>
                        <a:pt x="116283" y="1078126"/>
                        <a:pt x="116283" y="1078126"/>
                      </a:cubicBezTo>
                      <a:cubicBezTo>
                        <a:pt x="116283" y="1078126"/>
                        <a:pt x="115153" y="1080152"/>
                        <a:pt x="110633" y="1086232"/>
                      </a:cubicBezTo>
                      <a:cubicBezTo>
                        <a:pt x="110633" y="1086232"/>
                        <a:pt x="101592" y="1093326"/>
                        <a:pt x="104982" y="1096366"/>
                      </a:cubicBezTo>
                      <a:lnTo>
                        <a:pt x="110633" y="1096366"/>
                      </a:lnTo>
                      <a:cubicBezTo>
                        <a:pt x="111763" y="1100420"/>
                        <a:pt x="109502" y="1104473"/>
                        <a:pt x="110633" y="1108526"/>
                      </a:cubicBezTo>
                      <a:cubicBezTo>
                        <a:pt x="110633" y="1109539"/>
                        <a:pt x="117413" y="1115620"/>
                        <a:pt x="118544" y="1118660"/>
                      </a:cubicBezTo>
                      <a:cubicBezTo>
                        <a:pt x="111763" y="1121700"/>
                        <a:pt x="107242" y="1124740"/>
                        <a:pt x="99331" y="1128793"/>
                      </a:cubicBezTo>
                      <a:cubicBezTo>
                        <a:pt x="99331" y="1129807"/>
                        <a:pt x="99331" y="1135887"/>
                        <a:pt x="99331" y="1135887"/>
                      </a:cubicBezTo>
                      <a:cubicBezTo>
                        <a:pt x="104982" y="1138927"/>
                        <a:pt x="103852" y="1136900"/>
                        <a:pt x="107242" y="1142981"/>
                      </a:cubicBezTo>
                      <a:cubicBezTo>
                        <a:pt x="100462" y="1142981"/>
                        <a:pt x="100462" y="1143994"/>
                        <a:pt x="91420" y="1142981"/>
                      </a:cubicBezTo>
                      <a:cubicBezTo>
                        <a:pt x="91420" y="1142981"/>
                        <a:pt x="98201" y="1151087"/>
                        <a:pt x="99331" y="1153114"/>
                      </a:cubicBezTo>
                      <a:lnTo>
                        <a:pt x="91420" y="1155140"/>
                      </a:lnTo>
                      <a:cubicBezTo>
                        <a:pt x="92551" y="1173381"/>
                        <a:pt x="93681" y="1179461"/>
                        <a:pt x="89160" y="1193649"/>
                      </a:cubicBezTo>
                      <a:cubicBezTo>
                        <a:pt x="95941" y="1195675"/>
                        <a:pt x="97071" y="1190608"/>
                        <a:pt x="97071" y="1198715"/>
                      </a:cubicBezTo>
                      <a:lnTo>
                        <a:pt x="91420" y="1203782"/>
                      </a:lnTo>
                      <a:cubicBezTo>
                        <a:pt x="89160" y="1212902"/>
                        <a:pt x="91420" y="1226075"/>
                        <a:pt x="91420" y="1235196"/>
                      </a:cubicBezTo>
                      <a:cubicBezTo>
                        <a:pt x="85770" y="1235196"/>
                        <a:pt x="83510" y="1241276"/>
                        <a:pt x="80119" y="1240263"/>
                      </a:cubicBezTo>
                      <a:lnTo>
                        <a:pt x="80119" y="1238236"/>
                      </a:lnTo>
                      <a:cubicBezTo>
                        <a:pt x="76729" y="1237223"/>
                        <a:pt x="86900" y="1229116"/>
                        <a:pt x="68818" y="1231142"/>
                      </a:cubicBezTo>
                      <a:cubicBezTo>
                        <a:pt x="68818" y="1231142"/>
                        <a:pt x="68818" y="1238236"/>
                        <a:pt x="68818" y="1238236"/>
                      </a:cubicBezTo>
                      <a:cubicBezTo>
                        <a:pt x="64298" y="1237223"/>
                        <a:pt x="52996" y="1239250"/>
                        <a:pt x="60907" y="1236209"/>
                      </a:cubicBezTo>
                      <a:cubicBezTo>
                        <a:pt x="63167" y="1235196"/>
                        <a:pt x="62038" y="1227089"/>
                        <a:pt x="63167" y="1226075"/>
                      </a:cubicBezTo>
                      <a:cubicBezTo>
                        <a:pt x="58647" y="1230129"/>
                        <a:pt x="54127" y="1232156"/>
                        <a:pt x="49606" y="1236209"/>
                      </a:cubicBezTo>
                      <a:cubicBezTo>
                        <a:pt x="48476" y="1235196"/>
                        <a:pt x="51866" y="1227089"/>
                        <a:pt x="51866" y="1224049"/>
                      </a:cubicBezTo>
                      <a:cubicBezTo>
                        <a:pt x="47346" y="1223035"/>
                        <a:pt x="43956" y="1224049"/>
                        <a:pt x="40565" y="1222022"/>
                      </a:cubicBezTo>
                      <a:lnTo>
                        <a:pt x="34914" y="1227089"/>
                      </a:lnTo>
                      <a:cubicBezTo>
                        <a:pt x="20223" y="1231142"/>
                        <a:pt x="25874" y="1231142"/>
                        <a:pt x="32654" y="1241276"/>
                      </a:cubicBezTo>
                      <a:cubicBezTo>
                        <a:pt x="29264" y="1245329"/>
                        <a:pt x="22483" y="1249383"/>
                        <a:pt x="19093" y="1253436"/>
                      </a:cubicBezTo>
                      <a:cubicBezTo>
                        <a:pt x="20223" y="1254450"/>
                        <a:pt x="19093" y="1263570"/>
                        <a:pt x="19093" y="1265597"/>
                      </a:cubicBezTo>
                      <a:lnTo>
                        <a:pt x="24743" y="1265597"/>
                      </a:lnTo>
                      <a:cubicBezTo>
                        <a:pt x="25874" y="1264583"/>
                        <a:pt x="17963" y="1249383"/>
                        <a:pt x="36045" y="1255463"/>
                      </a:cubicBezTo>
                      <a:lnTo>
                        <a:pt x="36045" y="1257490"/>
                      </a:lnTo>
                      <a:lnTo>
                        <a:pt x="31524" y="1257490"/>
                      </a:lnTo>
                      <a:cubicBezTo>
                        <a:pt x="31524" y="1257490"/>
                        <a:pt x="31524" y="1264583"/>
                        <a:pt x="31524" y="1264583"/>
                      </a:cubicBezTo>
                      <a:cubicBezTo>
                        <a:pt x="33785" y="1264583"/>
                        <a:pt x="43956" y="1266610"/>
                        <a:pt x="50736" y="1266610"/>
                      </a:cubicBezTo>
                      <a:cubicBezTo>
                        <a:pt x="50736" y="1266610"/>
                        <a:pt x="50736" y="1259517"/>
                        <a:pt x="50736" y="1259517"/>
                      </a:cubicBezTo>
                      <a:cubicBezTo>
                        <a:pt x="54127" y="1257490"/>
                        <a:pt x="60907" y="1261543"/>
                        <a:pt x="64298" y="1259517"/>
                      </a:cubicBezTo>
                      <a:cubicBezTo>
                        <a:pt x="72209" y="1274717"/>
                        <a:pt x="76729" y="1279784"/>
                        <a:pt x="66558" y="1295997"/>
                      </a:cubicBezTo>
                      <a:cubicBezTo>
                        <a:pt x="71078" y="1297010"/>
                        <a:pt x="71078" y="1297010"/>
                        <a:pt x="74469" y="1298024"/>
                      </a:cubicBezTo>
                      <a:cubicBezTo>
                        <a:pt x="73339" y="1300051"/>
                        <a:pt x="69948" y="1301064"/>
                        <a:pt x="72209" y="1305118"/>
                      </a:cubicBezTo>
                      <a:cubicBezTo>
                        <a:pt x="63167" y="1302077"/>
                        <a:pt x="64298" y="1303091"/>
                        <a:pt x="58647" y="1303091"/>
                      </a:cubicBezTo>
                      <a:cubicBezTo>
                        <a:pt x="59777" y="1312211"/>
                        <a:pt x="57517" y="1327411"/>
                        <a:pt x="60907" y="1339572"/>
                      </a:cubicBezTo>
                      <a:cubicBezTo>
                        <a:pt x="60907" y="1340585"/>
                        <a:pt x="66558" y="1344638"/>
                        <a:pt x="66558" y="1346665"/>
                      </a:cubicBezTo>
                      <a:lnTo>
                        <a:pt x="60907" y="1346665"/>
                      </a:lnTo>
                      <a:cubicBezTo>
                        <a:pt x="59777" y="1356799"/>
                        <a:pt x="58647" y="1365919"/>
                        <a:pt x="58647" y="1378079"/>
                      </a:cubicBezTo>
                      <a:cubicBezTo>
                        <a:pt x="59777" y="1377066"/>
                        <a:pt x="64298" y="1379093"/>
                        <a:pt x="66558" y="1378079"/>
                      </a:cubicBezTo>
                      <a:cubicBezTo>
                        <a:pt x="67688" y="1378079"/>
                        <a:pt x="66558" y="1371999"/>
                        <a:pt x="66558" y="1370986"/>
                      </a:cubicBezTo>
                      <a:cubicBezTo>
                        <a:pt x="67688" y="1370986"/>
                        <a:pt x="73339" y="1368959"/>
                        <a:pt x="74469" y="1368959"/>
                      </a:cubicBezTo>
                      <a:cubicBezTo>
                        <a:pt x="74469" y="1368959"/>
                        <a:pt x="73339" y="1377066"/>
                        <a:pt x="72209" y="1381120"/>
                      </a:cubicBezTo>
                      <a:lnTo>
                        <a:pt x="72209" y="1386186"/>
                      </a:lnTo>
                      <a:cubicBezTo>
                        <a:pt x="68818" y="1389226"/>
                        <a:pt x="60907" y="1386186"/>
                        <a:pt x="58647" y="1391253"/>
                      </a:cubicBezTo>
                      <a:cubicBezTo>
                        <a:pt x="56387" y="1394293"/>
                        <a:pt x="59777" y="1399360"/>
                        <a:pt x="58647" y="1403413"/>
                      </a:cubicBezTo>
                      <a:cubicBezTo>
                        <a:pt x="57517" y="1405440"/>
                        <a:pt x="50736" y="1409493"/>
                        <a:pt x="50736" y="1410506"/>
                      </a:cubicBezTo>
                      <a:cubicBezTo>
                        <a:pt x="49606" y="1414560"/>
                        <a:pt x="51866" y="1418613"/>
                        <a:pt x="50736" y="1422667"/>
                      </a:cubicBezTo>
                      <a:cubicBezTo>
                        <a:pt x="57517" y="1424694"/>
                        <a:pt x="66558" y="1423680"/>
                        <a:pt x="72209" y="1427734"/>
                      </a:cubicBezTo>
                      <a:cubicBezTo>
                        <a:pt x="76729" y="1430774"/>
                        <a:pt x="66558" y="1429761"/>
                        <a:pt x="66558" y="1429761"/>
                      </a:cubicBezTo>
                      <a:cubicBezTo>
                        <a:pt x="66558" y="1431787"/>
                        <a:pt x="67688" y="1435840"/>
                        <a:pt x="66558" y="1436854"/>
                      </a:cubicBezTo>
                      <a:cubicBezTo>
                        <a:pt x="68818" y="1437867"/>
                        <a:pt x="73339" y="1443947"/>
                        <a:pt x="74469" y="1443947"/>
                      </a:cubicBezTo>
                      <a:cubicBezTo>
                        <a:pt x="77859" y="1444961"/>
                        <a:pt x="80119" y="1441921"/>
                        <a:pt x="82380" y="1443947"/>
                      </a:cubicBezTo>
                      <a:cubicBezTo>
                        <a:pt x="77859" y="1445974"/>
                        <a:pt x="71078" y="1451041"/>
                        <a:pt x="66558" y="1454081"/>
                      </a:cubicBezTo>
                      <a:cubicBezTo>
                        <a:pt x="65428" y="1450028"/>
                        <a:pt x="64298" y="1463201"/>
                        <a:pt x="64298" y="1464214"/>
                      </a:cubicBezTo>
                      <a:cubicBezTo>
                        <a:pt x="67688" y="1466241"/>
                        <a:pt x="75599" y="1468268"/>
                        <a:pt x="77859" y="1471308"/>
                      </a:cubicBezTo>
                      <a:cubicBezTo>
                        <a:pt x="80119" y="1475362"/>
                        <a:pt x="78989" y="1480428"/>
                        <a:pt x="80119" y="1483468"/>
                      </a:cubicBezTo>
                      <a:cubicBezTo>
                        <a:pt x="77859" y="1485495"/>
                        <a:pt x="72209" y="1482455"/>
                        <a:pt x="68818" y="1483468"/>
                      </a:cubicBezTo>
                      <a:cubicBezTo>
                        <a:pt x="67688" y="1483468"/>
                        <a:pt x="68818" y="1492589"/>
                        <a:pt x="68818" y="1493602"/>
                      </a:cubicBezTo>
                      <a:cubicBezTo>
                        <a:pt x="59777" y="1492589"/>
                        <a:pt x="60907" y="1486508"/>
                        <a:pt x="52996" y="1491575"/>
                      </a:cubicBezTo>
                      <a:cubicBezTo>
                        <a:pt x="50736" y="1492589"/>
                        <a:pt x="60907" y="1496642"/>
                        <a:pt x="50736" y="1496642"/>
                      </a:cubicBezTo>
                      <a:cubicBezTo>
                        <a:pt x="49606" y="1496642"/>
                        <a:pt x="37175" y="1489548"/>
                        <a:pt x="37175" y="1489548"/>
                      </a:cubicBezTo>
                      <a:cubicBezTo>
                        <a:pt x="24743" y="1489548"/>
                        <a:pt x="21353" y="1503735"/>
                        <a:pt x="23613" y="1501709"/>
                      </a:cubicBezTo>
                      <a:cubicBezTo>
                        <a:pt x="25874" y="1506775"/>
                        <a:pt x="23613" y="1508802"/>
                        <a:pt x="25874" y="1513869"/>
                      </a:cubicBezTo>
                      <a:cubicBezTo>
                        <a:pt x="29264" y="1519949"/>
                        <a:pt x="39435" y="1524003"/>
                        <a:pt x="41695" y="1531096"/>
                      </a:cubicBezTo>
                      <a:cubicBezTo>
                        <a:pt x="41695" y="1531096"/>
                        <a:pt x="39435" y="1538190"/>
                        <a:pt x="39435" y="1541230"/>
                      </a:cubicBezTo>
                      <a:cubicBezTo>
                        <a:pt x="45086" y="1545283"/>
                        <a:pt x="52996" y="1555416"/>
                        <a:pt x="58647" y="1558457"/>
                      </a:cubicBezTo>
                      <a:cubicBezTo>
                        <a:pt x="64298" y="1561497"/>
                        <a:pt x="67688" y="1559470"/>
                        <a:pt x="74469" y="1560483"/>
                      </a:cubicBezTo>
                      <a:lnTo>
                        <a:pt x="80119" y="1560483"/>
                      </a:lnTo>
                      <a:lnTo>
                        <a:pt x="82380" y="1555416"/>
                      </a:lnTo>
                      <a:cubicBezTo>
                        <a:pt x="78989" y="1553390"/>
                        <a:pt x="62038" y="1541230"/>
                        <a:pt x="60907" y="1541230"/>
                      </a:cubicBezTo>
                      <a:cubicBezTo>
                        <a:pt x="58647" y="1540216"/>
                        <a:pt x="55257" y="1542243"/>
                        <a:pt x="52996" y="1541230"/>
                      </a:cubicBezTo>
                      <a:cubicBezTo>
                        <a:pt x="50736" y="1540216"/>
                        <a:pt x="49606" y="1535149"/>
                        <a:pt x="47346" y="1534136"/>
                      </a:cubicBezTo>
                      <a:cubicBezTo>
                        <a:pt x="56387" y="1536163"/>
                        <a:pt x="63167" y="1537176"/>
                        <a:pt x="68818" y="1539203"/>
                      </a:cubicBezTo>
                      <a:cubicBezTo>
                        <a:pt x="69948" y="1517923"/>
                        <a:pt x="72209" y="1516909"/>
                        <a:pt x="57517" y="1500695"/>
                      </a:cubicBezTo>
                      <a:cubicBezTo>
                        <a:pt x="63167" y="1499682"/>
                        <a:pt x="60907" y="1503735"/>
                        <a:pt x="65428" y="1502722"/>
                      </a:cubicBezTo>
                      <a:cubicBezTo>
                        <a:pt x="65428" y="1502722"/>
                        <a:pt x="76729" y="1496642"/>
                        <a:pt x="81249" y="1495629"/>
                      </a:cubicBezTo>
                      <a:cubicBezTo>
                        <a:pt x="81249" y="1497656"/>
                        <a:pt x="80119" y="1502722"/>
                        <a:pt x="81249" y="1505762"/>
                      </a:cubicBezTo>
                      <a:cubicBezTo>
                        <a:pt x="81249" y="1506775"/>
                        <a:pt x="85770" y="1507789"/>
                        <a:pt x="86900" y="1507789"/>
                      </a:cubicBezTo>
                      <a:cubicBezTo>
                        <a:pt x="97071" y="1502722"/>
                        <a:pt x="97071" y="1498669"/>
                        <a:pt x="102722" y="1485495"/>
                      </a:cubicBezTo>
                      <a:cubicBezTo>
                        <a:pt x="104982" y="1486508"/>
                        <a:pt x="108372" y="1492589"/>
                        <a:pt x="110633" y="1492589"/>
                      </a:cubicBezTo>
                      <a:cubicBezTo>
                        <a:pt x="117413" y="1493602"/>
                        <a:pt x="115153" y="1488535"/>
                        <a:pt x="121934" y="1490562"/>
                      </a:cubicBezTo>
                      <a:lnTo>
                        <a:pt x="121934" y="1495629"/>
                      </a:lnTo>
                      <a:cubicBezTo>
                        <a:pt x="117413" y="1497656"/>
                        <a:pt x="107242" y="1500695"/>
                        <a:pt x="108372" y="1500695"/>
                      </a:cubicBezTo>
                      <a:lnTo>
                        <a:pt x="102722" y="1500695"/>
                      </a:lnTo>
                      <a:cubicBezTo>
                        <a:pt x="100462" y="1504749"/>
                        <a:pt x="101592" y="1513869"/>
                        <a:pt x="100462" y="1517923"/>
                      </a:cubicBezTo>
                      <a:lnTo>
                        <a:pt x="94811" y="1517923"/>
                      </a:lnTo>
                      <a:cubicBezTo>
                        <a:pt x="94811" y="1517923"/>
                        <a:pt x="94811" y="1510829"/>
                        <a:pt x="94811" y="1510829"/>
                      </a:cubicBezTo>
                      <a:cubicBezTo>
                        <a:pt x="88030" y="1507789"/>
                        <a:pt x="81249" y="1512856"/>
                        <a:pt x="75599" y="1512856"/>
                      </a:cubicBezTo>
                      <a:cubicBezTo>
                        <a:pt x="80119" y="1528056"/>
                        <a:pt x="83510" y="1537176"/>
                        <a:pt x="83510" y="1551363"/>
                      </a:cubicBezTo>
                      <a:cubicBezTo>
                        <a:pt x="98201" y="1553390"/>
                        <a:pt x="85770" y="1549336"/>
                        <a:pt x="99331" y="1553390"/>
                      </a:cubicBezTo>
                      <a:lnTo>
                        <a:pt x="97071" y="1560483"/>
                      </a:lnTo>
                      <a:cubicBezTo>
                        <a:pt x="92551" y="1560483"/>
                        <a:pt x="93681" y="1557443"/>
                        <a:pt x="91420" y="1555416"/>
                      </a:cubicBezTo>
                      <a:lnTo>
                        <a:pt x="88030" y="1555416"/>
                      </a:lnTo>
                      <a:cubicBezTo>
                        <a:pt x="85770" y="1562510"/>
                        <a:pt x="81249" y="1569604"/>
                        <a:pt x="80119" y="1574670"/>
                      </a:cubicBezTo>
                      <a:cubicBezTo>
                        <a:pt x="81249" y="1575684"/>
                        <a:pt x="78989" y="1580750"/>
                        <a:pt x="80119" y="1581764"/>
                      </a:cubicBezTo>
                      <a:cubicBezTo>
                        <a:pt x="81249" y="1582777"/>
                        <a:pt x="86900" y="1581764"/>
                        <a:pt x="88030" y="1581764"/>
                      </a:cubicBezTo>
                      <a:cubicBezTo>
                        <a:pt x="89160" y="1586831"/>
                        <a:pt x="85770" y="1584804"/>
                        <a:pt x="90291" y="1586831"/>
                      </a:cubicBezTo>
                      <a:lnTo>
                        <a:pt x="90291" y="1588858"/>
                      </a:lnTo>
                      <a:cubicBezTo>
                        <a:pt x="95941" y="1589871"/>
                        <a:pt x="97071" y="1582777"/>
                        <a:pt x="101592" y="1586831"/>
                      </a:cubicBezTo>
                      <a:cubicBezTo>
                        <a:pt x="107242" y="1590884"/>
                        <a:pt x="93681" y="1596964"/>
                        <a:pt x="103852" y="1601017"/>
                      </a:cubicBezTo>
                      <a:cubicBezTo>
                        <a:pt x="107242" y="1602031"/>
                        <a:pt x="111763" y="1598991"/>
                        <a:pt x="115153" y="1598991"/>
                      </a:cubicBezTo>
                      <a:cubicBezTo>
                        <a:pt x="114023" y="1598991"/>
                        <a:pt x="117413" y="1603044"/>
                        <a:pt x="117413" y="1604058"/>
                      </a:cubicBezTo>
                      <a:cubicBezTo>
                        <a:pt x="117413" y="1604058"/>
                        <a:pt x="121934" y="1603044"/>
                        <a:pt x="125324" y="1602031"/>
                      </a:cubicBezTo>
                      <a:lnTo>
                        <a:pt x="127584" y="1602031"/>
                      </a:lnTo>
                      <a:cubicBezTo>
                        <a:pt x="118544" y="1585817"/>
                        <a:pt x="119673" y="1594938"/>
                        <a:pt x="127584" y="1579737"/>
                      </a:cubicBezTo>
                      <a:cubicBezTo>
                        <a:pt x="121934" y="1577710"/>
                        <a:pt x="115153" y="1575684"/>
                        <a:pt x="111763" y="1572644"/>
                      </a:cubicBezTo>
                      <a:cubicBezTo>
                        <a:pt x="88030" y="1557443"/>
                        <a:pt x="109502" y="1563524"/>
                        <a:pt x="123064" y="1572644"/>
                      </a:cubicBezTo>
                      <a:cubicBezTo>
                        <a:pt x="124194" y="1571630"/>
                        <a:pt x="120804" y="1564537"/>
                        <a:pt x="120804" y="1562510"/>
                      </a:cubicBezTo>
                      <a:cubicBezTo>
                        <a:pt x="126454" y="1562510"/>
                        <a:pt x="126454" y="1561497"/>
                        <a:pt x="132105" y="1560483"/>
                      </a:cubicBezTo>
                      <a:cubicBezTo>
                        <a:pt x="134365" y="1571630"/>
                        <a:pt x="126454" y="1574670"/>
                        <a:pt x="143406" y="1582777"/>
                      </a:cubicBezTo>
                      <a:cubicBezTo>
                        <a:pt x="150187" y="1585817"/>
                        <a:pt x="154707" y="1584804"/>
                        <a:pt x="162618" y="1587844"/>
                      </a:cubicBezTo>
                      <a:cubicBezTo>
                        <a:pt x="163748" y="1584804"/>
                        <a:pt x="167139" y="1583791"/>
                        <a:pt x="168269" y="1582777"/>
                      </a:cubicBezTo>
                      <a:cubicBezTo>
                        <a:pt x="170529" y="1575684"/>
                        <a:pt x="167139" y="1563524"/>
                        <a:pt x="168269" y="1556430"/>
                      </a:cubicBezTo>
                      <a:cubicBezTo>
                        <a:pt x="168269" y="1555416"/>
                        <a:pt x="173919" y="1540216"/>
                        <a:pt x="176179" y="1539203"/>
                      </a:cubicBezTo>
                      <a:cubicBezTo>
                        <a:pt x="176179" y="1539203"/>
                        <a:pt x="172789" y="1534136"/>
                        <a:pt x="173919" y="1532109"/>
                      </a:cubicBezTo>
                      <a:cubicBezTo>
                        <a:pt x="187481" y="1531096"/>
                        <a:pt x="205563" y="1530082"/>
                        <a:pt x="216864" y="1530082"/>
                      </a:cubicBezTo>
                      <a:cubicBezTo>
                        <a:pt x="230425" y="1504749"/>
                        <a:pt x="231556" y="1512856"/>
                        <a:pt x="259808" y="1512856"/>
                      </a:cubicBezTo>
                      <a:lnTo>
                        <a:pt x="257548" y="1508802"/>
                      </a:lnTo>
                      <a:cubicBezTo>
                        <a:pt x="257548" y="1508802"/>
                        <a:pt x="208953" y="1502722"/>
                        <a:pt x="196522" y="1502722"/>
                      </a:cubicBezTo>
                      <a:cubicBezTo>
                        <a:pt x="184090" y="1502722"/>
                        <a:pt x="150187" y="1505762"/>
                        <a:pt x="150187" y="1505762"/>
                      </a:cubicBezTo>
                      <a:cubicBezTo>
                        <a:pt x="150187" y="1505762"/>
                        <a:pt x="126454" y="1485495"/>
                        <a:pt x="120804" y="1473335"/>
                      </a:cubicBezTo>
                      <a:cubicBezTo>
                        <a:pt x="115153" y="1461174"/>
                        <a:pt x="109502" y="1455094"/>
                        <a:pt x="116283" y="1449014"/>
                      </a:cubicBezTo>
                      <a:cubicBezTo>
                        <a:pt x="123064" y="1442934"/>
                        <a:pt x="123064" y="1435840"/>
                        <a:pt x="116283" y="1426721"/>
                      </a:cubicBezTo>
                      <a:cubicBezTo>
                        <a:pt x="109502" y="1417600"/>
                        <a:pt x="107242" y="1430774"/>
                        <a:pt x="99331" y="1430774"/>
                      </a:cubicBezTo>
                      <a:cubicBezTo>
                        <a:pt x="91420" y="1430774"/>
                        <a:pt x="91420" y="1420640"/>
                        <a:pt x="91420" y="1409493"/>
                      </a:cubicBezTo>
                      <a:cubicBezTo>
                        <a:pt x="91420" y="1398346"/>
                        <a:pt x="95941" y="1395306"/>
                        <a:pt x="100462" y="1385173"/>
                      </a:cubicBezTo>
                      <a:cubicBezTo>
                        <a:pt x="104982" y="1375039"/>
                        <a:pt x="101592" y="1369972"/>
                        <a:pt x="95941" y="1355786"/>
                      </a:cubicBezTo>
                      <a:cubicBezTo>
                        <a:pt x="90291" y="1341598"/>
                        <a:pt x="112893" y="1341598"/>
                        <a:pt x="121934" y="1335518"/>
                      </a:cubicBezTo>
                      <a:cubicBezTo>
                        <a:pt x="130975" y="1329438"/>
                        <a:pt x="128715" y="1322344"/>
                        <a:pt x="127584" y="1312211"/>
                      </a:cubicBezTo>
                      <a:cubicBezTo>
                        <a:pt x="126454" y="1302077"/>
                        <a:pt x="121934" y="1297010"/>
                        <a:pt x="128715" y="1288904"/>
                      </a:cubicBezTo>
                      <a:cubicBezTo>
                        <a:pt x="135495" y="1280797"/>
                        <a:pt x="140016" y="1275730"/>
                        <a:pt x="140016" y="1275730"/>
                      </a:cubicBezTo>
                      <a:cubicBezTo>
                        <a:pt x="140016" y="1275730"/>
                        <a:pt x="143406" y="1270663"/>
                        <a:pt x="141146" y="1262557"/>
                      </a:cubicBezTo>
                      <a:cubicBezTo>
                        <a:pt x="138886" y="1254450"/>
                        <a:pt x="142276" y="1246343"/>
                        <a:pt x="145666" y="1233169"/>
                      </a:cubicBezTo>
                      <a:cubicBezTo>
                        <a:pt x="149057" y="1219996"/>
                        <a:pt x="149057" y="1218982"/>
                        <a:pt x="144536" y="1208849"/>
                      </a:cubicBezTo>
                      <a:cubicBezTo>
                        <a:pt x="140016" y="1198715"/>
                        <a:pt x="135495" y="1192635"/>
                        <a:pt x="141146" y="1189595"/>
                      </a:cubicBezTo>
                      <a:cubicBezTo>
                        <a:pt x="146797" y="1186555"/>
                        <a:pt x="144536" y="1176421"/>
                        <a:pt x="152447" y="1175408"/>
                      </a:cubicBezTo>
                      <a:cubicBezTo>
                        <a:pt x="161488" y="1174394"/>
                        <a:pt x="151317" y="1167301"/>
                        <a:pt x="149057" y="1162234"/>
                      </a:cubicBezTo>
                      <a:cubicBezTo>
                        <a:pt x="146797" y="1157167"/>
                        <a:pt x="150187" y="1147034"/>
                        <a:pt x="155837" y="1141967"/>
                      </a:cubicBezTo>
                      <a:cubicBezTo>
                        <a:pt x="161488" y="1136900"/>
                        <a:pt x="151317" y="1127780"/>
                        <a:pt x="151317" y="1117647"/>
                      </a:cubicBezTo>
                      <a:cubicBezTo>
                        <a:pt x="151317" y="1107513"/>
                        <a:pt x="146797" y="1104473"/>
                        <a:pt x="150187" y="1097380"/>
                      </a:cubicBezTo>
                      <a:cubicBezTo>
                        <a:pt x="153577" y="1090286"/>
                        <a:pt x="141146" y="1082179"/>
                        <a:pt x="137755" y="1073059"/>
                      </a:cubicBezTo>
                      <a:cubicBezTo>
                        <a:pt x="134365" y="1063938"/>
                        <a:pt x="149057" y="1051779"/>
                        <a:pt x="150187" y="1038604"/>
                      </a:cubicBezTo>
                      <a:cubicBezTo>
                        <a:pt x="151317" y="1025431"/>
                        <a:pt x="150187" y="1022391"/>
                        <a:pt x="150187" y="1010231"/>
                      </a:cubicBezTo>
                      <a:cubicBezTo>
                        <a:pt x="150187" y="998070"/>
                        <a:pt x="150187" y="1004151"/>
                        <a:pt x="140016" y="999084"/>
                      </a:cubicBezTo>
                      <a:cubicBezTo>
                        <a:pt x="129845" y="994017"/>
                        <a:pt x="138886" y="980844"/>
                        <a:pt x="138886" y="969696"/>
                      </a:cubicBezTo>
                      <a:cubicBezTo>
                        <a:pt x="138886" y="958550"/>
                        <a:pt x="123064" y="948416"/>
                        <a:pt x="134365" y="939296"/>
                      </a:cubicBezTo>
                      <a:cubicBezTo>
                        <a:pt x="145666" y="930176"/>
                        <a:pt x="144536" y="926122"/>
                        <a:pt x="145666" y="915988"/>
                      </a:cubicBezTo>
                      <a:cubicBezTo>
                        <a:pt x="146797" y="905855"/>
                        <a:pt x="150187" y="879508"/>
                        <a:pt x="158098" y="867347"/>
                      </a:cubicBezTo>
                      <a:cubicBezTo>
                        <a:pt x="167139" y="856200"/>
                        <a:pt x="168269" y="868361"/>
                        <a:pt x="168269" y="857214"/>
                      </a:cubicBezTo>
                      <a:cubicBezTo>
                        <a:pt x="168269" y="846067"/>
                        <a:pt x="158098" y="842014"/>
                        <a:pt x="159228" y="831880"/>
                      </a:cubicBezTo>
                      <a:cubicBezTo>
                        <a:pt x="160358" y="821746"/>
                        <a:pt x="163748" y="811613"/>
                        <a:pt x="162618" y="801479"/>
                      </a:cubicBezTo>
                      <a:cubicBezTo>
                        <a:pt x="161488" y="791346"/>
                        <a:pt x="177310" y="778172"/>
                        <a:pt x="177310" y="778172"/>
                      </a:cubicBezTo>
                      <a:cubicBezTo>
                        <a:pt x="177310" y="778172"/>
                        <a:pt x="188611" y="781212"/>
                        <a:pt x="193131" y="772092"/>
                      </a:cubicBezTo>
                      <a:cubicBezTo>
                        <a:pt x="197652" y="762972"/>
                        <a:pt x="194261" y="760945"/>
                        <a:pt x="192001" y="750811"/>
                      </a:cubicBezTo>
                      <a:cubicBezTo>
                        <a:pt x="189741" y="740678"/>
                        <a:pt x="187481" y="736624"/>
                        <a:pt x="193131" y="725478"/>
                      </a:cubicBezTo>
                      <a:cubicBezTo>
                        <a:pt x="198782" y="714330"/>
                        <a:pt x="208953" y="694063"/>
                        <a:pt x="208953" y="678863"/>
                      </a:cubicBezTo>
                      <a:cubicBezTo>
                        <a:pt x="208953" y="663662"/>
                        <a:pt x="212343" y="659609"/>
                        <a:pt x="207823" y="648462"/>
                      </a:cubicBezTo>
                      <a:cubicBezTo>
                        <a:pt x="203303" y="637315"/>
                        <a:pt x="204432" y="633262"/>
                        <a:pt x="212343" y="623128"/>
                      </a:cubicBezTo>
                      <a:cubicBezTo>
                        <a:pt x="219124" y="612995"/>
                        <a:pt x="215734" y="608941"/>
                        <a:pt x="213474" y="593741"/>
                      </a:cubicBezTo>
                      <a:cubicBezTo>
                        <a:pt x="211213" y="578541"/>
                        <a:pt x="216864" y="577527"/>
                        <a:pt x="216864" y="558274"/>
                      </a:cubicBezTo>
                      <a:cubicBezTo>
                        <a:pt x="216864" y="539020"/>
                        <a:pt x="220254" y="540033"/>
                        <a:pt x="225905" y="529900"/>
                      </a:cubicBezTo>
                      <a:cubicBezTo>
                        <a:pt x="231556" y="519766"/>
                        <a:pt x="225905" y="513686"/>
                        <a:pt x="225905" y="498485"/>
                      </a:cubicBezTo>
                      <a:cubicBezTo>
                        <a:pt x="225905" y="483285"/>
                        <a:pt x="230425" y="474165"/>
                        <a:pt x="231556" y="453898"/>
                      </a:cubicBezTo>
                      <a:cubicBezTo>
                        <a:pt x="232685" y="433631"/>
                        <a:pt x="243987" y="437684"/>
                        <a:pt x="251898" y="422484"/>
                      </a:cubicBezTo>
                      <a:cubicBezTo>
                        <a:pt x="259808" y="407283"/>
                        <a:pt x="263199" y="407283"/>
                        <a:pt x="267719" y="396137"/>
                      </a:cubicBezTo>
                      <a:cubicBezTo>
                        <a:pt x="272240" y="384990"/>
                        <a:pt x="274500" y="379923"/>
                        <a:pt x="272240" y="367762"/>
                      </a:cubicBezTo>
                      <a:cubicBezTo>
                        <a:pt x="268849" y="356615"/>
                        <a:pt x="265459" y="351549"/>
                        <a:pt x="275630" y="346482"/>
                      </a:cubicBezTo>
                      <a:cubicBezTo>
                        <a:pt x="285801" y="341415"/>
                        <a:pt x="272240" y="332295"/>
                        <a:pt x="271110" y="321148"/>
                      </a:cubicBezTo>
                      <a:cubicBezTo>
                        <a:pt x="269980" y="310001"/>
                        <a:pt x="269980" y="291761"/>
                        <a:pt x="271110" y="282640"/>
                      </a:cubicBezTo>
                      <a:cubicBezTo>
                        <a:pt x="272240" y="273520"/>
                        <a:pt x="291452" y="273520"/>
                        <a:pt x="294842" y="263387"/>
                      </a:cubicBezTo>
                      <a:cubicBezTo>
                        <a:pt x="299363" y="253253"/>
                        <a:pt x="316314" y="254267"/>
                        <a:pt x="318575" y="244133"/>
                      </a:cubicBezTo>
                      <a:cubicBezTo>
                        <a:pt x="320835" y="233999"/>
                        <a:pt x="325355" y="215759"/>
                        <a:pt x="312924" y="210692"/>
                      </a:cubicBezTo>
                      <a:cubicBezTo>
                        <a:pt x="295972" y="214745"/>
                        <a:pt x="300493" y="193465"/>
                        <a:pt x="300493" y="193465"/>
                      </a:cubicBezTo>
                      <a:close/>
                      <a:moveTo>
                        <a:pt x="297102" y="1638512"/>
                      </a:moveTo>
                      <a:cubicBezTo>
                        <a:pt x="280151" y="1638512"/>
                        <a:pt x="258678" y="1634459"/>
                        <a:pt x="277890" y="1633445"/>
                      </a:cubicBezTo>
                      <a:cubicBezTo>
                        <a:pt x="266589" y="1631418"/>
                        <a:pt x="254158" y="1636485"/>
                        <a:pt x="254158" y="1636485"/>
                      </a:cubicBezTo>
                      <a:lnTo>
                        <a:pt x="245117" y="1528056"/>
                      </a:lnTo>
                      <a:cubicBezTo>
                        <a:pt x="245117" y="1528056"/>
                        <a:pt x="233816" y="1534136"/>
                        <a:pt x="231556" y="1535149"/>
                      </a:cubicBezTo>
                      <a:cubicBezTo>
                        <a:pt x="227035" y="1527043"/>
                        <a:pt x="229295" y="1530082"/>
                        <a:pt x="223645" y="1525016"/>
                      </a:cubicBezTo>
                      <a:cubicBezTo>
                        <a:pt x="220254" y="1527043"/>
                        <a:pt x="208953" y="1537176"/>
                        <a:pt x="207823" y="1537176"/>
                      </a:cubicBezTo>
                      <a:cubicBezTo>
                        <a:pt x="198782" y="1539203"/>
                        <a:pt x="196522" y="1532109"/>
                        <a:pt x="194261" y="1532109"/>
                      </a:cubicBezTo>
                      <a:cubicBezTo>
                        <a:pt x="187481" y="1531096"/>
                        <a:pt x="188611" y="1535149"/>
                        <a:pt x="180700" y="1534136"/>
                      </a:cubicBezTo>
                      <a:cubicBezTo>
                        <a:pt x="185221" y="1558457"/>
                        <a:pt x="166008" y="1569604"/>
                        <a:pt x="210083" y="1568591"/>
                      </a:cubicBezTo>
                      <a:cubicBezTo>
                        <a:pt x="199912" y="1574670"/>
                        <a:pt x="195392" y="1578724"/>
                        <a:pt x="185221" y="1580750"/>
                      </a:cubicBezTo>
                      <a:cubicBezTo>
                        <a:pt x="187481" y="1587844"/>
                        <a:pt x="185221" y="1596964"/>
                        <a:pt x="190871" y="1600004"/>
                      </a:cubicBezTo>
                      <a:cubicBezTo>
                        <a:pt x="193131" y="1601017"/>
                        <a:pt x="202172" y="1598991"/>
                        <a:pt x="204432" y="1600004"/>
                      </a:cubicBezTo>
                      <a:cubicBezTo>
                        <a:pt x="208953" y="1601017"/>
                        <a:pt x="217994" y="1612165"/>
                        <a:pt x="223645" y="1614192"/>
                      </a:cubicBezTo>
                      <a:cubicBezTo>
                        <a:pt x="220254" y="1613178"/>
                        <a:pt x="215734" y="1615205"/>
                        <a:pt x="212343" y="1614192"/>
                      </a:cubicBezTo>
                      <a:cubicBezTo>
                        <a:pt x="211213" y="1614192"/>
                        <a:pt x="207823" y="1608111"/>
                        <a:pt x="206693" y="1607098"/>
                      </a:cubicBezTo>
                      <a:cubicBezTo>
                        <a:pt x="186351" y="1611151"/>
                        <a:pt x="192001" y="1606084"/>
                        <a:pt x="187481" y="1619258"/>
                      </a:cubicBezTo>
                      <a:lnTo>
                        <a:pt x="179570" y="1617232"/>
                      </a:lnTo>
                      <a:cubicBezTo>
                        <a:pt x="178440" y="1614192"/>
                        <a:pt x="182960" y="1615205"/>
                        <a:pt x="181830" y="1610138"/>
                      </a:cubicBezTo>
                      <a:lnTo>
                        <a:pt x="176179" y="1603044"/>
                      </a:lnTo>
                      <a:cubicBezTo>
                        <a:pt x="175050" y="1595951"/>
                        <a:pt x="177310" y="1594938"/>
                        <a:pt x="176179" y="1585817"/>
                      </a:cubicBezTo>
                      <a:cubicBezTo>
                        <a:pt x="176179" y="1585817"/>
                        <a:pt x="166008" y="1583791"/>
                        <a:pt x="164878" y="1583791"/>
                      </a:cubicBezTo>
                      <a:cubicBezTo>
                        <a:pt x="163748" y="1586831"/>
                        <a:pt x="160358" y="1597977"/>
                        <a:pt x="159228" y="1601017"/>
                      </a:cubicBezTo>
                      <a:lnTo>
                        <a:pt x="156968" y="1595951"/>
                      </a:lnTo>
                      <a:cubicBezTo>
                        <a:pt x="153577" y="1596964"/>
                        <a:pt x="147926" y="1598991"/>
                        <a:pt x="145666" y="1597977"/>
                      </a:cubicBezTo>
                      <a:cubicBezTo>
                        <a:pt x="145666" y="1596964"/>
                        <a:pt x="146797" y="1588858"/>
                        <a:pt x="145666" y="1587844"/>
                      </a:cubicBezTo>
                      <a:cubicBezTo>
                        <a:pt x="142276" y="1585817"/>
                        <a:pt x="135495" y="1589871"/>
                        <a:pt x="132105" y="1587844"/>
                      </a:cubicBezTo>
                      <a:cubicBezTo>
                        <a:pt x="134365" y="1600004"/>
                        <a:pt x="127584" y="1610138"/>
                        <a:pt x="153577" y="1610138"/>
                      </a:cubicBezTo>
                      <a:lnTo>
                        <a:pt x="161488" y="1603044"/>
                      </a:lnTo>
                      <a:cubicBezTo>
                        <a:pt x="167139" y="1603044"/>
                        <a:pt x="163748" y="1611151"/>
                        <a:pt x="163748" y="1615205"/>
                      </a:cubicBezTo>
                      <a:cubicBezTo>
                        <a:pt x="147926" y="1616218"/>
                        <a:pt x="138886" y="1617232"/>
                        <a:pt x="128715" y="1620271"/>
                      </a:cubicBezTo>
                      <a:cubicBezTo>
                        <a:pt x="133235" y="1623311"/>
                        <a:pt x="126454" y="1622298"/>
                        <a:pt x="126454" y="1622298"/>
                      </a:cubicBezTo>
                      <a:cubicBezTo>
                        <a:pt x="126454" y="1622298"/>
                        <a:pt x="126454" y="1629392"/>
                        <a:pt x="126454" y="1629392"/>
                      </a:cubicBezTo>
                      <a:cubicBezTo>
                        <a:pt x="127584" y="1629392"/>
                        <a:pt x="134365" y="1631418"/>
                        <a:pt x="134365" y="1631418"/>
                      </a:cubicBezTo>
                      <a:cubicBezTo>
                        <a:pt x="138886" y="1629392"/>
                        <a:pt x="125324" y="1623311"/>
                        <a:pt x="145666" y="1624325"/>
                      </a:cubicBezTo>
                      <a:lnTo>
                        <a:pt x="145666" y="1629392"/>
                      </a:lnTo>
                      <a:cubicBezTo>
                        <a:pt x="152447" y="1629392"/>
                        <a:pt x="160358" y="1628378"/>
                        <a:pt x="167139" y="1629392"/>
                      </a:cubicBezTo>
                      <a:cubicBezTo>
                        <a:pt x="167139" y="1629392"/>
                        <a:pt x="167139" y="1636485"/>
                        <a:pt x="167139" y="1636485"/>
                      </a:cubicBezTo>
                      <a:cubicBezTo>
                        <a:pt x="175050" y="1638512"/>
                        <a:pt x="184090" y="1633445"/>
                        <a:pt x="188611" y="1634459"/>
                      </a:cubicBezTo>
                      <a:cubicBezTo>
                        <a:pt x="196522" y="1634459"/>
                        <a:pt x="203303" y="1643579"/>
                        <a:pt x="190871" y="1641552"/>
                      </a:cubicBezTo>
                      <a:cubicBezTo>
                        <a:pt x="190871" y="1642565"/>
                        <a:pt x="194261" y="1645605"/>
                        <a:pt x="193131" y="1646618"/>
                      </a:cubicBezTo>
                      <a:cubicBezTo>
                        <a:pt x="203303" y="1645605"/>
                        <a:pt x="208953" y="1648645"/>
                        <a:pt x="220254" y="1646618"/>
                      </a:cubicBezTo>
                      <a:lnTo>
                        <a:pt x="222514" y="1641552"/>
                      </a:lnTo>
                      <a:cubicBezTo>
                        <a:pt x="233816" y="1637499"/>
                        <a:pt x="247377" y="1636485"/>
                        <a:pt x="257548" y="1634459"/>
                      </a:cubicBezTo>
                      <a:cubicBezTo>
                        <a:pt x="259808" y="1640539"/>
                        <a:pt x="256418" y="1644592"/>
                        <a:pt x="259808" y="1648645"/>
                      </a:cubicBezTo>
                      <a:cubicBezTo>
                        <a:pt x="260938" y="1650672"/>
                        <a:pt x="272240" y="1652699"/>
                        <a:pt x="273370" y="1653712"/>
                      </a:cubicBezTo>
                      <a:cubicBezTo>
                        <a:pt x="274500" y="1655739"/>
                        <a:pt x="272240" y="1661819"/>
                        <a:pt x="273370" y="1663846"/>
                      </a:cubicBezTo>
                      <a:cubicBezTo>
                        <a:pt x="289191" y="1653712"/>
                        <a:pt x="290322" y="1652699"/>
                        <a:pt x="295972" y="1636485"/>
                      </a:cubicBezTo>
                      <a:lnTo>
                        <a:pt x="297102" y="1638512"/>
                      </a:lnTo>
                      <a:lnTo>
                        <a:pt x="297102" y="1638512"/>
                      </a:lnTo>
                      <a:close/>
                      <a:moveTo>
                        <a:pt x="37175" y="1252423"/>
                      </a:moveTo>
                      <a:cubicBezTo>
                        <a:pt x="41695" y="1254450"/>
                        <a:pt x="34914" y="1257490"/>
                        <a:pt x="34914" y="1257490"/>
                      </a:cubicBezTo>
                      <a:cubicBezTo>
                        <a:pt x="34914" y="1255463"/>
                        <a:pt x="32654" y="1250396"/>
                        <a:pt x="37175" y="1252423"/>
                      </a:cubicBezTo>
                      <a:close/>
                      <a:moveTo>
                        <a:pt x="275630" y="1690193"/>
                      </a:moveTo>
                      <a:cubicBezTo>
                        <a:pt x="275630" y="1690193"/>
                        <a:pt x="273370" y="1694246"/>
                        <a:pt x="273370" y="1695260"/>
                      </a:cubicBezTo>
                      <a:cubicBezTo>
                        <a:pt x="281281" y="1694246"/>
                        <a:pt x="282411" y="1690193"/>
                        <a:pt x="275630" y="1690193"/>
                      </a:cubicBezTo>
                      <a:close/>
                      <a:moveTo>
                        <a:pt x="281281" y="1678033"/>
                      </a:moveTo>
                      <a:lnTo>
                        <a:pt x="283541" y="1685127"/>
                      </a:lnTo>
                      <a:cubicBezTo>
                        <a:pt x="303883" y="1685127"/>
                        <a:pt x="288061" y="1681073"/>
                        <a:pt x="281281" y="1678033"/>
                      </a:cubicBezTo>
                      <a:close/>
                      <a:moveTo>
                        <a:pt x="248507" y="1667899"/>
                      </a:moveTo>
                      <a:cubicBezTo>
                        <a:pt x="251898" y="1673979"/>
                        <a:pt x="250767" y="1676006"/>
                        <a:pt x="254158" y="1682086"/>
                      </a:cubicBezTo>
                      <a:cubicBezTo>
                        <a:pt x="257548" y="1680060"/>
                        <a:pt x="260938" y="1683100"/>
                        <a:pt x="265459" y="1684113"/>
                      </a:cubicBezTo>
                      <a:cubicBezTo>
                        <a:pt x="265459" y="1681073"/>
                        <a:pt x="263199" y="1669926"/>
                        <a:pt x="263199" y="1669926"/>
                      </a:cubicBezTo>
                      <a:cubicBezTo>
                        <a:pt x="255288" y="1668912"/>
                        <a:pt x="254158" y="1670939"/>
                        <a:pt x="248507" y="1667899"/>
                      </a:cubicBezTo>
                      <a:close/>
                      <a:moveTo>
                        <a:pt x="245117" y="1643579"/>
                      </a:moveTo>
                      <a:cubicBezTo>
                        <a:pt x="237206" y="1643579"/>
                        <a:pt x="225905" y="1651685"/>
                        <a:pt x="220254" y="1653712"/>
                      </a:cubicBezTo>
                      <a:cubicBezTo>
                        <a:pt x="216864" y="1654726"/>
                        <a:pt x="206693" y="1652699"/>
                        <a:pt x="198782" y="1653712"/>
                      </a:cubicBezTo>
                      <a:cubicBezTo>
                        <a:pt x="201042" y="1654726"/>
                        <a:pt x="193131" y="1658779"/>
                        <a:pt x="193131" y="1658779"/>
                      </a:cubicBezTo>
                      <a:cubicBezTo>
                        <a:pt x="194261" y="1661819"/>
                        <a:pt x="196522" y="1661819"/>
                        <a:pt x="195392" y="1665873"/>
                      </a:cubicBezTo>
                      <a:cubicBezTo>
                        <a:pt x="202172" y="1667899"/>
                        <a:pt x="211213" y="1667899"/>
                        <a:pt x="220254" y="1670939"/>
                      </a:cubicBezTo>
                      <a:cubicBezTo>
                        <a:pt x="221384" y="1670939"/>
                        <a:pt x="222514" y="1676006"/>
                        <a:pt x="222514" y="1676006"/>
                      </a:cubicBezTo>
                      <a:cubicBezTo>
                        <a:pt x="223645" y="1674993"/>
                        <a:pt x="229295" y="1674993"/>
                        <a:pt x="230425" y="1673979"/>
                      </a:cubicBezTo>
                      <a:cubicBezTo>
                        <a:pt x="233816" y="1671952"/>
                        <a:pt x="228165" y="1668912"/>
                        <a:pt x="228165" y="1668912"/>
                      </a:cubicBezTo>
                      <a:lnTo>
                        <a:pt x="228165" y="1663846"/>
                      </a:lnTo>
                      <a:cubicBezTo>
                        <a:pt x="238336" y="1662833"/>
                        <a:pt x="246247" y="1662833"/>
                        <a:pt x="257548" y="1663846"/>
                      </a:cubicBezTo>
                      <a:cubicBezTo>
                        <a:pt x="256418" y="1658779"/>
                        <a:pt x="259808" y="1658779"/>
                        <a:pt x="255288" y="1656752"/>
                      </a:cubicBezTo>
                      <a:cubicBezTo>
                        <a:pt x="248507" y="1651685"/>
                        <a:pt x="269980" y="1644592"/>
                        <a:pt x="245117" y="1643579"/>
                      </a:cubicBezTo>
                      <a:close/>
                      <a:moveTo>
                        <a:pt x="167139" y="1643579"/>
                      </a:moveTo>
                      <a:cubicBezTo>
                        <a:pt x="164878" y="1646618"/>
                        <a:pt x="161488" y="1645605"/>
                        <a:pt x="161488" y="1645605"/>
                      </a:cubicBezTo>
                      <a:cubicBezTo>
                        <a:pt x="161488" y="1647632"/>
                        <a:pt x="162618" y="1651685"/>
                        <a:pt x="161488" y="1652699"/>
                      </a:cubicBezTo>
                      <a:cubicBezTo>
                        <a:pt x="167139" y="1653712"/>
                        <a:pt x="177310" y="1654726"/>
                        <a:pt x="177310" y="1654726"/>
                      </a:cubicBezTo>
                      <a:cubicBezTo>
                        <a:pt x="178440" y="1652699"/>
                        <a:pt x="177310" y="1648645"/>
                        <a:pt x="177310" y="1647632"/>
                      </a:cubicBezTo>
                      <a:cubicBezTo>
                        <a:pt x="184090" y="1648645"/>
                        <a:pt x="181830" y="1644592"/>
                        <a:pt x="185221" y="1642565"/>
                      </a:cubicBezTo>
                      <a:cubicBezTo>
                        <a:pt x="179570" y="1643579"/>
                        <a:pt x="173919" y="1644592"/>
                        <a:pt x="167139" y="1643579"/>
                      </a:cubicBezTo>
                      <a:close/>
                      <a:moveTo>
                        <a:pt x="150187" y="1636485"/>
                      </a:moveTo>
                      <a:lnTo>
                        <a:pt x="147926" y="1638512"/>
                      </a:lnTo>
                      <a:cubicBezTo>
                        <a:pt x="137755" y="1645605"/>
                        <a:pt x="161488" y="1641552"/>
                        <a:pt x="155837" y="1638512"/>
                      </a:cubicBezTo>
                      <a:cubicBezTo>
                        <a:pt x="154707" y="1638512"/>
                        <a:pt x="155837" y="1635472"/>
                        <a:pt x="150187" y="1636485"/>
                      </a:cubicBezTo>
                      <a:close/>
                      <a:moveTo>
                        <a:pt x="120804" y="1539203"/>
                      </a:moveTo>
                      <a:cubicBezTo>
                        <a:pt x="126454" y="1538190"/>
                        <a:pt x="127584" y="1552376"/>
                        <a:pt x="120804" y="1553390"/>
                      </a:cubicBezTo>
                      <a:cubicBezTo>
                        <a:pt x="102722" y="1558457"/>
                        <a:pt x="114023" y="1540216"/>
                        <a:pt x="120804" y="1539203"/>
                      </a:cubicBezTo>
                      <a:close/>
                      <a:moveTo>
                        <a:pt x="153577" y="1537176"/>
                      </a:moveTo>
                      <a:cubicBezTo>
                        <a:pt x="154707" y="1540216"/>
                        <a:pt x="158098" y="1540216"/>
                        <a:pt x="161488" y="1542243"/>
                      </a:cubicBezTo>
                      <a:cubicBezTo>
                        <a:pt x="159228" y="1544270"/>
                        <a:pt x="162618" y="1547310"/>
                        <a:pt x="161488" y="1549336"/>
                      </a:cubicBezTo>
                      <a:cubicBezTo>
                        <a:pt x="161488" y="1549336"/>
                        <a:pt x="147926" y="1561497"/>
                        <a:pt x="147926" y="1561497"/>
                      </a:cubicBezTo>
                      <a:cubicBezTo>
                        <a:pt x="126454" y="1567577"/>
                        <a:pt x="153577" y="1537176"/>
                        <a:pt x="153577" y="1537176"/>
                      </a:cubicBezTo>
                      <a:close/>
                      <a:moveTo>
                        <a:pt x="134365" y="1529069"/>
                      </a:moveTo>
                      <a:cubicBezTo>
                        <a:pt x="145666" y="1530082"/>
                        <a:pt x="158098" y="1537176"/>
                        <a:pt x="140016" y="1534136"/>
                      </a:cubicBezTo>
                      <a:cubicBezTo>
                        <a:pt x="140016" y="1534136"/>
                        <a:pt x="125324" y="1528056"/>
                        <a:pt x="134365" y="1529069"/>
                      </a:cubicBezTo>
                      <a:close/>
                      <a:moveTo>
                        <a:pt x="33785" y="1441921"/>
                      </a:moveTo>
                      <a:cubicBezTo>
                        <a:pt x="32654" y="1445974"/>
                        <a:pt x="36045" y="1446988"/>
                        <a:pt x="33785" y="1454081"/>
                      </a:cubicBezTo>
                      <a:cubicBezTo>
                        <a:pt x="33785" y="1455094"/>
                        <a:pt x="25874" y="1462188"/>
                        <a:pt x="25874" y="1464214"/>
                      </a:cubicBezTo>
                      <a:cubicBezTo>
                        <a:pt x="25874" y="1465228"/>
                        <a:pt x="28134" y="1474348"/>
                        <a:pt x="28134" y="1471308"/>
                      </a:cubicBezTo>
                      <a:cubicBezTo>
                        <a:pt x="29264" y="1472322"/>
                        <a:pt x="28134" y="1483468"/>
                        <a:pt x="28134" y="1485495"/>
                      </a:cubicBezTo>
                      <a:cubicBezTo>
                        <a:pt x="29264" y="1485495"/>
                        <a:pt x="37175" y="1484481"/>
                        <a:pt x="39435" y="1485495"/>
                      </a:cubicBezTo>
                      <a:lnTo>
                        <a:pt x="39435" y="1480428"/>
                      </a:lnTo>
                      <a:cubicBezTo>
                        <a:pt x="41695" y="1480428"/>
                        <a:pt x="47346" y="1481441"/>
                        <a:pt x="50736" y="1480428"/>
                      </a:cubicBezTo>
                      <a:cubicBezTo>
                        <a:pt x="50736" y="1479415"/>
                        <a:pt x="51866" y="1470295"/>
                        <a:pt x="48476" y="1473335"/>
                      </a:cubicBezTo>
                      <a:cubicBezTo>
                        <a:pt x="48476" y="1473335"/>
                        <a:pt x="48476" y="1466241"/>
                        <a:pt x="48476" y="1466241"/>
                      </a:cubicBezTo>
                      <a:cubicBezTo>
                        <a:pt x="48476" y="1466241"/>
                        <a:pt x="58647" y="1465228"/>
                        <a:pt x="54127" y="1466241"/>
                      </a:cubicBezTo>
                      <a:cubicBezTo>
                        <a:pt x="58647" y="1466241"/>
                        <a:pt x="56387" y="1470295"/>
                        <a:pt x="56387" y="1473335"/>
                      </a:cubicBezTo>
                      <a:cubicBezTo>
                        <a:pt x="64298" y="1468268"/>
                        <a:pt x="57517" y="1457121"/>
                        <a:pt x="58647" y="1456108"/>
                      </a:cubicBezTo>
                      <a:lnTo>
                        <a:pt x="52996" y="1456108"/>
                      </a:lnTo>
                      <a:cubicBezTo>
                        <a:pt x="52996" y="1456108"/>
                        <a:pt x="45086" y="1441921"/>
                        <a:pt x="41695" y="1441921"/>
                      </a:cubicBezTo>
                      <a:cubicBezTo>
                        <a:pt x="39435" y="1440907"/>
                        <a:pt x="37175" y="1442934"/>
                        <a:pt x="33785" y="1441921"/>
                      </a:cubicBezTo>
                      <a:close/>
                      <a:moveTo>
                        <a:pt x="17963" y="1439894"/>
                      </a:moveTo>
                      <a:cubicBezTo>
                        <a:pt x="17963" y="1439894"/>
                        <a:pt x="13442" y="1445974"/>
                        <a:pt x="12312" y="1446988"/>
                      </a:cubicBezTo>
                      <a:cubicBezTo>
                        <a:pt x="13442" y="1445974"/>
                        <a:pt x="19093" y="1446988"/>
                        <a:pt x="23613" y="1446988"/>
                      </a:cubicBezTo>
                      <a:cubicBezTo>
                        <a:pt x="22483" y="1444961"/>
                        <a:pt x="22483" y="1436854"/>
                        <a:pt x="17963" y="1439894"/>
                      </a:cubicBezTo>
                      <a:close/>
                      <a:moveTo>
                        <a:pt x="47346" y="1431787"/>
                      </a:moveTo>
                      <a:cubicBezTo>
                        <a:pt x="49606" y="1433814"/>
                        <a:pt x="46216" y="1436854"/>
                        <a:pt x="47346" y="1438880"/>
                      </a:cubicBezTo>
                      <a:cubicBezTo>
                        <a:pt x="49606" y="1444961"/>
                        <a:pt x="74469" y="1452054"/>
                        <a:pt x="63167" y="1443947"/>
                      </a:cubicBezTo>
                      <a:cubicBezTo>
                        <a:pt x="57517" y="1439894"/>
                        <a:pt x="54127" y="1436854"/>
                        <a:pt x="47346" y="1431787"/>
                      </a:cubicBezTo>
                      <a:close/>
                      <a:moveTo>
                        <a:pt x="25874" y="1415573"/>
                      </a:moveTo>
                      <a:cubicBezTo>
                        <a:pt x="23613" y="1418613"/>
                        <a:pt x="15703" y="1422667"/>
                        <a:pt x="14572" y="1425707"/>
                      </a:cubicBezTo>
                      <a:cubicBezTo>
                        <a:pt x="13442" y="1428747"/>
                        <a:pt x="15703" y="1430774"/>
                        <a:pt x="14572" y="1432800"/>
                      </a:cubicBezTo>
                      <a:lnTo>
                        <a:pt x="20223" y="1432800"/>
                      </a:lnTo>
                      <a:cubicBezTo>
                        <a:pt x="21353" y="1433814"/>
                        <a:pt x="22483" y="1433814"/>
                        <a:pt x="22483" y="1433814"/>
                      </a:cubicBezTo>
                      <a:cubicBezTo>
                        <a:pt x="22483" y="1433814"/>
                        <a:pt x="23613" y="1433814"/>
                        <a:pt x="28134" y="1435840"/>
                      </a:cubicBezTo>
                      <a:cubicBezTo>
                        <a:pt x="31524" y="1431787"/>
                        <a:pt x="34914" y="1428747"/>
                        <a:pt x="39435" y="1423680"/>
                      </a:cubicBezTo>
                      <a:cubicBezTo>
                        <a:pt x="36045" y="1420640"/>
                        <a:pt x="29264" y="1417600"/>
                        <a:pt x="25874" y="1415573"/>
                      </a:cubicBezTo>
                      <a:close/>
                      <a:moveTo>
                        <a:pt x="25874" y="1318291"/>
                      </a:moveTo>
                      <a:cubicBezTo>
                        <a:pt x="25874" y="1323358"/>
                        <a:pt x="23613" y="1327411"/>
                        <a:pt x="23613" y="1335518"/>
                      </a:cubicBezTo>
                      <a:cubicBezTo>
                        <a:pt x="19093" y="1337545"/>
                        <a:pt x="21353" y="1332478"/>
                        <a:pt x="21353" y="1330452"/>
                      </a:cubicBezTo>
                      <a:cubicBezTo>
                        <a:pt x="21353" y="1330452"/>
                        <a:pt x="8922" y="1334505"/>
                        <a:pt x="15703" y="1335518"/>
                      </a:cubicBezTo>
                      <a:lnTo>
                        <a:pt x="10052" y="1347678"/>
                      </a:lnTo>
                      <a:cubicBezTo>
                        <a:pt x="10052" y="1354772"/>
                        <a:pt x="14572" y="1358826"/>
                        <a:pt x="15703" y="1361865"/>
                      </a:cubicBezTo>
                      <a:cubicBezTo>
                        <a:pt x="15703" y="1361865"/>
                        <a:pt x="14572" y="1356799"/>
                        <a:pt x="17963" y="1359839"/>
                      </a:cubicBezTo>
                      <a:cubicBezTo>
                        <a:pt x="19093" y="1360852"/>
                        <a:pt x="19093" y="1373012"/>
                        <a:pt x="15703" y="1369972"/>
                      </a:cubicBezTo>
                      <a:lnTo>
                        <a:pt x="15703" y="1375039"/>
                      </a:lnTo>
                      <a:cubicBezTo>
                        <a:pt x="21353" y="1377066"/>
                        <a:pt x="21353" y="1374026"/>
                        <a:pt x="23613" y="1380106"/>
                      </a:cubicBezTo>
                      <a:cubicBezTo>
                        <a:pt x="21353" y="1381120"/>
                        <a:pt x="16833" y="1388213"/>
                        <a:pt x="15703" y="1390239"/>
                      </a:cubicBezTo>
                      <a:lnTo>
                        <a:pt x="13442" y="1390239"/>
                      </a:lnTo>
                      <a:cubicBezTo>
                        <a:pt x="11182" y="1402400"/>
                        <a:pt x="19093" y="1408480"/>
                        <a:pt x="24743" y="1414560"/>
                      </a:cubicBezTo>
                      <a:cubicBezTo>
                        <a:pt x="22483" y="1415573"/>
                        <a:pt x="31524" y="1413546"/>
                        <a:pt x="30394" y="1412533"/>
                      </a:cubicBezTo>
                      <a:cubicBezTo>
                        <a:pt x="32654" y="1411520"/>
                        <a:pt x="36045" y="1410506"/>
                        <a:pt x="36045" y="1410506"/>
                      </a:cubicBezTo>
                      <a:cubicBezTo>
                        <a:pt x="36045" y="1411520"/>
                        <a:pt x="40565" y="1417600"/>
                        <a:pt x="41695" y="1417600"/>
                      </a:cubicBezTo>
                      <a:cubicBezTo>
                        <a:pt x="48476" y="1418613"/>
                        <a:pt x="45086" y="1413546"/>
                        <a:pt x="49606" y="1415573"/>
                      </a:cubicBezTo>
                      <a:cubicBezTo>
                        <a:pt x="50736" y="1405440"/>
                        <a:pt x="57517" y="1391253"/>
                        <a:pt x="57517" y="1384159"/>
                      </a:cubicBezTo>
                      <a:cubicBezTo>
                        <a:pt x="58647" y="1362879"/>
                        <a:pt x="51866" y="1340585"/>
                        <a:pt x="46216" y="1321331"/>
                      </a:cubicBezTo>
                      <a:cubicBezTo>
                        <a:pt x="38305" y="1318291"/>
                        <a:pt x="32654" y="1319304"/>
                        <a:pt x="25874" y="1318291"/>
                      </a:cubicBezTo>
                      <a:close/>
                      <a:moveTo>
                        <a:pt x="72209" y="1174394"/>
                      </a:moveTo>
                      <a:cubicBezTo>
                        <a:pt x="69948" y="1175408"/>
                        <a:pt x="67688" y="1181488"/>
                        <a:pt x="66558" y="1181488"/>
                      </a:cubicBezTo>
                      <a:cubicBezTo>
                        <a:pt x="62038" y="1183515"/>
                        <a:pt x="60907" y="1179461"/>
                        <a:pt x="58647" y="1179461"/>
                      </a:cubicBezTo>
                      <a:cubicBezTo>
                        <a:pt x="56387" y="1184528"/>
                        <a:pt x="54127" y="1183515"/>
                        <a:pt x="50736" y="1186555"/>
                      </a:cubicBezTo>
                      <a:cubicBezTo>
                        <a:pt x="52996" y="1190608"/>
                        <a:pt x="50736" y="1194662"/>
                        <a:pt x="52996" y="1198715"/>
                      </a:cubicBezTo>
                      <a:cubicBezTo>
                        <a:pt x="55257" y="1201755"/>
                        <a:pt x="60907" y="1202768"/>
                        <a:pt x="64298" y="1205808"/>
                      </a:cubicBezTo>
                      <a:cubicBezTo>
                        <a:pt x="57517" y="1208849"/>
                        <a:pt x="55257" y="1207835"/>
                        <a:pt x="48476" y="1210875"/>
                      </a:cubicBezTo>
                      <a:cubicBezTo>
                        <a:pt x="48476" y="1211889"/>
                        <a:pt x="48476" y="1217969"/>
                        <a:pt x="48476" y="1217969"/>
                      </a:cubicBezTo>
                      <a:cubicBezTo>
                        <a:pt x="50736" y="1218982"/>
                        <a:pt x="50736" y="1221009"/>
                        <a:pt x="54127" y="1219996"/>
                      </a:cubicBezTo>
                      <a:cubicBezTo>
                        <a:pt x="54127" y="1219996"/>
                        <a:pt x="58647" y="1212902"/>
                        <a:pt x="59777" y="1212902"/>
                      </a:cubicBezTo>
                      <a:cubicBezTo>
                        <a:pt x="69948" y="1209862"/>
                        <a:pt x="74469" y="1210875"/>
                        <a:pt x="84640" y="1207835"/>
                      </a:cubicBezTo>
                      <a:lnTo>
                        <a:pt x="84640" y="1202768"/>
                      </a:lnTo>
                      <a:cubicBezTo>
                        <a:pt x="80119" y="1200742"/>
                        <a:pt x="75599" y="1201755"/>
                        <a:pt x="68818" y="1200742"/>
                      </a:cubicBezTo>
                      <a:cubicBezTo>
                        <a:pt x="68818" y="1200742"/>
                        <a:pt x="68818" y="1193649"/>
                        <a:pt x="68818" y="1193649"/>
                      </a:cubicBezTo>
                      <a:cubicBezTo>
                        <a:pt x="75599" y="1192635"/>
                        <a:pt x="76729" y="1193649"/>
                        <a:pt x="82380" y="1191622"/>
                      </a:cubicBezTo>
                      <a:cubicBezTo>
                        <a:pt x="80119" y="1184528"/>
                        <a:pt x="81249" y="1182501"/>
                        <a:pt x="80119" y="1174394"/>
                      </a:cubicBezTo>
                      <a:lnTo>
                        <a:pt x="72209" y="1174394"/>
                      </a:lnTo>
                      <a:close/>
                      <a:moveTo>
                        <a:pt x="72209" y="1162234"/>
                      </a:moveTo>
                      <a:cubicBezTo>
                        <a:pt x="68818" y="1163248"/>
                        <a:pt x="68818" y="1166288"/>
                        <a:pt x="74469" y="1167301"/>
                      </a:cubicBezTo>
                      <a:cubicBezTo>
                        <a:pt x="74469" y="1164261"/>
                        <a:pt x="76729" y="1161221"/>
                        <a:pt x="72209" y="1162234"/>
                      </a:cubicBezTo>
                      <a:close/>
                      <a:moveTo>
                        <a:pt x="64298" y="1150074"/>
                      </a:moveTo>
                      <a:lnTo>
                        <a:pt x="62038" y="1157167"/>
                      </a:lnTo>
                      <a:cubicBezTo>
                        <a:pt x="64298" y="1157167"/>
                        <a:pt x="66558" y="1158181"/>
                        <a:pt x="69948" y="1159194"/>
                      </a:cubicBezTo>
                      <a:cubicBezTo>
                        <a:pt x="67688" y="1155140"/>
                        <a:pt x="69948" y="1149061"/>
                        <a:pt x="64298" y="1150074"/>
                      </a:cubicBezTo>
                      <a:close/>
                      <a:moveTo>
                        <a:pt x="64298" y="1135887"/>
                      </a:moveTo>
                      <a:cubicBezTo>
                        <a:pt x="64298" y="1135887"/>
                        <a:pt x="62038" y="1142981"/>
                        <a:pt x="62038" y="1146021"/>
                      </a:cubicBezTo>
                      <a:cubicBezTo>
                        <a:pt x="63167" y="1145007"/>
                        <a:pt x="66558" y="1148047"/>
                        <a:pt x="67688" y="1148047"/>
                      </a:cubicBezTo>
                      <a:cubicBezTo>
                        <a:pt x="66558" y="1145007"/>
                        <a:pt x="68818" y="1132847"/>
                        <a:pt x="64298" y="1135887"/>
                      </a:cubicBezTo>
                      <a:close/>
                      <a:moveTo>
                        <a:pt x="88030" y="1030498"/>
                      </a:moveTo>
                      <a:lnTo>
                        <a:pt x="82380" y="1035564"/>
                      </a:lnTo>
                      <a:cubicBezTo>
                        <a:pt x="75599" y="1036578"/>
                        <a:pt x="77859" y="1032524"/>
                        <a:pt x="71078" y="1033538"/>
                      </a:cubicBezTo>
                      <a:cubicBezTo>
                        <a:pt x="68818" y="1059885"/>
                        <a:pt x="71078" y="1076099"/>
                        <a:pt x="65428" y="1101433"/>
                      </a:cubicBezTo>
                      <a:cubicBezTo>
                        <a:pt x="69948" y="1102446"/>
                        <a:pt x="69948" y="1099406"/>
                        <a:pt x="71078" y="1103460"/>
                      </a:cubicBezTo>
                      <a:cubicBezTo>
                        <a:pt x="73339" y="1102446"/>
                        <a:pt x="78989" y="1103460"/>
                        <a:pt x="82380" y="1103460"/>
                      </a:cubicBezTo>
                      <a:cubicBezTo>
                        <a:pt x="84640" y="1100420"/>
                        <a:pt x="90291" y="1097380"/>
                        <a:pt x="90291" y="1096366"/>
                      </a:cubicBezTo>
                      <a:cubicBezTo>
                        <a:pt x="91420" y="1093326"/>
                        <a:pt x="89160" y="1089272"/>
                        <a:pt x="90291" y="1086232"/>
                      </a:cubicBezTo>
                      <a:lnTo>
                        <a:pt x="95941" y="1086232"/>
                      </a:lnTo>
                      <a:cubicBezTo>
                        <a:pt x="99331" y="1074072"/>
                        <a:pt x="85770" y="1076099"/>
                        <a:pt x="98201" y="1066979"/>
                      </a:cubicBezTo>
                      <a:cubicBezTo>
                        <a:pt x="95941" y="1066979"/>
                        <a:pt x="89160" y="1065965"/>
                        <a:pt x="84640" y="1064952"/>
                      </a:cubicBezTo>
                      <a:cubicBezTo>
                        <a:pt x="88030" y="1058872"/>
                        <a:pt x="86900" y="1057858"/>
                        <a:pt x="90291" y="1050765"/>
                      </a:cubicBezTo>
                      <a:lnTo>
                        <a:pt x="95941" y="1050765"/>
                      </a:lnTo>
                      <a:cubicBezTo>
                        <a:pt x="98201" y="1045698"/>
                        <a:pt x="94811" y="1039618"/>
                        <a:pt x="95941" y="1033538"/>
                      </a:cubicBezTo>
                      <a:lnTo>
                        <a:pt x="88030" y="103049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7" name="Freeform: Shape 426">
                  <a:extLst>
                    <a:ext uri="{FF2B5EF4-FFF2-40B4-BE49-F238E27FC236}">
                      <a16:creationId xmlns:a16="http://schemas.microsoft.com/office/drawing/2014/main" id="{9C5E2FA7-46DE-4F67-AFE1-C8801E763F4A}"/>
                    </a:ext>
                  </a:extLst>
                </p:cNvPr>
                <p:cNvSpPr/>
                <p:nvPr/>
              </p:nvSpPr>
              <p:spPr>
                <a:xfrm>
                  <a:off x="6373595" y="3323296"/>
                  <a:ext cx="384241" cy="658682"/>
                </a:xfrm>
                <a:custGeom>
                  <a:avLst/>
                  <a:gdLst>
                    <a:gd name="connsiteX0" fmla="*/ 28134 w 384240"/>
                    <a:gd name="connsiteY0" fmla="*/ 418410 h 658681"/>
                    <a:gd name="connsiteX1" fmla="*/ 51867 w 384240"/>
                    <a:gd name="connsiteY1" fmla="*/ 439690 h 658681"/>
                    <a:gd name="connsiteX2" fmla="*/ 56387 w 384240"/>
                    <a:gd name="connsiteY2" fmla="*/ 457930 h 658681"/>
                    <a:gd name="connsiteX3" fmla="*/ 62038 w 384240"/>
                    <a:gd name="connsiteY3" fmla="*/ 474144 h 658681"/>
                    <a:gd name="connsiteX4" fmla="*/ 62038 w 384240"/>
                    <a:gd name="connsiteY4" fmla="*/ 485291 h 658681"/>
                    <a:gd name="connsiteX5" fmla="*/ 56387 w 384240"/>
                    <a:gd name="connsiteY5" fmla="*/ 496438 h 658681"/>
                    <a:gd name="connsiteX6" fmla="*/ 65428 w 384240"/>
                    <a:gd name="connsiteY6" fmla="*/ 522785 h 658681"/>
                    <a:gd name="connsiteX7" fmla="*/ 68818 w 384240"/>
                    <a:gd name="connsiteY7" fmla="*/ 543052 h 658681"/>
                    <a:gd name="connsiteX8" fmla="*/ 73339 w 384240"/>
                    <a:gd name="connsiteY8" fmla="*/ 557240 h 658681"/>
                    <a:gd name="connsiteX9" fmla="*/ 29264 w 384240"/>
                    <a:gd name="connsiteY9" fmla="*/ 558253 h 658681"/>
                    <a:gd name="connsiteX10" fmla="*/ 23614 w 384240"/>
                    <a:gd name="connsiteY10" fmla="*/ 577507 h 658681"/>
                    <a:gd name="connsiteX11" fmla="*/ 49606 w 384240"/>
                    <a:gd name="connsiteY11" fmla="*/ 605881 h 658681"/>
                    <a:gd name="connsiteX12" fmla="*/ 59778 w 384240"/>
                    <a:gd name="connsiteY12" fmla="*/ 636281 h 658681"/>
                    <a:gd name="connsiteX13" fmla="*/ 49606 w 384240"/>
                    <a:gd name="connsiteY13" fmla="*/ 655535 h 658681"/>
                    <a:gd name="connsiteX14" fmla="*/ 64298 w 384240"/>
                    <a:gd name="connsiteY14" fmla="*/ 654522 h 658681"/>
                    <a:gd name="connsiteX15" fmla="*/ 81249 w 384240"/>
                    <a:gd name="connsiteY15" fmla="*/ 655535 h 658681"/>
                    <a:gd name="connsiteX16" fmla="*/ 91421 w 384240"/>
                    <a:gd name="connsiteY16" fmla="*/ 640335 h 658681"/>
                    <a:gd name="connsiteX17" fmla="*/ 108373 w 384240"/>
                    <a:gd name="connsiteY17" fmla="*/ 648442 h 658681"/>
                    <a:gd name="connsiteX18" fmla="*/ 151317 w 384240"/>
                    <a:gd name="connsiteY18" fmla="*/ 640335 h 658681"/>
                    <a:gd name="connsiteX19" fmla="*/ 179570 w 384240"/>
                    <a:gd name="connsiteY19" fmla="*/ 624121 h 658681"/>
                    <a:gd name="connsiteX20" fmla="*/ 205563 w 384240"/>
                    <a:gd name="connsiteY20" fmla="*/ 609934 h 658681"/>
                    <a:gd name="connsiteX21" fmla="*/ 196522 w 384240"/>
                    <a:gd name="connsiteY21" fmla="*/ 589667 h 658681"/>
                    <a:gd name="connsiteX22" fmla="*/ 237206 w 384240"/>
                    <a:gd name="connsiteY22" fmla="*/ 575480 h 658681"/>
                    <a:gd name="connsiteX23" fmla="*/ 258678 w 384240"/>
                    <a:gd name="connsiteY23" fmla="*/ 566360 h 658681"/>
                    <a:gd name="connsiteX24" fmla="*/ 271110 w 384240"/>
                    <a:gd name="connsiteY24" fmla="*/ 551159 h 658681"/>
                    <a:gd name="connsiteX25" fmla="*/ 292582 w 384240"/>
                    <a:gd name="connsiteY25" fmla="*/ 541026 h 658681"/>
                    <a:gd name="connsiteX26" fmla="*/ 302753 w 384240"/>
                    <a:gd name="connsiteY26" fmla="*/ 527852 h 658681"/>
                    <a:gd name="connsiteX27" fmla="*/ 320835 w 384240"/>
                    <a:gd name="connsiteY27" fmla="*/ 514678 h 658681"/>
                    <a:gd name="connsiteX28" fmla="*/ 317445 w 384240"/>
                    <a:gd name="connsiteY28" fmla="*/ 501505 h 658681"/>
                    <a:gd name="connsiteX29" fmla="*/ 311794 w 384240"/>
                    <a:gd name="connsiteY29" fmla="*/ 486305 h 658681"/>
                    <a:gd name="connsiteX30" fmla="*/ 311794 w 384240"/>
                    <a:gd name="connsiteY30" fmla="*/ 472117 h 658681"/>
                    <a:gd name="connsiteX31" fmla="*/ 310664 w 384240"/>
                    <a:gd name="connsiteY31" fmla="*/ 464011 h 658681"/>
                    <a:gd name="connsiteX32" fmla="*/ 317445 w 384240"/>
                    <a:gd name="connsiteY32" fmla="*/ 444757 h 658681"/>
                    <a:gd name="connsiteX33" fmla="*/ 302753 w 384240"/>
                    <a:gd name="connsiteY33" fmla="*/ 435637 h 658681"/>
                    <a:gd name="connsiteX34" fmla="*/ 285801 w 384240"/>
                    <a:gd name="connsiteY34" fmla="*/ 434623 h 658681"/>
                    <a:gd name="connsiteX35" fmla="*/ 290322 w 384240"/>
                    <a:gd name="connsiteY35" fmla="*/ 421449 h 658681"/>
                    <a:gd name="connsiteX36" fmla="*/ 300493 w 384240"/>
                    <a:gd name="connsiteY36" fmla="*/ 406249 h 658681"/>
                    <a:gd name="connsiteX37" fmla="*/ 309534 w 384240"/>
                    <a:gd name="connsiteY37" fmla="*/ 395102 h 658681"/>
                    <a:gd name="connsiteX38" fmla="*/ 318575 w 384240"/>
                    <a:gd name="connsiteY38" fmla="*/ 370782 h 658681"/>
                    <a:gd name="connsiteX39" fmla="*/ 324225 w 384240"/>
                    <a:gd name="connsiteY39" fmla="*/ 356595 h 658681"/>
                    <a:gd name="connsiteX40" fmla="*/ 333267 w 384240"/>
                    <a:gd name="connsiteY40" fmla="*/ 340381 h 658681"/>
                    <a:gd name="connsiteX41" fmla="*/ 340047 w 384240"/>
                    <a:gd name="connsiteY41" fmla="*/ 320114 h 658681"/>
                    <a:gd name="connsiteX42" fmla="*/ 356999 w 384240"/>
                    <a:gd name="connsiteY42" fmla="*/ 317074 h 658681"/>
                    <a:gd name="connsiteX43" fmla="*/ 382991 w 384240"/>
                    <a:gd name="connsiteY43" fmla="*/ 317074 h 658681"/>
                    <a:gd name="connsiteX44" fmla="*/ 382991 w 384240"/>
                    <a:gd name="connsiteY44" fmla="*/ 169124 h 658681"/>
                    <a:gd name="connsiteX45" fmla="*/ 74469 w 384240"/>
                    <a:gd name="connsiteY45" fmla="*/ 9013 h 658681"/>
                    <a:gd name="connsiteX46" fmla="*/ 39436 w 384240"/>
                    <a:gd name="connsiteY46" fmla="*/ 32321 h 658681"/>
                    <a:gd name="connsiteX47" fmla="*/ 59778 w 384240"/>
                    <a:gd name="connsiteY47" fmla="*/ 112376 h 658681"/>
                    <a:gd name="connsiteX48" fmla="*/ 74469 w 384240"/>
                    <a:gd name="connsiteY48" fmla="*/ 146830 h 658681"/>
                    <a:gd name="connsiteX49" fmla="*/ 63168 w 384240"/>
                    <a:gd name="connsiteY49" fmla="*/ 178244 h 658681"/>
                    <a:gd name="connsiteX50" fmla="*/ 63168 w 384240"/>
                    <a:gd name="connsiteY50" fmla="*/ 309980 h 658681"/>
                    <a:gd name="connsiteX51" fmla="*/ 10052 w 384240"/>
                    <a:gd name="connsiteY51" fmla="*/ 350514 h 658681"/>
                    <a:gd name="connsiteX52" fmla="*/ 10052 w 384240"/>
                    <a:gd name="connsiteY52" fmla="*/ 385982 h 658681"/>
                    <a:gd name="connsiteX53" fmla="*/ 28134 w 384240"/>
                    <a:gd name="connsiteY53" fmla="*/ 418410 h 658681"/>
                    <a:gd name="connsiteX54" fmla="*/ 11183 w 384240"/>
                    <a:gd name="connsiteY54" fmla="*/ 384969 h 658681"/>
                    <a:gd name="connsiteX55" fmla="*/ 22484 w 384240"/>
                    <a:gd name="connsiteY55" fmla="*/ 384969 h 658681"/>
                    <a:gd name="connsiteX56" fmla="*/ 22484 w 384240"/>
                    <a:gd name="connsiteY56" fmla="*/ 395102 h 658681"/>
                    <a:gd name="connsiteX57" fmla="*/ 41695 w 384240"/>
                    <a:gd name="connsiteY57" fmla="*/ 402196 h 658681"/>
                    <a:gd name="connsiteX58" fmla="*/ 68818 w 384240"/>
                    <a:gd name="connsiteY58" fmla="*/ 404223 h 658681"/>
                    <a:gd name="connsiteX59" fmla="*/ 71079 w 384240"/>
                    <a:gd name="connsiteY59" fmla="*/ 416383 h 658681"/>
                    <a:gd name="connsiteX60" fmla="*/ 65428 w 384240"/>
                    <a:gd name="connsiteY60" fmla="*/ 418410 h 658681"/>
                    <a:gd name="connsiteX61" fmla="*/ 57517 w 384240"/>
                    <a:gd name="connsiteY61" fmla="*/ 411316 h 658681"/>
                    <a:gd name="connsiteX62" fmla="*/ 30394 w 384240"/>
                    <a:gd name="connsiteY62" fmla="*/ 416383 h 658681"/>
                    <a:gd name="connsiteX63" fmla="*/ 11183 w 384240"/>
                    <a:gd name="connsiteY63" fmla="*/ 384969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4240" h="658681">
                      <a:moveTo>
                        <a:pt x="28134" y="418410"/>
                      </a:moveTo>
                      <a:cubicBezTo>
                        <a:pt x="28134" y="418410"/>
                        <a:pt x="46216" y="433610"/>
                        <a:pt x="51867" y="439690"/>
                      </a:cubicBezTo>
                      <a:cubicBezTo>
                        <a:pt x="57517" y="445770"/>
                        <a:pt x="50737" y="452864"/>
                        <a:pt x="56387" y="457930"/>
                      </a:cubicBezTo>
                      <a:cubicBezTo>
                        <a:pt x="62038" y="462997"/>
                        <a:pt x="63168" y="469077"/>
                        <a:pt x="62038" y="474144"/>
                      </a:cubicBezTo>
                      <a:cubicBezTo>
                        <a:pt x="60907" y="479211"/>
                        <a:pt x="62038" y="485291"/>
                        <a:pt x="62038" y="485291"/>
                      </a:cubicBezTo>
                      <a:cubicBezTo>
                        <a:pt x="62038" y="485291"/>
                        <a:pt x="56387" y="488331"/>
                        <a:pt x="56387" y="496438"/>
                      </a:cubicBezTo>
                      <a:cubicBezTo>
                        <a:pt x="56387" y="504545"/>
                        <a:pt x="62038" y="517718"/>
                        <a:pt x="65428" y="522785"/>
                      </a:cubicBezTo>
                      <a:cubicBezTo>
                        <a:pt x="68818" y="527852"/>
                        <a:pt x="64298" y="536972"/>
                        <a:pt x="68818" y="543052"/>
                      </a:cubicBezTo>
                      <a:cubicBezTo>
                        <a:pt x="73339" y="549133"/>
                        <a:pt x="73339" y="557240"/>
                        <a:pt x="73339" y="557240"/>
                      </a:cubicBezTo>
                      <a:cubicBezTo>
                        <a:pt x="73339" y="557240"/>
                        <a:pt x="36045" y="553186"/>
                        <a:pt x="29264" y="558253"/>
                      </a:cubicBezTo>
                      <a:cubicBezTo>
                        <a:pt x="22484" y="563319"/>
                        <a:pt x="17963" y="573453"/>
                        <a:pt x="23614" y="577507"/>
                      </a:cubicBezTo>
                      <a:cubicBezTo>
                        <a:pt x="29264" y="581560"/>
                        <a:pt x="43956" y="601827"/>
                        <a:pt x="49606" y="605881"/>
                      </a:cubicBezTo>
                      <a:cubicBezTo>
                        <a:pt x="55257" y="609934"/>
                        <a:pt x="59778" y="636281"/>
                        <a:pt x="59778" y="636281"/>
                      </a:cubicBezTo>
                      <a:lnTo>
                        <a:pt x="49606" y="655535"/>
                      </a:lnTo>
                      <a:lnTo>
                        <a:pt x="64298" y="654522"/>
                      </a:lnTo>
                      <a:lnTo>
                        <a:pt x="81249" y="655535"/>
                      </a:lnTo>
                      <a:lnTo>
                        <a:pt x="91421" y="640335"/>
                      </a:lnTo>
                      <a:cubicBezTo>
                        <a:pt x="91421" y="640335"/>
                        <a:pt x="100462" y="648442"/>
                        <a:pt x="108373" y="648442"/>
                      </a:cubicBezTo>
                      <a:cubicBezTo>
                        <a:pt x="116284" y="648442"/>
                        <a:pt x="141146" y="642361"/>
                        <a:pt x="151317" y="640335"/>
                      </a:cubicBezTo>
                      <a:cubicBezTo>
                        <a:pt x="161488" y="639321"/>
                        <a:pt x="169399" y="635268"/>
                        <a:pt x="179570" y="624121"/>
                      </a:cubicBezTo>
                      <a:cubicBezTo>
                        <a:pt x="189741" y="612974"/>
                        <a:pt x="195392" y="615001"/>
                        <a:pt x="205563" y="609934"/>
                      </a:cubicBezTo>
                      <a:cubicBezTo>
                        <a:pt x="215734" y="604867"/>
                        <a:pt x="188611" y="599800"/>
                        <a:pt x="196522" y="589667"/>
                      </a:cubicBezTo>
                      <a:cubicBezTo>
                        <a:pt x="205563" y="579533"/>
                        <a:pt x="228165" y="583587"/>
                        <a:pt x="237206" y="575480"/>
                      </a:cubicBezTo>
                      <a:cubicBezTo>
                        <a:pt x="246247" y="567373"/>
                        <a:pt x="248508" y="567373"/>
                        <a:pt x="258678" y="566360"/>
                      </a:cubicBezTo>
                      <a:cubicBezTo>
                        <a:pt x="268850" y="565346"/>
                        <a:pt x="265459" y="555213"/>
                        <a:pt x="271110" y="551159"/>
                      </a:cubicBezTo>
                      <a:cubicBezTo>
                        <a:pt x="276761" y="547106"/>
                        <a:pt x="285801" y="543052"/>
                        <a:pt x="292582" y="541026"/>
                      </a:cubicBezTo>
                      <a:cubicBezTo>
                        <a:pt x="299363" y="537986"/>
                        <a:pt x="298233" y="537986"/>
                        <a:pt x="302753" y="527852"/>
                      </a:cubicBezTo>
                      <a:cubicBezTo>
                        <a:pt x="307273" y="517718"/>
                        <a:pt x="320835" y="514678"/>
                        <a:pt x="320835" y="514678"/>
                      </a:cubicBezTo>
                      <a:cubicBezTo>
                        <a:pt x="320835" y="514678"/>
                        <a:pt x="325356" y="508598"/>
                        <a:pt x="317445" y="501505"/>
                      </a:cubicBezTo>
                      <a:cubicBezTo>
                        <a:pt x="309534" y="494411"/>
                        <a:pt x="307273" y="495425"/>
                        <a:pt x="311794" y="486305"/>
                      </a:cubicBezTo>
                      <a:cubicBezTo>
                        <a:pt x="316315" y="477184"/>
                        <a:pt x="311794" y="472117"/>
                        <a:pt x="311794" y="472117"/>
                      </a:cubicBezTo>
                      <a:lnTo>
                        <a:pt x="310664" y="464011"/>
                      </a:lnTo>
                      <a:cubicBezTo>
                        <a:pt x="309534" y="455904"/>
                        <a:pt x="321965" y="450837"/>
                        <a:pt x="317445" y="444757"/>
                      </a:cubicBezTo>
                      <a:cubicBezTo>
                        <a:pt x="312924" y="438677"/>
                        <a:pt x="310664" y="435637"/>
                        <a:pt x="302753" y="435637"/>
                      </a:cubicBezTo>
                      <a:cubicBezTo>
                        <a:pt x="294842" y="435637"/>
                        <a:pt x="285801" y="440703"/>
                        <a:pt x="285801" y="434623"/>
                      </a:cubicBezTo>
                      <a:cubicBezTo>
                        <a:pt x="285801" y="428543"/>
                        <a:pt x="282411" y="425503"/>
                        <a:pt x="290322" y="421449"/>
                      </a:cubicBezTo>
                      <a:cubicBezTo>
                        <a:pt x="297103" y="417396"/>
                        <a:pt x="300493" y="416383"/>
                        <a:pt x="300493" y="406249"/>
                      </a:cubicBezTo>
                      <a:cubicBezTo>
                        <a:pt x="300493" y="396116"/>
                        <a:pt x="300493" y="401182"/>
                        <a:pt x="309534" y="395102"/>
                      </a:cubicBezTo>
                      <a:cubicBezTo>
                        <a:pt x="318575" y="389022"/>
                        <a:pt x="318575" y="378889"/>
                        <a:pt x="318575" y="370782"/>
                      </a:cubicBezTo>
                      <a:cubicBezTo>
                        <a:pt x="318575" y="362675"/>
                        <a:pt x="315184" y="361661"/>
                        <a:pt x="324225" y="356595"/>
                      </a:cubicBezTo>
                      <a:cubicBezTo>
                        <a:pt x="333267" y="351528"/>
                        <a:pt x="336657" y="347475"/>
                        <a:pt x="333267" y="340381"/>
                      </a:cubicBezTo>
                      <a:cubicBezTo>
                        <a:pt x="329876" y="333288"/>
                        <a:pt x="336657" y="329234"/>
                        <a:pt x="340047" y="320114"/>
                      </a:cubicBezTo>
                      <a:cubicBezTo>
                        <a:pt x="343437" y="310994"/>
                        <a:pt x="350218" y="314034"/>
                        <a:pt x="356999" y="317074"/>
                      </a:cubicBezTo>
                      <a:cubicBezTo>
                        <a:pt x="363779" y="320114"/>
                        <a:pt x="382991" y="317074"/>
                        <a:pt x="382991" y="317074"/>
                      </a:cubicBezTo>
                      <a:lnTo>
                        <a:pt x="382991" y="169124"/>
                      </a:lnTo>
                      <a:lnTo>
                        <a:pt x="74469" y="9013"/>
                      </a:lnTo>
                      <a:lnTo>
                        <a:pt x="39436" y="32321"/>
                      </a:lnTo>
                      <a:lnTo>
                        <a:pt x="59778" y="112376"/>
                      </a:lnTo>
                      <a:cubicBezTo>
                        <a:pt x="59778" y="112376"/>
                        <a:pt x="82380" y="137710"/>
                        <a:pt x="74469" y="146830"/>
                      </a:cubicBezTo>
                      <a:cubicBezTo>
                        <a:pt x="66558" y="155950"/>
                        <a:pt x="65428" y="166084"/>
                        <a:pt x="63168" y="178244"/>
                      </a:cubicBezTo>
                      <a:cubicBezTo>
                        <a:pt x="59778" y="191418"/>
                        <a:pt x="63168" y="309980"/>
                        <a:pt x="63168" y="309980"/>
                      </a:cubicBezTo>
                      <a:lnTo>
                        <a:pt x="10052" y="350514"/>
                      </a:lnTo>
                      <a:lnTo>
                        <a:pt x="10052" y="385982"/>
                      </a:lnTo>
                      <a:lnTo>
                        <a:pt x="28134" y="418410"/>
                      </a:lnTo>
                      <a:close/>
                      <a:moveTo>
                        <a:pt x="11183" y="384969"/>
                      </a:moveTo>
                      <a:cubicBezTo>
                        <a:pt x="13442" y="385982"/>
                        <a:pt x="19093" y="383955"/>
                        <a:pt x="22484" y="384969"/>
                      </a:cubicBezTo>
                      <a:cubicBezTo>
                        <a:pt x="23614" y="384969"/>
                        <a:pt x="22484" y="394089"/>
                        <a:pt x="22484" y="395102"/>
                      </a:cubicBezTo>
                      <a:cubicBezTo>
                        <a:pt x="28134" y="397129"/>
                        <a:pt x="36045" y="401182"/>
                        <a:pt x="41695" y="402196"/>
                      </a:cubicBezTo>
                      <a:cubicBezTo>
                        <a:pt x="47346" y="403209"/>
                        <a:pt x="59778" y="404223"/>
                        <a:pt x="68818" y="404223"/>
                      </a:cubicBezTo>
                      <a:cubicBezTo>
                        <a:pt x="68818" y="405236"/>
                        <a:pt x="71079" y="412329"/>
                        <a:pt x="71079" y="416383"/>
                      </a:cubicBezTo>
                      <a:cubicBezTo>
                        <a:pt x="66558" y="414356"/>
                        <a:pt x="69948" y="419423"/>
                        <a:pt x="65428" y="418410"/>
                      </a:cubicBezTo>
                      <a:cubicBezTo>
                        <a:pt x="63168" y="418410"/>
                        <a:pt x="58647" y="411316"/>
                        <a:pt x="57517" y="411316"/>
                      </a:cubicBezTo>
                      <a:cubicBezTo>
                        <a:pt x="46216" y="408276"/>
                        <a:pt x="38305" y="414356"/>
                        <a:pt x="30394" y="416383"/>
                      </a:cubicBezTo>
                      <a:cubicBezTo>
                        <a:pt x="27004" y="410303"/>
                        <a:pt x="8922" y="383955"/>
                        <a:pt x="11183" y="38496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8" name="Freeform: Shape 427">
                  <a:extLst>
                    <a:ext uri="{FF2B5EF4-FFF2-40B4-BE49-F238E27FC236}">
                      <a16:creationId xmlns:a16="http://schemas.microsoft.com/office/drawing/2014/main" id="{DC4ABBBB-02C0-4E43-AEC1-7EE593E941B6}"/>
                    </a:ext>
                  </a:extLst>
                </p:cNvPr>
                <p:cNvSpPr/>
                <p:nvPr/>
              </p:nvSpPr>
              <p:spPr>
                <a:xfrm>
                  <a:off x="6374025" y="3832000"/>
                  <a:ext cx="485951" cy="324274"/>
                </a:xfrm>
                <a:custGeom>
                  <a:avLst/>
                  <a:gdLst>
                    <a:gd name="connsiteX0" fmla="*/ 173489 w 485951"/>
                    <a:gd name="connsiteY0" fmla="*/ 289713 h 324274"/>
                    <a:gd name="connsiteX1" fmla="*/ 176879 w 485951"/>
                    <a:gd name="connsiteY1" fmla="*/ 258299 h 324274"/>
                    <a:gd name="connsiteX2" fmla="*/ 194961 w 485951"/>
                    <a:gd name="connsiteY2" fmla="*/ 242085 h 324274"/>
                    <a:gd name="connsiteX3" fmla="*/ 209653 w 485951"/>
                    <a:gd name="connsiteY3" fmla="*/ 223845 h 324274"/>
                    <a:gd name="connsiteX4" fmla="*/ 236776 w 485951"/>
                    <a:gd name="connsiteY4" fmla="*/ 224859 h 324274"/>
                    <a:gd name="connsiteX5" fmla="*/ 259378 w 485951"/>
                    <a:gd name="connsiteY5" fmla="*/ 243099 h 324274"/>
                    <a:gd name="connsiteX6" fmla="*/ 291022 w 485951"/>
                    <a:gd name="connsiteY6" fmla="*/ 247152 h 324274"/>
                    <a:gd name="connsiteX7" fmla="*/ 313624 w 485951"/>
                    <a:gd name="connsiteY7" fmla="*/ 251206 h 324274"/>
                    <a:gd name="connsiteX8" fmla="*/ 335096 w 485951"/>
                    <a:gd name="connsiteY8" fmla="*/ 255259 h 324274"/>
                    <a:gd name="connsiteX9" fmla="*/ 341877 w 485951"/>
                    <a:gd name="connsiteY9" fmla="*/ 236006 h 324274"/>
                    <a:gd name="connsiteX10" fmla="*/ 364479 w 485951"/>
                    <a:gd name="connsiteY10" fmla="*/ 244112 h 324274"/>
                    <a:gd name="connsiteX11" fmla="*/ 384821 w 485951"/>
                    <a:gd name="connsiteY11" fmla="*/ 240059 h 324274"/>
                    <a:gd name="connsiteX12" fmla="*/ 391602 w 485951"/>
                    <a:gd name="connsiteY12" fmla="*/ 228912 h 324274"/>
                    <a:gd name="connsiteX13" fmla="*/ 406294 w 485951"/>
                    <a:gd name="connsiteY13" fmla="*/ 231952 h 324274"/>
                    <a:gd name="connsiteX14" fmla="*/ 423246 w 485951"/>
                    <a:gd name="connsiteY14" fmla="*/ 220805 h 324274"/>
                    <a:gd name="connsiteX15" fmla="*/ 451499 w 485951"/>
                    <a:gd name="connsiteY15" fmla="*/ 220805 h 324274"/>
                    <a:gd name="connsiteX16" fmla="*/ 462800 w 485951"/>
                    <a:gd name="connsiteY16" fmla="*/ 225872 h 324274"/>
                    <a:gd name="connsiteX17" fmla="*/ 483142 w 485951"/>
                    <a:gd name="connsiteY17" fmla="*/ 224859 h 324274"/>
                    <a:gd name="connsiteX18" fmla="*/ 476361 w 485951"/>
                    <a:gd name="connsiteY18" fmla="*/ 210672 h 324274"/>
                    <a:gd name="connsiteX19" fmla="*/ 470710 w 485951"/>
                    <a:gd name="connsiteY19" fmla="*/ 189391 h 324274"/>
                    <a:gd name="connsiteX20" fmla="*/ 448108 w 485951"/>
                    <a:gd name="connsiteY20" fmla="*/ 171151 h 324274"/>
                    <a:gd name="connsiteX21" fmla="*/ 432286 w 485951"/>
                    <a:gd name="connsiteY21" fmla="*/ 149870 h 324274"/>
                    <a:gd name="connsiteX22" fmla="*/ 417595 w 485951"/>
                    <a:gd name="connsiteY22" fmla="*/ 144803 h 324274"/>
                    <a:gd name="connsiteX23" fmla="*/ 400643 w 485951"/>
                    <a:gd name="connsiteY23" fmla="*/ 133657 h 324274"/>
                    <a:gd name="connsiteX24" fmla="*/ 383691 w 485951"/>
                    <a:gd name="connsiteY24" fmla="*/ 128590 h 324274"/>
                    <a:gd name="connsiteX25" fmla="*/ 368999 w 485951"/>
                    <a:gd name="connsiteY25" fmla="*/ 114403 h 324274"/>
                    <a:gd name="connsiteX26" fmla="*/ 352048 w 485951"/>
                    <a:gd name="connsiteY26" fmla="*/ 85015 h 324274"/>
                    <a:gd name="connsiteX27" fmla="*/ 343007 w 485951"/>
                    <a:gd name="connsiteY27" fmla="*/ 64748 h 324274"/>
                    <a:gd name="connsiteX28" fmla="*/ 338487 w 485951"/>
                    <a:gd name="connsiteY28" fmla="*/ 49548 h 324274"/>
                    <a:gd name="connsiteX29" fmla="*/ 339617 w 485951"/>
                    <a:gd name="connsiteY29" fmla="*/ 28267 h 324274"/>
                    <a:gd name="connsiteX30" fmla="*/ 317014 w 485951"/>
                    <a:gd name="connsiteY30" fmla="*/ 9013 h 324274"/>
                    <a:gd name="connsiteX31" fmla="*/ 298932 w 485951"/>
                    <a:gd name="connsiteY31" fmla="*/ 22187 h 324274"/>
                    <a:gd name="connsiteX32" fmla="*/ 288761 w 485951"/>
                    <a:gd name="connsiteY32" fmla="*/ 35361 h 324274"/>
                    <a:gd name="connsiteX33" fmla="*/ 267289 w 485951"/>
                    <a:gd name="connsiteY33" fmla="*/ 45494 h 324274"/>
                    <a:gd name="connsiteX34" fmla="*/ 254858 w 485951"/>
                    <a:gd name="connsiteY34" fmla="*/ 60695 h 324274"/>
                    <a:gd name="connsiteX35" fmla="*/ 233385 w 485951"/>
                    <a:gd name="connsiteY35" fmla="*/ 69815 h 324274"/>
                    <a:gd name="connsiteX36" fmla="*/ 192701 w 485951"/>
                    <a:gd name="connsiteY36" fmla="*/ 84002 h 324274"/>
                    <a:gd name="connsiteX37" fmla="*/ 201742 w 485951"/>
                    <a:gd name="connsiteY37" fmla="*/ 104269 h 324274"/>
                    <a:gd name="connsiteX38" fmla="*/ 175749 w 485951"/>
                    <a:gd name="connsiteY38" fmla="*/ 118456 h 324274"/>
                    <a:gd name="connsiteX39" fmla="*/ 147496 w 485951"/>
                    <a:gd name="connsiteY39" fmla="*/ 134670 h 324274"/>
                    <a:gd name="connsiteX40" fmla="*/ 104552 w 485951"/>
                    <a:gd name="connsiteY40" fmla="*/ 142777 h 324274"/>
                    <a:gd name="connsiteX41" fmla="*/ 87600 w 485951"/>
                    <a:gd name="connsiteY41" fmla="*/ 134670 h 324274"/>
                    <a:gd name="connsiteX42" fmla="*/ 77429 w 485951"/>
                    <a:gd name="connsiteY42" fmla="*/ 149870 h 324274"/>
                    <a:gd name="connsiteX43" fmla="*/ 60477 w 485951"/>
                    <a:gd name="connsiteY43" fmla="*/ 148857 h 324274"/>
                    <a:gd name="connsiteX44" fmla="*/ 45785 w 485951"/>
                    <a:gd name="connsiteY44" fmla="*/ 149870 h 324274"/>
                    <a:gd name="connsiteX45" fmla="*/ 22053 w 485951"/>
                    <a:gd name="connsiteY45" fmla="*/ 191418 h 324274"/>
                    <a:gd name="connsiteX46" fmla="*/ 13012 w 485951"/>
                    <a:gd name="connsiteY46" fmla="*/ 205605 h 324274"/>
                    <a:gd name="connsiteX47" fmla="*/ 27704 w 485951"/>
                    <a:gd name="connsiteY47" fmla="*/ 219792 h 324274"/>
                    <a:gd name="connsiteX48" fmla="*/ 43525 w 485951"/>
                    <a:gd name="connsiteY48" fmla="*/ 251206 h 324274"/>
                    <a:gd name="connsiteX49" fmla="*/ 59347 w 485951"/>
                    <a:gd name="connsiteY49" fmla="*/ 275526 h 324274"/>
                    <a:gd name="connsiteX50" fmla="*/ 80819 w 485951"/>
                    <a:gd name="connsiteY50" fmla="*/ 295794 h 324274"/>
                    <a:gd name="connsiteX51" fmla="*/ 103421 w 485951"/>
                    <a:gd name="connsiteY51" fmla="*/ 320114 h 324274"/>
                    <a:gd name="connsiteX52" fmla="*/ 120373 w 485951"/>
                    <a:gd name="connsiteY52" fmla="*/ 310994 h 324274"/>
                    <a:gd name="connsiteX53" fmla="*/ 131674 w 485951"/>
                    <a:gd name="connsiteY53" fmla="*/ 297820 h 324274"/>
                    <a:gd name="connsiteX54" fmla="*/ 149757 w 485951"/>
                    <a:gd name="connsiteY54" fmla="*/ 298834 h 324274"/>
                    <a:gd name="connsiteX55" fmla="*/ 173489 w 485951"/>
                    <a:gd name="connsiteY55" fmla="*/ 289713 h 32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85951" h="324274">
                      <a:moveTo>
                        <a:pt x="173489" y="289713"/>
                      </a:moveTo>
                      <a:lnTo>
                        <a:pt x="176879" y="258299"/>
                      </a:lnTo>
                      <a:cubicBezTo>
                        <a:pt x="176879" y="258299"/>
                        <a:pt x="194961" y="252219"/>
                        <a:pt x="194961" y="242085"/>
                      </a:cubicBezTo>
                      <a:cubicBezTo>
                        <a:pt x="194961" y="231952"/>
                        <a:pt x="201742" y="223845"/>
                        <a:pt x="209653" y="223845"/>
                      </a:cubicBezTo>
                      <a:cubicBezTo>
                        <a:pt x="217564" y="223845"/>
                        <a:pt x="225475" y="219792"/>
                        <a:pt x="236776" y="224859"/>
                      </a:cubicBezTo>
                      <a:cubicBezTo>
                        <a:pt x="248077" y="229925"/>
                        <a:pt x="252597" y="239046"/>
                        <a:pt x="259378" y="243099"/>
                      </a:cubicBezTo>
                      <a:cubicBezTo>
                        <a:pt x="266159" y="247152"/>
                        <a:pt x="281981" y="247152"/>
                        <a:pt x="291022" y="247152"/>
                      </a:cubicBezTo>
                      <a:cubicBezTo>
                        <a:pt x="300062" y="247152"/>
                        <a:pt x="302323" y="248166"/>
                        <a:pt x="313624" y="251206"/>
                      </a:cubicBezTo>
                      <a:cubicBezTo>
                        <a:pt x="324925" y="254246"/>
                        <a:pt x="335096" y="255259"/>
                        <a:pt x="335096" y="255259"/>
                      </a:cubicBezTo>
                      <a:cubicBezTo>
                        <a:pt x="335096" y="255259"/>
                        <a:pt x="331706" y="236006"/>
                        <a:pt x="341877" y="236006"/>
                      </a:cubicBezTo>
                      <a:cubicBezTo>
                        <a:pt x="352048" y="236006"/>
                        <a:pt x="352048" y="247152"/>
                        <a:pt x="364479" y="244112"/>
                      </a:cubicBezTo>
                      <a:cubicBezTo>
                        <a:pt x="376910" y="240059"/>
                        <a:pt x="384821" y="240059"/>
                        <a:pt x="384821" y="240059"/>
                      </a:cubicBezTo>
                      <a:cubicBezTo>
                        <a:pt x="384821" y="240059"/>
                        <a:pt x="381431" y="229925"/>
                        <a:pt x="391602" y="228912"/>
                      </a:cubicBezTo>
                      <a:cubicBezTo>
                        <a:pt x="401773" y="227899"/>
                        <a:pt x="394993" y="242085"/>
                        <a:pt x="406294" y="231952"/>
                      </a:cubicBezTo>
                      <a:cubicBezTo>
                        <a:pt x="417595" y="221818"/>
                        <a:pt x="413074" y="220805"/>
                        <a:pt x="423246" y="220805"/>
                      </a:cubicBezTo>
                      <a:cubicBezTo>
                        <a:pt x="433416" y="220805"/>
                        <a:pt x="440197" y="220805"/>
                        <a:pt x="451499" y="220805"/>
                      </a:cubicBezTo>
                      <a:cubicBezTo>
                        <a:pt x="462800" y="220805"/>
                        <a:pt x="457149" y="225872"/>
                        <a:pt x="462800" y="225872"/>
                      </a:cubicBezTo>
                      <a:cubicBezTo>
                        <a:pt x="468450" y="225872"/>
                        <a:pt x="483142" y="224859"/>
                        <a:pt x="483142" y="224859"/>
                      </a:cubicBezTo>
                      <a:cubicBezTo>
                        <a:pt x="483142" y="224859"/>
                        <a:pt x="482011" y="211685"/>
                        <a:pt x="476361" y="210672"/>
                      </a:cubicBezTo>
                      <a:cubicBezTo>
                        <a:pt x="470710" y="209658"/>
                        <a:pt x="475231" y="199525"/>
                        <a:pt x="470710" y="189391"/>
                      </a:cubicBezTo>
                      <a:cubicBezTo>
                        <a:pt x="466190" y="179258"/>
                        <a:pt x="460539" y="174191"/>
                        <a:pt x="448108" y="171151"/>
                      </a:cubicBezTo>
                      <a:cubicBezTo>
                        <a:pt x="435677" y="168111"/>
                        <a:pt x="436807" y="155950"/>
                        <a:pt x="432286" y="149870"/>
                      </a:cubicBezTo>
                      <a:cubicBezTo>
                        <a:pt x="427766" y="143790"/>
                        <a:pt x="425505" y="144803"/>
                        <a:pt x="417595" y="144803"/>
                      </a:cubicBezTo>
                      <a:cubicBezTo>
                        <a:pt x="410814" y="144803"/>
                        <a:pt x="405163" y="138723"/>
                        <a:pt x="400643" y="133657"/>
                      </a:cubicBezTo>
                      <a:cubicBezTo>
                        <a:pt x="396123" y="128590"/>
                        <a:pt x="391602" y="128590"/>
                        <a:pt x="383691" y="128590"/>
                      </a:cubicBezTo>
                      <a:cubicBezTo>
                        <a:pt x="375780" y="128590"/>
                        <a:pt x="374650" y="117443"/>
                        <a:pt x="368999" y="114403"/>
                      </a:cubicBezTo>
                      <a:cubicBezTo>
                        <a:pt x="363349" y="111363"/>
                        <a:pt x="347528" y="96162"/>
                        <a:pt x="352048" y="85015"/>
                      </a:cubicBezTo>
                      <a:cubicBezTo>
                        <a:pt x="356568" y="73869"/>
                        <a:pt x="355438" y="71842"/>
                        <a:pt x="343007" y="64748"/>
                      </a:cubicBezTo>
                      <a:cubicBezTo>
                        <a:pt x="330576" y="57655"/>
                        <a:pt x="336226" y="56641"/>
                        <a:pt x="338487" y="49548"/>
                      </a:cubicBezTo>
                      <a:cubicBezTo>
                        <a:pt x="340746" y="42454"/>
                        <a:pt x="339617" y="28267"/>
                        <a:pt x="339617" y="28267"/>
                      </a:cubicBezTo>
                      <a:lnTo>
                        <a:pt x="317014" y="9013"/>
                      </a:lnTo>
                      <a:cubicBezTo>
                        <a:pt x="317014" y="9013"/>
                        <a:pt x="302323" y="12054"/>
                        <a:pt x="298932" y="22187"/>
                      </a:cubicBezTo>
                      <a:cubicBezTo>
                        <a:pt x="295542" y="32321"/>
                        <a:pt x="295542" y="32321"/>
                        <a:pt x="288761" y="35361"/>
                      </a:cubicBezTo>
                      <a:cubicBezTo>
                        <a:pt x="281981" y="38401"/>
                        <a:pt x="272939" y="41441"/>
                        <a:pt x="267289" y="45494"/>
                      </a:cubicBezTo>
                      <a:cubicBezTo>
                        <a:pt x="261638" y="49548"/>
                        <a:pt x="263898" y="59681"/>
                        <a:pt x="254858" y="60695"/>
                      </a:cubicBezTo>
                      <a:cubicBezTo>
                        <a:pt x="244686" y="61708"/>
                        <a:pt x="243556" y="61708"/>
                        <a:pt x="233385" y="69815"/>
                      </a:cubicBezTo>
                      <a:cubicBezTo>
                        <a:pt x="223214" y="77922"/>
                        <a:pt x="200612" y="73869"/>
                        <a:pt x="192701" y="84002"/>
                      </a:cubicBezTo>
                      <a:cubicBezTo>
                        <a:pt x="183660" y="94136"/>
                        <a:pt x="210783" y="99202"/>
                        <a:pt x="201742" y="104269"/>
                      </a:cubicBezTo>
                      <a:cubicBezTo>
                        <a:pt x="191571" y="109336"/>
                        <a:pt x="185921" y="107309"/>
                        <a:pt x="175749" y="118456"/>
                      </a:cubicBezTo>
                      <a:cubicBezTo>
                        <a:pt x="165578" y="129603"/>
                        <a:pt x="157668" y="133657"/>
                        <a:pt x="147496" y="134670"/>
                      </a:cubicBezTo>
                      <a:cubicBezTo>
                        <a:pt x="137325" y="135683"/>
                        <a:pt x="113593" y="142777"/>
                        <a:pt x="104552" y="142777"/>
                      </a:cubicBezTo>
                      <a:cubicBezTo>
                        <a:pt x="95511" y="142777"/>
                        <a:pt x="87600" y="134670"/>
                        <a:pt x="87600" y="134670"/>
                      </a:cubicBezTo>
                      <a:lnTo>
                        <a:pt x="77429" y="149870"/>
                      </a:lnTo>
                      <a:lnTo>
                        <a:pt x="60477" y="148857"/>
                      </a:lnTo>
                      <a:lnTo>
                        <a:pt x="45785" y="149870"/>
                      </a:lnTo>
                      <a:cubicBezTo>
                        <a:pt x="45785" y="149870"/>
                        <a:pt x="31094" y="186351"/>
                        <a:pt x="22053" y="191418"/>
                      </a:cubicBezTo>
                      <a:cubicBezTo>
                        <a:pt x="11882" y="196484"/>
                        <a:pt x="6231" y="201551"/>
                        <a:pt x="13012" y="205605"/>
                      </a:cubicBezTo>
                      <a:cubicBezTo>
                        <a:pt x="19793" y="209658"/>
                        <a:pt x="24313" y="209658"/>
                        <a:pt x="27704" y="219792"/>
                      </a:cubicBezTo>
                      <a:cubicBezTo>
                        <a:pt x="31094" y="229925"/>
                        <a:pt x="36745" y="240059"/>
                        <a:pt x="43525" y="251206"/>
                      </a:cubicBezTo>
                      <a:cubicBezTo>
                        <a:pt x="50306" y="262353"/>
                        <a:pt x="48046" y="265393"/>
                        <a:pt x="59347" y="275526"/>
                      </a:cubicBezTo>
                      <a:cubicBezTo>
                        <a:pt x="70648" y="285660"/>
                        <a:pt x="74038" y="283633"/>
                        <a:pt x="80819" y="295794"/>
                      </a:cubicBezTo>
                      <a:cubicBezTo>
                        <a:pt x="87600" y="307954"/>
                        <a:pt x="103421" y="320114"/>
                        <a:pt x="103421" y="320114"/>
                      </a:cubicBezTo>
                      <a:cubicBezTo>
                        <a:pt x="103421" y="320114"/>
                        <a:pt x="115853" y="321128"/>
                        <a:pt x="120373" y="310994"/>
                      </a:cubicBezTo>
                      <a:cubicBezTo>
                        <a:pt x="124894" y="300860"/>
                        <a:pt x="120373" y="300860"/>
                        <a:pt x="131674" y="297820"/>
                      </a:cubicBezTo>
                      <a:cubicBezTo>
                        <a:pt x="142975" y="294780"/>
                        <a:pt x="141846" y="301874"/>
                        <a:pt x="149757" y="298834"/>
                      </a:cubicBezTo>
                      <a:cubicBezTo>
                        <a:pt x="157668" y="295794"/>
                        <a:pt x="173489" y="289713"/>
                        <a:pt x="173489" y="2897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9" name="Freeform: Shape 428">
                  <a:extLst>
                    <a:ext uri="{FF2B5EF4-FFF2-40B4-BE49-F238E27FC236}">
                      <a16:creationId xmlns:a16="http://schemas.microsoft.com/office/drawing/2014/main" id="{C446177C-A5D9-4407-9B9B-10D513CEBCEB}"/>
                    </a:ext>
                  </a:extLst>
                </p:cNvPr>
                <p:cNvSpPr/>
                <p:nvPr/>
              </p:nvSpPr>
              <p:spPr>
                <a:xfrm>
                  <a:off x="1520861" y="260798"/>
                  <a:ext cx="2237637" cy="597881"/>
                </a:xfrm>
                <a:custGeom>
                  <a:avLst/>
                  <a:gdLst>
                    <a:gd name="connsiteX0" fmla="*/ 332136 w 2237636"/>
                    <a:gd name="connsiteY0" fmla="*/ 339501 h 597880"/>
                    <a:gd name="connsiteX1" fmla="*/ 320835 w 2237636"/>
                    <a:gd name="connsiteY1" fmla="*/ 373955 h 597880"/>
                    <a:gd name="connsiteX2" fmla="*/ 345698 w 2237636"/>
                    <a:gd name="connsiteY2" fmla="*/ 375982 h 597880"/>
                    <a:gd name="connsiteX3" fmla="*/ 356999 w 2237636"/>
                    <a:gd name="connsiteY3" fmla="*/ 363822 h 597880"/>
                    <a:gd name="connsiteX4" fmla="*/ 332136 w 2237636"/>
                    <a:gd name="connsiteY4" fmla="*/ 339501 h 597880"/>
                    <a:gd name="connsiteX5" fmla="*/ 486963 w 2237636"/>
                    <a:gd name="connsiteY5" fmla="*/ 346595 h 597880"/>
                    <a:gd name="connsiteX6" fmla="*/ 475661 w 2237636"/>
                    <a:gd name="connsiteY6" fmla="*/ 353688 h 597880"/>
                    <a:gd name="connsiteX7" fmla="*/ 456449 w 2237636"/>
                    <a:gd name="connsiteY7" fmla="*/ 351661 h 597880"/>
                    <a:gd name="connsiteX8" fmla="*/ 450799 w 2237636"/>
                    <a:gd name="connsiteY8" fmla="*/ 356728 h 597880"/>
                    <a:gd name="connsiteX9" fmla="*/ 434977 w 2237636"/>
                    <a:gd name="connsiteY9" fmla="*/ 358755 h 597880"/>
                    <a:gd name="connsiteX10" fmla="*/ 432717 w 2237636"/>
                    <a:gd name="connsiteY10" fmla="*/ 363822 h 597880"/>
                    <a:gd name="connsiteX11" fmla="*/ 389772 w 2237636"/>
                    <a:gd name="connsiteY11" fmla="*/ 373955 h 597880"/>
                    <a:gd name="connsiteX12" fmla="*/ 389772 w 2237636"/>
                    <a:gd name="connsiteY12" fmla="*/ 412463 h 597880"/>
                    <a:gd name="connsiteX13" fmla="*/ 401073 w 2237636"/>
                    <a:gd name="connsiteY13" fmla="*/ 412463 h 597880"/>
                    <a:gd name="connsiteX14" fmla="*/ 430457 w 2237636"/>
                    <a:gd name="connsiteY14" fmla="*/ 426650 h 597880"/>
                    <a:gd name="connsiteX15" fmla="*/ 463230 w 2237636"/>
                    <a:gd name="connsiteY15" fmla="*/ 412463 h 597880"/>
                    <a:gd name="connsiteX16" fmla="*/ 482442 w 2237636"/>
                    <a:gd name="connsiteY16" fmla="*/ 412463 h 597880"/>
                    <a:gd name="connsiteX17" fmla="*/ 496003 w 2237636"/>
                    <a:gd name="connsiteY17" fmla="*/ 400302 h 597880"/>
                    <a:gd name="connsiteX18" fmla="*/ 496003 w 2237636"/>
                    <a:gd name="connsiteY18" fmla="*/ 388142 h 597880"/>
                    <a:gd name="connsiteX19" fmla="*/ 484702 w 2237636"/>
                    <a:gd name="connsiteY19" fmla="*/ 375982 h 597880"/>
                    <a:gd name="connsiteX20" fmla="*/ 506175 w 2237636"/>
                    <a:gd name="connsiteY20" fmla="*/ 373955 h 597880"/>
                    <a:gd name="connsiteX21" fmla="*/ 517476 w 2237636"/>
                    <a:gd name="connsiteY21" fmla="*/ 351661 h 597880"/>
                    <a:gd name="connsiteX22" fmla="*/ 501654 w 2237636"/>
                    <a:gd name="connsiteY22" fmla="*/ 351661 h 597880"/>
                    <a:gd name="connsiteX23" fmla="*/ 486963 w 2237636"/>
                    <a:gd name="connsiteY23" fmla="*/ 346595 h 597880"/>
                    <a:gd name="connsiteX24" fmla="*/ 258678 w 2237636"/>
                    <a:gd name="connsiteY24" fmla="*/ 353688 h 597880"/>
                    <a:gd name="connsiteX25" fmla="*/ 253028 w 2237636"/>
                    <a:gd name="connsiteY25" fmla="*/ 360781 h 597880"/>
                    <a:gd name="connsiteX26" fmla="*/ 237206 w 2237636"/>
                    <a:gd name="connsiteY26" fmla="*/ 362808 h 597880"/>
                    <a:gd name="connsiteX27" fmla="*/ 234946 w 2237636"/>
                    <a:gd name="connsiteY27" fmla="*/ 382062 h 597880"/>
                    <a:gd name="connsiteX28" fmla="*/ 159228 w 2237636"/>
                    <a:gd name="connsiteY28" fmla="*/ 376995 h 597880"/>
                    <a:gd name="connsiteX29" fmla="*/ 118544 w 2237636"/>
                    <a:gd name="connsiteY29" fmla="*/ 406383 h 597880"/>
                    <a:gd name="connsiteX30" fmla="*/ 85770 w 2237636"/>
                    <a:gd name="connsiteY30" fmla="*/ 413476 h 597880"/>
                    <a:gd name="connsiteX31" fmla="*/ 80120 w 2237636"/>
                    <a:gd name="connsiteY31" fmla="*/ 425636 h 597880"/>
                    <a:gd name="connsiteX32" fmla="*/ 68818 w 2237636"/>
                    <a:gd name="connsiteY32" fmla="*/ 425636 h 597880"/>
                    <a:gd name="connsiteX33" fmla="*/ 60907 w 2237636"/>
                    <a:gd name="connsiteY33" fmla="*/ 444890 h 597880"/>
                    <a:gd name="connsiteX34" fmla="*/ 36045 w 2237636"/>
                    <a:gd name="connsiteY34" fmla="*/ 446917 h 597880"/>
                    <a:gd name="connsiteX35" fmla="*/ 28134 w 2237636"/>
                    <a:gd name="connsiteY35" fmla="*/ 454010 h 597880"/>
                    <a:gd name="connsiteX36" fmla="*/ 12312 w 2237636"/>
                    <a:gd name="connsiteY36" fmla="*/ 456037 h 597880"/>
                    <a:gd name="connsiteX37" fmla="*/ 10052 w 2237636"/>
                    <a:gd name="connsiteY37" fmla="*/ 463131 h 597880"/>
                    <a:gd name="connsiteX38" fmla="*/ 25874 w 2237636"/>
                    <a:gd name="connsiteY38" fmla="*/ 465157 h 597880"/>
                    <a:gd name="connsiteX39" fmla="*/ 45086 w 2237636"/>
                    <a:gd name="connsiteY39" fmla="*/ 494545 h 597880"/>
                    <a:gd name="connsiteX40" fmla="*/ 56387 w 2237636"/>
                    <a:gd name="connsiteY40" fmla="*/ 494545 h 597880"/>
                    <a:gd name="connsiteX41" fmla="*/ 64298 w 2237636"/>
                    <a:gd name="connsiteY41" fmla="*/ 484411 h 597880"/>
                    <a:gd name="connsiteX42" fmla="*/ 83510 w 2237636"/>
                    <a:gd name="connsiteY42" fmla="*/ 491505 h 597880"/>
                    <a:gd name="connsiteX43" fmla="*/ 91421 w 2237636"/>
                    <a:gd name="connsiteY43" fmla="*/ 489478 h 597880"/>
                    <a:gd name="connsiteX44" fmla="*/ 99332 w 2237636"/>
                    <a:gd name="connsiteY44" fmla="*/ 489478 h 597880"/>
                    <a:gd name="connsiteX45" fmla="*/ 107242 w 2237636"/>
                    <a:gd name="connsiteY45" fmla="*/ 479344 h 597880"/>
                    <a:gd name="connsiteX46" fmla="*/ 112893 w 2237636"/>
                    <a:gd name="connsiteY46" fmla="*/ 486438 h 597880"/>
                    <a:gd name="connsiteX47" fmla="*/ 112893 w 2237636"/>
                    <a:gd name="connsiteY47" fmla="*/ 472251 h 597880"/>
                    <a:gd name="connsiteX48" fmla="*/ 115153 w 2237636"/>
                    <a:gd name="connsiteY48" fmla="*/ 465157 h 597880"/>
                    <a:gd name="connsiteX49" fmla="*/ 126454 w 2237636"/>
                    <a:gd name="connsiteY49" fmla="*/ 491505 h 597880"/>
                    <a:gd name="connsiteX50" fmla="*/ 132105 w 2237636"/>
                    <a:gd name="connsiteY50" fmla="*/ 493531 h 597880"/>
                    <a:gd name="connsiteX51" fmla="*/ 156968 w 2237636"/>
                    <a:gd name="connsiteY51" fmla="*/ 451984 h 597880"/>
                    <a:gd name="connsiteX52" fmla="*/ 164879 w 2237636"/>
                    <a:gd name="connsiteY52" fmla="*/ 464144 h 597880"/>
                    <a:gd name="connsiteX53" fmla="*/ 172789 w 2237636"/>
                    <a:gd name="connsiteY53" fmla="*/ 464144 h 597880"/>
                    <a:gd name="connsiteX54" fmla="*/ 172789 w 2237636"/>
                    <a:gd name="connsiteY54" fmla="*/ 457050 h 597880"/>
                    <a:gd name="connsiteX55" fmla="*/ 184091 w 2237636"/>
                    <a:gd name="connsiteY55" fmla="*/ 455024 h 597880"/>
                    <a:gd name="connsiteX56" fmla="*/ 181830 w 2237636"/>
                    <a:gd name="connsiteY56" fmla="*/ 432730 h 597880"/>
                    <a:gd name="connsiteX57" fmla="*/ 187481 w 2237636"/>
                    <a:gd name="connsiteY57" fmla="*/ 430703 h 597880"/>
                    <a:gd name="connsiteX58" fmla="*/ 187481 w 2237636"/>
                    <a:gd name="connsiteY58" fmla="*/ 425636 h 597880"/>
                    <a:gd name="connsiteX59" fmla="*/ 193132 w 2237636"/>
                    <a:gd name="connsiteY59" fmla="*/ 432730 h 597880"/>
                    <a:gd name="connsiteX60" fmla="*/ 201042 w 2237636"/>
                    <a:gd name="connsiteY60" fmla="*/ 430703 h 597880"/>
                    <a:gd name="connsiteX61" fmla="*/ 203303 w 2237636"/>
                    <a:gd name="connsiteY61" fmla="*/ 418543 h 597880"/>
                    <a:gd name="connsiteX62" fmla="*/ 211213 w 2237636"/>
                    <a:gd name="connsiteY62" fmla="*/ 413476 h 597880"/>
                    <a:gd name="connsiteX63" fmla="*/ 219124 w 2237636"/>
                    <a:gd name="connsiteY63" fmla="*/ 413476 h 597880"/>
                    <a:gd name="connsiteX64" fmla="*/ 205563 w 2237636"/>
                    <a:gd name="connsiteY64" fmla="*/ 444890 h 597880"/>
                    <a:gd name="connsiteX65" fmla="*/ 224775 w 2237636"/>
                    <a:gd name="connsiteY65" fmla="*/ 455024 h 597880"/>
                    <a:gd name="connsiteX66" fmla="*/ 249637 w 2237636"/>
                    <a:gd name="connsiteY66" fmla="*/ 440837 h 597880"/>
                    <a:gd name="connsiteX67" fmla="*/ 265459 w 2237636"/>
                    <a:gd name="connsiteY67" fmla="*/ 404356 h 597880"/>
                    <a:gd name="connsiteX68" fmla="*/ 292582 w 2237636"/>
                    <a:gd name="connsiteY68" fmla="*/ 414489 h 597880"/>
                    <a:gd name="connsiteX69" fmla="*/ 286931 w 2237636"/>
                    <a:gd name="connsiteY69" fmla="*/ 407396 h 597880"/>
                    <a:gd name="connsiteX70" fmla="*/ 286931 w 2237636"/>
                    <a:gd name="connsiteY70" fmla="*/ 400302 h 597880"/>
                    <a:gd name="connsiteX71" fmla="*/ 294842 w 2237636"/>
                    <a:gd name="connsiteY71" fmla="*/ 398276 h 597880"/>
                    <a:gd name="connsiteX72" fmla="*/ 302753 w 2237636"/>
                    <a:gd name="connsiteY72" fmla="*/ 379022 h 597880"/>
                    <a:gd name="connsiteX73" fmla="*/ 258678 w 2237636"/>
                    <a:gd name="connsiteY73" fmla="*/ 353688 h 597880"/>
                    <a:gd name="connsiteX74" fmla="*/ 514085 w 2237636"/>
                    <a:gd name="connsiteY74" fmla="*/ 412463 h 597880"/>
                    <a:gd name="connsiteX75" fmla="*/ 514085 w 2237636"/>
                    <a:gd name="connsiteY75" fmla="*/ 419556 h 597880"/>
                    <a:gd name="connsiteX76" fmla="*/ 508435 w 2237636"/>
                    <a:gd name="connsiteY76" fmla="*/ 419556 h 597880"/>
                    <a:gd name="connsiteX77" fmla="*/ 500524 w 2237636"/>
                    <a:gd name="connsiteY77" fmla="*/ 417529 h 597880"/>
                    <a:gd name="connsiteX78" fmla="*/ 508435 w 2237636"/>
                    <a:gd name="connsiteY78" fmla="*/ 439823 h 597880"/>
                    <a:gd name="connsiteX79" fmla="*/ 500524 w 2237636"/>
                    <a:gd name="connsiteY79" fmla="*/ 444890 h 597880"/>
                    <a:gd name="connsiteX80" fmla="*/ 500524 w 2237636"/>
                    <a:gd name="connsiteY80" fmla="*/ 469211 h 597880"/>
                    <a:gd name="connsiteX81" fmla="*/ 525387 w 2237636"/>
                    <a:gd name="connsiteY81" fmla="*/ 479344 h 597880"/>
                    <a:gd name="connsiteX82" fmla="*/ 514085 w 2237636"/>
                    <a:gd name="connsiteY82" fmla="*/ 496571 h 597880"/>
                    <a:gd name="connsiteX83" fmla="*/ 527647 w 2237636"/>
                    <a:gd name="connsiteY83" fmla="*/ 496571 h 597880"/>
                    <a:gd name="connsiteX84" fmla="*/ 533297 w 2237636"/>
                    <a:gd name="connsiteY84" fmla="*/ 501638 h 597880"/>
                    <a:gd name="connsiteX85" fmla="*/ 533297 w 2237636"/>
                    <a:gd name="connsiteY85" fmla="*/ 511772 h 597880"/>
                    <a:gd name="connsiteX86" fmla="*/ 481312 w 2237636"/>
                    <a:gd name="connsiteY86" fmla="*/ 506705 h 597880"/>
                    <a:gd name="connsiteX87" fmla="*/ 451929 w 2237636"/>
                    <a:gd name="connsiteY87" fmla="*/ 506705 h 597880"/>
                    <a:gd name="connsiteX88" fmla="*/ 449669 w 2237636"/>
                    <a:gd name="connsiteY88" fmla="*/ 496571 h 597880"/>
                    <a:gd name="connsiteX89" fmla="*/ 436107 w 2237636"/>
                    <a:gd name="connsiteY89" fmla="*/ 496571 h 597880"/>
                    <a:gd name="connsiteX90" fmla="*/ 428196 w 2237636"/>
                    <a:gd name="connsiteY90" fmla="*/ 489478 h 597880"/>
                    <a:gd name="connsiteX91" fmla="*/ 428196 w 2237636"/>
                    <a:gd name="connsiteY91" fmla="*/ 487451 h 597880"/>
                    <a:gd name="connsiteX92" fmla="*/ 398813 w 2237636"/>
                    <a:gd name="connsiteY92" fmla="*/ 485424 h 597880"/>
                    <a:gd name="connsiteX93" fmla="*/ 382991 w 2237636"/>
                    <a:gd name="connsiteY93" fmla="*/ 473264 h 597880"/>
                    <a:gd name="connsiteX94" fmla="*/ 344567 w 2237636"/>
                    <a:gd name="connsiteY94" fmla="*/ 473264 h 597880"/>
                    <a:gd name="connsiteX95" fmla="*/ 338917 w 2237636"/>
                    <a:gd name="connsiteY95" fmla="*/ 466171 h 597880"/>
                    <a:gd name="connsiteX96" fmla="*/ 317445 w 2237636"/>
                    <a:gd name="connsiteY96" fmla="*/ 466171 h 597880"/>
                    <a:gd name="connsiteX97" fmla="*/ 315184 w 2237636"/>
                    <a:gd name="connsiteY97" fmla="*/ 473264 h 597880"/>
                    <a:gd name="connsiteX98" fmla="*/ 290322 w 2237636"/>
                    <a:gd name="connsiteY98" fmla="*/ 471237 h 597880"/>
                    <a:gd name="connsiteX99" fmla="*/ 306143 w 2237636"/>
                    <a:gd name="connsiteY99" fmla="*/ 497585 h 597880"/>
                    <a:gd name="connsiteX100" fmla="*/ 286931 w 2237636"/>
                    <a:gd name="connsiteY100" fmla="*/ 504678 h 597880"/>
                    <a:gd name="connsiteX101" fmla="*/ 273370 w 2237636"/>
                    <a:gd name="connsiteY101" fmla="*/ 502651 h 597880"/>
                    <a:gd name="connsiteX102" fmla="*/ 267719 w 2237636"/>
                    <a:gd name="connsiteY102" fmla="*/ 507718 h 597880"/>
                    <a:gd name="connsiteX103" fmla="*/ 269980 w 2237636"/>
                    <a:gd name="connsiteY103" fmla="*/ 517852 h 597880"/>
                    <a:gd name="connsiteX104" fmla="*/ 291452 w 2237636"/>
                    <a:gd name="connsiteY104" fmla="*/ 519879 h 597880"/>
                    <a:gd name="connsiteX105" fmla="*/ 285801 w 2237636"/>
                    <a:gd name="connsiteY105" fmla="*/ 524945 h 597880"/>
                    <a:gd name="connsiteX106" fmla="*/ 266589 w 2237636"/>
                    <a:gd name="connsiteY106" fmla="*/ 526972 h 597880"/>
                    <a:gd name="connsiteX107" fmla="*/ 258678 w 2237636"/>
                    <a:gd name="connsiteY107" fmla="*/ 532039 h 597880"/>
                    <a:gd name="connsiteX108" fmla="*/ 260939 w 2237636"/>
                    <a:gd name="connsiteY108" fmla="*/ 539132 h 597880"/>
                    <a:gd name="connsiteX109" fmla="*/ 301623 w 2237636"/>
                    <a:gd name="connsiteY109" fmla="*/ 537106 h 597880"/>
                    <a:gd name="connsiteX110" fmla="*/ 307273 w 2237636"/>
                    <a:gd name="connsiteY110" fmla="*/ 539132 h 597880"/>
                    <a:gd name="connsiteX111" fmla="*/ 307273 w 2237636"/>
                    <a:gd name="connsiteY111" fmla="*/ 549266 h 597880"/>
                    <a:gd name="connsiteX112" fmla="*/ 315184 w 2237636"/>
                    <a:gd name="connsiteY112" fmla="*/ 549266 h 597880"/>
                    <a:gd name="connsiteX113" fmla="*/ 315184 w 2237636"/>
                    <a:gd name="connsiteY113" fmla="*/ 535079 h 597880"/>
                    <a:gd name="connsiteX114" fmla="*/ 326485 w 2237636"/>
                    <a:gd name="connsiteY114" fmla="*/ 535079 h 597880"/>
                    <a:gd name="connsiteX115" fmla="*/ 326485 w 2237636"/>
                    <a:gd name="connsiteY115" fmla="*/ 552306 h 597880"/>
                    <a:gd name="connsiteX116" fmla="*/ 334396 w 2237636"/>
                    <a:gd name="connsiteY116" fmla="*/ 552306 h 597880"/>
                    <a:gd name="connsiteX117" fmla="*/ 340047 w 2237636"/>
                    <a:gd name="connsiteY117" fmla="*/ 542172 h 597880"/>
                    <a:gd name="connsiteX118" fmla="*/ 345698 w 2237636"/>
                    <a:gd name="connsiteY118" fmla="*/ 542172 h 597880"/>
                    <a:gd name="connsiteX119" fmla="*/ 347958 w 2237636"/>
                    <a:gd name="connsiteY119" fmla="*/ 522919 h 597880"/>
                    <a:gd name="connsiteX120" fmla="*/ 345698 w 2237636"/>
                    <a:gd name="connsiteY120" fmla="*/ 515825 h 597880"/>
                    <a:gd name="connsiteX121" fmla="*/ 345698 w 2237636"/>
                    <a:gd name="connsiteY121" fmla="*/ 505692 h 597880"/>
                    <a:gd name="connsiteX122" fmla="*/ 356999 w 2237636"/>
                    <a:gd name="connsiteY122" fmla="*/ 505692 h 597880"/>
                    <a:gd name="connsiteX123" fmla="*/ 356999 w 2237636"/>
                    <a:gd name="connsiteY123" fmla="*/ 540146 h 597880"/>
                    <a:gd name="connsiteX124" fmla="*/ 408984 w 2237636"/>
                    <a:gd name="connsiteY124" fmla="*/ 533052 h 597880"/>
                    <a:gd name="connsiteX125" fmla="*/ 414635 w 2237636"/>
                    <a:gd name="connsiteY125" fmla="*/ 525959 h 597880"/>
                    <a:gd name="connsiteX126" fmla="*/ 428196 w 2237636"/>
                    <a:gd name="connsiteY126" fmla="*/ 525959 h 597880"/>
                    <a:gd name="connsiteX127" fmla="*/ 433847 w 2237636"/>
                    <a:gd name="connsiteY127" fmla="*/ 533052 h 597880"/>
                    <a:gd name="connsiteX128" fmla="*/ 441758 w 2237636"/>
                    <a:gd name="connsiteY128" fmla="*/ 531025 h 597880"/>
                    <a:gd name="connsiteX129" fmla="*/ 471141 w 2237636"/>
                    <a:gd name="connsiteY129" fmla="*/ 528999 h 597880"/>
                    <a:gd name="connsiteX130" fmla="*/ 471141 w 2237636"/>
                    <a:gd name="connsiteY130" fmla="*/ 521905 h 597880"/>
                    <a:gd name="connsiteX131" fmla="*/ 479052 w 2237636"/>
                    <a:gd name="connsiteY131" fmla="*/ 519879 h 597880"/>
                    <a:gd name="connsiteX132" fmla="*/ 479052 w 2237636"/>
                    <a:gd name="connsiteY132" fmla="*/ 530012 h 597880"/>
                    <a:gd name="connsiteX133" fmla="*/ 454189 w 2237636"/>
                    <a:gd name="connsiteY133" fmla="*/ 552306 h 597880"/>
                    <a:gd name="connsiteX134" fmla="*/ 411244 w 2237636"/>
                    <a:gd name="connsiteY134" fmla="*/ 554333 h 597880"/>
                    <a:gd name="connsiteX135" fmla="*/ 395423 w 2237636"/>
                    <a:gd name="connsiteY135" fmla="*/ 559399 h 597880"/>
                    <a:gd name="connsiteX136" fmla="*/ 389772 w 2237636"/>
                    <a:gd name="connsiteY136" fmla="*/ 566493 h 597880"/>
                    <a:gd name="connsiteX137" fmla="*/ 376211 w 2237636"/>
                    <a:gd name="connsiteY137" fmla="*/ 566493 h 597880"/>
                    <a:gd name="connsiteX138" fmla="*/ 368300 w 2237636"/>
                    <a:gd name="connsiteY138" fmla="*/ 590813 h 597880"/>
                    <a:gd name="connsiteX139" fmla="*/ 379601 w 2237636"/>
                    <a:gd name="connsiteY139" fmla="*/ 597907 h 597880"/>
                    <a:gd name="connsiteX140" fmla="*/ 422546 w 2237636"/>
                    <a:gd name="connsiteY140" fmla="*/ 592840 h 597880"/>
                    <a:gd name="connsiteX141" fmla="*/ 430457 w 2237636"/>
                    <a:gd name="connsiteY141" fmla="*/ 582707 h 597880"/>
                    <a:gd name="connsiteX142" fmla="*/ 449669 w 2237636"/>
                    <a:gd name="connsiteY142" fmla="*/ 575613 h 597880"/>
                    <a:gd name="connsiteX143" fmla="*/ 465490 w 2237636"/>
                    <a:gd name="connsiteY143" fmla="*/ 558386 h 597880"/>
                    <a:gd name="connsiteX144" fmla="*/ 486963 w 2237636"/>
                    <a:gd name="connsiteY144" fmla="*/ 560413 h 597880"/>
                    <a:gd name="connsiteX145" fmla="*/ 498264 w 2237636"/>
                    <a:gd name="connsiteY145" fmla="*/ 553319 h 597880"/>
                    <a:gd name="connsiteX146" fmla="*/ 527647 w 2237636"/>
                    <a:gd name="connsiteY146" fmla="*/ 551293 h 597880"/>
                    <a:gd name="connsiteX147" fmla="*/ 533297 w 2237636"/>
                    <a:gd name="connsiteY147" fmla="*/ 544199 h 597880"/>
                    <a:gd name="connsiteX148" fmla="*/ 544599 w 2237636"/>
                    <a:gd name="connsiteY148" fmla="*/ 544199 h 597880"/>
                    <a:gd name="connsiteX149" fmla="*/ 566071 w 2237636"/>
                    <a:gd name="connsiteY149" fmla="*/ 556359 h 597880"/>
                    <a:gd name="connsiteX150" fmla="*/ 581893 w 2237636"/>
                    <a:gd name="connsiteY150" fmla="*/ 542172 h 597880"/>
                    <a:gd name="connsiteX151" fmla="*/ 595454 w 2237636"/>
                    <a:gd name="connsiteY151" fmla="*/ 547239 h 597880"/>
                    <a:gd name="connsiteX152" fmla="*/ 633878 w 2237636"/>
                    <a:gd name="connsiteY152" fmla="*/ 547239 h 597880"/>
                    <a:gd name="connsiteX153" fmla="*/ 636138 w 2237636"/>
                    <a:gd name="connsiteY153" fmla="*/ 547239 h 597880"/>
                    <a:gd name="connsiteX154" fmla="*/ 644049 w 2237636"/>
                    <a:gd name="connsiteY154" fmla="*/ 537106 h 597880"/>
                    <a:gd name="connsiteX155" fmla="*/ 651960 w 2237636"/>
                    <a:gd name="connsiteY155" fmla="*/ 535079 h 597880"/>
                    <a:gd name="connsiteX156" fmla="*/ 638399 w 2237636"/>
                    <a:gd name="connsiteY156" fmla="*/ 476304 h 597880"/>
                    <a:gd name="connsiteX157" fmla="*/ 624837 w 2237636"/>
                    <a:gd name="connsiteY157" fmla="*/ 469211 h 597880"/>
                    <a:gd name="connsiteX158" fmla="*/ 616926 w 2237636"/>
                    <a:gd name="connsiteY158" fmla="*/ 469211 h 597880"/>
                    <a:gd name="connsiteX159" fmla="*/ 616926 w 2237636"/>
                    <a:gd name="connsiteY159" fmla="*/ 483398 h 597880"/>
                    <a:gd name="connsiteX160" fmla="*/ 622577 w 2237636"/>
                    <a:gd name="connsiteY160" fmla="*/ 485424 h 597880"/>
                    <a:gd name="connsiteX161" fmla="*/ 614666 w 2237636"/>
                    <a:gd name="connsiteY161" fmla="*/ 495558 h 597880"/>
                    <a:gd name="connsiteX162" fmla="*/ 614666 w 2237636"/>
                    <a:gd name="connsiteY162" fmla="*/ 505692 h 597880"/>
                    <a:gd name="connsiteX163" fmla="*/ 609015 w 2237636"/>
                    <a:gd name="connsiteY163" fmla="*/ 510758 h 597880"/>
                    <a:gd name="connsiteX164" fmla="*/ 603365 w 2237636"/>
                    <a:gd name="connsiteY164" fmla="*/ 488464 h 597880"/>
                    <a:gd name="connsiteX165" fmla="*/ 587543 w 2237636"/>
                    <a:gd name="connsiteY165" fmla="*/ 493531 h 597880"/>
                    <a:gd name="connsiteX166" fmla="*/ 589803 w 2237636"/>
                    <a:gd name="connsiteY166" fmla="*/ 469211 h 597880"/>
                    <a:gd name="connsiteX167" fmla="*/ 587543 w 2237636"/>
                    <a:gd name="connsiteY167" fmla="*/ 464144 h 597880"/>
                    <a:gd name="connsiteX168" fmla="*/ 576242 w 2237636"/>
                    <a:gd name="connsiteY168" fmla="*/ 464144 h 597880"/>
                    <a:gd name="connsiteX169" fmla="*/ 573982 w 2237636"/>
                    <a:gd name="connsiteY169" fmla="*/ 471237 h 597880"/>
                    <a:gd name="connsiteX170" fmla="*/ 562681 w 2237636"/>
                    <a:gd name="connsiteY170" fmla="*/ 473264 h 597880"/>
                    <a:gd name="connsiteX171" fmla="*/ 546859 w 2237636"/>
                    <a:gd name="connsiteY171" fmla="*/ 456037 h 597880"/>
                    <a:gd name="connsiteX172" fmla="*/ 531037 w 2237636"/>
                    <a:gd name="connsiteY172" fmla="*/ 448944 h 597880"/>
                    <a:gd name="connsiteX173" fmla="*/ 514085 w 2237636"/>
                    <a:gd name="connsiteY173" fmla="*/ 412463 h 597880"/>
                    <a:gd name="connsiteX174" fmla="*/ 326485 w 2237636"/>
                    <a:gd name="connsiteY174" fmla="*/ 419556 h 597880"/>
                    <a:gd name="connsiteX175" fmla="*/ 326485 w 2237636"/>
                    <a:gd name="connsiteY175" fmla="*/ 426650 h 597880"/>
                    <a:gd name="connsiteX176" fmla="*/ 324225 w 2237636"/>
                    <a:gd name="connsiteY176" fmla="*/ 436783 h 597880"/>
                    <a:gd name="connsiteX177" fmla="*/ 340047 w 2237636"/>
                    <a:gd name="connsiteY177" fmla="*/ 434757 h 597880"/>
                    <a:gd name="connsiteX178" fmla="*/ 326485 w 2237636"/>
                    <a:gd name="connsiteY178" fmla="*/ 419556 h 597880"/>
                    <a:gd name="connsiteX179" fmla="*/ 299363 w 2237636"/>
                    <a:gd name="connsiteY179" fmla="*/ 448944 h 597880"/>
                    <a:gd name="connsiteX180" fmla="*/ 305013 w 2237636"/>
                    <a:gd name="connsiteY180" fmla="*/ 463131 h 597880"/>
                    <a:gd name="connsiteX181" fmla="*/ 307273 w 2237636"/>
                    <a:gd name="connsiteY181" fmla="*/ 450970 h 597880"/>
                    <a:gd name="connsiteX182" fmla="*/ 299363 w 2237636"/>
                    <a:gd name="connsiteY182" fmla="*/ 448944 h 597880"/>
                    <a:gd name="connsiteX183" fmla="*/ 229295 w 2237636"/>
                    <a:gd name="connsiteY183" fmla="*/ 471237 h 597880"/>
                    <a:gd name="connsiteX184" fmla="*/ 221385 w 2237636"/>
                    <a:gd name="connsiteY184" fmla="*/ 478331 h 597880"/>
                    <a:gd name="connsiteX185" fmla="*/ 221385 w 2237636"/>
                    <a:gd name="connsiteY185" fmla="*/ 488464 h 597880"/>
                    <a:gd name="connsiteX186" fmla="*/ 202172 w 2237636"/>
                    <a:gd name="connsiteY186" fmla="*/ 498598 h 597880"/>
                    <a:gd name="connsiteX187" fmla="*/ 194262 w 2237636"/>
                    <a:gd name="connsiteY187" fmla="*/ 510758 h 597880"/>
                    <a:gd name="connsiteX188" fmla="*/ 192001 w 2237636"/>
                    <a:gd name="connsiteY188" fmla="*/ 522919 h 597880"/>
                    <a:gd name="connsiteX189" fmla="*/ 221385 w 2237636"/>
                    <a:gd name="connsiteY189" fmla="*/ 524945 h 597880"/>
                    <a:gd name="connsiteX190" fmla="*/ 227035 w 2237636"/>
                    <a:gd name="connsiteY190" fmla="*/ 498598 h 597880"/>
                    <a:gd name="connsiteX191" fmla="*/ 234946 w 2237636"/>
                    <a:gd name="connsiteY191" fmla="*/ 496571 h 597880"/>
                    <a:gd name="connsiteX192" fmla="*/ 240597 w 2237636"/>
                    <a:gd name="connsiteY192" fmla="*/ 474277 h 597880"/>
                    <a:gd name="connsiteX193" fmla="*/ 229295 w 2237636"/>
                    <a:gd name="connsiteY193" fmla="*/ 471237 h 597880"/>
                    <a:gd name="connsiteX194" fmla="*/ 714117 w 2237636"/>
                    <a:gd name="connsiteY194" fmla="*/ 523932 h 597880"/>
                    <a:gd name="connsiteX195" fmla="*/ 711856 w 2237636"/>
                    <a:gd name="connsiteY195" fmla="*/ 541159 h 597880"/>
                    <a:gd name="connsiteX196" fmla="*/ 717507 w 2237636"/>
                    <a:gd name="connsiteY196" fmla="*/ 543186 h 597880"/>
                    <a:gd name="connsiteX197" fmla="*/ 723158 w 2237636"/>
                    <a:gd name="connsiteY197" fmla="*/ 543186 h 597880"/>
                    <a:gd name="connsiteX198" fmla="*/ 723158 w 2237636"/>
                    <a:gd name="connsiteY198" fmla="*/ 528999 h 597880"/>
                    <a:gd name="connsiteX199" fmla="*/ 714117 w 2237636"/>
                    <a:gd name="connsiteY199" fmla="*/ 523932 h 597880"/>
                    <a:gd name="connsiteX200" fmla="*/ 519736 w 2237636"/>
                    <a:gd name="connsiteY200" fmla="*/ 553319 h 597880"/>
                    <a:gd name="connsiteX201" fmla="*/ 521996 w 2237636"/>
                    <a:gd name="connsiteY201" fmla="*/ 560413 h 597880"/>
                    <a:gd name="connsiteX202" fmla="*/ 519736 w 2237636"/>
                    <a:gd name="connsiteY202" fmla="*/ 553319 h 597880"/>
                    <a:gd name="connsiteX203" fmla="*/ 655350 w 2237636"/>
                    <a:gd name="connsiteY203" fmla="*/ 276673 h 597880"/>
                    <a:gd name="connsiteX204" fmla="*/ 647439 w 2237636"/>
                    <a:gd name="connsiteY204" fmla="*/ 306060 h 597880"/>
                    <a:gd name="connsiteX205" fmla="*/ 661001 w 2237636"/>
                    <a:gd name="connsiteY205" fmla="*/ 300993 h 597880"/>
                    <a:gd name="connsiteX206" fmla="*/ 661001 w 2237636"/>
                    <a:gd name="connsiteY206" fmla="*/ 315180 h 597880"/>
                    <a:gd name="connsiteX207" fmla="*/ 676823 w 2237636"/>
                    <a:gd name="connsiteY207" fmla="*/ 310114 h 597880"/>
                    <a:gd name="connsiteX208" fmla="*/ 674563 w 2237636"/>
                    <a:gd name="connsiteY208" fmla="*/ 324301 h 597880"/>
                    <a:gd name="connsiteX209" fmla="*/ 685864 w 2237636"/>
                    <a:gd name="connsiteY209" fmla="*/ 324301 h 597880"/>
                    <a:gd name="connsiteX210" fmla="*/ 685864 w 2237636"/>
                    <a:gd name="connsiteY210" fmla="*/ 319234 h 597880"/>
                    <a:gd name="connsiteX211" fmla="*/ 697165 w 2237636"/>
                    <a:gd name="connsiteY211" fmla="*/ 324301 h 597880"/>
                    <a:gd name="connsiteX212" fmla="*/ 694905 w 2237636"/>
                    <a:gd name="connsiteY212" fmla="*/ 326327 h 597880"/>
                    <a:gd name="connsiteX213" fmla="*/ 700555 w 2237636"/>
                    <a:gd name="connsiteY213" fmla="*/ 336461 h 597880"/>
                    <a:gd name="connsiteX214" fmla="*/ 679083 w 2237636"/>
                    <a:gd name="connsiteY214" fmla="*/ 336461 h 597880"/>
                    <a:gd name="connsiteX215" fmla="*/ 681343 w 2237636"/>
                    <a:gd name="connsiteY215" fmla="*/ 346595 h 597880"/>
                    <a:gd name="connsiteX216" fmla="*/ 686994 w 2237636"/>
                    <a:gd name="connsiteY216" fmla="*/ 348621 h 597880"/>
                    <a:gd name="connsiteX217" fmla="*/ 700555 w 2237636"/>
                    <a:gd name="connsiteY217" fmla="*/ 346595 h 597880"/>
                    <a:gd name="connsiteX218" fmla="*/ 714117 w 2237636"/>
                    <a:gd name="connsiteY218" fmla="*/ 336461 h 597880"/>
                    <a:gd name="connsiteX219" fmla="*/ 727678 w 2237636"/>
                    <a:gd name="connsiteY219" fmla="*/ 336461 h 597880"/>
                    <a:gd name="connsiteX220" fmla="*/ 733329 w 2237636"/>
                    <a:gd name="connsiteY220" fmla="*/ 331394 h 597880"/>
                    <a:gd name="connsiteX221" fmla="*/ 752541 w 2237636"/>
                    <a:gd name="connsiteY221" fmla="*/ 338488 h 597880"/>
                    <a:gd name="connsiteX222" fmla="*/ 754801 w 2237636"/>
                    <a:gd name="connsiteY222" fmla="*/ 328354 h 597880"/>
                    <a:gd name="connsiteX223" fmla="*/ 762712 w 2237636"/>
                    <a:gd name="connsiteY223" fmla="*/ 333421 h 597880"/>
                    <a:gd name="connsiteX224" fmla="*/ 784184 w 2237636"/>
                    <a:gd name="connsiteY224" fmla="*/ 333421 h 597880"/>
                    <a:gd name="connsiteX225" fmla="*/ 795485 w 2237636"/>
                    <a:gd name="connsiteY225" fmla="*/ 343554 h 597880"/>
                    <a:gd name="connsiteX226" fmla="*/ 809047 w 2237636"/>
                    <a:gd name="connsiteY226" fmla="*/ 345581 h 597880"/>
                    <a:gd name="connsiteX227" fmla="*/ 830519 w 2237636"/>
                    <a:gd name="connsiteY227" fmla="*/ 362808 h 597880"/>
                    <a:gd name="connsiteX228" fmla="*/ 846341 w 2237636"/>
                    <a:gd name="connsiteY228" fmla="*/ 367875 h 597880"/>
                    <a:gd name="connsiteX229" fmla="*/ 873463 w 2237636"/>
                    <a:gd name="connsiteY229" fmla="*/ 387129 h 597880"/>
                    <a:gd name="connsiteX230" fmla="*/ 881374 w 2237636"/>
                    <a:gd name="connsiteY230" fmla="*/ 340514 h 597880"/>
                    <a:gd name="connsiteX231" fmla="*/ 838430 w 2237636"/>
                    <a:gd name="connsiteY231" fmla="*/ 323287 h 597880"/>
                    <a:gd name="connsiteX232" fmla="*/ 830519 w 2237636"/>
                    <a:gd name="connsiteY232" fmla="*/ 325314 h 597880"/>
                    <a:gd name="connsiteX233" fmla="*/ 822608 w 2237636"/>
                    <a:gd name="connsiteY233" fmla="*/ 311127 h 597880"/>
                    <a:gd name="connsiteX234" fmla="*/ 795485 w 2237636"/>
                    <a:gd name="connsiteY234" fmla="*/ 306060 h 597880"/>
                    <a:gd name="connsiteX235" fmla="*/ 789835 w 2237636"/>
                    <a:gd name="connsiteY235" fmla="*/ 295927 h 597880"/>
                    <a:gd name="connsiteX236" fmla="*/ 762712 w 2237636"/>
                    <a:gd name="connsiteY236" fmla="*/ 303020 h 597880"/>
                    <a:gd name="connsiteX237" fmla="*/ 754801 w 2237636"/>
                    <a:gd name="connsiteY237" fmla="*/ 303020 h 597880"/>
                    <a:gd name="connsiteX238" fmla="*/ 752541 w 2237636"/>
                    <a:gd name="connsiteY238" fmla="*/ 292887 h 597880"/>
                    <a:gd name="connsiteX239" fmla="*/ 725418 w 2237636"/>
                    <a:gd name="connsiteY239" fmla="*/ 280726 h 597880"/>
                    <a:gd name="connsiteX240" fmla="*/ 719767 w 2237636"/>
                    <a:gd name="connsiteY240" fmla="*/ 285793 h 597880"/>
                    <a:gd name="connsiteX241" fmla="*/ 719767 w 2237636"/>
                    <a:gd name="connsiteY241" fmla="*/ 299980 h 597880"/>
                    <a:gd name="connsiteX242" fmla="*/ 708466 w 2237636"/>
                    <a:gd name="connsiteY242" fmla="*/ 302007 h 597880"/>
                    <a:gd name="connsiteX243" fmla="*/ 694905 w 2237636"/>
                    <a:gd name="connsiteY243" fmla="*/ 279713 h 597880"/>
                    <a:gd name="connsiteX244" fmla="*/ 675692 w 2237636"/>
                    <a:gd name="connsiteY244" fmla="*/ 279713 h 597880"/>
                    <a:gd name="connsiteX245" fmla="*/ 655350 w 2237636"/>
                    <a:gd name="connsiteY245" fmla="*/ 276673 h 597880"/>
                    <a:gd name="connsiteX246" fmla="*/ 502784 w 2237636"/>
                    <a:gd name="connsiteY246" fmla="*/ 300993 h 597880"/>
                    <a:gd name="connsiteX247" fmla="*/ 494873 w 2237636"/>
                    <a:gd name="connsiteY247" fmla="*/ 308087 h 597880"/>
                    <a:gd name="connsiteX248" fmla="*/ 481312 w 2237636"/>
                    <a:gd name="connsiteY248" fmla="*/ 308087 h 597880"/>
                    <a:gd name="connsiteX249" fmla="*/ 475661 w 2237636"/>
                    <a:gd name="connsiteY249" fmla="*/ 315180 h 597880"/>
                    <a:gd name="connsiteX250" fmla="*/ 456449 w 2237636"/>
                    <a:gd name="connsiteY250" fmla="*/ 332407 h 597880"/>
                    <a:gd name="connsiteX251" fmla="*/ 505044 w 2237636"/>
                    <a:gd name="connsiteY251" fmla="*/ 342541 h 597880"/>
                    <a:gd name="connsiteX252" fmla="*/ 510695 w 2237636"/>
                    <a:gd name="connsiteY252" fmla="*/ 337474 h 597880"/>
                    <a:gd name="connsiteX253" fmla="*/ 529907 w 2237636"/>
                    <a:gd name="connsiteY253" fmla="*/ 337474 h 597880"/>
                    <a:gd name="connsiteX254" fmla="*/ 535558 w 2237636"/>
                    <a:gd name="connsiteY254" fmla="*/ 313154 h 597880"/>
                    <a:gd name="connsiteX255" fmla="*/ 529907 w 2237636"/>
                    <a:gd name="connsiteY255" fmla="*/ 308087 h 597880"/>
                    <a:gd name="connsiteX256" fmla="*/ 518606 w 2237636"/>
                    <a:gd name="connsiteY256" fmla="*/ 308087 h 597880"/>
                    <a:gd name="connsiteX257" fmla="*/ 502784 w 2237636"/>
                    <a:gd name="connsiteY257" fmla="*/ 300993 h 597880"/>
                    <a:gd name="connsiteX258" fmla="*/ 679083 w 2237636"/>
                    <a:gd name="connsiteY258" fmla="*/ 363822 h 597880"/>
                    <a:gd name="connsiteX259" fmla="*/ 673432 w 2237636"/>
                    <a:gd name="connsiteY259" fmla="*/ 365848 h 597880"/>
                    <a:gd name="connsiteX260" fmla="*/ 673432 w 2237636"/>
                    <a:gd name="connsiteY260" fmla="*/ 383075 h 597880"/>
                    <a:gd name="connsiteX261" fmla="*/ 684734 w 2237636"/>
                    <a:gd name="connsiteY261" fmla="*/ 388142 h 597880"/>
                    <a:gd name="connsiteX262" fmla="*/ 690384 w 2237636"/>
                    <a:gd name="connsiteY262" fmla="*/ 402329 h 597880"/>
                    <a:gd name="connsiteX263" fmla="*/ 698295 w 2237636"/>
                    <a:gd name="connsiteY263" fmla="*/ 395236 h 597880"/>
                    <a:gd name="connsiteX264" fmla="*/ 698295 w 2237636"/>
                    <a:gd name="connsiteY264" fmla="*/ 383075 h 597880"/>
                    <a:gd name="connsiteX265" fmla="*/ 690384 w 2237636"/>
                    <a:gd name="connsiteY265" fmla="*/ 375982 h 597880"/>
                    <a:gd name="connsiteX266" fmla="*/ 690384 w 2237636"/>
                    <a:gd name="connsiteY266" fmla="*/ 368888 h 597880"/>
                    <a:gd name="connsiteX267" fmla="*/ 679083 w 2237636"/>
                    <a:gd name="connsiteY267" fmla="*/ 363822 h 597880"/>
                    <a:gd name="connsiteX268" fmla="*/ 798876 w 2237636"/>
                    <a:gd name="connsiteY268" fmla="*/ 363822 h 597880"/>
                    <a:gd name="connsiteX269" fmla="*/ 793225 w 2237636"/>
                    <a:gd name="connsiteY269" fmla="*/ 373955 h 597880"/>
                    <a:gd name="connsiteX270" fmla="*/ 795485 w 2237636"/>
                    <a:gd name="connsiteY270" fmla="*/ 375982 h 597880"/>
                    <a:gd name="connsiteX271" fmla="*/ 801136 w 2237636"/>
                    <a:gd name="connsiteY271" fmla="*/ 386115 h 597880"/>
                    <a:gd name="connsiteX272" fmla="*/ 816957 w 2237636"/>
                    <a:gd name="connsiteY272" fmla="*/ 371928 h 597880"/>
                    <a:gd name="connsiteX273" fmla="*/ 798876 w 2237636"/>
                    <a:gd name="connsiteY273" fmla="*/ 363822 h 597880"/>
                    <a:gd name="connsiteX274" fmla="*/ 863292 w 2237636"/>
                    <a:gd name="connsiteY274" fmla="*/ 419556 h 597880"/>
                    <a:gd name="connsiteX275" fmla="*/ 861032 w 2237636"/>
                    <a:gd name="connsiteY275" fmla="*/ 424623 h 597880"/>
                    <a:gd name="connsiteX276" fmla="*/ 845210 w 2237636"/>
                    <a:gd name="connsiteY276" fmla="*/ 426650 h 597880"/>
                    <a:gd name="connsiteX277" fmla="*/ 842950 w 2237636"/>
                    <a:gd name="connsiteY277" fmla="*/ 431716 h 597880"/>
                    <a:gd name="connsiteX278" fmla="*/ 845210 w 2237636"/>
                    <a:gd name="connsiteY278" fmla="*/ 438810 h 597880"/>
                    <a:gd name="connsiteX279" fmla="*/ 870073 w 2237636"/>
                    <a:gd name="connsiteY279" fmla="*/ 443877 h 597880"/>
                    <a:gd name="connsiteX280" fmla="*/ 867813 w 2237636"/>
                    <a:gd name="connsiteY280" fmla="*/ 448944 h 597880"/>
                    <a:gd name="connsiteX281" fmla="*/ 840690 w 2237636"/>
                    <a:gd name="connsiteY281" fmla="*/ 450970 h 597880"/>
                    <a:gd name="connsiteX282" fmla="*/ 840690 w 2237636"/>
                    <a:gd name="connsiteY282" fmla="*/ 458064 h 597880"/>
                    <a:gd name="connsiteX283" fmla="*/ 859902 w 2237636"/>
                    <a:gd name="connsiteY283" fmla="*/ 468197 h 597880"/>
                    <a:gd name="connsiteX284" fmla="*/ 857642 w 2237636"/>
                    <a:gd name="connsiteY284" fmla="*/ 487451 h 597880"/>
                    <a:gd name="connsiteX285" fmla="*/ 859902 w 2237636"/>
                    <a:gd name="connsiteY285" fmla="*/ 499611 h 597880"/>
                    <a:gd name="connsiteX286" fmla="*/ 846341 w 2237636"/>
                    <a:gd name="connsiteY286" fmla="*/ 497585 h 597880"/>
                    <a:gd name="connsiteX287" fmla="*/ 848601 w 2237636"/>
                    <a:gd name="connsiteY287" fmla="*/ 483398 h 597880"/>
                    <a:gd name="connsiteX288" fmla="*/ 821478 w 2237636"/>
                    <a:gd name="connsiteY288" fmla="*/ 466171 h 597880"/>
                    <a:gd name="connsiteX289" fmla="*/ 815827 w 2237636"/>
                    <a:gd name="connsiteY289" fmla="*/ 448944 h 597880"/>
                    <a:gd name="connsiteX290" fmla="*/ 794355 w 2237636"/>
                    <a:gd name="connsiteY290" fmla="*/ 450970 h 597880"/>
                    <a:gd name="connsiteX291" fmla="*/ 792095 w 2237636"/>
                    <a:gd name="connsiteY291" fmla="*/ 458064 h 597880"/>
                    <a:gd name="connsiteX292" fmla="*/ 800006 w 2237636"/>
                    <a:gd name="connsiteY292" fmla="*/ 458064 h 597880"/>
                    <a:gd name="connsiteX293" fmla="*/ 802266 w 2237636"/>
                    <a:gd name="connsiteY293" fmla="*/ 484411 h 597880"/>
                    <a:gd name="connsiteX294" fmla="*/ 810177 w 2237636"/>
                    <a:gd name="connsiteY294" fmla="*/ 484411 h 597880"/>
                    <a:gd name="connsiteX295" fmla="*/ 815827 w 2237636"/>
                    <a:gd name="connsiteY295" fmla="*/ 501638 h 597880"/>
                    <a:gd name="connsiteX296" fmla="*/ 804526 w 2237636"/>
                    <a:gd name="connsiteY296" fmla="*/ 503665 h 597880"/>
                    <a:gd name="connsiteX297" fmla="*/ 802266 w 2237636"/>
                    <a:gd name="connsiteY297" fmla="*/ 498598 h 597880"/>
                    <a:gd name="connsiteX298" fmla="*/ 775143 w 2237636"/>
                    <a:gd name="connsiteY298" fmla="*/ 503665 h 597880"/>
                    <a:gd name="connsiteX299" fmla="*/ 783054 w 2237636"/>
                    <a:gd name="connsiteY299" fmla="*/ 508732 h 597880"/>
                    <a:gd name="connsiteX300" fmla="*/ 780794 w 2237636"/>
                    <a:gd name="connsiteY300" fmla="*/ 515825 h 597880"/>
                    <a:gd name="connsiteX301" fmla="*/ 769493 w 2237636"/>
                    <a:gd name="connsiteY301" fmla="*/ 515825 h 597880"/>
                    <a:gd name="connsiteX302" fmla="*/ 769493 w 2237636"/>
                    <a:gd name="connsiteY302" fmla="*/ 527985 h 597880"/>
                    <a:gd name="connsiteX303" fmla="*/ 783054 w 2237636"/>
                    <a:gd name="connsiteY303" fmla="*/ 533052 h 597880"/>
                    <a:gd name="connsiteX304" fmla="*/ 810177 w 2237636"/>
                    <a:gd name="connsiteY304" fmla="*/ 518865 h 597880"/>
                    <a:gd name="connsiteX305" fmla="*/ 845210 w 2237636"/>
                    <a:gd name="connsiteY305" fmla="*/ 518865 h 597880"/>
                    <a:gd name="connsiteX306" fmla="*/ 864423 w 2237636"/>
                    <a:gd name="connsiteY306" fmla="*/ 511772 h 597880"/>
                    <a:gd name="connsiteX307" fmla="*/ 864423 w 2237636"/>
                    <a:gd name="connsiteY307" fmla="*/ 518865 h 597880"/>
                    <a:gd name="connsiteX308" fmla="*/ 858772 w 2237636"/>
                    <a:gd name="connsiteY308" fmla="*/ 518865 h 597880"/>
                    <a:gd name="connsiteX309" fmla="*/ 853121 w 2237636"/>
                    <a:gd name="connsiteY309" fmla="*/ 525959 h 597880"/>
                    <a:gd name="connsiteX310" fmla="*/ 837300 w 2237636"/>
                    <a:gd name="connsiteY310" fmla="*/ 533052 h 597880"/>
                    <a:gd name="connsiteX311" fmla="*/ 875724 w 2237636"/>
                    <a:gd name="connsiteY311" fmla="*/ 552306 h 597880"/>
                    <a:gd name="connsiteX312" fmla="*/ 891545 w 2237636"/>
                    <a:gd name="connsiteY312" fmla="*/ 554333 h 597880"/>
                    <a:gd name="connsiteX313" fmla="*/ 951442 w 2237636"/>
                    <a:gd name="connsiteY313" fmla="*/ 552306 h 597880"/>
                    <a:gd name="connsiteX314" fmla="*/ 957092 w 2237636"/>
                    <a:gd name="connsiteY314" fmla="*/ 547239 h 597880"/>
                    <a:gd name="connsiteX315" fmla="*/ 954832 w 2237636"/>
                    <a:gd name="connsiteY315" fmla="*/ 540146 h 597880"/>
                    <a:gd name="connsiteX316" fmla="*/ 952572 w 2237636"/>
                    <a:gd name="connsiteY316" fmla="*/ 538119 h 597880"/>
                    <a:gd name="connsiteX317" fmla="*/ 960483 w 2237636"/>
                    <a:gd name="connsiteY317" fmla="*/ 538119 h 597880"/>
                    <a:gd name="connsiteX318" fmla="*/ 960483 w 2237636"/>
                    <a:gd name="connsiteY318" fmla="*/ 527985 h 597880"/>
                    <a:gd name="connsiteX319" fmla="*/ 949181 w 2237636"/>
                    <a:gd name="connsiteY319" fmla="*/ 522919 h 597880"/>
                    <a:gd name="connsiteX320" fmla="*/ 949181 w 2237636"/>
                    <a:gd name="connsiteY320" fmla="*/ 510758 h 597880"/>
                    <a:gd name="connsiteX321" fmla="*/ 951442 w 2237636"/>
                    <a:gd name="connsiteY321" fmla="*/ 500625 h 597880"/>
                    <a:gd name="connsiteX322" fmla="*/ 937880 w 2237636"/>
                    <a:gd name="connsiteY322" fmla="*/ 498598 h 597880"/>
                    <a:gd name="connsiteX323" fmla="*/ 940141 w 2237636"/>
                    <a:gd name="connsiteY323" fmla="*/ 479344 h 597880"/>
                    <a:gd name="connsiteX324" fmla="*/ 934490 w 2237636"/>
                    <a:gd name="connsiteY324" fmla="*/ 472251 h 597880"/>
                    <a:gd name="connsiteX325" fmla="*/ 934490 w 2237636"/>
                    <a:gd name="connsiteY325" fmla="*/ 449957 h 597880"/>
                    <a:gd name="connsiteX326" fmla="*/ 909627 w 2237636"/>
                    <a:gd name="connsiteY326" fmla="*/ 439823 h 597880"/>
                    <a:gd name="connsiteX327" fmla="*/ 915278 w 2237636"/>
                    <a:gd name="connsiteY327" fmla="*/ 434757 h 597880"/>
                    <a:gd name="connsiteX328" fmla="*/ 893806 w 2237636"/>
                    <a:gd name="connsiteY328" fmla="*/ 422596 h 597880"/>
                    <a:gd name="connsiteX329" fmla="*/ 888155 w 2237636"/>
                    <a:gd name="connsiteY329" fmla="*/ 439823 h 597880"/>
                    <a:gd name="connsiteX330" fmla="*/ 893806 w 2237636"/>
                    <a:gd name="connsiteY330" fmla="*/ 444890 h 597880"/>
                    <a:gd name="connsiteX331" fmla="*/ 874594 w 2237636"/>
                    <a:gd name="connsiteY331" fmla="*/ 449957 h 597880"/>
                    <a:gd name="connsiteX332" fmla="*/ 872333 w 2237636"/>
                    <a:gd name="connsiteY332" fmla="*/ 442863 h 597880"/>
                    <a:gd name="connsiteX333" fmla="*/ 877984 w 2237636"/>
                    <a:gd name="connsiteY333" fmla="*/ 437797 h 597880"/>
                    <a:gd name="connsiteX334" fmla="*/ 863292 w 2237636"/>
                    <a:gd name="connsiteY334" fmla="*/ 419556 h 597880"/>
                    <a:gd name="connsiteX335" fmla="*/ 714117 w 2237636"/>
                    <a:gd name="connsiteY335" fmla="*/ 424623 h 597880"/>
                    <a:gd name="connsiteX336" fmla="*/ 702816 w 2237636"/>
                    <a:gd name="connsiteY336" fmla="*/ 448944 h 597880"/>
                    <a:gd name="connsiteX337" fmla="*/ 714117 w 2237636"/>
                    <a:gd name="connsiteY337" fmla="*/ 424623 h 597880"/>
                    <a:gd name="connsiteX338" fmla="*/ 754801 w 2237636"/>
                    <a:gd name="connsiteY338" fmla="*/ 443877 h 597880"/>
                    <a:gd name="connsiteX339" fmla="*/ 716377 w 2237636"/>
                    <a:gd name="connsiteY339" fmla="*/ 454010 h 597880"/>
                    <a:gd name="connsiteX340" fmla="*/ 708466 w 2237636"/>
                    <a:gd name="connsiteY340" fmla="*/ 461104 h 597880"/>
                    <a:gd name="connsiteX341" fmla="*/ 710726 w 2237636"/>
                    <a:gd name="connsiteY341" fmla="*/ 473264 h 597880"/>
                    <a:gd name="connsiteX342" fmla="*/ 710726 w 2237636"/>
                    <a:gd name="connsiteY342" fmla="*/ 475291 h 597880"/>
                    <a:gd name="connsiteX343" fmla="*/ 749150 w 2237636"/>
                    <a:gd name="connsiteY343" fmla="*/ 470224 h 597880"/>
                    <a:gd name="connsiteX344" fmla="*/ 743500 w 2237636"/>
                    <a:gd name="connsiteY344" fmla="*/ 475291 h 597880"/>
                    <a:gd name="connsiteX345" fmla="*/ 716377 w 2237636"/>
                    <a:gd name="connsiteY345" fmla="*/ 485424 h 597880"/>
                    <a:gd name="connsiteX346" fmla="*/ 714117 w 2237636"/>
                    <a:gd name="connsiteY346" fmla="*/ 492518 h 597880"/>
                    <a:gd name="connsiteX347" fmla="*/ 749150 w 2237636"/>
                    <a:gd name="connsiteY347" fmla="*/ 490491 h 597880"/>
                    <a:gd name="connsiteX348" fmla="*/ 737849 w 2237636"/>
                    <a:gd name="connsiteY348" fmla="*/ 495558 h 597880"/>
                    <a:gd name="connsiteX349" fmla="*/ 732198 w 2237636"/>
                    <a:gd name="connsiteY349" fmla="*/ 505692 h 597880"/>
                    <a:gd name="connsiteX350" fmla="*/ 720897 w 2237636"/>
                    <a:gd name="connsiteY350" fmla="*/ 507718 h 597880"/>
                    <a:gd name="connsiteX351" fmla="*/ 720897 w 2237636"/>
                    <a:gd name="connsiteY351" fmla="*/ 514812 h 597880"/>
                    <a:gd name="connsiteX352" fmla="*/ 753671 w 2237636"/>
                    <a:gd name="connsiteY352" fmla="*/ 512785 h 597880"/>
                    <a:gd name="connsiteX353" fmla="*/ 764972 w 2237636"/>
                    <a:gd name="connsiteY353" fmla="*/ 500625 h 597880"/>
                    <a:gd name="connsiteX354" fmla="*/ 784184 w 2237636"/>
                    <a:gd name="connsiteY354" fmla="*/ 493531 h 597880"/>
                    <a:gd name="connsiteX355" fmla="*/ 778533 w 2237636"/>
                    <a:gd name="connsiteY355" fmla="*/ 488464 h 597880"/>
                    <a:gd name="connsiteX356" fmla="*/ 778533 w 2237636"/>
                    <a:gd name="connsiteY356" fmla="*/ 483398 h 597880"/>
                    <a:gd name="connsiteX357" fmla="*/ 784184 w 2237636"/>
                    <a:gd name="connsiteY357" fmla="*/ 478331 h 597880"/>
                    <a:gd name="connsiteX358" fmla="*/ 772883 w 2237636"/>
                    <a:gd name="connsiteY358" fmla="*/ 466171 h 597880"/>
                    <a:gd name="connsiteX359" fmla="*/ 757061 w 2237636"/>
                    <a:gd name="connsiteY359" fmla="*/ 468197 h 597880"/>
                    <a:gd name="connsiteX360" fmla="*/ 754801 w 2237636"/>
                    <a:gd name="connsiteY360" fmla="*/ 443877 h 597880"/>
                    <a:gd name="connsiteX361" fmla="*/ 155838 w 2237636"/>
                    <a:gd name="connsiteY361" fmla="*/ 448944 h 597880"/>
                    <a:gd name="connsiteX362" fmla="*/ 153577 w 2237636"/>
                    <a:gd name="connsiteY362" fmla="*/ 454010 h 597880"/>
                    <a:gd name="connsiteX363" fmla="*/ 155838 w 2237636"/>
                    <a:gd name="connsiteY363" fmla="*/ 448944 h 597880"/>
                    <a:gd name="connsiteX364" fmla="*/ 587543 w 2237636"/>
                    <a:gd name="connsiteY364" fmla="*/ 487451 h 597880"/>
                    <a:gd name="connsiteX365" fmla="*/ 587543 w 2237636"/>
                    <a:gd name="connsiteY365" fmla="*/ 494545 h 597880"/>
                    <a:gd name="connsiteX366" fmla="*/ 587543 w 2237636"/>
                    <a:gd name="connsiteY366" fmla="*/ 487451 h 597880"/>
                    <a:gd name="connsiteX367" fmla="*/ 1748176 w 2237636"/>
                    <a:gd name="connsiteY367" fmla="*/ 155070 h 597880"/>
                    <a:gd name="connsiteX368" fmla="*/ 1750436 w 2237636"/>
                    <a:gd name="connsiteY368" fmla="*/ 160137 h 597880"/>
                    <a:gd name="connsiteX369" fmla="*/ 1748176 w 2237636"/>
                    <a:gd name="connsiteY369" fmla="*/ 155070 h 597880"/>
                    <a:gd name="connsiteX370" fmla="*/ 872333 w 2237636"/>
                    <a:gd name="connsiteY370" fmla="*/ 217898 h 597880"/>
                    <a:gd name="connsiteX371" fmla="*/ 877984 w 2237636"/>
                    <a:gd name="connsiteY371" fmla="*/ 247286 h 597880"/>
                    <a:gd name="connsiteX372" fmla="*/ 889285 w 2237636"/>
                    <a:gd name="connsiteY372" fmla="*/ 245259 h 597880"/>
                    <a:gd name="connsiteX373" fmla="*/ 894936 w 2237636"/>
                    <a:gd name="connsiteY373" fmla="*/ 257419 h 597880"/>
                    <a:gd name="connsiteX374" fmla="*/ 902846 w 2237636"/>
                    <a:gd name="connsiteY374" fmla="*/ 257419 h 597880"/>
                    <a:gd name="connsiteX375" fmla="*/ 900586 w 2237636"/>
                    <a:gd name="connsiteY375" fmla="*/ 240192 h 597880"/>
                    <a:gd name="connsiteX376" fmla="*/ 887025 w 2237636"/>
                    <a:gd name="connsiteY376" fmla="*/ 230058 h 597880"/>
                    <a:gd name="connsiteX377" fmla="*/ 887025 w 2237636"/>
                    <a:gd name="connsiteY377" fmla="*/ 217898 h 597880"/>
                    <a:gd name="connsiteX378" fmla="*/ 872333 w 2237636"/>
                    <a:gd name="connsiteY378" fmla="*/ 217898 h 597880"/>
                    <a:gd name="connsiteX379" fmla="*/ 926579 w 2237636"/>
                    <a:gd name="connsiteY379" fmla="*/ 297953 h 597880"/>
                    <a:gd name="connsiteX380" fmla="*/ 955962 w 2237636"/>
                    <a:gd name="connsiteY380" fmla="*/ 344568 h 597880"/>
                    <a:gd name="connsiteX381" fmla="*/ 961613 w 2237636"/>
                    <a:gd name="connsiteY381" fmla="*/ 351661 h 597880"/>
                    <a:gd name="connsiteX382" fmla="*/ 948051 w 2237636"/>
                    <a:gd name="connsiteY382" fmla="*/ 351661 h 597880"/>
                    <a:gd name="connsiteX383" fmla="*/ 948051 w 2237636"/>
                    <a:gd name="connsiteY383" fmla="*/ 358755 h 597880"/>
                    <a:gd name="connsiteX384" fmla="*/ 955962 w 2237636"/>
                    <a:gd name="connsiteY384" fmla="*/ 368888 h 597880"/>
                    <a:gd name="connsiteX385" fmla="*/ 971784 w 2237636"/>
                    <a:gd name="connsiteY385" fmla="*/ 379022 h 597880"/>
                    <a:gd name="connsiteX386" fmla="*/ 971784 w 2237636"/>
                    <a:gd name="connsiteY386" fmla="*/ 386115 h 597880"/>
                    <a:gd name="connsiteX387" fmla="*/ 985345 w 2237636"/>
                    <a:gd name="connsiteY387" fmla="*/ 386115 h 597880"/>
                    <a:gd name="connsiteX388" fmla="*/ 990996 w 2237636"/>
                    <a:gd name="connsiteY388" fmla="*/ 375982 h 597880"/>
                    <a:gd name="connsiteX389" fmla="*/ 1037331 w 2237636"/>
                    <a:gd name="connsiteY389" fmla="*/ 370915 h 597880"/>
                    <a:gd name="connsiteX390" fmla="*/ 1037331 w 2237636"/>
                    <a:gd name="connsiteY390" fmla="*/ 360781 h 597880"/>
                    <a:gd name="connsiteX391" fmla="*/ 1029420 w 2237636"/>
                    <a:gd name="connsiteY391" fmla="*/ 353688 h 597880"/>
                    <a:gd name="connsiteX392" fmla="*/ 1031680 w 2237636"/>
                    <a:gd name="connsiteY392" fmla="*/ 348621 h 597880"/>
                    <a:gd name="connsiteX393" fmla="*/ 1026029 w 2237636"/>
                    <a:gd name="connsiteY393" fmla="*/ 336461 h 597880"/>
                    <a:gd name="connsiteX394" fmla="*/ 1018119 w 2237636"/>
                    <a:gd name="connsiteY394" fmla="*/ 336461 h 597880"/>
                    <a:gd name="connsiteX395" fmla="*/ 1010208 w 2237636"/>
                    <a:gd name="connsiteY395" fmla="*/ 329367 h 597880"/>
                    <a:gd name="connsiteX396" fmla="*/ 996647 w 2237636"/>
                    <a:gd name="connsiteY396" fmla="*/ 331394 h 597880"/>
                    <a:gd name="connsiteX397" fmla="*/ 996647 w 2237636"/>
                    <a:gd name="connsiteY397" fmla="*/ 329367 h 597880"/>
                    <a:gd name="connsiteX398" fmla="*/ 988736 w 2237636"/>
                    <a:gd name="connsiteY398" fmla="*/ 322274 h 597880"/>
                    <a:gd name="connsiteX399" fmla="*/ 950312 w 2237636"/>
                    <a:gd name="connsiteY399" fmla="*/ 312140 h 597880"/>
                    <a:gd name="connsiteX400" fmla="*/ 926579 w 2237636"/>
                    <a:gd name="connsiteY400" fmla="*/ 297953 h 597880"/>
                    <a:gd name="connsiteX401" fmla="*/ 1469037 w 2237636"/>
                    <a:gd name="connsiteY401" fmla="*/ 351661 h 597880"/>
                    <a:gd name="connsiteX402" fmla="*/ 1469037 w 2237636"/>
                    <a:gd name="connsiteY402" fmla="*/ 361795 h 597880"/>
                    <a:gd name="connsiteX403" fmla="*/ 1469037 w 2237636"/>
                    <a:gd name="connsiteY403" fmla="*/ 351661 h 597880"/>
                    <a:gd name="connsiteX404" fmla="*/ 1192157 w 2237636"/>
                    <a:gd name="connsiteY404" fmla="*/ 361795 h 597880"/>
                    <a:gd name="connsiteX405" fmla="*/ 1192157 w 2237636"/>
                    <a:gd name="connsiteY405" fmla="*/ 368888 h 597880"/>
                    <a:gd name="connsiteX406" fmla="*/ 1180856 w 2237636"/>
                    <a:gd name="connsiteY406" fmla="*/ 375982 h 597880"/>
                    <a:gd name="connsiteX407" fmla="*/ 1180856 w 2237636"/>
                    <a:gd name="connsiteY407" fmla="*/ 383075 h 597880"/>
                    <a:gd name="connsiteX408" fmla="*/ 1183116 w 2237636"/>
                    <a:gd name="connsiteY408" fmla="*/ 402329 h 597880"/>
                    <a:gd name="connsiteX409" fmla="*/ 1188767 w 2237636"/>
                    <a:gd name="connsiteY409" fmla="*/ 397262 h 597880"/>
                    <a:gd name="connsiteX410" fmla="*/ 1204589 w 2237636"/>
                    <a:gd name="connsiteY410" fmla="*/ 397262 h 597880"/>
                    <a:gd name="connsiteX411" fmla="*/ 1212499 w 2237636"/>
                    <a:gd name="connsiteY411" fmla="*/ 370915 h 597880"/>
                    <a:gd name="connsiteX412" fmla="*/ 1192157 w 2237636"/>
                    <a:gd name="connsiteY412" fmla="*/ 361795 h 597880"/>
                    <a:gd name="connsiteX413" fmla="*/ 1066714 w 2237636"/>
                    <a:gd name="connsiteY413" fmla="*/ 370915 h 597880"/>
                    <a:gd name="connsiteX414" fmla="*/ 1064454 w 2237636"/>
                    <a:gd name="connsiteY414" fmla="*/ 375982 h 597880"/>
                    <a:gd name="connsiteX415" fmla="*/ 1039591 w 2237636"/>
                    <a:gd name="connsiteY415" fmla="*/ 381049 h 597880"/>
                    <a:gd name="connsiteX416" fmla="*/ 1039591 w 2237636"/>
                    <a:gd name="connsiteY416" fmla="*/ 383075 h 597880"/>
                    <a:gd name="connsiteX417" fmla="*/ 1006818 w 2237636"/>
                    <a:gd name="connsiteY417" fmla="*/ 383075 h 597880"/>
                    <a:gd name="connsiteX418" fmla="*/ 993256 w 2237636"/>
                    <a:gd name="connsiteY418" fmla="*/ 390169 h 597880"/>
                    <a:gd name="connsiteX419" fmla="*/ 995516 w 2237636"/>
                    <a:gd name="connsiteY419" fmla="*/ 395236 h 597880"/>
                    <a:gd name="connsiteX420" fmla="*/ 1106268 w 2237636"/>
                    <a:gd name="connsiteY420" fmla="*/ 395236 h 597880"/>
                    <a:gd name="connsiteX421" fmla="*/ 1114179 w 2237636"/>
                    <a:gd name="connsiteY421" fmla="*/ 393209 h 597880"/>
                    <a:gd name="connsiteX422" fmla="*/ 1116439 w 2237636"/>
                    <a:gd name="connsiteY422" fmla="*/ 381049 h 597880"/>
                    <a:gd name="connsiteX423" fmla="*/ 1100617 w 2237636"/>
                    <a:gd name="connsiteY423" fmla="*/ 375982 h 597880"/>
                    <a:gd name="connsiteX424" fmla="*/ 1100617 w 2237636"/>
                    <a:gd name="connsiteY424" fmla="*/ 370915 h 597880"/>
                    <a:gd name="connsiteX425" fmla="*/ 1075755 w 2237636"/>
                    <a:gd name="connsiteY425" fmla="*/ 375982 h 597880"/>
                    <a:gd name="connsiteX426" fmla="*/ 1066714 w 2237636"/>
                    <a:gd name="connsiteY426" fmla="*/ 370915 h 597880"/>
                    <a:gd name="connsiteX427" fmla="*/ 1523282 w 2237636"/>
                    <a:gd name="connsiteY427" fmla="*/ 383075 h 597880"/>
                    <a:gd name="connsiteX428" fmla="*/ 1528933 w 2237636"/>
                    <a:gd name="connsiteY428" fmla="*/ 388142 h 597880"/>
                    <a:gd name="connsiteX429" fmla="*/ 1534583 w 2237636"/>
                    <a:gd name="connsiteY429" fmla="*/ 393209 h 597880"/>
                    <a:gd name="connsiteX430" fmla="*/ 1505200 w 2237636"/>
                    <a:gd name="connsiteY430" fmla="*/ 393209 h 597880"/>
                    <a:gd name="connsiteX431" fmla="*/ 1502940 w 2237636"/>
                    <a:gd name="connsiteY431" fmla="*/ 388142 h 597880"/>
                    <a:gd name="connsiteX432" fmla="*/ 1523282 w 2237636"/>
                    <a:gd name="connsiteY432" fmla="*/ 383075 h 597880"/>
                    <a:gd name="connsiteX433" fmla="*/ 1002297 w 2237636"/>
                    <a:gd name="connsiteY433" fmla="*/ 414489 h 597880"/>
                    <a:gd name="connsiteX434" fmla="*/ 990996 w 2237636"/>
                    <a:gd name="connsiteY434" fmla="*/ 428676 h 597880"/>
                    <a:gd name="connsiteX435" fmla="*/ 985345 w 2237636"/>
                    <a:gd name="connsiteY435" fmla="*/ 435770 h 597880"/>
                    <a:gd name="connsiteX436" fmla="*/ 1001167 w 2237636"/>
                    <a:gd name="connsiteY436" fmla="*/ 442863 h 597880"/>
                    <a:gd name="connsiteX437" fmla="*/ 1012468 w 2237636"/>
                    <a:gd name="connsiteY437" fmla="*/ 460090 h 597880"/>
                    <a:gd name="connsiteX438" fmla="*/ 1041851 w 2237636"/>
                    <a:gd name="connsiteY438" fmla="*/ 462117 h 597880"/>
                    <a:gd name="connsiteX439" fmla="*/ 1068974 w 2237636"/>
                    <a:gd name="connsiteY439" fmla="*/ 474277 h 597880"/>
                    <a:gd name="connsiteX440" fmla="*/ 1076885 w 2237636"/>
                    <a:gd name="connsiteY440" fmla="*/ 474277 h 597880"/>
                    <a:gd name="connsiteX441" fmla="*/ 1092707 w 2237636"/>
                    <a:gd name="connsiteY441" fmla="*/ 462117 h 597880"/>
                    <a:gd name="connsiteX442" fmla="*/ 1092707 w 2237636"/>
                    <a:gd name="connsiteY442" fmla="*/ 471237 h 597880"/>
                    <a:gd name="connsiteX443" fmla="*/ 1135651 w 2237636"/>
                    <a:gd name="connsiteY443" fmla="*/ 485424 h 597880"/>
                    <a:gd name="connsiteX444" fmla="*/ 1135651 w 2237636"/>
                    <a:gd name="connsiteY444" fmla="*/ 492518 h 597880"/>
                    <a:gd name="connsiteX445" fmla="*/ 1146952 w 2237636"/>
                    <a:gd name="connsiteY445" fmla="*/ 497585 h 597880"/>
                    <a:gd name="connsiteX446" fmla="*/ 1141302 w 2237636"/>
                    <a:gd name="connsiteY446" fmla="*/ 526972 h 597880"/>
                    <a:gd name="connsiteX447" fmla="*/ 1143562 w 2237636"/>
                    <a:gd name="connsiteY447" fmla="*/ 537106 h 597880"/>
                    <a:gd name="connsiteX448" fmla="*/ 1137912 w 2237636"/>
                    <a:gd name="connsiteY448" fmla="*/ 549266 h 597880"/>
                    <a:gd name="connsiteX449" fmla="*/ 1143562 w 2237636"/>
                    <a:gd name="connsiteY449" fmla="*/ 566493 h 597880"/>
                    <a:gd name="connsiteX450" fmla="*/ 1143562 w 2237636"/>
                    <a:gd name="connsiteY450" fmla="*/ 573586 h 597880"/>
                    <a:gd name="connsiteX451" fmla="*/ 1145822 w 2237636"/>
                    <a:gd name="connsiteY451" fmla="*/ 587773 h 597880"/>
                    <a:gd name="connsiteX452" fmla="*/ 1161644 w 2237636"/>
                    <a:gd name="connsiteY452" fmla="*/ 585747 h 597880"/>
                    <a:gd name="connsiteX453" fmla="*/ 1163904 w 2237636"/>
                    <a:gd name="connsiteY453" fmla="*/ 578653 h 597880"/>
                    <a:gd name="connsiteX454" fmla="*/ 1177466 w 2237636"/>
                    <a:gd name="connsiteY454" fmla="*/ 585747 h 597880"/>
                    <a:gd name="connsiteX455" fmla="*/ 1177466 w 2237636"/>
                    <a:gd name="connsiteY455" fmla="*/ 587773 h 597880"/>
                    <a:gd name="connsiteX456" fmla="*/ 1226061 w 2237636"/>
                    <a:gd name="connsiteY456" fmla="*/ 577640 h 597880"/>
                    <a:gd name="connsiteX457" fmla="*/ 1228321 w 2237636"/>
                    <a:gd name="connsiteY457" fmla="*/ 565480 h 597880"/>
                    <a:gd name="connsiteX458" fmla="*/ 1241882 w 2237636"/>
                    <a:gd name="connsiteY458" fmla="*/ 558386 h 597880"/>
                    <a:gd name="connsiteX459" fmla="*/ 1249793 w 2237636"/>
                    <a:gd name="connsiteY459" fmla="*/ 582707 h 597880"/>
                    <a:gd name="connsiteX460" fmla="*/ 1269005 w 2237636"/>
                    <a:gd name="connsiteY460" fmla="*/ 584733 h 597880"/>
                    <a:gd name="connsiteX461" fmla="*/ 1284827 w 2237636"/>
                    <a:gd name="connsiteY461" fmla="*/ 577640 h 597880"/>
                    <a:gd name="connsiteX462" fmla="*/ 1304039 w 2237636"/>
                    <a:gd name="connsiteY462" fmla="*/ 582707 h 597880"/>
                    <a:gd name="connsiteX463" fmla="*/ 1306299 w 2237636"/>
                    <a:gd name="connsiteY463" fmla="*/ 572573 h 597880"/>
                    <a:gd name="connsiteX464" fmla="*/ 1319861 w 2237636"/>
                    <a:gd name="connsiteY464" fmla="*/ 570546 h 597880"/>
                    <a:gd name="connsiteX465" fmla="*/ 1322121 w 2237636"/>
                    <a:gd name="connsiteY465" fmla="*/ 582707 h 597880"/>
                    <a:gd name="connsiteX466" fmla="*/ 1349244 w 2237636"/>
                    <a:gd name="connsiteY466" fmla="*/ 580680 h 597880"/>
                    <a:gd name="connsiteX467" fmla="*/ 1351504 w 2237636"/>
                    <a:gd name="connsiteY467" fmla="*/ 573586 h 597880"/>
                    <a:gd name="connsiteX468" fmla="*/ 1357155 w 2237636"/>
                    <a:gd name="connsiteY468" fmla="*/ 583720 h 597880"/>
                    <a:gd name="connsiteX469" fmla="*/ 1365065 w 2237636"/>
                    <a:gd name="connsiteY469" fmla="*/ 578653 h 597880"/>
                    <a:gd name="connsiteX470" fmla="*/ 1386538 w 2237636"/>
                    <a:gd name="connsiteY470" fmla="*/ 580680 h 597880"/>
                    <a:gd name="connsiteX471" fmla="*/ 1429482 w 2237636"/>
                    <a:gd name="connsiteY471" fmla="*/ 578653 h 597880"/>
                    <a:gd name="connsiteX472" fmla="*/ 1435133 w 2237636"/>
                    <a:gd name="connsiteY472" fmla="*/ 576627 h 597880"/>
                    <a:gd name="connsiteX473" fmla="*/ 1432873 w 2237636"/>
                    <a:gd name="connsiteY473" fmla="*/ 562440 h 597880"/>
                    <a:gd name="connsiteX474" fmla="*/ 1440784 w 2237636"/>
                    <a:gd name="connsiteY474" fmla="*/ 562440 h 597880"/>
                    <a:gd name="connsiteX475" fmla="*/ 1443044 w 2237636"/>
                    <a:gd name="connsiteY475" fmla="*/ 574600 h 597880"/>
                    <a:gd name="connsiteX476" fmla="*/ 1454345 w 2237636"/>
                    <a:gd name="connsiteY476" fmla="*/ 579667 h 597880"/>
                    <a:gd name="connsiteX477" fmla="*/ 1465646 w 2237636"/>
                    <a:gd name="connsiteY477" fmla="*/ 577640 h 597880"/>
                    <a:gd name="connsiteX478" fmla="*/ 1467906 w 2237636"/>
                    <a:gd name="connsiteY478" fmla="*/ 572573 h 597880"/>
                    <a:gd name="connsiteX479" fmla="*/ 1473557 w 2237636"/>
                    <a:gd name="connsiteY479" fmla="*/ 579667 h 597880"/>
                    <a:gd name="connsiteX480" fmla="*/ 1541364 w 2237636"/>
                    <a:gd name="connsiteY480" fmla="*/ 574600 h 597880"/>
                    <a:gd name="connsiteX481" fmla="*/ 1543624 w 2237636"/>
                    <a:gd name="connsiteY481" fmla="*/ 564466 h 597880"/>
                    <a:gd name="connsiteX482" fmla="*/ 1543624 w 2237636"/>
                    <a:gd name="connsiteY482" fmla="*/ 552306 h 597880"/>
                    <a:gd name="connsiteX483" fmla="*/ 1545885 w 2237636"/>
                    <a:gd name="connsiteY483" fmla="*/ 554333 h 597880"/>
                    <a:gd name="connsiteX484" fmla="*/ 1565097 w 2237636"/>
                    <a:gd name="connsiteY484" fmla="*/ 542172 h 597880"/>
                    <a:gd name="connsiteX485" fmla="*/ 1565097 w 2237636"/>
                    <a:gd name="connsiteY485" fmla="*/ 517852 h 597880"/>
                    <a:gd name="connsiteX486" fmla="*/ 1557186 w 2237636"/>
                    <a:gd name="connsiteY486" fmla="*/ 517852 h 597880"/>
                    <a:gd name="connsiteX487" fmla="*/ 1518762 w 2237636"/>
                    <a:gd name="connsiteY487" fmla="*/ 503665 h 597880"/>
                    <a:gd name="connsiteX488" fmla="*/ 1502940 w 2237636"/>
                    <a:gd name="connsiteY488" fmla="*/ 508732 h 597880"/>
                    <a:gd name="connsiteX489" fmla="*/ 1491639 w 2237636"/>
                    <a:gd name="connsiteY489" fmla="*/ 501638 h 597880"/>
                    <a:gd name="connsiteX490" fmla="*/ 1491639 w 2237636"/>
                    <a:gd name="connsiteY490" fmla="*/ 494545 h 597880"/>
                    <a:gd name="connsiteX491" fmla="*/ 1448694 w 2237636"/>
                    <a:gd name="connsiteY491" fmla="*/ 492518 h 597880"/>
                    <a:gd name="connsiteX492" fmla="*/ 1435133 w 2237636"/>
                    <a:gd name="connsiteY492" fmla="*/ 497585 h 597880"/>
                    <a:gd name="connsiteX493" fmla="*/ 1410270 w 2237636"/>
                    <a:gd name="connsiteY493" fmla="*/ 490491 h 597880"/>
                    <a:gd name="connsiteX494" fmla="*/ 1404620 w 2237636"/>
                    <a:gd name="connsiteY494" fmla="*/ 495558 h 597880"/>
                    <a:gd name="connsiteX495" fmla="*/ 1388798 w 2237636"/>
                    <a:gd name="connsiteY495" fmla="*/ 495558 h 597880"/>
                    <a:gd name="connsiteX496" fmla="*/ 1386538 w 2237636"/>
                    <a:gd name="connsiteY496" fmla="*/ 502651 h 597880"/>
                    <a:gd name="connsiteX497" fmla="*/ 1351504 w 2237636"/>
                    <a:gd name="connsiteY497" fmla="*/ 502651 h 597880"/>
                    <a:gd name="connsiteX498" fmla="*/ 1337943 w 2237636"/>
                    <a:gd name="connsiteY498" fmla="*/ 507718 h 597880"/>
                    <a:gd name="connsiteX499" fmla="*/ 1337943 w 2237636"/>
                    <a:gd name="connsiteY499" fmla="*/ 514812 h 597880"/>
                    <a:gd name="connsiteX500" fmla="*/ 1291608 w 2237636"/>
                    <a:gd name="connsiteY500" fmla="*/ 504678 h 597880"/>
                    <a:gd name="connsiteX501" fmla="*/ 1291608 w 2237636"/>
                    <a:gd name="connsiteY501" fmla="*/ 516838 h 597880"/>
                    <a:gd name="connsiteX502" fmla="*/ 1272396 w 2237636"/>
                    <a:gd name="connsiteY502" fmla="*/ 509745 h 597880"/>
                    <a:gd name="connsiteX503" fmla="*/ 1264485 w 2237636"/>
                    <a:gd name="connsiteY503" fmla="*/ 514812 h 597880"/>
                    <a:gd name="connsiteX504" fmla="*/ 1264485 w 2237636"/>
                    <a:gd name="connsiteY504" fmla="*/ 509745 h 597880"/>
                    <a:gd name="connsiteX505" fmla="*/ 1229451 w 2237636"/>
                    <a:gd name="connsiteY505" fmla="*/ 499611 h 597880"/>
                    <a:gd name="connsiteX506" fmla="*/ 1223800 w 2237636"/>
                    <a:gd name="connsiteY506" fmla="*/ 506705 h 597880"/>
                    <a:gd name="connsiteX507" fmla="*/ 1223800 w 2237636"/>
                    <a:gd name="connsiteY507" fmla="*/ 492518 h 597880"/>
                    <a:gd name="connsiteX508" fmla="*/ 1194418 w 2237636"/>
                    <a:gd name="connsiteY508" fmla="*/ 490491 h 597880"/>
                    <a:gd name="connsiteX509" fmla="*/ 1188767 w 2237636"/>
                    <a:gd name="connsiteY509" fmla="*/ 497585 h 597880"/>
                    <a:gd name="connsiteX510" fmla="*/ 1188767 w 2237636"/>
                    <a:gd name="connsiteY510" fmla="*/ 487451 h 597880"/>
                    <a:gd name="connsiteX511" fmla="*/ 1175205 w 2237636"/>
                    <a:gd name="connsiteY511" fmla="*/ 485424 h 597880"/>
                    <a:gd name="connsiteX512" fmla="*/ 1177466 w 2237636"/>
                    <a:gd name="connsiteY512" fmla="*/ 478331 h 597880"/>
                    <a:gd name="connsiteX513" fmla="*/ 1215890 w 2237636"/>
                    <a:gd name="connsiteY513" fmla="*/ 476304 h 597880"/>
                    <a:gd name="connsiteX514" fmla="*/ 1215890 w 2237636"/>
                    <a:gd name="connsiteY514" fmla="*/ 469211 h 597880"/>
                    <a:gd name="connsiteX515" fmla="*/ 1188767 w 2237636"/>
                    <a:gd name="connsiteY515" fmla="*/ 462117 h 597880"/>
                    <a:gd name="connsiteX516" fmla="*/ 1180856 w 2237636"/>
                    <a:gd name="connsiteY516" fmla="*/ 455024 h 597880"/>
                    <a:gd name="connsiteX517" fmla="*/ 1161644 w 2237636"/>
                    <a:gd name="connsiteY517" fmla="*/ 452997 h 597880"/>
                    <a:gd name="connsiteX518" fmla="*/ 1155993 w 2237636"/>
                    <a:gd name="connsiteY518" fmla="*/ 440837 h 597880"/>
                    <a:gd name="connsiteX519" fmla="*/ 1090446 w 2237636"/>
                    <a:gd name="connsiteY519" fmla="*/ 447930 h 597880"/>
                    <a:gd name="connsiteX520" fmla="*/ 1090446 w 2237636"/>
                    <a:gd name="connsiteY520" fmla="*/ 440837 h 597880"/>
                    <a:gd name="connsiteX521" fmla="*/ 1076885 w 2237636"/>
                    <a:gd name="connsiteY521" fmla="*/ 428676 h 597880"/>
                    <a:gd name="connsiteX522" fmla="*/ 1052022 w 2237636"/>
                    <a:gd name="connsiteY522" fmla="*/ 430703 h 597880"/>
                    <a:gd name="connsiteX523" fmla="*/ 1024900 w 2237636"/>
                    <a:gd name="connsiteY523" fmla="*/ 425636 h 597880"/>
                    <a:gd name="connsiteX524" fmla="*/ 1022639 w 2237636"/>
                    <a:gd name="connsiteY524" fmla="*/ 420570 h 597880"/>
                    <a:gd name="connsiteX525" fmla="*/ 1011338 w 2237636"/>
                    <a:gd name="connsiteY525" fmla="*/ 422596 h 597880"/>
                    <a:gd name="connsiteX526" fmla="*/ 1002297 w 2237636"/>
                    <a:gd name="connsiteY526" fmla="*/ 414489 h 597880"/>
                    <a:gd name="connsiteX527" fmla="*/ 1194418 w 2237636"/>
                    <a:gd name="connsiteY527" fmla="*/ 424623 h 597880"/>
                    <a:gd name="connsiteX528" fmla="*/ 1183116 w 2237636"/>
                    <a:gd name="connsiteY528" fmla="*/ 426650 h 597880"/>
                    <a:gd name="connsiteX529" fmla="*/ 1180856 w 2237636"/>
                    <a:gd name="connsiteY529" fmla="*/ 433743 h 597880"/>
                    <a:gd name="connsiteX530" fmla="*/ 1207979 w 2237636"/>
                    <a:gd name="connsiteY530" fmla="*/ 447930 h 597880"/>
                    <a:gd name="connsiteX531" fmla="*/ 1205719 w 2237636"/>
                    <a:gd name="connsiteY531" fmla="*/ 440837 h 597880"/>
                    <a:gd name="connsiteX532" fmla="*/ 1203458 w 2237636"/>
                    <a:gd name="connsiteY532" fmla="*/ 423610 h 597880"/>
                    <a:gd name="connsiteX533" fmla="*/ 1194418 w 2237636"/>
                    <a:gd name="connsiteY533" fmla="*/ 424623 h 597880"/>
                    <a:gd name="connsiteX534" fmla="*/ 1582048 w 2237636"/>
                    <a:gd name="connsiteY534" fmla="*/ 475291 h 597880"/>
                    <a:gd name="connsiteX535" fmla="*/ 1570747 w 2237636"/>
                    <a:gd name="connsiteY535" fmla="*/ 482384 h 597880"/>
                    <a:gd name="connsiteX536" fmla="*/ 1562836 w 2237636"/>
                    <a:gd name="connsiteY536" fmla="*/ 482384 h 597880"/>
                    <a:gd name="connsiteX537" fmla="*/ 1560576 w 2237636"/>
                    <a:gd name="connsiteY537" fmla="*/ 484411 h 597880"/>
                    <a:gd name="connsiteX538" fmla="*/ 1562836 w 2237636"/>
                    <a:gd name="connsiteY538" fmla="*/ 491505 h 597880"/>
                    <a:gd name="connsiteX539" fmla="*/ 1574137 w 2237636"/>
                    <a:gd name="connsiteY539" fmla="*/ 489478 h 597880"/>
                    <a:gd name="connsiteX540" fmla="*/ 1582048 w 2237636"/>
                    <a:gd name="connsiteY540" fmla="*/ 496571 h 597880"/>
                    <a:gd name="connsiteX541" fmla="*/ 1582048 w 2237636"/>
                    <a:gd name="connsiteY541" fmla="*/ 486438 h 597880"/>
                    <a:gd name="connsiteX542" fmla="*/ 1582048 w 2237636"/>
                    <a:gd name="connsiteY542" fmla="*/ 475291 h 597880"/>
                    <a:gd name="connsiteX543" fmla="*/ 1037331 w 2237636"/>
                    <a:gd name="connsiteY543" fmla="*/ 487451 h 597880"/>
                    <a:gd name="connsiteX544" fmla="*/ 1039591 w 2237636"/>
                    <a:gd name="connsiteY544" fmla="*/ 494545 h 597880"/>
                    <a:gd name="connsiteX545" fmla="*/ 1037331 w 2237636"/>
                    <a:gd name="connsiteY545" fmla="*/ 487451 h 597880"/>
                    <a:gd name="connsiteX546" fmla="*/ 963873 w 2237636"/>
                    <a:gd name="connsiteY546" fmla="*/ 492518 h 597880"/>
                    <a:gd name="connsiteX547" fmla="*/ 963873 w 2237636"/>
                    <a:gd name="connsiteY547" fmla="*/ 499611 h 597880"/>
                    <a:gd name="connsiteX548" fmla="*/ 963873 w 2237636"/>
                    <a:gd name="connsiteY548" fmla="*/ 492518 h 597880"/>
                    <a:gd name="connsiteX549" fmla="*/ 977434 w 2237636"/>
                    <a:gd name="connsiteY549" fmla="*/ 492518 h 597880"/>
                    <a:gd name="connsiteX550" fmla="*/ 979695 w 2237636"/>
                    <a:gd name="connsiteY550" fmla="*/ 497585 h 597880"/>
                    <a:gd name="connsiteX551" fmla="*/ 977434 w 2237636"/>
                    <a:gd name="connsiteY551" fmla="*/ 492518 h 597880"/>
                    <a:gd name="connsiteX552" fmla="*/ 998907 w 2237636"/>
                    <a:gd name="connsiteY552" fmla="*/ 495558 h 597880"/>
                    <a:gd name="connsiteX553" fmla="*/ 993256 w 2237636"/>
                    <a:gd name="connsiteY553" fmla="*/ 505692 h 597880"/>
                    <a:gd name="connsiteX554" fmla="*/ 971784 w 2237636"/>
                    <a:gd name="connsiteY554" fmla="*/ 510758 h 597880"/>
                    <a:gd name="connsiteX555" fmla="*/ 974044 w 2237636"/>
                    <a:gd name="connsiteY555" fmla="*/ 520892 h 597880"/>
                    <a:gd name="connsiteX556" fmla="*/ 981955 w 2237636"/>
                    <a:gd name="connsiteY556" fmla="*/ 520892 h 597880"/>
                    <a:gd name="connsiteX557" fmla="*/ 987605 w 2237636"/>
                    <a:gd name="connsiteY557" fmla="*/ 510758 h 597880"/>
                    <a:gd name="connsiteX558" fmla="*/ 1001167 w 2237636"/>
                    <a:gd name="connsiteY558" fmla="*/ 510758 h 597880"/>
                    <a:gd name="connsiteX559" fmla="*/ 998907 w 2237636"/>
                    <a:gd name="connsiteY559" fmla="*/ 495558 h 597880"/>
                    <a:gd name="connsiteX560" fmla="*/ 1018119 w 2237636"/>
                    <a:gd name="connsiteY560" fmla="*/ 502651 h 597880"/>
                    <a:gd name="connsiteX561" fmla="*/ 1004557 w 2237636"/>
                    <a:gd name="connsiteY561" fmla="*/ 526972 h 597880"/>
                    <a:gd name="connsiteX562" fmla="*/ 993256 w 2237636"/>
                    <a:gd name="connsiteY562" fmla="*/ 528999 h 597880"/>
                    <a:gd name="connsiteX563" fmla="*/ 993256 w 2237636"/>
                    <a:gd name="connsiteY563" fmla="*/ 539132 h 597880"/>
                    <a:gd name="connsiteX564" fmla="*/ 985345 w 2237636"/>
                    <a:gd name="connsiteY564" fmla="*/ 546226 h 597880"/>
                    <a:gd name="connsiteX565" fmla="*/ 987605 w 2237636"/>
                    <a:gd name="connsiteY565" fmla="*/ 558386 h 597880"/>
                    <a:gd name="connsiteX566" fmla="*/ 993256 w 2237636"/>
                    <a:gd name="connsiteY566" fmla="*/ 553319 h 597880"/>
                    <a:gd name="connsiteX567" fmla="*/ 1004557 w 2237636"/>
                    <a:gd name="connsiteY567" fmla="*/ 555346 h 597880"/>
                    <a:gd name="connsiteX568" fmla="*/ 1010208 w 2237636"/>
                    <a:gd name="connsiteY568" fmla="*/ 562440 h 597880"/>
                    <a:gd name="connsiteX569" fmla="*/ 1039591 w 2237636"/>
                    <a:gd name="connsiteY569" fmla="*/ 572573 h 597880"/>
                    <a:gd name="connsiteX570" fmla="*/ 1047502 w 2237636"/>
                    <a:gd name="connsiteY570" fmla="*/ 567506 h 597880"/>
                    <a:gd name="connsiteX571" fmla="*/ 1055413 w 2237636"/>
                    <a:gd name="connsiteY571" fmla="*/ 577640 h 597880"/>
                    <a:gd name="connsiteX572" fmla="*/ 1068974 w 2237636"/>
                    <a:gd name="connsiteY572" fmla="*/ 575613 h 597880"/>
                    <a:gd name="connsiteX573" fmla="*/ 1074625 w 2237636"/>
                    <a:gd name="connsiteY573" fmla="*/ 524945 h 597880"/>
                    <a:gd name="connsiteX574" fmla="*/ 1061063 w 2237636"/>
                    <a:gd name="connsiteY574" fmla="*/ 517852 h 597880"/>
                    <a:gd name="connsiteX575" fmla="*/ 1058803 w 2237636"/>
                    <a:gd name="connsiteY575" fmla="*/ 507718 h 597880"/>
                    <a:gd name="connsiteX576" fmla="*/ 1018119 w 2237636"/>
                    <a:gd name="connsiteY576" fmla="*/ 502651 h 597880"/>
                    <a:gd name="connsiteX577" fmla="*/ 942401 w 2237636"/>
                    <a:gd name="connsiteY577" fmla="*/ 568520 h 597880"/>
                    <a:gd name="connsiteX578" fmla="*/ 944661 w 2237636"/>
                    <a:gd name="connsiteY578" fmla="*/ 578653 h 597880"/>
                    <a:gd name="connsiteX579" fmla="*/ 942401 w 2237636"/>
                    <a:gd name="connsiteY579" fmla="*/ 568520 h 597880"/>
                    <a:gd name="connsiteX580" fmla="*/ 1007948 w 2237636"/>
                    <a:gd name="connsiteY580" fmla="*/ 577640 h 597880"/>
                    <a:gd name="connsiteX581" fmla="*/ 1010208 w 2237636"/>
                    <a:gd name="connsiteY581" fmla="*/ 584733 h 597880"/>
                    <a:gd name="connsiteX582" fmla="*/ 1007948 w 2237636"/>
                    <a:gd name="connsiteY582" fmla="*/ 577640 h 597880"/>
                    <a:gd name="connsiteX583" fmla="*/ 1579788 w 2237636"/>
                    <a:gd name="connsiteY583" fmla="*/ 84135 h 597880"/>
                    <a:gd name="connsiteX584" fmla="*/ 1604651 w 2237636"/>
                    <a:gd name="connsiteY584" fmla="*/ 91229 h 597880"/>
                    <a:gd name="connsiteX585" fmla="*/ 1588829 w 2237636"/>
                    <a:gd name="connsiteY585" fmla="*/ 96295 h 597880"/>
                    <a:gd name="connsiteX586" fmla="*/ 1588829 w 2237636"/>
                    <a:gd name="connsiteY586" fmla="*/ 89202 h 597880"/>
                    <a:gd name="connsiteX587" fmla="*/ 1579788 w 2237636"/>
                    <a:gd name="connsiteY587" fmla="*/ 84135 h 597880"/>
                    <a:gd name="connsiteX588" fmla="*/ 1422702 w 2237636"/>
                    <a:gd name="connsiteY588" fmla="*/ 108456 h 597880"/>
                    <a:gd name="connsiteX589" fmla="*/ 1420442 w 2237636"/>
                    <a:gd name="connsiteY589" fmla="*/ 113522 h 597880"/>
                    <a:gd name="connsiteX590" fmla="*/ 1422702 w 2237636"/>
                    <a:gd name="connsiteY590" fmla="*/ 108456 h 597880"/>
                    <a:gd name="connsiteX591" fmla="*/ 1365065 w 2237636"/>
                    <a:gd name="connsiteY591" fmla="*/ 115549 h 597880"/>
                    <a:gd name="connsiteX592" fmla="*/ 1370716 w 2237636"/>
                    <a:gd name="connsiteY592" fmla="*/ 129736 h 597880"/>
                    <a:gd name="connsiteX593" fmla="*/ 1365065 w 2237636"/>
                    <a:gd name="connsiteY593" fmla="*/ 115549 h 597880"/>
                    <a:gd name="connsiteX594" fmla="*/ 1113049 w 2237636"/>
                    <a:gd name="connsiteY594" fmla="*/ 212831 h 597880"/>
                    <a:gd name="connsiteX595" fmla="*/ 1107398 w 2237636"/>
                    <a:gd name="connsiteY595" fmla="*/ 222965 h 597880"/>
                    <a:gd name="connsiteX596" fmla="*/ 1113049 w 2237636"/>
                    <a:gd name="connsiteY596" fmla="*/ 212831 h 597880"/>
                    <a:gd name="connsiteX597" fmla="*/ 1744786 w 2237636"/>
                    <a:gd name="connsiteY597" fmla="*/ 271606 h 597880"/>
                    <a:gd name="connsiteX598" fmla="*/ 1739135 w 2237636"/>
                    <a:gd name="connsiteY598" fmla="*/ 285793 h 597880"/>
                    <a:gd name="connsiteX599" fmla="*/ 1771908 w 2237636"/>
                    <a:gd name="connsiteY599" fmla="*/ 292887 h 597880"/>
                    <a:gd name="connsiteX600" fmla="*/ 1777559 w 2237636"/>
                    <a:gd name="connsiteY600" fmla="*/ 297953 h 597880"/>
                    <a:gd name="connsiteX601" fmla="*/ 1783210 w 2237636"/>
                    <a:gd name="connsiteY601" fmla="*/ 295927 h 597880"/>
                    <a:gd name="connsiteX602" fmla="*/ 1780950 w 2237636"/>
                    <a:gd name="connsiteY602" fmla="*/ 278700 h 597880"/>
                    <a:gd name="connsiteX603" fmla="*/ 1786600 w 2237636"/>
                    <a:gd name="connsiteY603" fmla="*/ 273633 h 597880"/>
                    <a:gd name="connsiteX604" fmla="*/ 1744786 w 2237636"/>
                    <a:gd name="connsiteY604" fmla="*/ 271606 h 597880"/>
                    <a:gd name="connsiteX605" fmla="*/ 1211369 w 2237636"/>
                    <a:gd name="connsiteY605" fmla="*/ 332407 h 597880"/>
                    <a:gd name="connsiteX606" fmla="*/ 1209109 w 2237636"/>
                    <a:gd name="connsiteY606" fmla="*/ 339501 h 597880"/>
                    <a:gd name="connsiteX607" fmla="*/ 1211369 w 2237636"/>
                    <a:gd name="connsiteY607" fmla="*/ 332407 h 597880"/>
                    <a:gd name="connsiteX608" fmla="*/ 1219280 w 2237636"/>
                    <a:gd name="connsiteY608" fmla="*/ 344568 h 597880"/>
                    <a:gd name="connsiteX609" fmla="*/ 1217020 w 2237636"/>
                    <a:gd name="connsiteY609" fmla="*/ 349635 h 597880"/>
                    <a:gd name="connsiteX610" fmla="*/ 1219280 w 2237636"/>
                    <a:gd name="connsiteY610" fmla="*/ 344568 h 597880"/>
                    <a:gd name="connsiteX611" fmla="*/ 1446434 w 2237636"/>
                    <a:gd name="connsiteY611" fmla="*/ 426650 h 597880"/>
                    <a:gd name="connsiteX612" fmla="*/ 1454345 w 2237636"/>
                    <a:gd name="connsiteY612" fmla="*/ 445903 h 597880"/>
                    <a:gd name="connsiteX613" fmla="*/ 1446434 w 2237636"/>
                    <a:gd name="connsiteY613" fmla="*/ 426650 h 597880"/>
                    <a:gd name="connsiteX614" fmla="*/ 1215890 w 2237636"/>
                    <a:gd name="connsiteY614" fmla="*/ 490491 h 597880"/>
                    <a:gd name="connsiteX615" fmla="*/ 1213629 w 2237636"/>
                    <a:gd name="connsiteY615" fmla="*/ 495558 h 597880"/>
                    <a:gd name="connsiteX616" fmla="*/ 1215890 w 2237636"/>
                    <a:gd name="connsiteY616" fmla="*/ 490491 h 597880"/>
                    <a:gd name="connsiteX617" fmla="*/ 1563966 w 2237636"/>
                    <a:gd name="connsiteY617" fmla="*/ 553319 h 597880"/>
                    <a:gd name="connsiteX618" fmla="*/ 1566227 w 2237636"/>
                    <a:gd name="connsiteY618" fmla="*/ 563453 h 597880"/>
                    <a:gd name="connsiteX619" fmla="*/ 1563966 w 2237636"/>
                    <a:gd name="connsiteY619" fmla="*/ 553319 h 597880"/>
                    <a:gd name="connsiteX620" fmla="*/ 2064610 w 2237636"/>
                    <a:gd name="connsiteY620" fmla="*/ 115549 h 597880"/>
                    <a:gd name="connsiteX621" fmla="*/ 2070260 w 2237636"/>
                    <a:gd name="connsiteY621" fmla="*/ 120616 h 597880"/>
                    <a:gd name="connsiteX622" fmla="*/ 2064610 w 2237636"/>
                    <a:gd name="connsiteY622" fmla="*/ 115549 h 597880"/>
                    <a:gd name="connsiteX623" fmla="*/ 1322121 w 2237636"/>
                    <a:gd name="connsiteY623" fmla="*/ 118589 h 597880"/>
                    <a:gd name="connsiteX624" fmla="*/ 1283697 w 2237636"/>
                    <a:gd name="connsiteY624" fmla="*/ 89202 h 597880"/>
                    <a:gd name="connsiteX625" fmla="*/ 1278046 w 2237636"/>
                    <a:gd name="connsiteY625" fmla="*/ 91229 h 597880"/>
                    <a:gd name="connsiteX626" fmla="*/ 1258834 w 2237636"/>
                    <a:gd name="connsiteY626" fmla="*/ 96295 h 597880"/>
                    <a:gd name="connsiteX627" fmla="*/ 1229451 w 2237636"/>
                    <a:gd name="connsiteY627" fmla="*/ 122643 h 597880"/>
                    <a:gd name="connsiteX628" fmla="*/ 1180856 w 2237636"/>
                    <a:gd name="connsiteY628" fmla="*/ 110482 h 597880"/>
                    <a:gd name="connsiteX629" fmla="*/ 1169555 w 2237636"/>
                    <a:gd name="connsiteY629" fmla="*/ 117576 h 597880"/>
                    <a:gd name="connsiteX630" fmla="*/ 1155993 w 2237636"/>
                    <a:gd name="connsiteY630" fmla="*/ 117576 h 597880"/>
                    <a:gd name="connsiteX631" fmla="*/ 1153733 w 2237636"/>
                    <a:gd name="connsiteY631" fmla="*/ 127709 h 597880"/>
                    <a:gd name="connsiteX632" fmla="*/ 1200068 w 2237636"/>
                    <a:gd name="connsiteY632" fmla="*/ 122643 h 597880"/>
                    <a:gd name="connsiteX633" fmla="*/ 1175205 w 2237636"/>
                    <a:gd name="connsiteY633" fmla="*/ 129736 h 597880"/>
                    <a:gd name="connsiteX634" fmla="*/ 1177466 w 2237636"/>
                    <a:gd name="connsiteY634" fmla="*/ 139870 h 597880"/>
                    <a:gd name="connsiteX635" fmla="*/ 1218150 w 2237636"/>
                    <a:gd name="connsiteY635" fmla="*/ 132776 h 597880"/>
                    <a:gd name="connsiteX636" fmla="*/ 1253184 w 2237636"/>
                    <a:gd name="connsiteY636" fmla="*/ 134803 h 597880"/>
                    <a:gd name="connsiteX637" fmla="*/ 1179726 w 2237636"/>
                    <a:gd name="connsiteY637" fmla="*/ 148990 h 597880"/>
                    <a:gd name="connsiteX638" fmla="*/ 1179726 w 2237636"/>
                    <a:gd name="connsiteY638" fmla="*/ 163177 h 597880"/>
                    <a:gd name="connsiteX639" fmla="*/ 1185376 w 2237636"/>
                    <a:gd name="connsiteY639" fmla="*/ 161150 h 597880"/>
                    <a:gd name="connsiteX640" fmla="*/ 1198938 w 2237636"/>
                    <a:gd name="connsiteY640" fmla="*/ 156083 h 597880"/>
                    <a:gd name="connsiteX641" fmla="*/ 1278046 w 2237636"/>
                    <a:gd name="connsiteY641" fmla="*/ 138856 h 597880"/>
                    <a:gd name="connsiteX642" fmla="*/ 1278046 w 2237636"/>
                    <a:gd name="connsiteY642" fmla="*/ 143923 h 597880"/>
                    <a:gd name="connsiteX643" fmla="*/ 1266745 w 2237636"/>
                    <a:gd name="connsiteY643" fmla="*/ 148990 h 597880"/>
                    <a:gd name="connsiteX644" fmla="*/ 1239622 w 2237636"/>
                    <a:gd name="connsiteY644" fmla="*/ 148990 h 597880"/>
                    <a:gd name="connsiteX645" fmla="*/ 1223800 w 2237636"/>
                    <a:gd name="connsiteY645" fmla="*/ 159123 h 597880"/>
                    <a:gd name="connsiteX646" fmla="*/ 1207979 w 2237636"/>
                    <a:gd name="connsiteY646" fmla="*/ 159123 h 597880"/>
                    <a:gd name="connsiteX647" fmla="*/ 1192157 w 2237636"/>
                    <a:gd name="connsiteY647" fmla="*/ 171284 h 597880"/>
                    <a:gd name="connsiteX648" fmla="*/ 1205719 w 2237636"/>
                    <a:gd name="connsiteY648" fmla="*/ 181417 h 597880"/>
                    <a:gd name="connsiteX649" fmla="*/ 1221540 w 2237636"/>
                    <a:gd name="connsiteY649" fmla="*/ 174324 h 597880"/>
                    <a:gd name="connsiteX650" fmla="*/ 1267875 w 2237636"/>
                    <a:gd name="connsiteY650" fmla="*/ 179391 h 597880"/>
                    <a:gd name="connsiteX651" fmla="*/ 1279177 w 2237636"/>
                    <a:gd name="connsiteY651" fmla="*/ 174324 h 597880"/>
                    <a:gd name="connsiteX652" fmla="*/ 1292738 w 2237636"/>
                    <a:gd name="connsiteY652" fmla="*/ 176351 h 597880"/>
                    <a:gd name="connsiteX653" fmla="*/ 1300649 w 2237636"/>
                    <a:gd name="connsiteY653" fmla="*/ 171284 h 597880"/>
                    <a:gd name="connsiteX654" fmla="*/ 1302909 w 2237636"/>
                    <a:gd name="connsiteY654" fmla="*/ 178377 h 597880"/>
                    <a:gd name="connsiteX655" fmla="*/ 1322121 w 2237636"/>
                    <a:gd name="connsiteY655" fmla="*/ 180404 h 597880"/>
                    <a:gd name="connsiteX656" fmla="*/ 1346984 w 2237636"/>
                    <a:gd name="connsiteY656" fmla="*/ 166217 h 597880"/>
                    <a:gd name="connsiteX657" fmla="*/ 1344723 w 2237636"/>
                    <a:gd name="connsiteY657" fmla="*/ 183444 h 597880"/>
                    <a:gd name="connsiteX658" fmla="*/ 1369586 w 2237636"/>
                    <a:gd name="connsiteY658" fmla="*/ 188511 h 597880"/>
                    <a:gd name="connsiteX659" fmla="*/ 1391058 w 2237636"/>
                    <a:gd name="connsiteY659" fmla="*/ 186484 h 597880"/>
                    <a:gd name="connsiteX660" fmla="*/ 1398969 w 2237636"/>
                    <a:gd name="connsiteY660" fmla="*/ 191551 h 597880"/>
                    <a:gd name="connsiteX661" fmla="*/ 1418181 w 2237636"/>
                    <a:gd name="connsiteY661" fmla="*/ 174324 h 597880"/>
                    <a:gd name="connsiteX662" fmla="*/ 1415921 w 2237636"/>
                    <a:gd name="connsiteY662" fmla="*/ 162164 h 597880"/>
                    <a:gd name="connsiteX663" fmla="*/ 1421571 w 2237636"/>
                    <a:gd name="connsiteY663" fmla="*/ 160137 h 597880"/>
                    <a:gd name="connsiteX664" fmla="*/ 1429482 w 2237636"/>
                    <a:gd name="connsiteY664" fmla="*/ 160137 h 597880"/>
                    <a:gd name="connsiteX665" fmla="*/ 1429482 w 2237636"/>
                    <a:gd name="connsiteY665" fmla="*/ 165204 h 597880"/>
                    <a:gd name="connsiteX666" fmla="*/ 1427222 w 2237636"/>
                    <a:gd name="connsiteY666" fmla="*/ 177364 h 597880"/>
                    <a:gd name="connsiteX667" fmla="*/ 1432873 w 2237636"/>
                    <a:gd name="connsiteY667" fmla="*/ 179391 h 597880"/>
                    <a:gd name="connsiteX668" fmla="*/ 1519892 w 2237636"/>
                    <a:gd name="connsiteY668" fmla="*/ 165204 h 597880"/>
                    <a:gd name="connsiteX669" fmla="*/ 1587699 w 2237636"/>
                    <a:gd name="connsiteY669" fmla="*/ 165204 h 597880"/>
                    <a:gd name="connsiteX670" fmla="*/ 1655506 w 2237636"/>
                    <a:gd name="connsiteY670" fmla="*/ 147977 h 597880"/>
                    <a:gd name="connsiteX671" fmla="*/ 1657767 w 2237636"/>
                    <a:gd name="connsiteY671" fmla="*/ 142910 h 597880"/>
                    <a:gd name="connsiteX672" fmla="*/ 1676978 w 2237636"/>
                    <a:gd name="connsiteY672" fmla="*/ 144936 h 597880"/>
                    <a:gd name="connsiteX673" fmla="*/ 1712012 w 2237636"/>
                    <a:gd name="connsiteY673" fmla="*/ 137843 h 597880"/>
                    <a:gd name="connsiteX674" fmla="*/ 1696191 w 2237636"/>
                    <a:gd name="connsiteY674" fmla="*/ 144936 h 597880"/>
                    <a:gd name="connsiteX675" fmla="*/ 1669068 w 2237636"/>
                    <a:gd name="connsiteY675" fmla="*/ 146963 h 597880"/>
                    <a:gd name="connsiteX676" fmla="*/ 1657767 w 2237636"/>
                    <a:gd name="connsiteY676" fmla="*/ 154057 h 597880"/>
                    <a:gd name="connsiteX677" fmla="*/ 1663417 w 2237636"/>
                    <a:gd name="connsiteY677" fmla="*/ 156083 h 597880"/>
                    <a:gd name="connsiteX678" fmla="*/ 1696191 w 2237636"/>
                    <a:gd name="connsiteY678" fmla="*/ 158110 h 597880"/>
                    <a:gd name="connsiteX679" fmla="*/ 1696191 w 2237636"/>
                    <a:gd name="connsiteY679" fmla="*/ 163177 h 597880"/>
                    <a:gd name="connsiteX680" fmla="*/ 1657767 w 2237636"/>
                    <a:gd name="connsiteY680" fmla="*/ 163177 h 597880"/>
                    <a:gd name="connsiteX681" fmla="*/ 1646465 w 2237636"/>
                    <a:gd name="connsiteY681" fmla="*/ 170270 h 597880"/>
                    <a:gd name="connsiteX682" fmla="*/ 1617082 w 2237636"/>
                    <a:gd name="connsiteY682" fmla="*/ 172297 h 597880"/>
                    <a:gd name="connsiteX683" fmla="*/ 1671328 w 2237636"/>
                    <a:gd name="connsiteY683" fmla="*/ 182431 h 597880"/>
                    <a:gd name="connsiteX684" fmla="*/ 1611432 w 2237636"/>
                    <a:gd name="connsiteY684" fmla="*/ 194591 h 597880"/>
                    <a:gd name="connsiteX685" fmla="*/ 1592219 w 2237636"/>
                    <a:gd name="connsiteY685" fmla="*/ 189524 h 597880"/>
                    <a:gd name="connsiteX686" fmla="*/ 1589959 w 2237636"/>
                    <a:gd name="connsiteY686" fmla="*/ 196618 h 597880"/>
                    <a:gd name="connsiteX687" fmla="*/ 1497290 w 2237636"/>
                    <a:gd name="connsiteY687" fmla="*/ 201684 h 597880"/>
                    <a:gd name="connsiteX688" fmla="*/ 1497290 w 2237636"/>
                    <a:gd name="connsiteY688" fmla="*/ 208778 h 597880"/>
                    <a:gd name="connsiteX689" fmla="*/ 1505200 w 2237636"/>
                    <a:gd name="connsiteY689" fmla="*/ 222965 h 597880"/>
                    <a:gd name="connsiteX690" fmla="*/ 1502940 w 2237636"/>
                    <a:gd name="connsiteY690" fmla="*/ 230058 h 597880"/>
                    <a:gd name="connsiteX691" fmla="*/ 1508591 w 2237636"/>
                    <a:gd name="connsiteY691" fmla="*/ 235125 h 597880"/>
                    <a:gd name="connsiteX692" fmla="*/ 1547015 w 2237636"/>
                    <a:gd name="connsiteY692" fmla="*/ 237152 h 597880"/>
                    <a:gd name="connsiteX693" fmla="*/ 1562836 w 2237636"/>
                    <a:gd name="connsiteY693" fmla="*/ 239179 h 597880"/>
                    <a:gd name="connsiteX694" fmla="*/ 1562836 w 2237636"/>
                    <a:gd name="connsiteY694" fmla="*/ 244245 h 597880"/>
                    <a:gd name="connsiteX695" fmla="*/ 1551535 w 2237636"/>
                    <a:gd name="connsiteY695" fmla="*/ 242219 h 597880"/>
                    <a:gd name="connsiteX696" fmla="*/ 1545885 w 2237636"/>
                    <a:gd name="connsiteY696" fmla="*/ 244245 h 597880"/>
                    <a:gd name="connsiteX697" fmla="*/ 1545885 w 2237636"/>
                    <a:gd name="connsiteY697" fmla="*/ 251339 h 597880"/>
                    <a:gd name="connsiteX698" fmla="*/ 1532323 w 2237636"/>
                    <a:gd name="connsiteY698" fmla="*/ 246272 h 597880"/>
                    <a:gd name="connsiteX699" fmla="*/ 1516502 w 2237636"/>
                    <a:gd name="connsiteY699" fmla="*/ 248299 h 597880"/>
                    <a:gd name="connsiteX700" fmla="*/ 1514241 w 2237636"/>
                    <a:gd name="connsiteY700" fmla="*/ 243232 h 597880"/>
                    <a:gd name="connsiteX701" fmla="*/ 1502940 w 2237636"/>
                    <a:gd name="connsiteY701" fmla="*/ 243232 h 597880"/>
                    <a:gd name="connsiteX702" fmla="*/ 1491639 w 2237636"/>
                    <a:gd name="connsiteY702" fmla="*/ 213845 h 597880"/>
                    <a:gd name="connsiteX703" fmla="*/ 1472427 w 2237636"/>
                    <a:gd name="connsiteY703" fmla="*/ 199658 h 597880"/>
                    <a:gd name="connsiteX704" fmla="*/ 1472427 w 2237636"/>
                    <a:gd name="connsiteY704" fmla="*/ 197631 h 597880"/>
                    <a:gd name="connsiteX705" fmla="*/ 1361675 w 2237636"/>
                    <a:gd name="connsiteY705" fmla="*/ 197631 h 597880"/>
                    <a:gd name="connsiteX706" fmla="*/ 1359415 w 2237636"/>
                    <a:gd name="connsiteY706" fmla="*/ 211818 h 597880"/>
                    <a:gd name="connsiteX707" fmla="*/ 1361675 w 2237636"/>
                    <a:gd name="connsiteY707" fmla="*/ 213845 h 597880"/>
                    <a:gd name="connsiteX708" fmla="*/ 1356025 w 2237636"/>
                    <a:gd name="connsiteY708" fmla="*/ 226005 h 597880"/>
                    <a:gd name="connsiteX709" fmla="*/ 1342463 w 2237636"/>
                    <a:gd name="connsiteY709" fmla="*/ 228032 h 597880"/>
                    <a:gd name="connsiteX710" fmla="*/ 1334552 w 2237636"/>
                    <a:gd name="connsiteY710" fmla="*/ 240192 h 597880"/>
                    <a:gd name="connsiteX711" fmla="*/ 1328902 w 2237636"/>
                    <a:gd name="connsiteY711" fmla="*/ 233099 h 597880"/>
                    <a:gd name="connsiteX712" fmla="*/ 1336812 w 2237636"/>
                    <a:gd name="connsiteY712" fmla="*/ 218912 h 597880"/>
                    <a:gd name="connsiteX713" fmla="*/ 1328902 w 2237636"/>
                    <a:gd name="connsiteY713" fmla="*/ 206751 h 597880"/>
                    <a:gd name="connsiteX714" fmla="*/ 1320991 w 2237636"/>
                    <a:gd name="connsiteY714" fmla="*/ 206751 h 597880"/>
                    <a:gd name="connsiteX715" fmla="*/ 1320991 w 2237636"/>
                    <a:gd name="connsiteY715" fmla="*/ 192564 h 597880"/>
                    <a:gd name="connsiteX716" fmla="*/ 1315340 w 2237636"/>
                    <a:gd name="connsiteY716" fmla="*/ 192564 h 597880"/>
                    <a:gd name="connsiteX717" fmla="*/ 1313080 w 2237636"/>
                    <a:gd name="connsiteY717" fmla="*/ 202698 h 597880"/>
                    <a:gd name="connsiteX718" fmla="*/ 1297258 w 2237636"/>
                    <a:gd name="connsiteY718" fmla="*/ 202698 h 597880"/>
                    <a:gd name="connsiteX719" fmla="*/ 1294998 w 2237636"/>
                    <a:gd name="connsiteY719" fmla="*/ 190538 h 597880"/>
                    <a:gd name="connsiteX720" fmla="*/ 1283697 w 2237636"/>
                    <a:gd name="connsiteY720" fmla="*/ 197631 h 597880"/>
                    <a:gd name="connsiteX721" fmla="*/ 1283697 w 2237636"/>
                    <a:gd name="connsiteY721" fmla="*/ 199658 h 597880"/>
                    <a:gd name="connsiteX722" fmla="*/ 1200068 w 2237636"/>
                    <a:gd name="connsiteY722" fmla="*/ 199658 h 597880"/>
                    <a:gd name="connsiteX723" fmla="*/ 1170685 w 2237636"/>
                    <a:gd name="connsiteY723" fmla="*/ 187497 h 597880"/>
                    <a:gd name="connsiteX724" fmla="*/ 1172945 w 2237636"/>
                    <a:gd name="connsiteY724" fmla="*/ 170270 h 597880"/>
                    <a:gd name="connsiteX725" fmla="*/ 1151473 w 2237636"/>
                    <a:gd name="connsiteY725" fmla="*/ 143923 h 597880"/>
                    <a:gd name="connsiteX726" fmla="*/ 1091577 w 2237636"/>
                    <a:gd name="connsiteY726" fmla="*/ 136830 h 597880"/>
                    <a:gd name="connsiteX727" fmla="*/ 1080275 w 2237636"/>
                    <a:gd name="connsiteY727" fmla="*/ 129736 h 597880"/>
                    <a:gd name="connsiteX728" fmla="*/ 1010208 w 2237636"/>
                    <a:gd name="connsiteY728" fmla="*/ 127709 h 597880"/>
                    <a:gd name="connsiteX729" fmla="*/ 1010208 w 2237636"/>
                    <a:gd name="connsiteY729" fmla="*/ 137843 h 597880"/>
                    <a:gd name="connsiteX730" fmla="*/ 1048632 w 2237636"/>
                    <a:gd name="connsiteY730" fmla="*/ 137843 h 597880"/>
                    <a:gd name="connsiteX731" fmla="*/ 1062193 w 2237636"/>
                    <a:gd name="connsiteY731" fmla="*/ 137843 h 597880"/>
                    <a:gd name="connsiteX732" fmla="*/ 1064454 w 2237636"/>
                    <a:gd name="connsiteY732" fmla="*/ 142910 h 597880"/>
                    <a:gd name="connsiteX733" fmla="*/ 1066714 w 2237636"/>
                    <a:gd name="connsiteY733" fmla="*/ 150003 h 597880"/>
                    <a:gd name="connsiteX734" fmla="*/ 1062193 w 2237636"/>
                    <a:gd name="connsiteY734" fmla="*/ 150003 h 597880"/>
                    <a:gd name="connsiteX735" fmla="*/ 1067844 w 2237636"/>
                    <a:gd name="connsiteY735" fmla="*/ 162164 h 597880"/>
                    <a:gd name="connsiteX736" fmla="*/ 1024900 w 2237636"/>
                    <a:gd name="connsiteY736" fmla="*/ 157097 h 597880"/>
                    <a:gd name="connsiteX737" fmla="*/ 1016989 w 2237636"/>
                    <a:gd name="connsiteY737" fmla="*/ 152030 h 597880"/>
                    <a:gd name="connsiteX738" fmla="*/ 1005687 w 2237636"/>
                    <a:gd name="connsiteY738" fmla="*/ 154057 h 597880"/>
                    <a:gd name="connsiteX739" fmla="*/ 1007948 w 2237636"/>
                    <a:gd name="connsiteY739" fmla="*/ 168244 h 597880"/>
                    <a:gd name="connsiteX740" fmla="*/ 1021509 w 2237636"/>
                    <a:gd name="connsiteY740" fmla="*/ 168244 h 597880"/>
                    <a:gd name="connsiteX741" fmla="*/ 1021509 w 2237636"/>
                    <a:gd name="connsiteY741" fmla="*/ 175337 h 597880"/>
                    <a:gd name="connsiteX742" fmla="*/ 1042981 w 2237636"/>
                    <a:gd name="connsiteY742" fmla="*/ 165204 h 597880"/>
                    <a:gd name="connsiteX743" fmla="*/ 1081406 w 2237636"/>
                    <a:gd name="connsiteY743" fmla="*/ 175337 h 597880"/>
                    <a:gd name="connsiteX744" fmla="*/ 1087056 w 2237636"/>
                    <a:gd name="connsiteY744" fmla="*/ 165204 h 597880"/>
                    <a:gd name="connsiteX745" fmla="*/ 1089316 w 2237636"/>
                    <a:gd name="connsiteY745" fmla="*/ 177364 h 597880"/>
                    <a:gd name="connsiteX746" fmla="*/ 1097227 w 2237636"/>
                    <a:gd name="connsiteY746" fmla="*/ 182431 h 597880"/>
                    <a:gd name="connsiteX747" fmla="*/ 1097227 w 2237636"/>
                    <a:gd name="connsiteY747" fmla="*/ 189524 h 597880"/>
                    <a:gd name="connsiteX748" fmla="*/ 1037331 w 2237636"/>
                    <a:gd name="connsiteY748" fmla="*/ 196618 h 597880"/>
                    <a:gd name="connsiteX749" fmla="*/ 1045242 w 2237636"/>
                    <a:gd name="connsiteY749" fmla="*/ 206751 h 597880"/>
                    <a:gd name="connsiteX750" fmla="*/ 1042981 w 2237636"/>
                    <a:gd name="connsiteY750" fmla="*/ 211818 h 597880"/>
                    <a:gd name="connsiteX751" fmla="*/ 1035071 w 2237636"/>
                    <a:gd name="connsiteY751" fmla="*/ 209791 h 597880"/>
                    <a:gd name="connsiteX752" fmla="*/ 1029420 w 2237636"/>
                    <a:gd name="connsiteY752" fmla="*/ 214858 h 597880"/>
                    <a:gd name="connsiteX753" fmla="*/ 1070104 w 2237636"/>
                    <a:gd name="connsiteY753" fmla="*/ 224992 h 597880"/>
                    <a:gd name="connsiteX754" fmla="*/ 1078015 w 2237636"/>
                    <a:gd name="connsiteY754" fmla="*/ 214858 h 597880"/>
                    <a:gd name="connsiteX755" fmla="*/ 1078015 w 2237636"/>
                    <a:gd name="connsiteY755" fmla="*/ 227018 h 597880"/>
                    <a:gd name="connsiteX756" fmla="*/ 1091577 w 2237636"/>
                    <a:gd name="connsiteY756" fmla="*/ 229045 h 597880"/>
                    <a:gd name="connsiteX757" fmla="*/ 1099487 w 2237636"/>
                    <a:gd name="connsiteY757" fmla="*/ 223978 h 597880"/>
                    <a:gd name="connsiteX758" fmla="*/ 1101748 w 2237636"/>
                    <a:gd name="connsiteY758" fmla="*/ 229045 h 597880"/>
                    <a:gd name="connsiteX759" fmla="*/ 1107398 w 2237636"/>
                    <a:gd name="connsiteY759" fmla="*/ 236139 h 597880"/>
                    <a:gd name="connsiteX760" fmla="*/ 1068974 w 2237636"/>
                    <a:gd name="connsiteY760" fmla="*/ 234112 h 597880"/>
                    <a:gd name="connsiteX761" fmla="*/ 1055413 w 2237636"/>
                    <a:gd name="connsiteY761" fmla="*/ 227018 h 597880"/>
                    <a:gd name="connsiteX762" fmla="*/ 1041851 w 2237636"/>
                    <a:gd name="connsiteY762" fmla="*/ 239179 h 597880"/>
                    <a:gd name="connsiteX763" fmla="*/ 1041851 w 2237636"/>
                    <a:gd name="connsiteY763" fmla="*/ 251339 h 597880"/>
                    <a:gd name="connsiteX764" fmla="*/ 1047502 w 2237636"/>
                    <a:gd name="connsiteY764" fmla="*/ 256406 h 597880"/>
                    <a:gd name="connsiteX765" fmla="*/ 1115309 w 2237636"/>
                    <a:gd name="connsiteY765" fmla="*/ 270593 h 597880"/>
                    <a:gd name="connsiteX766" fmla="*/ 1115309 w 2237636"/>
                    <a:gd name="connsiteY766" fmla="*/ 278700 h 597880"/>
                    <a:gd name="connsiteX767" fmla="*/ 1107398 w 2237636"/>
                    <a:gd name="connsiteY767" fmla="*/ 280726 h 597880"/>
                    <a:gd name="connsiteX768" fmla="*/ 1072364 w 2237636"/>
                    <a:gd name="connsiteY768" fmla="*/ 280726 h 597880"/>
                    <a:gd name="connsiteX769" fmla="*/ 1072364 w 2237636"/>
                    <a:gd name="connsiteY769" fmla="*/ 290860 h 597880"/>
                    <a:gd name="connsiteX770" fmla="*/ 1074625 w 2237636"/>
                    <a:gd name="connsiteY770" fmla="*/ 295927 h 597880"/>
                    <a:gd name="connsiteX771" fmla="*/ 1123220 w 2237636"/>
                    <a:gd name="connsiteY771" fmla="*/ 293900 h 597880"/>
                    <a:gd name="connsiteX772" fmla="*/ 1131131 w 2237636"/>
                    <a:gd name="connsiteY772" fmla="*/ 283766 h 597880"/>
                    <a:gd name="connsiteX773" fmla="*/ 1166165 w 2237636"/>
                    <a:gd name="connsiteY773" fmla="*/ 285793 h 597880"/>
                    <a:gd name="connsiteX774" fmla="*/ 1166165 w 2237636"/>
                    <a:gd name="connsiteY774" fmla="*/ 292887 h 597880"/>
                    <a:gd name="connsiteX775" fmla="*/ 1114179 w 2237636"/>
                    <a:gd name="connsiteY775" fmla="*/ 303020 h 597880"/>
                    <a:gd name="connsiteX776" fmla="*/ 1111919 w 2237636"/>
                    <a:gd name="connsiteY776" fmla="*/ 308087 h 597880"/>
                    <a:gd name="connsiteX777" fmla="*/ 1119830 w 2237636"/>
                    <a:gd name="connsiteY777" fmla="*/ 322274 h 597880"/>
                    <a:gd name="connsiteX778" fmla="*/ 1127740 w 2237636"/>
                    <a:gd name="connsiteY778" fmla="*/ 322274 h 597880"/>
                    <a:gd name="connsiteX779" fmla="*/ 1130001 w 2237636"/>
                    <a:gd name="connsiteY779" fmla="*/ 336461 h 597880"/>
                    <a:gd name="connsiteX780" fmla="*/ 1141302 w 2237636"/>
                    <a:gd name="connsiteY780" fmla="*/ 338488 h 597880"/>
                    <a:gd name="connsiteX781" fmla="*/ 1141302 w 2237636"/>
                    <a:gd name="connsiteY781" fmla="*/ 343554 h 597880"/>
                    <a:gd name="connsiteX782" fmla="*/ 1127740 w 2237636"/>
                    <a:gd name="connsiteY782" fmla="*/ 345581 h 597880"/>
                    <a:gd name="connsiteX783" fmla="*/ 1130001 w 2237636"/>
                    <a:gd name="connsiteY783" fmla="*/ 355715 h 597880"/>
                    <a:gd name="connsiteX784" fmla="*/ 1184246 w 2237636"/>
                    <a:gd name="connsiteY784" fmla="*/ 350648 h 597880"/>
                    <a:gd name="connsiteX785" fmla="*/ 1184246 w 2237636"/>
                    <a:gd name="connsiteY785" fmla="*/ 340514 h 597880"/>
                    <a:gd name="connsiteX786" fmla="*/ 1192157 w 2237636"/>
                    <a:gd name="connsiteY786" fmla="*/ 340514 h 597880"/>
                    <a:gd name="connsiteX787" fmla="*/ 1197808 w 2237636"/>
                    <a:gd name="connsiteY787" fmla="*/ 350648 h 597880"/>
                    <a:gd name="connsiteX788" fmla="*/ 1211369 w 2237636"/>
                    <a:gd name="connsiteY788" fmla="*/ 352675 h 597880"/>
                    <a:gd name="connsiteX789" fmla="*/ 1219280 w 2237636"/>
                    <a:gd name="connsiteY789" fmla="*/ 354701 h 597880"/>
                    <a:gd name="connsiteX790" fmla="*/ 1219280 w 2237636"/>
                    <a:gd name="connsiteY790" fmla="*/ 347608 h 597880"/>
                    <a:gd name="connsiteX791" fmla="*/ 1230581 w 2237636"/>
                    <a:gd name="connsiteY791" fmla="*/ 349635 h 597880"/>
                    <a:gd name="connsiteX792" fmla="*/ 1238492 w 2237636"/>
                    <a:gd name="connsiteY792" fmla="*/ 327341 h 597880"/>
                    <a:gd name="connsiteX793" fmla="*/ 1254314 w 2237636"/>
                    <a:gd name="connsiteY793" fmla="*/ 329367 h 597880"/>
                    <a:gd name="connsiteX794" fmla="*/ 1273526 w 2237636"/>
                    <a:gd name="connsiteY794" fmla="*/ 322274 h 597880"/>
                    <a:gd name="connsiteX795" fmla="*/ 1279177 w 2237636"/>
                    <a:gd name="connsiteY795" fmla="*/ 295927 h 597880"/>
                    <a:gd name="connsiteX796" fmla="*/ 1279177 w 2237636"/>
                    <a:gd name="connsiteY796" fmla="*/ 313154 h 597880"/>
                    <a:gd name="connsiteX797" fmla="*/ 1292738 w 2237636"/>
                    <a:gd name="connsiteY797" fmla="*/ 313154 h 597880"/>
                    <a:gd name="connsiteX798" fmla="*/ 1292738 w 2237636"/>
                    <a:gd name="connsiteY798" fmla="*/ 311127 h 597880"/>
                    <a:gd name="connsiteX799" fmla="*/ 1314210 w 2237636"/>
                    <a:gd name="connsiteY799" fmla="*/ 293900 h 597880"/>
                    <a:gd name="connsiteX800" fmla="*/ 1322121 w 2237636"/>
                    <a:gd name="connsiteY800" fmla="*/ 300993 h 597880"/>
                    <a:gd name="connsiteX801" fmla="*/ 1341333 w 2237636"/>
                    <a:gd name="connsiteY801" fmla="*/ 295927 h 597880"/>
                    <a:gd name="connsiteX802" fmla="*/ 1335683 w 2237636"/>
                    <a:gd name="connsiteY802" fmla="*/ 306060 h 597880"/>
                    <a:gd name="connsiteX803" fmla="*/ 1341333 w 2237636"/>
                    <a:gd name="connsiteY803" fmla="*/ 293900 h 597880"/>
                    <a:gd name="connsiteX804" fmla="*/ 1357155 w 2237636"/>
                    <a:gd name="connsiteY804" fmla="*/ 298967 h 597880"/>
                    <a:gd name="connsiteX805" fmla="*/ 1357155 w 2237636"/>
                    <a:gd name="connsiteY805" fmla="*/ 293900 h 597880"/>
                    <a:gd name="connsiteX806" fmla="*/ 1395579 w 2237636"/>
                    <a:gd name="connsiteY806" fmla="*/ 281740 h 597880"/>
                    <a:gd name="connsiteX807" fmla="*/ 1397839 w 2237636"/>
                    <a:gd name="connsiteY807" fmla="*/ 271606 h 597880"/>
                    <a:gd name="connsiteX808" fmla="*/ 1382017 w 2237636"/>
                    <a:gd name="connsiteY808" fmla="*/ 245259 h 597880"/>
                    <a:gd name="connsiteX809" fmla="*/ 1389928 w 2237636"/>
                    <a:gd name="connsiteY809" fmla="*/ 245259 h 597880"/>
                    <a:gd name="connsiteX810" fmla="*/ 1405750 w 2237636"/>
                    <a:gd name="connsiteY810" fmla="*/ 274646 h 597880"/>
                    <a:gd name="connsiteX811" fmla="*/ 1413661 w 2237636"/>
                    <a:gd name="connsiteY811" fmla="*/ 276673 h 597880"/>
                    <a:gd name="connsiteX812" fmla="*/ 1424962 w 2237636"/>
                    <a:gd name="connsiteY812" fmla="*/ 269579 h 597880"/>
                    <a:gd name="connsiteX813" fmla="*/ 1424962 w 2237636"/>
                    <a:gd name="connsiteY813" fmla="*/ 274646 h 597880"/>
                    <a:gd name="connsiteX814" fmla="*/ 1427222 w 2237636"/>
                    <a:gd name="connsiteY814" fmla="*/ 274646 h 597880"/>
                    <a:gd name="connsiteX815" fmla="*/ 1435133 w 2237636"/>
                    <a:gd name="connsiteY815" fmla="*/ 284780 h 597880"/>
                    <a:gd name="connsiteX816" fmla="*/ 1405750 w 2237636"/>
                    <a:gd name="connsiteY816" fmla="*/ 291873 h 597880"/>
                    <a:gd name="connsiteX817" fmla="*/ 1479208 w 2237636"/>
                    <a:gd name="connsiteY817" fmla="*/ 298967 h 597880"/>
                    <a:gd name="connsiteX818" fmla="*/ 1476947 w 2237636"/>
                    <a:gd name="connsiteY818" fmla="*/ 311127 h 597880"/>
                    <a:gd name="connsiteX819" fmla="*/ 1469037 w 2237636"/>
                    <a:gd name="connsiteY819" fmla="*/ 306060 h 597880"/>
                    <a:gd name="connsiteX820" fmla="*/ 1406880 w 2237636"/>
                    <a:gd name="connsiteY820" fmla="*/ 304034 h 597880"/>
                    <a:gd name="connsiteX821" fmla="*/ 1379757 w 2237636"/>
                    <a:gd name="connsiteY821" fmla="*/ 306060 h 597880"/>
                    <a:gd name="connsiteX822" fmla="*/ 1368456 w 2237636"/>
                    <a:gd name="connsiteY822" fmla="*/ 298967 h 597880"/>
                    <a:gd name="connsiteX823" fmla="*/ 1319861 w 2237636"/>
                    <a:gd name="connsiteY823" fmla="*/ 316194 h 597880"/>
                    <a:gd name="connsiteX824" fmla="*/ 1317601 w 2237636"/>
                    <a:gd name="connsiteY824" fmla="*/ 321261 h 597880"/>
                    <a:gd name="connsiteX825" fmla="*/ 1306299 w 2237636"/>
                    <a:gd name="connsiteY825" fmla="*/ 321261 h 597880"/>
                    <a:gd name="connsiteX826" fmla="*/ 1294998 w 2237636"/>
                    <a:gd name="connsiteY826" fmla="*/ 319234 h 597880"/>
                    <a:gd name="connsiteX827" fmla="*/ 1289348 w 2237636"/>
                    <a:gd name="connsiteY827" fmla="*/ 355715 h 597880"/>
                    <a:gd name="connsiteX828" fmla="*/ 1294998 w 2237636"/>
                    <a:gd name="connsiteY828" fmla="*/ 357741 h 597880"/>
                    <a:gd name="connsiteX829" fmla="*/ 1306299 w 2237636"/>
                    <a:gd name="connsiteY829" fmla="*/ 357741 h 597880"/>
                    <a:gd name="connsiteX830" fmla="*/ 1339073 w 2237636"/>
                    <a:gd name="connsiteY830" fmla="*/ 343554 h 597880"/>
                    <a:gd name="connsiteX831" fmla="*/ 1344723 w 2237636"/>
                    <a:gd name="connsiteY831" fmla="*/ 350648 h 597880"/>
                    <a:gd name="connsiteX832" fmla="*/ 1383147 w 2237636"/>
                    <a:gd name="connsiteY832" fmla="*/ 343554 h 597880"/>
                    <a:gd name="connsiteX833" fmla="*/ 1404620 w 2237636"/>
                    <a:gd name="connsiteY833" fmla="*/ 326327 h 597880"/>
                    <a:gd name="connsiteX834" fmla="*/ 1391058 w 2237636"/>
                    <a:gd name="connsiteY834" fmla="*/ 357741 h 597880"/>
                    <a:gd name="connsiteX835" fmla="*/ 1402360 w 2237636"/>
                    <a:gd name="connsiteY835" fmla="*/ 359768 h 597880"/>
                    <a:gd name="connsiteX836" fmla="*/ 1408010 w 2237636"/>
                    <a:gd name="connsiteY836" fmla="*/ 373955 h 597880"/>
                    <a:gd name="connsiteX837" fmla="*/ 1413661 w 2237636"/>
                    <a:gd name="connsiteY837" fmla="*/ 379022 h 597880"/>
                    <a:gd name="connsiteX838" fmla="*/ 1419311 w 2237636"/>
                    <a:gd name="connsiteY838" fmla="*/ 368888 h 597880"/>
                    <a:gd name="connsiteX839" fmla="*/ 1424962 w 2237636"/>
                    <a:gd name="connsiteY839" fmla="*/ 368888 h 597880"/>
                    <a:gd name="connsiteX840" fmla="*/ 1430613 w 2237636"/>
                    <a:gd name="connsiteY840" fmla="*/ 379022 h 597880"/>
                    <a:gd name="connsiteX841" fmla="*/ 1459996 w 2237636"/>
                    <a:gd name="connsiteY841" fmla="*/ 376995 h 597880"/>
                    <a:gd name="connsiteX842" fmla="*/ 1452085 w 2237636"/>
                    <a:gd name="connsiteY842" fmla="*/ 384089 h 597880"/>
                    <a:gd name="connsiteX843" fmla="*/ 1454345 w 2237636"/>
                    <a:gd name="connsiteY843" fmla="*/ 394222 h 597880"/>
                    <a:gd name="connsiteX844" fmla="*/ 1443044 w 2237636"/>
                    <a:gd name="connsiteY844" fmla="*/ 394222 h 597880"/>
                    <a:gd name="connsiteX845" fmla="*/ 1440784 w 2237636"/>
                    <a:gd name="connsiteY845" fmla="*/ 404356 h 597880"/>
                    <a:gd name="connsiteX846" fmla="*/ 1427222 w 2237636"/>
                    <a:gd name="connsiteY846" fmla="*/ 397262 h 597880"/>
                    <a:gd name="connsiteX847" fmla="*/ 1392189 w 2237636"/>
                    <a:gd name="connsiteY847" fmla="*/ 399289 h 597880"/>
                    <a:gd name="connsiteX848" fmla="*/ 1380887 w 2237636"/>
                    <a:gd name="connsiteY848" fmla="*/ 380035 h 597880"/>
                    <a:gd name="connsiteX849" fmla="*/ 1365065 w 2237636"/>
                    <a:gd name="connsiteY849" fmla="*/ 380035 h 597880"/>
                    <a:gd name="connsiteX850" fmla="*/ 1345854 w 2237636"/>
                    <a:gd name="connsiteY850" fmla="*/ 365848 h 597880"/>
                    <a:gd name="connsiteX851" fmla="*/ 1280306 w 2237636"/>
                    <a:gd name="connsiteY851" fmla="*/ 370915 h 597880"/>
                    <a:gd name="connsiteX852" fmla="*/ 1282567 w 2237636"/>
                    <a:gd name="connsiteY852" fmla="*/ 385102 h 597880"/>
                    <a:gd name="connsiteX853" fmla="*/ 1290478 w 2237636"/>
                    <a:gd name="connsiteY853" fmla="*/ 392196 h 597880"/>
                    <a:gd name="connsiteX854" fmla="*/ 1304039 w 2237636"/>
                    <a:gd name="connsiteY854" fmla="*/ 392196 h 597880"/>
                    <a:gd name="connsiteX855" fmla="*/ 1306299 w 2237636"/>
                    <a:gd name="connsiteY855" fmla="*/ 397262 h 597880"/>
                    <a:gd name="connsiteX856" fmla="*/ 1308559 w 2237636"/>
                    <a:gd name="connsiteY856" fmla="*/ 409423 h 597880"/>
                    <a:gd name="connsiteX857" fmla="*/ 1224931 w 2237636"/>
                    <a:gd name="connsiteY857" fmla="*/ 435770 h 597880"/>
                    <a:gd name="connsiteX858" fmla="*/ 1217020 w 2237636"/>
                    <a:gd name="connsiteY858" fmla="*/ 437797 h 597880"/>
                    <a:gd name="connsiteX859" fmla="*/ 1230581 w 2237636"/>
                    <a:gd name="connsiteY859" fmla="*/ 467184 h 597880"/>
                    <a:gd name="connsiteX860" fmla="*/ 1238492 w 2237636"/>
                    <a:gd name="connsiteY860" fmla="*/ 467184 h 597880"/>
                    <a:gd name="connsiteX861" fmla="*/ 1238492 w 2237636"/>
                    <a:gd name="connsiteY861" fmla="*/ 460090 h 597880"/>
                    <a:gd name="connsiteX862" fmla="*/ 1240752 w 2237636"/>
                    <a:gd name="connsiteY862" fmla="*/ 460090 h 597880"/>
                    <a:gd name="connsiteX863" fmla="*/ 1240752 w 2237636"/>
                    <a:gd name="connsiteY863" fmla="*/ 455024 h 597880"/>
                    <a:gd name="connsiteX864" fmla="*/ 1243013 w 2237636"/>
                    <a:gd name="connsiteY864" fmla="*/ 457050 h 597880"/>
                    <a:gd name="connsiteX865" fmla="*/ 1250924 w 2237636"/>
                    <a:gd name="connsiteY865" fmla="*/ 457050 h 597880"/>
                    <a:gd name="connsiteX866" fmla="*/ 1253184 w 2237636"/>
                    <a:gd name="connsiteY866" fmla="*/ 467184 h 597880"/>
                    <a:gd name="connsiteX867" fmla="*/ 1288217 w 2237636"/>
                    <a:gd name="connsiteY867" fmla="*/ 465157 h 597880"/>
                    <a:gd name="connsiteX868" fmla="*/ 1282567 w 2237636"/>
                    <a:gd name="connsiteY868" fmla="*/ 460090 h 597880"/>
                    <a:gd name="connsiteX869" fmla="*/ 1282567 w 2237636"/>
                    <a:gd name="connsiteY869" fmla="*/ 455024 h 597880"/>
                    <a:gd name="connsiteX870" fmla="*/ 1290478 w 2237636"/>
                    <a:gd name="connsiteY870" fmla="*/ 447930 h 597880"/>
                    <a:gd name="connsiteX871" fmla="*/ 1301779 w 2237636"/>
                    <a:gd name="connsiteY871" fmla="*/ 455024 h 597880"/>
                    <a:gd name="connsiteX872" fmla="*/ 1301779 w 2237636"/>
                    <a:gd name="connsiteY872" fmla="*/ 462117 h 597880"/>
                    <a:gd name="connsiteX873" fmla="*/ 1311950 w 2237636"/>
                    <a:gd name="connsiteY873" fmla="*/ 467184 h 597880"/>
                    <a:gd name="connsiteX874" fmla="*/ 1315340 w 2237636"/>
                    <a:gd name="connsiteY874" fmla="*/ 455024 h 597880"/>
                    <a:gd name="connsiteX875" fmla="*/ 1320991 w 2237636"/>
                    <a:gd name="connsiteY875" fmla="*/ 449957 h 597880"/>
                    <a:gd name="connsiteX876" fmla="*/ 1320991 w 2237636"/>
                    <a:gd name="connsiteY876" fmla="*/ 460090 h 597880"/>
                    <a:gd name="connsiteX877" fmla="*/ 1342463 w 2237636"/>
                    <a:gd name="connsiteY877" fmla="*/ 467184 h 597880"/>
                    <a:gd name="connsiteX878" fmla="*/ 1371846 w 2237636"/>
                    <a:gd name="connsiteY878" fmla="*/ 469211 h 597880"/>
                    <a:gd name="connsiteX879" fmla="*/ 1377497 w 2237636"/>
                    <a:gd name="connsiteY879" fmla="*/ 476304 h 597880"/>
                    <a:gd name="connsiteX880" fmla="*/ 1377497 w 2237636"/>
                    <a:gd name="connsiteY880" fmla="*/ 466171 h 597880"/>
                    <a:gd name="connsiteX881" fmla="*/ 1385408 w 2237636"/>
                    <a:gd name="connsiteY881" fmla="*/ 441850 h 597880"/>
                    <a:gd name="connsiteX882" fmla="*/ 1412531 w 2237636"/>
                    <a:gd name="connsiteY882" fmla="*/ 436783 h 597880"/>
                    <a:gd name="connsiteX883" fmla="*/ 1418181 w 2237636"/>
                    <a:gd name="connsiteY883" fmla="*/ 434757 h 597880"/>
                    <a:gd name="connsiteX884" fmla="*/ 1418181 w 2237636"/>
                    <a:gd name="connsiteY884" fmla="*/ 429690 h 597880"/>
                    <a:gd name="connsiteX885" fmla="*/ 1420442 w 2237636"/>
                    <a:gd name="connsiteY885" fmla="*/ 446917 h 597880"/>
                    <a:gd name="connsiteX886" fmla="*/ 1420442 w 2237636"/>
                    <a:gd name="connsiteY886" fmla="*/ 454010 h 597880"/>
                    <a:gd name="connsiteX887" fmla="*/ 1453215 w 2237636"/>
                    <a:gd name="connsiteY887" fmla="*/ 448944 h 597880"/>
                    <a:gd name="connsiteX888" fmla="*/ 1466776 w 2237636"/>
                    <a:gd name="connsiteY888" fmla="*/ 454010 h 597880"/>
                    <a:gd name="connsiteX889" fmla="*/ 1480338 w 2237636"/>
                    <a:gd name="connsiteY889" fmla="*/ 448944 h 597880"/>
                    <a:gd name="connsiteX890" fmla="*/ 1485988 w 2237636"/>
                    <a:gd name="connsiteY890" fmla="*/ 450970 h 597880"/>
                    <a:gd name="connsiteX891" fmla="*/ 1491639 w 2237636"/>
                    <a:gd name="connsiteY891" fmla="*/ 445903 h 597880"/>
                    <a:gd name="connsiteX892" fmla="*/ 1485988 w 2237636"/>
                    <a:gd name="connsiteY892" fmla="*/ 423610 h 597880"/>
                    <a:gd name="connsiteX893" fmla="*/ 1499550 w 2237636"/>
                    <a:gd name="connsiteY893" fmla="*/ 430703 h 597880"/>
                    <a:gd name="connsiteX894" fmla="*/ 1497290 w 2237636"/>
                    <a:gd name="connsiteY894" fmla="*/ 440837 h 597880"/>
                    <a:gd name="connsiteX895" fmla="*/ 1518762 w 2237636"/>
                    <a:gd name="connsiteY895" fmla="*/ 442863 h 597880"/>
                    <a:gd name="connsiteX896" fmla="*/ 1524412 w 2237636"/>
                    <a:gd name="connsiteY896" fmla="*/ 440837 h 597880"/>
                    <a:gd name="connsiteX897" fmla="*/ 1532323 w 2237636"/>
                    <a:gd name="connsiteY897" fmla="*/ 447930 h 597880"/>
                    <a:gd name="connsiteX898" fmla="*/ 1532323 w 2237636"/>
                    <a:gd name="connsiteY898" fmla="*/ 477318 h 597880"/>
                    <a:gd name="connsiteX899" fmla="*/ 1540234 w 2237636"/>
                    <a:gd name="connsiteY899" fmla="*/ 475291 h 597880"/>
                    <a:gd name="connsiteX900" fmla="*/ 1551535 w 2237636"/>
                    <a:gd name="connsiteY900" fmla="*/ 477318 h 597880"/>
                    <a:gd name="connsiteX901" fmla="*/ 1559446 w 2237636"/>
                    <a:gd name="connsiteY901" fmla="*/ 465157 h 597880"/>
                    <a:gd name="connsiteX902" fmla="*/ 1580918 w 2237636"/>
                    <a:gd name="connsiteY902" fmla="*/ 452997 h 597880"/>
                    <a:gd name="connsiteX903" fmla="*/ 1583179 w 2237636"/>
                    <a:gd name="connsiteY903" fmla="*/ 450970 h 597880"/>
                    <a:gd name="connsiteX904" fmla="*/ 1583179 w 2237636"/>
                    <a:gd name="connsiteY904" fmla="*/ 445903 h 597880"/>
                    <a:gd name="connsiteX905" fmla="*/ 1591089 w 2237636"/>
                    <a:gd name="connsiteY905" fmla="*/ 456037 h 597880"/>
                    <a:gd name="connsiteX906" fmla="*/ 1602390 w 2237636"/>
                    <a:gd name="connsiteY906" fmla="*/ 456037 h 597880"/>
                    <a:gd name="connsiteX907" fmla="*/ 1608041 w 2237636"/>
                    <a:gd name="connsiteY907" fmla="*/ 448944 h 597880"/>
                    <a:gd name="connsiteX908" fmla="*/ 1637424 w 2237636"/>
                    <a:gd name="connsiteY908" fmla="*/ 431716 h 597880"/>
                    <a:gd name="connsiteX909" fmla="*/ 1629514 w 2237636"/>
                    <a:gd name="connsiteY909" fmla="*/ 421583 h 597880"/>
                    <a:gd name="connsiteX910" fmla="*/ 1610301 w 2237636"/>
                    <a:gd name="connsiteY910" fmla="*/ 423610 h 597880"/>
                    <a:gd name="connsiteX911" fmla="*/ 1594480 w 2237636"/>
                    <a:gd name="connsiteY911" fmla="*/ 404356 h 597880"/>
                    <a:gd name="connsiteX912" fmla="*/ 1556056 w 2237636"/>
                    <a:gd name="connsiteY912" fmla="*/ 399289 h 597880"/>
                    <a:gd name="connsiteX913" fmla="*/ 1635164 w 2237636"/>
                    <a:gd name="connsiteY913" fmla="*/ 387129 h 597880"/>
                    <a:gd name="connsiteX914" fmla="*/ 1632904 w 2237636"/>
                    <a:gd name="connsiteY914" fmla="*/ 360781 h 597880"/>
                    <a:gd name="connsiteX915" fmla="*/ 1684889 w 2237636"/>
                    <a:gd name="connsiteY915" fmla="*/ 365848 h 597880"/>
                    <a:gd name="connsiteX916" fmla="*/ 1690540 w 2237636"/>
                    <a:gd name="connsiteY916" fmla="*/ 360781 h 597880"/>
                    <a:gd name="connsiteX917" fmla="*/ 1706362 w 2237636"/>
                    <a:gd name="connsiteY917" fmla="*/ 360781 h 597880"/>
                    <a:gd name="connsiteX918" fmla="*/ 1708622 w 2237636"/>
                    <a:gd name="connsiteY918" fmla="*/ 355715 h 597880"/>
                    <a:gd name="connsiteX919" fmla="*/ 1714273 w 2237636"/>
                    <a:gd name="connsiteY919" fmla="*/ 348621 h 597880"/>
                    <a:gd name="connsiteX920" fmla="*/ 1706362 w 2237636"/>
                    <a:gd name="connsiteY920" fmla="*/ 341528 h 597880"/>
                    <a:gd name="connsiteX921" fmla="*/ 1725574 w 2237636"/>
                    <a:gd name="connsiteY921" fmla="*/ 331394 h 597880"/>
                    <a:gd name="connsiteX922" fmla="*/ 1725574 w 2237636"/>
                    <a:gd name="connsiteY922" fmla="*/ 329367 h 597880"/>
                    <a:gd name="connsiteX923" fmla="*/ 1768518 w 2237636"/>
                    <a:gd name="connsiteY923" fmla="*/ 319234 h 597880"/>
                    <a:gd name="connsiteX924" fmla="*/ 1768518 w 2237636"/>
                    <a:gd name="connsiteY924" fmla="*/ 314167 h 597880"/>
                    <a:gd name="connsiteX925" fmla="*/ 1762868 w 2237636"/>
                    <a:gd name="connsiteY925" fmla="*/ 304034 h 597880"/>
                    <a:gd name="connsiteX926" fmla="*/ 1735745 w 2237636"/>
                    <a:gd name="connsiteY926" fmla="*/ 306060 h 597880"/>
                    <a:gd name="connsiteX927" fmla="*/ 1735745 w 2237636"/>
                    <a:gd name="connsiteY927" fmla="*/ 298967 h 597880"/>
                    <a:gd name="connsiteX928" fmla="*/ 1710882 w 2237636"/>
                    <a:gd name="connsiteY928" fmla="*/ 293900 h 597880"/>
                    <a:gd name="connsiteX929" fmla="*/ 1699581 w 2237636"/>
                    <a:gd name="connsiteY929" fmla="*/ 298967 h 597880"/>
                    <a:gd name="connsiteX930" fmla="*/ 1683759 w 2237636"/>
                    <a:gd name="connsiteY930" fmla="*/ 298967 h 597880"/>
                    <a:gd name="connsiteX931" fmla="*/ 1678109 w 2237636"/>
                    <a:gd name="connsiteY931" fmla="*/ 304034 h 597880"/>
                    <a:gd name="connsiteX932" fmla="*/ 1637424 w 2237636"/>
                    <a:gd name="connsiteY932" fmla="*/ 314167 h 597880"/>
                    <a:gd name="connsiteX933" fmla="*/ 1639685 w 2237636"/>
                    <a:gd name="connsiteY933" fmla="*/ 304034 h 597880"/>
                    <a:gd name="connsiteX934" fmla="*/ 1655506 w 2237636"/>
                    <a:gd name="connsiteY934" fmla="*/ 296940 h 597880"/>
                    <a:gd name="connsiteX935" fmla="*/ 1653246 w 2237636"/>
                    <a:gd name="connsiteY935" fmla="*/ 289847 h 597880"/>
                    <a:gd name="connsiteX936" fmla="*/ 1618212 w 2237636"/>
                    <a:gd name="connsiteY936" fmla="*/ 284780 h 597880"/>
                    <a:gd name="connsiteX937" fmla="*/ 1626123 w 2237636"/>
                    <a:gd name="connsiteY937" fmla="*/ 279713 h 597880"/>
                    <a:gd name="connsiteX938" fmla="*/ 1664547 w 2237636"/>
                    <a:gd name="connsiteY938" fmla="*/ 286806 h 597880"/>
                    <a:gd name="connsiteX939" fmla="*/ 1672458 w 2237636"/>
                    <a:gd name="connsiteY939" fmla="*/ 293900 h 597880"/>
                    <a:gd name="connsiteX940" fmla="*/ 1691670 w 2237636"/>
                    <a:gd name="connsiteY940" fmla="*/ 288833 h 597880"/>
                    <a:gd name="connsiteX941" fmla="*/ 1705231 w 2237636"/>
                    <a:gd name="connsiteY941" fmla="*/ 276673 h 597880"/>
                    <a:gd name="connsiteX942" fmla="*/ 1678109 w 2237636"/>
                    <a:gd name="connsiteY942" fmla="*/ 271606 h 597880"/>
                    <a:gd name="connsiteX943" fmla="*/ 1670198 w 2237636"/>
                    <a:gd name="connsiteY943" fmla="*/ 266539 h 597880"/>
                    <a:gd name="connsiteX944" fmla="*/ 1713142 w 2237636"/>
                    <a:gd name="connsiteY944" fmla="*/ 271606 h 597880"/>
                    <a:gd name="connsiteX945" fmla="*/ 1724444 w 2237636"/>
                    <a:gd name="connsiteY945" fmla="*/ 276673 h 597880"/>
                    <a:gd name="connsiteX946" fmla="*/ 1735745 w 2237636"/>
                    <a:gd name="connsiteY946" fmla="*/ 271606 h 597880"/>
                    <a:gd name="connsiteX947" fmla="*/ 1730094 w 2237636"/>
                    <a:gd name="connsiteY947" fmla="*/ 264513 h 597880"/>
                    <a:gd name="connsiteX948" fmla="*/ 1667938 w 2237636"/>
                    <a:gd name="connsiteY948" fmla="*/ 259446 h 597880"/>
                    <a:gd name="connsiteX949" fmla="*/ 1667938 w 2237636"/>
                    <a:gd name="connsiteY949" fmla="*/ 249312 h 597880"/>
                    <a:gd name="connsiteX950" fmla="*/ 1695060 w 2237636"/>
                    <a:gd name="connsiteY950" fmla="*/ 254379 h 597880"/>
                    <a:gd name="connsiteX951" fmla="*/ 1700711 w 2237636"/>
                    <a:gd name="connsiteY951" fmla="*/ 244245 h 597880"/>
                    <a:gd name="connsiteX952" fmla="*/ 1708622 w 2237636"/>
                    <a:gd name="connsiteY952" fmla="*/ 244245 h 597880"/>
                    <a:gd name="connsiteX953" fmla="*/ 1710882 w 2237636"/>
                    <a:gd name="connsiteY953" fmla="*/ 251339 h 597880"/>
                    <a:gd name="connsiteX954" fmla="*/ 1740265 w 2237636"/>
                    <a:gd name="connsiteY954" fmla="*/ 258432 h 597880"/>
                    <a:gd name="connsiteX955" fmla="*/ 1745916 w 2237636"/>
                    <a:gd name="connsiteY955" fmla="*/ 251339 h 597880"/>
                    <a:gd name="connsiteX956" fmla="*/ 1765128 w 2237636"/>
                    <a:gd name="connsiteY956" fmla="*/ 261473 h 597880"/>
                    <a:gd name="connsiteX957" fmla="*/ 1776429 w 2237636"/>
                    <a:gd name="connsiteY957" fmla="*/ 249312 h 597880"/>
                    <a:gd name="connsiteX958" fmla="*/ 1784340 w 2237636"/>
                    <a:gd name="connsiteY958" fmla="*/ 256406 h 597880"/>
                    <a:gd name="connsiteX959" fmla="*/ 1832935 w 2237636"/>
                    <a:gd name="connsiteY959" fmla="*/ 254379 h 597880"/>
                    <a:gd name="connsiteX960" fmla="*/ 1835195 w 2237636"/>
                    <a:gd name="connsiteY960" fmla="*/ 244245 h 597880"/>
                    <a:gd name="connsiteX961" fmla="*/ 1829545 w 2237636"/>
                    <a:gd name="connsiteY961" fmla="*/ 239179 h 597880"/>
                    <a:gd name="connsiteX962" fmla="*/ 1845366 w 2237636"/>
                    <a:gd name="connsiteY962" fmla="*/ 239179 h 597880"/>
                    <a:gd name="connsiteX963" fmla="*/ 1853277 w 2237636"/>
                    <a:gd name="connsiteY963" fmla="*/ 229045 h 597880"/>
                    <a:gd name="connsiteX964" fmla="*/ 1878140 w 2237636"/>
                    <a:gd name="connsiteY964" fmla="*/ 221952 h 597880"/>
                    <a:gd name="connsiteX965" fmla="*/ 1858928 w 2237636"/>
                    <a:gd name="connsiteY965" fmla="*/ 216885 h 597880"/>
                    <a:gd name="connsiteX966" fmla="*/ 1861188 w 2237636"/>
                    <a:gd name="connsiteY966" fmla="*/ 211818 h 597880"/>
                    <a:gd name="connsiteX967" fmla="*/ 1866839 w 2237636"/>
                    <a:gd name="connsiteY967" fmla="*/ 206751 h 597880"/>
                    <a:gd name="connsiteX968" fmla="*/ 1880400 w 2237636"/>
                    <a:gd name="connsiteY968" fmla="*/ 213845 h 597880"/>
                    <a:gd name="connsiteX969" fmla="*/ 1907523 w 2237636"/>
                    <a:gd name="connsiteY969" fmla="*/ 208778 h 597880"/>
                    <a:gd name="connsiteX970" fmla="*/ 1907523 w 2237636"/>
                    <a:gd name="connsiteY970" fmla="*/ 207765 h 597880"/>
                    <a:gd name="connsiteX971" fmla="*/ 1921084 w 2237636"/>
                    <a:gd name="connsiteY971" fmla="*/ 205738 h 597880"/>
                    <a:gd name="connsiteX972" fmla="*/ 1918824 w 2237636"/>
                    <a:gd name="connsiteY972" fmla="*/ 195604 h 597880"/>
                    <a:gd name="connsiteX973" fmla="*/ 1926735 w 2237636"/>
                    <a:gd name="connsiteY973" fmla="*/ 188511 h 597880"/>
                    <a:gd name="connsiteX974" fmla="*/ 1942557 w 2237636"/>
                    <a:gd name="connsiteY974" fmla="*/ 195604 h 597880"/>
                    <a:gd name="connsiteX975" fmla="*/ 1950468 w 2237636"/>
                    <a:gd name="connsiteY975" fmla="*/ 197631 h 597880"/>
                    <a:gd name="connsiteX976" fmla="*/ 1956118 w 2237636"/>
                    <a:gd name="connsiteY976" fmla="*/ 187497 h 597880"/>
                    <a:gd name="connsiteX977" fmla="*/ 1983241 w 2237636"/>
                    <a:gd name="connsiteY977" fmla="*/ 180404 h 597880"/>
                    <a:gd name="connsiteX978" fmla="*/ 1991152 w 2237636"/>
                    <a:gd name="connsiteY978" fmla="*/ 170270 h 597880"/>
                    <a:gd name="connsiteX979" fmla="*/ 2006974 w 2237636"/>
                    <a:gd name="connsiteY979" fmla="*/ 165204 h 597880"/>
                    <a:gd name="connsiteX980" fmla="*/ 2009234 w 2237636"/>
                    <a:gd name="connsiteY980" fmla="*/ 158110 h 597880"/>
                    <a:gd name="connsiteX981" fmla="*/ 2034096 w 2237636"/>
                    <a:gd name="connsiteY981" fmla="*/ 160137 h 597880"/>
                    <a:gd name="connsiteX982" fmla="*/ 2058959 w 2237636"/>
                    <a:gd name="connsiteY982" fmla="*/ 153043 h 597880"/>
                    <a:gd name="connsiteX983" fmla="*/ 2126766 w 2237636"/>
                    <a:gd name="connsiteY983" fmla="*/ 133790 h 597880"/>
                    <a:gd name="connsiteX984" fmla="*/ 2134677 w 2237636"/>
                    <a:gd name="connsiteY984" fmla="*/ 121629 h 597880"/>
                    <a:gd name="connsiteX985" fmla="*/ 2115465 w 2237636"/>
                    <a:gd name="connsiteY985" fmla="*/ 121629 h 597880"/>
                    <a:gd name="connsiteX986" fmla="*/ 2082691 w 2237636"/>
                    <a:gd name="connsiteY986" fmla="*/ 133790 h 597880"/>
                    <a:gd name="connsiteX987" fmla="*/ 2047658 w 2237636"/>
                    <a:gd name="connsiteY987" fmla="*/ 133790 h 597880"/>
                    <a:gd name="connsiteX988" fmla="*/ 2053308 w 2237636"/>
                    <a:gd name="connsiteY988" fmla="*/ 128723 h 597880"/>
                    <a:gd name="connsiteX989" fmla="*/ 2093993 w 2237636"/>
                    <a:gd name="connsiteY989" fmla="*/ 123656 h 597880"/>
                    <a:gd name="connsiteX990" fmla="*/ 2096253 w 2237636"/>
                    <a:gd name="connsiteY990" fmla="*/ 118589 h 597880"/>
                    <a:gd name="connsiteX991" fmla="*/ 2090602 w 2237636"/>
                    <a:gd name="connsiteY991" fmla="*/ 113522 h 597880"/>
                    <a:gd name="connsiteX992" fmla="*/ 2104164 w 2237636"/>
                    <a:gd name="connsiteY992" fmla="*/ 118589 h 597880"/>
                    <a:gd name="connsiteX993" fmla="*/ 2133547 w 2237636"/>
                    <a:gd name="connsiteY993" fmla="*/ 113522 h 597880"/>
                    <a:gd name="connsiteX994" fmla="*/ 2147108 w 2237636"/>
                    <a:gd name="connsiteY994" fmla="*/ 99335 h 597880"/>
                    <a:gd name="connsiteX995" fmla="*/ 2168581 w 2237636"/>
                    <a:gd name="connsiteY995" fmla="*/ 99335 h 597880"/>
                    <a:gd name="connsiteX996" fmla="*/ 2168581 w 2237636"/>
                    <a:gd name="connsiteY996" fmla="*/ 96295 h 597880"/>
                    <a:gd name="connsiteX997" fmla="*/ 2184402 w 2237636"/>
                    <a:gd name="connsiteY997" fmla="*/ 94269 h 597880"/>
                    <a:gd name="connsiteX998" fmla="*/ 2192313 w 2237636"/>
                    <a:gd name="connsiteY998" fmla="*/ 84135 h 597880"/>
                    <a:gd name="connsiteX999" fmla="*/ 2208135 w 2237636"/>
                    <a:gd name="connsiteY999" fmla="*/ 84135 h 597880"/>
                    <a:gd name="connsiteX1000" fmla="*/ 2210395 w 2237636"/>
                    <a:gd name="connsiteY1000" fmla="*/ 79068 h 597880"/>
                    <a:gd name="connsiteX1001" fmla="*/ 2221696 w 2237636"/>
                    <a:gd name="connsiteY1001" fmla="*/ 79068 h 597880"/>
                    <a:gd name="connsiteX1002" fmla="*/ 2221696 w 2237636"/>
                    <a:gd name="connsiteY1002" fmla="*/ 77042 h 597880"/>
                    <a:gd name="connsiteX1003" fmla="*/ 2229607 w 2237636"/>
                    <a:gd name="connsiteY1003" fmla="*/ 69948 h 597880"/>
                    <a:gd name="connsiteX1004" fmla="*/ 2227347 w 2237636"/>
                    <a:gd name="connsiteY1004" fmla="*/ 59815 h 597880"/>
                    <a:gd name="connsiteX1005" fmla="*/ 2197964 w 2237636"/>
                    <a:gd name="connsiteY1005" fmla="*/ 57788 h 597880"/>
                    <a:gd name="connsiteX1006" fmla="*/ 2203614 w 2237636"/>
                    <a:gd name="connsiteY1006" fmla="*/ 52721 h 597880"/>
                    <a:gd name="connsiteX1007" fmla="*/ 2190053 w 2237636"/>
                    <a:gd name="connsiteY1007" fmla="*/ 50694 h 597880"/>
                    <a:gd name="connsiteX1008" fmla="*/ 2174231 w 2237636"/>
                    <a:gd name="connsiteY1008" fmla="*/ 52721 h 597880"/>
                    <a:gd name="connsiteX1009" fmla="*/ 2174231 w 2237636"/>
                    <a:gd name="connsiteY1009" fmla="*/ 49681 h 597880"/>
                    <a:gd name="connsiteX1010" fmla="*/ 2168581 w 2237636"/>
                    <a:gd name="connsiteY1010" fmla="*/ 42587 h 597880"/>
                    <a:gd name="connsiteX1011" fmla="*/ 2155019 w 2237636"/>
                    <a:gd name="connsiteY1011" fmla="*/ 40561 h 597880"/>
                    <a:gd name="connsiteX1012" fmla="*/ 2155019 w 2237636"/>
                    <a:gd name="connsiteY1012" fmla="*/ 35494 h 597880"/>
                    <a:gd name="connsiteX1013" fmla="*/ 2119986 w 2237636"/>
                    <a:gd name="connsiteY1013" fmla="*/ 30427 h 597880"/>
                    <a:gd name="connsiteX1014" fmla="*/ 2106424 w 2237636"/>
                    <a:gd name="connsiteY1014" fmla="*/ 23334 h 597880"/>
                    <a:gd name="connsiteX1015" fmla="*/ 2054438 w 2237636"/>
                    <a:gd name="connsiteY1015" fmla="*/ 21307 h 597880"/>
                    <a:gd name="connsiteX1016" fmla="*/ 2032966 w 2237636"/>
                    <a:gd name="connsiteY1016" fmla="*/ 43601 h 597880"/>
                    <a:gd name="connsiteX1017" fmla="*/ 2011494 w 2237636"/>
                    <a:gd name="connsiteY1017" fmla="*/ 48668 h 597880"/>
                    <a:gd name="connsiteX1018" fmla="*/ 2000193 w 2237636"/>
                    <a:gd name="connsiteY1018" fmla="*/ 58801 h 597880"/>
                    <a:gd name="connsiteX1019" fmla="*/ 1988892 w 2237636"/>
                    <a:gd name="connsiteY1019" fmla="*/ 56774 h 597880"/>
                    <a:gd name="connsiteX1020" fmla="*/ 1977590 w 2237636"/>
                    <a:gd name="connsiteY1020" fmla="*/ 63868 h 597880"/>
                    <a:gd name="connsiteX1021" fmla="*/ 1948207 w 2237636"/>
                    <a:gd name="connsiteY1021" fmla="*/ 70961 h 597880"/>
                    <a:gd name="connsiteX1022" fmla="*/ 1945947 w 2237636"/>
                    <a:gd name="connsiteY1022" fmla="*/ 65895 h 597880"/>
                    <a:gd name="connsiteX1023" fmla="*/ 1970810 w 2237636"/>
                    <a:gd name="connsiteY1023" fmla="*/ 51708 h 597880"/>
                    <a:gd name="connsiteX1024" fmla="*/ 1992282 w 2237636"/>
                    <a:gd name="connsiteY1024" fmla="*/ 51708 h 597880"/>
                    <a:gd name="connsiteX1025" fmla="*/ 2030706 w 2237636"/>
                    <a:gd name="connsiteY1025" fmla="*/ 32454 h 597880"/>
                    <a:gd name="connsiteX1026" fmla="*/ 2032966 w 2237636"/>
                    <a:gd name="connsiteY1026" fmla="*/ 22320 h 597880"/>
                    <a:gd name="connsiteX1027" fmla="*/ 2017145 w 2237636"/>
                    <a:gd name="connsiteY1027" fmla="*/ 17254 h 597880"/>
                    <a:gd name="connsiteX1028" fmla="*/ 1968550 w 2237636"/>
                    <a:gd name="connsiteY1028" fmla="*/ 19280 h 597880"/>
                    <a:gd name="connsiteX1029" fmla="*/ 1954988 w 2237636"/>
                    <a:gd name="connsiteY1029" fmla="*/ 17254 h 597880"/>
                    <a:gd name="connsiteX1030" fmla="*/ 1952728 w 2237636"/>
                    <a:gd name="connsiteY1030" fmla="*/ 22320 h 597880"/>
                    <a:gd name="connsiteX1031" fmla="*/ 1927865 w 2237636"/>
                    <a:gd name="connsiteY1031" fmla="*/ 17254 h 597880"/>
                    <a:gd name="connsiteX1032" fmla="*/ 1925605 w 2237636"/>
                    <a:gd name="connsiteY1032" fmla="*/ 12187 h 597880"/>
                    <a:gd name="connsiteX1033" fmla="*/ 1912044 w 2237636"/>
                    <a:gd name="connsiteY1033" fmla="*/ 14213 h 597880"/>
                    <a:gd name="connsiteX1034" fmla="*/ 1882660 w 2237636"/>
                    <a:gd name="connsiteY1034" fmla="*/ 9147 h 597880"/>
                    <a:gd name="connsiteX1035" fmla="*/ 1863448 w 2237636"/>
                    <a:gd name="connsiteY1035" fmla="*/ 21307 h 597880"/>
                    <a:gd name="connsiteX1036" fmla="*/ 1863448 w 2237636"/>
                    <a:gd name="connsiteY1036" fmla="*/ 33467 h 597880"/>
                    <a:gd name="connsiteX1037" fmla="*/ 1857798 w 2237636"/>
                    <a:gd name="connsiteY1037" fmla="*/ 28400 h 597880"/>
                    <a:gd name="connsiteX1038" fmla="*/ 1814853 w 2237636"/>
                    <a:gd name="connsiteY1038" fmla="*/ 52721 h 597880"/>
                    <a:gd name="connsiteX1039" fmla="*/ 1789990 w 2237636"/>
                    <a:gd name="connsiteY1039" fmla="*/ 42587 h 597880"/>
                    <a:gd name="connsiteX1040" fmla="*/ 1778689 w 2237636"/>
                    <a:gd name="connsiteY1040" fmla="*/ 32454 h 597880"/>
                    <a:gd name="connsiteX1041" fmla="*/ 1765128 w 2237636"/>
                    <a:gd name="connsiteY1041" fmla="*/ 34481 h 597880"/>
                    <a:gd name="connsiteX1042" fmla="*/ 1678109 w 2237636"/>
                    <a:gd name="connsiteY1042" fmla="*/ 32454 h 597880"/>
                    <a:gd name="connsiteX1043" fmla="*/ 1656636 w 2237636"/>
                    <a:gd name="connsiteY1043" fmla="*/ 42587 h 597880"/>
                    <a:gd name="connsiteX1044" fmla="*/ 1656636 w 2237636"/>
                    <a:gd name="connsiteY1044" fmla="*/ 47654 h 597880"/>
                    <a:gd name="connsiteX1045" fmla="*/ 1664547 w 2237636"/>
                    <a:gd name="connsiteY1045" fmla="*/ 49681 h 597880"/>
                    <a:gd name="connsiteX1046" fmla="*/ 1666807 w 2237636"/>
                    <a:gd name="connsiteY1046" fmla="*/ 56774 h 597880"/>
                    <a:gd name="connsiteX1047" fmla="*/ 1682629 w 2237636"/>
                    <a:gd name="connsiteY1047" fmla="*/ 56774 h 597880"/>
                    <a:gd name="connsiteX1048" fmla="*/ 1684889 w 2237636"/>
                    <a:gd name="connsiteY1048" fmla="*/ 61841 h 597880"/>
                    <a:gd name="connsiteX1049" fmla="*/ 1700711 w 2237636"/>
                    <a:gd name="connsiteY1049" fmla="*/ 71975 h 597880"/>
                    <a:gd name="connsiteX1050" fmla="*/ 1695060 w 2237636"/>
                    <a:gd name="connsiteY1050" fmla="*/ 82108 h 597880"/>
                    <a:gd name="connsiteX1051" fmla="*/ 1670198 w 2237636"/>
                    <a:gd name="connsiteY1051" fmla="*/ 62855 h 597880"/>
                    <a:gd name="connsiteX1052" fmla="*/ 1658896 w 2237636"/>
                    <a:gd name="connsiteY1052" fmla="*/ 62855 h 597880"/>
                    <a:gd name="connsiteX1053" fmla="*/ 1647595 w 2237636"/>
                    <a:gd name="connsiteY1053" fmla="*/ 50694 h 597880"/>
                    <a:gd name="connsiteX1054" fmla="*/ 1639685 w 2237636"/>
                    <a:gd name="connsiteY1054" fmla="*/ 50694 h 597880"/>
                    <a:gd name="connsiteX1055" fmla="*/ 1634034 w 2237636"/>
                    <a:gd name="connsiteY1055" fmla="*/ 57788 h 597880"/>
                    <a:gd name="connsiteX1056" fmla="*/ 1609171 w 2237636"/>
                    <a:gd name="connsiteY1056" fmla="*/ 57788 h 597880"/>
                    <a:gd name="connsiteX1057" fmla="*/ 1601261 w 2237636"/>
                    <a:gd name="connsiteY1057" fmla="*/ 47654 h 597880"/>
                    <a:gd name="connsiteX1058" fmla="*/ 1601261 w 2237636"/>
                    <a:gd name="connsiteY1058" fmla="*/ 57788 h 597880"/>
                    <a:gd name="connsiteX1059" fmla="*/ 1585439 w 2237636"/>
                    <a:gd name="connsiteY1059" fmla="*/ 71975 h 597880"/>
                    <a:gd name="connsiteX1060" fmla="*/ 1571877 w 2237636"/>
                    <a:gd name="connsiteY1060" fmla="*/ 71975 h 597880"/>
                    <a:gd name="connsiteX1061" fmla="*/ 1569617 w 2237636"/>
                    <a:gd name="connsiteY1061" fmla="*/ 61841 h 597880"/>
                    <a:gd name="connsiteX1062" fmla="*/ 1556056 w 2237636"/>
                    <a:gd name="connsiteY1062" fmla="*/ 61841 h 597880"/>
                    <a:gd name="connsiteX1063" fmla="*/ 1553795 w 2237636"/>
                    <a:gd name="connsiteY1063" fmla="*/ 71975 h 597880"/>
                    <a:gd name="connsiteX1064" fmla="*/ 1561706 w 2237636"/>
                    <a:gd name="connsiteY1064" fmla="*/ 79068 h 597880"/>
                    <a:gd name="connsiteX1065" fmla="*/ 1573008 w 2237636"/>
                    <a:gd name="connsiteY1065" fmla="*/ 79068 h 597880"/>
                    <a:gd name="connsiteX1066" fmla="*/ 1575268 w 2237636"/>
                    <a:gd name="connsiteY1066" fmla="*/ 84135 h 597880"/>
                    <a:gd name="connsiteX1067" fmla="*/ 1534583 w 2237636"/>
                    <a:gd name="connsiteY1067" fmla="*/ 69948 h 597880"/>
                    <a:gd name="connsiteX1068" fmla="*/ 1523282 w 2237636"/>
                    <a:gd name="connsiteY1068" fmla="*/ 69948 h 597880"/>
                    <a:gd name="connsiteX1069" fmla="*/ 1511981 w 2237636"/>
                    <a:gd name="connsiteY1069" fmla="*/ 59815 h 597880"/>
                    <a:gd name="connsiteX1070" fmla="*/ 1496159 w 2237636"/>
                    <a:gd name="connsiteY1070" fmla="*/ 59815 h 597880"/>
                    <a:gd name="connsiteX1071" fmla="*/ 1501810 w 2237636"/>
                    <a:gd name="connsiteY1071" fmla="*/ 94269 h 597880"/>
                    <a:gd name="connsiteX1072" fmla="*/ 1513111 w 2237636"/>
                    <a:gd name="connsiteY1072" fmla="*/ 99335 h 597880"/>
                    <a:gd name="connsiteX1073" fmla="*/ 1513111 w 2237636"/>
                    <a:gd name="connsiteY1073" fmla="*/ 106429 h 597880"/>
                    <a:gd name="connsiteX1074" fmla="*/ 1499550 w 2237636"/>
                    <a:gd name="connsiteY1074" fmla="*/ 94269 h 597880"/>
                    <a:gd name="connsiteX1075" fmla="*/ 1493899 w 2237636"/>
                    <a:gd name="connsiteY1075" fmla="*/ 89202 h 597880"/>
                    <a:gd name="connsiteX1076" fmla="*/ 1485988 w 2237636"/>
                    <a:gd name="connsiteY1076" fmla="*/ 87175 h 597880"/>
                    <a:gd name="connsiteX1077" fmla="*/ 1485988 w 2237636"/>
                    <a:gd name="connsiteY1077" fmla="*/ 101362 h 597880"/>
                    <a:gd name="connsiteX1078" fmla="*/ 1480338 w 2237636"/>
                    <a:gd name="connsiteY1078" fmla="*/ 101362 h 597880"/>
                    <a:gd name="connsiteX1079" fmla="*/ 1445304 w 2237636"/>
                    <a:gd name="connsiteY1079" fmla="*/ 75015 h 597880"/>
                    <a:gd name="connsiteX1080" fmla="*/ 1439653 w 2237636"/>
                    <a:gd name="connsiteY1080" fmla="*/ 69948 h 597880"/>
                    <a:gd name="connsiteX1081" fmla="*/ 1406880 w 2237636"/>
                    <a:gd name="connsiteY1081" fmla="*/ 67921 h 597880"/>
                    <a:gd name="connsiteX1082" fmla="*/ 1391058 w 2237636"/>
                    <a:gd name="connsiteY1082" fmla="*/ 62855 h 597880"/>
                    <a:gd name="connsiteX1083" fmla="*/ 1385408 w 2237636"/>
                    <a:gd name="connsiteY1083" fmla="*/ 55761 h 597880"/>
                    <a:gd name="connsiteX1084" fmla="*/ 1385408 w 2237636"/>
                    <a:gd name="connsiteY1084" fmla="*/ 52721 h 597880"/>
                    <a:gd name="connsiteX1085" fmla="*/ 1356025 w 2237636"/>
                    <a:gd name="connsiteY1085" fmla="*/ 52721 h 597880"/>
                    <a:gd name="connsiteX1086" fmla="*/ 1356025 w 2237636"/>
                    <a:gd name="connsiteY1086" fmla="*/ 59815 h 597880"/>
                    <a:gd name="connsiteX1087" fmla="*/ 1369586 w 2237636"/>
                    <a:gd name="connsiteY1087" fmla="*/ 77042 h 597880"/>
                    <a:gd name="connsiteX1088" fmla="*/ 1307430 w 2237636"/>
                    <a:gd name="connsiteY1088" fmla="*/ 75015 h 597880"/>
                    <a:gd name="connsiteX1089" fmla="*/ 1313080 w 2237636"/>
                    <a:gd name="connsiteY1089" fmla="*/ 94269 h 597880"/>
                    <a:gd name="connsiteX1090" fmla="*/ 1332292 w 2237636"/>
                    <a:gd name="connsiteY1090" fmla="*/ 92242 h 597880"/>
                    <a:gd name="connsiteX1091" fmla="*/ 1340203 w 2237636"/>
                    <a:gd name="connsiteY1091" fmla="*/ 99335 h 597880"/>
                    <a:gd name="connsiteX1092" fmla="*/ 1361675 w 2237636"/>
                    <a:gd name="connsiteY1092" fmla="*/ 94269 h 597880"/>
                    <a:gd name="connsiteX1093" fmla="*/ 1383147 w 2237636"/>
                    <a:gd name="connsiteY1093" fmla="*/ 96295 h 597880"/>
                    <a:gd name="connsiteX1094" fmla="*/ 1398969 w 2237636"/>
                    <a:gd name="connsiteY1094" fmla="*/ 91229 h 597880"/>
                    <a:gd name="connsiteX1095" fmla="*/ 1404620 w 2237636"/>
                    <a:gd name="connsiteY1095" fmla="*/ 96295 h 597880"/>
                    <a:gd name="connsiteX1096" fmla="*/ 1404620 w 2237636"/>
                    <a:gd name="connsiteY1096" fmla="*/ 101362 h 597880"/>
                    <a:gd name="connsiteX1097" fmla="*/ 1393318 w 2237636"/>
                    <a:gd name="connsiteY1097" fmla="*/ 101362 h 597880"/>
                    <a:gd name="connsiteX1098" fmla="*/ 1393318 w 2237636"/>
                    <a:gd name="connsiteY1098" fmla="*/ 123656 h 597880"/>
                    <a:gd name="connsiteX1099" fmla="*/ 1387668 w 2237636"/>
                    <a:gd name="connsiteY1099" fmla="*/ 121629 h 597880"/>
                    <a:gd name="connsiteX1100" fmla="*/ 1382017 w 2237636"/>
                    <a:gd name="connsiteY1100" fmla="*/ 104402 h 597880"/>
                    <a:gd name="connsiteX1101" fmla="*/ 1360545 w 2237636"/>
                    <a:gd name="connsiteY1101" fmla="*/ 106429 h 597880"/>
                    <a:gd name="connsiteX1102" fmla="*/ 1358285 w 2237636"/>
                    <a:gd name="connsiteY1102" fmla="*/ 113522 h 597880"/>
                    <a:gd name="connsiteX1103" fmla="*/ 1323251 w 2237636"/>
                    <a:gd name="connsiteY1103" fmla="*/ 101362 h 597880"/>
                    <a:gd name="connsiteX1104" fmla="*/ 1317601 w 2237636"/>
                    <a:gd name="connsiteY1104" fmla="*/ 108456 h 597880"/>
                    <a:gd name="connsiteX1105" fmla="*/ 1322121 w 2237636"/>
                    <a:gd name="connsiteY1105" fmla="*/ 118589 h 597880"/>
                    <a:gd name="connsiteX1106" fmla="*/ 411244 w 2237636"/>
                    <a:gd name="connsiteY1106" fmla="*/ 315180 h 597880"/>
                    <a:gd name="connsiteX1107" fmla="*/ 408984 w 2237636"/>
                    <a:gd name="connsiteY1107" fmla="*/ 320247 h 597880"/>
                    <a:gd name="connsiteX1108" fmla="*/ 379601 w 2237636"/>
                    <a:gd name="connsiteY1108" fmla="*/ 327341 h 597880"/>
                    <a:gd name="connsiteX1109" fmla="*/ 373951 w 2237636"/>
                    <a:gd name="connsiteY1109" fmla="*/ 334434 h 597880"/>
                    <a:gd name="connsiteX1110" fmla="*/ 387512 w 2237636"/>
                    <a:gd name="connsiteY1110" fmla="*/ 339501 h 597880"/>
                    <a:gd name="connsiteX1111" fmla="*/ 393163 w 2237636"/>
                    <a:gd name="connsiteY1111" fmla="*/ 334434 h 597880"/>
                    <a:gd name="connsiteX1112" fmla="*/ 422546 w 2237636"/>
                    <a:gd name="connsiteY1112" fmla="*/ 334434 h 597880"/>
                    <a:gd name="connsiteX1113" fmla="*/ 428196 w 2237636"/>
                    <a:gd name="connsiteY1113" fmla="*/ 344568 h 597880"/>
                    <a:gd name="connsiteX1114" fmla="*/ 441758 w 2237636"/>
                    <a:gd name="connsiteY1114" fmla="*/ 346595 h 597880"/>
                    <a:gd name="connsiteX1115" fmla="*/ 441758 w 2237636"/>
                    <a:gd name="connsiteY1115" fmla="*/ 339501 h 597880"/>
                    <a:gd name="connsiteX1116" fmla="*/ 455319 w 2237636"/>
                    <a:gd name="connsiteY1116" fmla="*/ 332407 h 597880"/>
                    <a:gd name="connsiteX1117" fmla="*/ 453059 w 2237636"/>
                    <a:gd name="connsiteY1117" fmla="*/ 330381 h 597880"/>
                    <a:gd name="connsiteX1118" fmla="*/ 450799 w 2237636"/>
                    <a:gd name="connsiteY1118" fmla="*/ 320247 h 597880"/>
                    <a:gd name="connsiteX1119" fmla="*/ 434977 w 2237636"/>
                    <a:gd name="connsiteY1119" fmla="*/ 320247 h 597880"/>
                    <a:gd name="connsiteX1120" fmla="*/ 411244 w 2237636"/>
                    <a:gd name="connsiteY1120" fmla="*/ 315180 h 59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Lst>
                  <a:rect l="l" t="t" r="r" b="b"/>
                  <a:pathLst>
                    <a:path w="2237636" h="597880">
                      <a:moveTo>
                        <a:pt x="332136" y="339501"/>
                      </a:moveTo>
                      <a:cubicBezTo>
                        <a:pt x="309534" y="339501"/>
                        <a:pt x="302753" y="365848"/>
                        <a:pt x="320835" y="373955"/>
                      </a:cubicBezTo>
                      <a:cubicBezTo>
                        <a:pt x="328746" y="376995"/>
                        <a:pt x="336657" y="374968"/>
                        <a:pt x="345698" y="375982"/>
                      </a:cubicBezTo>
                      <a:cubicBezTo>
                        <a:pt x="346828" y="373955"/>
                        <a:pt x="356999" y="363822"/>
                        <a:pt x="356999" y="363822"/>
                      </a:cubicBezTo>
                      <a:cubicBezTo>
                        <a:pt x="358129" y="354701"/>
                        <a:pt x="343437" y="339501"/>
                        <a:pt x="332136" y="339501"/>
                      </a:cubicBezTo>
                      <a:close/>
                      <a:moveTo>
                        <a:pt x="486963" y="346595"/>
                      </a:moveTo>
                      <a:cubicBezTo>
                        <a:pt x="484702" y="346595"/>
                        <a:pt x="476791" y="353688"/>
                        <a:pt x="475661" y="353688"/>
                      </a:cubicBezTo>
                      <a:cubicBezTo>
                        <a:pt x="466620" y="354701"/>
                        <a:pt x="466620" y="349635"/>
                        <a:pt x="456449" y="351661"/>
                      </a:cubicBezTo>
                      <a:lnTo>
                        <a:pt x="450799" y="356728"/>
                      </a:lnTo>
                      <a:cubicBezTo>
                        <a:pt x="444018" y="358755"/>
                        <a:pt x="440628" y="356728"/>
                        <a:pt x="434977" y="358755"/>
                      </a:cubicBezTo>
                      <a:cubicBezTo>
                        <a:pt x="433847" y="358755"/>
                        <a:pt x="432717" y="362808"/>
                        <a:pt x="432717" y="363822"/>
                      </a:cubicBezTo>
                      <a:cubicBezTo>
                        <a:pt x="420285" y="370915"/>
                        <a:pt x="406724" y="370915"/>
                        <a:pt x="389772" y="373955"/>
                      </a:cubicBezTo>
                      <a:cubicBezTo>
                        <a:pt x="388642" y="386115"/>
                        <a:pt x="387512" y="399289"/>
                        <a:pt x="389772" y="412463"/>
                      </a:cubicBezTo>
                      <a:cubicBezTo>
                        <a:pt x="392032" y="412463"/>
                        <a:pt x="398813" y="411449"/>
                        <a:pt x="401073" y="412463"/>
                      </a:cubicBezTo>
                      <a:cubicBezTo>
                        <a:pt x="407854" y="416516"/>
                        <a:pt x="420285" y="426650"/>
                        <a:pt x="430457" y="426650"/>
                      </a:cubicBezTo>
                      <a:cubicBezTo>
                        <a:pt x="440628" y="426650"/>
                        <a:pt x="455319" y="413476"/>
                        <a:pt x="463230" y="412463"/>
                      </a:cubicBezTo>
                      <a:cubicBezTo>
                        <a:pt x="468881" y="411449"/>
                        <a:pt x="476791" y="414489"/>
                        <a:pt x="482442" y="412463"/>
                      </a:cubicBezTo>
                      <a:cubicBezTo>
                        <a:pt x="484702" y="411449"/>
                        <a:pt x="493743" y="402329"/>
                        <a:pt x="496003" y="400302"/>
                      </a:cubicBezTo>
                      <a:cubicBezTo>
                        <a:pt x="494873" y="396249"/>
                        <a:pt x="497134" y="392196"/>
                        <a:pt x="496003" y="388142"/>
                      </a:cubicBezTo>
                      <a:cubicBezTo>
                        <a:pt x="494873" y="386115"/>
                        <a:pt x="474531" y="379022"/>
                        <a:pt x="484702" y="375982"/>
                      </a:cubicBezTo>
                      <a:cubicBezTo>
                        <a:pt x="486963" y="374968"/>
                        <a:pt x="501654" y="374968"/>
                        <a:pt x="506175" y="373955"/>
                      </a:cubicBezTo>
                      <a:cubicBezTo>
                        <a:pt x="512955" y="370915"/>
                        <a:pt x="512955" y="358755"/>
                        <a:pt x="517476" y="351661"/>
                      </a:cubicBezTo>
                      <a:cubicBezTo>
                        <a:pt x="511825" y="350648"/>
                        <a:pt x="506175" y="352675"/>
                        <a:pt x="501654" y="351661"/>
                      </a:cubicBezTo>
                      <a:cubicBezTo>
                        <a:pt x="497134" y="350648"/>
                        <a:pt x="496003" y="345581"/>
                        <a:pt x="486963" y="346595"/>
                      </a:cubicBezTo>
                      <a:close/>
                      <a:moveTo>
                        <a:pt x="258678" y="353688"/>
                      </a:moveTo>
                      <a:cubicBezTo>
                        <a:pt x="257548" y="353688"/>
                        <a:pt x="254158" y="359768"/>
                        <a:pt x="253028" y="360781"/>
                      </a:cubicBezTo>
                      <a:cubicBezTo>
                        <a:pt x="247377" y="363822"/>
                        <a:pt x="243987" y="360781"/>
                        <a:pt x="237206" y="362808"/>
                      </a:cubicBezTo>
                      <a:cubicBezTo>
                        <a:pt x="250768" y="368888"/>
                        <a:pt x="240597" y="374968"/>
                        <a:pt x="234946" y="382062"/>
                      </a:cubicBezTo>
                      <a:cubicBezTo>
                        <a:pt x="213474" y="374968"/>
                        <a:pt x="185221" y="368888"/>
                        <a:pt x="159228" y="376995"/>
                      </a:cubicBezTo>
                      <a:cubicBezTo>
                        <a:pt x="144536" y="382062"/>
                        <a:pt x="132105" y="398276"/>
                        <a:pt x="118544" y="406383"/>
                      </a:cubicBezTo>
                      <a:cubicBezTo>
                        <a:pt x="104982" y="413476"/>
                        <a:pt x="101592" y="412463"/>
                        <a:pt x="85770" y="413476"/>
                      </a:cubicBezTo>
                      <a:cubicBezTo>
                        <a:pt x="83510" y="418543"/>
                        <a:pt x="85770" y="423610"/>
                        <a:pt x="80120" y="425636"/>
                      </a:cubicBezTo>
                      <a:cubicBezTo>
                        <a:pt x="77859" y="426650"/>
                        <a:pt x="71079" y="424623"/>
                        <a:pt x="68818" y="425636"/>
                      </a:cubicBezTo>
                      <a:cubicBezTo>
                        <a:pt x="60907" y="430703"/>
                        <a:pt x="62038" y="438810"/>
                        <a:pt x="60907" y="444890"/>
                      </a:cubicBezTo>
                      <a:cubicBezTo>
                        <a:pt x="50736" y="445903"/>
                        <a:pt x="43956" y="443877"/>
                        <a:pt x="36045" y="446917"/>
                      </a:cubicBezTo>
                      <a:cubicBezTo>
                        <a:pt x="33785" y="447930"/>
                        <a:pt x="30394" y="452997"/>
                        <a:pt x="28134" y="454010"/>
                      </a:cubicBezTo>
                      <a:cubicBezTo>
                        <a:pt x="21353" y="456037"/>
                        <a:pt x="16833" y="452997"/>
                        <a:pt x="12312" y="456037"/>
                      </a:cubicBezTo>
                      <a:cubicBezTo>
                        <a:pt x="11182" y="457050"/>
                        <a:pt x="10052" y="463131"/>
                        <a:pt x="10052" y="463131"/>
                      </a:cubicBezTo>
                      <a:cubicBezTo>
                        <a:pt x="12312" y="464144"/>
                        <a:pt x="22483" y="463131"/>
                        <a:pt x="25874" y="465157"/>
                      </a:cubicBezTo>
                      <a:cubicBezTo>
                        <a:pt x="28134" y="466171"/>
                        <a:pt x="41695" y="490491"/>
                        <a:pt x="45086" y="494545"/>
                      </a:cubicBezTo>
                      <a:cubicBezTo>
                        <a:pt x="47346" y="493531"/>
                        <a:pt x="52997" y="495558"/>
                        <a:pt x="56387" y="494545"/>
                      </a:cubicBezTo>
                      <a:cubicBezTo>
                        <a:pt x="59777" y="493531"/>
                        <a:pt x="62038" y="485424"/>
                        <a:pt x="64298" y="484411"/>
                      </a:cubicBezTo>
                      <a:cubicBezTo>
                        <a:pt x="81250" y="481371"/>
                        <a:pt x="77859" y="489478"/>
                        <a:pt x="83510" y="491505"/>
                      </a:cubicBezTo>
                      <a:cubicBezTo>
                        <a:pt x="84640" y="492518"/>
                        <a:pt x="94811" y="490491"/>
                        <a:pt x="91421" y="489478"/>
                      </a:cubicBezTo>
                      <a:cubicBezTo>
                        <a:pt x="92551" y="488464"/>
                        <a:pt x="98201" y="489478"/>
                        <a:pt x="99332" y="489478"/>
                      </a:cubicBezTo>
                      <a:cubicBezTo>
                        <a:pt x="103852" y="482384"/>
                        <a:pt x="101592" y="484411"/>
                        <a:pt x="107242" y="479344"/>
                      </a:cubicBezTo>
                      <a:cubicBezTo>
                        <a:pt x="110633" y="484411"/>
                        <a:pt x="106112" y="484411"/>
                        <a:pt x="112893" y="486438"/>
                      </a:cubicBezTo>
                      <a:lnTo>
                        <a:pt x="112893" y="472251"/>
                      </a:lnTo>
                      <a:cubicBezTo>
                        <a:pt x="108373" y="475291"/>
                        <a:pt x="108373" y="459077"/>
                        <a:pt x="115153" y="465157"/>
                      </a:cubicBezTo>
                      <a:cubicBezTo>
                        <a:pt x="117413" y="467184"/>
                        <a:pt x="124194" y="488464"/>
                        <a:pt x="126454" y="491505"/>
                      </a:cubicBezTo>
                      <a:lnTo>
                        <a:pt x="132105" y="493531"/>
                      </a:lnTo>
                      <a:cubicBezTo>
                        <a:pt x="151317" y="484411"/>
                        <a:pt x="156968" y="473264"/>
                        <a:pt x="156968" y="451984"/>
                      </a:cubicBezTo>
                      <a:cubicBezTo>
                        <a:pt x="158098" y="455024"/>
                        <a:pt x="163748" y="460090"/>
                        <a:pt x="164879" y="464144"/>
                      </a:cubicBezTo>
                      <a:cubicBezTo>
                        <a:pt x="159228" y="467184"/>
                        <a:pt x="172789" y="464144"/>
                        <a:pt x="172789" y="464144"/>
                      </a:cubicBezTo>
                      <a:cubicBezTo>
                        <a:pt x="172789" y="463131"/>
                        <a:pt x="171659" y="457050"/>
                        <a:pt x="172789" y="457050"/>
                      </a:cubicBezTo>
                      <a:cubicBezTo>
                        <a:pt x="176180" y="455024"/>
                        <a:pt x="179570" y="456037"/>
                        <a:pt x="184091" y="455024"/>
                      </a:cubicBezTo>
                      <a:cubicBezTo>
                        <a:pt x="182960" y="443877"/>
                        <a:pt x="185221" y="443877"/>
                        <a:pt x="181830" y="432730"/>
                      </a:cubicBezTo>
                      <a:cubicBezTo>
                        <a:pt x="182960" y="431716"/>
                        <a:pt x="186351" y="429690"/>
                        <a:pt x="187481" y="430703"/>
                      </a:cubicBezTo>
                      <a:lnTo>
                        <a:pt x="187481" y="425636"/>
                      </a:lnTo>
                      <a:cubicBezTo>
                        <a:pt x="193132" y="427663"/>
                        <a:pt x="189741" y="428676"/>
                        <a:pt x="193132" y="432730"/>
                      </a:cubicBezTo>
                      <a:cubicBezTo>
                        <a:pt x="193132" y="432730"/>
                        <a:pt x="201042" y="430703"/>
                        <a:pt x="201042" y="430703"/>
                      </a:cubicBezTo>
                      <a:cubicBezTo>
                        <a:pt x="204433" y="427663"/>
                        <a:pt x="201042" y="422596"/>
                        <a:pt x="203303" y="418543"/>
                      </a:cubicBezTo>
                      <a:cubicBezTo>
                        <a:pt x="205563" y="415503"/>
                        <a:pt x="208953" y="416516"/>
                        <a:pt x="211213" y="413476"/>
                      </a:cubicBezTo>
                      <a:cubicBezTo>
                        <a:pt x="212344" y="413476"/>
                        <a:pt x="217994" y="413476"/>
                        <a:pt x="219124" y="413476"/>
                      </a:cubicBezTo>
                      <a:cubicBezTo>
                        <a:pt x="213474" y="425636"/>
                        <a:pt x="212344" y="432730"/>
                        <a:pt x="205563" y="444890"/>
                      </a:cubicBezTo>
                      <a:cubicBezTo>
                        <a:pt x="211213" y="448944"/>
                        <a:pt x="217994" y="450970"/>
                        <a:pt x="224775" y="455024"/>
                      </a:cubicBezTo>
                      <a:cubicBezTo>
                        <a:pt x="238336" y="433743"/>
                        <a:pt x="229295" y="448944"/>
                        <a:pt x="249637" y="440837"/>
                      </a:cubicBezTo>
                      <a:cubicBezTo>
                        <a:pt x="268849" y="431716"/>
                        <a:pt x="256418" y="404356"/>
                        <a:pt x="265459" y="404356"/>
                      </a:cubicBezTo>
                      <a:lnTo>
                        <a:pt x="292582" y="414489"/>
                      </a:lnTo>
                      <a:cubicBezTo>
                        <a:pt x="291452" y="408409"/>
                        <a:pt x="289192" y="410436"/>
                        <a:pt x="286931" y="407396"/>
                      </a:cubicBezTo>
                      <a:cubicBezTo>
                        <a:pt x="289192" y="405369"/>
                        <a:pt x="285801" y="402329"/>
                        <a:pt x="286931" y="400302"/>
                      </a:cubicBezTo>
                      <a:cubicBezTo>
                        <a:pt x="288061" y="397262"/>
                        <a:pt x="292582" y="399289"/>
                        <a:pt x="294842" y="398276"/>
                      </a:cubicBezTo>
                      <a:cubicBezTo>
                        <a:pt x="298233" y="395236"/>
                        <a:pt x="301623" y="383075"/>
                        <a:pt x="302753" y="379022"/>
                      </a:cubicBezTo>
                      <a:cubicBezTo>
                        <a:pt x="293712" y="371928"/>
                        <a:pt x="279021" y="350648"/>
                        <a:pt x="258678" y="353688"/>
                      </a:cubicBezTo>
                      <a:close/>
                      <a:moveTo>
                        <a:pt x="514085" y="412463"/>
                      </a:moveTo>
                      <a:lnTo>
                        <a:pt x="514085" y="419556"/>
                      </a:lnTo>
                      <a:lnTo>
                        <a:pt x="508435" y="419556"/>
                      </a:lnTo>
                      <a:cubicBezTo>
                        <a:pt x="512955" y="418543"/>
                        <a:pt x="500524" y="417529"/>
                        <a:pt x="500524" y="417529"/>
                      </a:cubicBezTo>
                      <a:cubicBezTo>
                        <a:pt x="505044" y="425636"/>
                        <a:pt x="503914" y="429690"/>
                        <a:pt x="508435" y="439823"/>
                      </a:cubicBezTo>
                      <a:cubicBezTo>
                        <a:pt x="500524" y="442863"/>
                        <a:pt x="503914" y="437797"/>
                        <a:pt x="500524" y="444890"/>
                      </a:cubicBezTo>
                      <a:cubicBezTo>
                        <a:pt x="508435" y="444890"/>
                        <a:pt x="502784" y="463131"/>
                        <a:pt x="500524" y="469211"/>
                      </a:cubicBezTo>
                      <a:cubicBezTo>
                        <a:pt x="508435" y="472251"/>
                        <a:pt x="517476" y="476304"/>
                        <a:pt x="525387" y="479344"/>
                      </a:cubicBezTo>
                      <a:cubicBezTo>
                        <a:pt x="519736" y="485424"/>
                        <a:pt x="519736" y="490491"/>
                        <a:pt x="514085" y="496571"/>
                      </a:cubicBezTo>
                      <a:cubicBezTo>
                        <a:pt x="517476" y="496571"/>
                        <a:pt x="524256" y="495558"/>
                        <a:pt x="527647" y="496571"/>
                      </a:cubicBezTo>
                      <a:cubicBezTo>
                        <a:pt x="528777" y="496571"/>
                        <a:pt x="529907" y="500625"/>
                        <a:pt x="533297" y="501638"/>
                      </a:cubicBezTo>
                      <a:cubicBezTo>
                        <a:pt x="533297" y="501638"/>
                        <a:pt x="533297" y="510758"/>
                        <a:pt x="533297" y="511772"/>
                      </a:cubicBezTo>
                      <a:cubicBezTo>
                        <a:pt x="516346" y="509745"/>
                        <a:pt x="490353" y="507718"/>
                        <a:pt x="481312" y="506705"/>
                      </a:cubicBezTo>
                      <a:cubicBezTo>
                        <a:pt x="473401" y="505692"/>
                        <a:pt x="459840" y="508732"/>
                        <a:pt x="451929" y="506705"/>
                      </a:cubicBezTo>
                      <a:cubicBezTo>
                        <a:pt x="451929" y="506705"/>
                        <a:pt x="449669" y="497585"/>
                        <a:pt x="449669" y="496571"/>
                      </a:cubicBezTo>
                      <a:cubicBezTo>
                        <a:pt x="446278" y="494545"/>
                        <a:pt x="439497" y="497585"/>
                        <a:pt x="436107" y="496571"/>
                      </a:cubicBezTo>
                      <a:cubicBezTo>
                        <a:pt x="433847" y="495558"/>
                        <a:pt x="431587" y="490491"/>
                        <a:pt x="428196" y="489478"/>
                      </a:cubicBezTo>
                      <a:lnTo>
                        <a:pt x="428196" y="487451"/>
                      </a:lnTo>
                      <a:cubicBezTo>
                        <a:pt x="419155" y="484411"/>
                        <a:pt x="408984" y="487451"/>
                        <a:pt x="398813" y="485424"/>
                      </a:cubicBezTo>
                      <a:cubicBezTo>
                        <a:pt x="393163" y="484411"/>
                        <a:pt x="386382" y="474277"/>
                        <a:pt x="382991" y="473264"/>
                      </a:cubicBezTo>
                      <a:cubicBezTo>
                        <a:pt x="370560" y="469211"/>
                        <a:pt x="353608" y="475291"/>
                        <a:pt x="344567" y="473264"/>
                      </a:cubicBezTo>
                      <a:cubicBezTo>
                        <a:pt x="344567" y="473264"/>
                        <a:pt x="340047" y="466171"/>
                        <a:pt x="338917" y="466171"/>
                      </a:cubicBezTo>
                      <a:cubicBezTo>
                        <a:pt x="332136" y="465157"/>
                        <a:pt x="324225" y="466171"/>
                        <a:pt x="317445" y="466171"/>
                      </a:cubicBezTo>
                      <a:lnTo>
                        <a:pt x="315184" y="473264"/>
                      </a:lnTo>
                      <a:cubicBezTo>
                        <a:pt x="308404" y="474277"/>
                        <a:pt x="299363" y="472251"/>
                        <a:pt x="290322" y="471237"/>
                      </a:cubicBezTo>
                      <a:cubicBezTo>
                        <a:pt x="288061" y="491505"/>
                        <a:pt x="280151" y="493531"/>
                        <a:pt x="306143" y="497585"/>
                      </a:cubicBezTo>
                      <a:cubicBezTo>
                        <a:pt x="301623" y="498598"/>
                        <a:pt x="291452" y="504678"/>
                        <a:pt x="286931" y="504678"/>
                      </a:cubicBezTo>
                      <a:cubicBezTo>
                        <a:pt x="280151" y="505692"/>
                        <a:pt x="275630" y="501638"/>
                        <a:pt x="273370" y="502651"/>
                      </a:cubicBezTo>
                      <a:cubicBezTo>
                        <a:pt x="272240" y="502651"/>
                        <a:pt x="271110" y="506705"/>
                        <a:pt x="267719" y="507718"/>
                      </a:cubicBezTo>
                      <a:lnTo>
                        <a:pt x="269980" y="517852"/>
                      </a:lnTo>
                      <a:cubicBezTo>
                        <a:pt x="281281" y="516838"/>
                        <a:pt x="310664" y="513798"/>
                        <a:pt x="291452" y="519879"/>
                      </a:cubicBezTo>
                      <a:lnTo>
                        <a:pt x="285801" y="524945"/>
                      </a:lnTo>
                      <a:cubicBezTo>
                        <a:pt x="279021" y="526972"/>
                        <a:pt x="271110" y="525959"/>
                        <a:pt x="266589" y="526972"/>
                      </a:cubicBezTo>
                      <a:cubicBezTo>
                        <a:pt x="260939" y="528999"/>
                        <a:pt x="262069" y="528999"/>
                        <a:pt x="258678" y="532039"/>
                      </a:cubicBezTo>
                      <a:cubicBezTo>
                        <a:pt x="259808" y="533052"/>
                        <a:pt x="259808" y="538119"/>
                        <a:pt x="260939" y="539132"/>
                      </a:cubicBezTo>
                      <a:cubicBezTo>
                        <a:pt x="273370" y="547239"/>
                        <a:pt x="288061" y="540146"/>
                        <a:pt x="301623" y="537106"/>
                      </a:cubicBezTo>
                      <a:cubicBezTo>
                        <a:pt x="302753" y="541159"/>
                        <a:pt x="301623" y="538119"/>
                        <a:pt x="307273" y="539132"/>
                      </a:cubicBezTo>
                      <a:cubicBezTo>
                        <a:pt x="307273" y="540146"/>
                        <a:pt x="306143" y="548253"/>
                        <a:pt x="307273" y="549266"/>
                      </a:cubicBezTo>
                      <a:cubicBezTo>
                        <a:pt x="308404" y="550279"/>
                        <a:pt x="314054" y="548253"/>
                        <a:pt x="315184" y="549266"/>
                      </a:cubicBezTo>
                      <a:cubicBezTo>
                        <a:pt x="315184" y="547239"/>
                        <a:pt x="312924" y="536092"/>
                        <a:pt x="315184" y="535079"/>
                      </a:cubicBezTo>
                      <a:cubicBezTo>
                        <a:pt x="317445" y="536092"/>
                        <a:pt x="323095" y="535079"/>
                        <a:pt x="326485" y="535079"/>
                      </a:cubicBezTo>
                      <a:cubicBezTo>
                        <a:pt x="324225" y="537106"/>
                        <a:pt x="326485" y="552306"/>
                        <a:pt x="326485" y="552306"/>
                      </a:cubicBezTo>
                      <a:cubicBezTo>
                        <a:pt x="327616" y="552306"/>
                        <a:pt x="334396" y="551293"/>
                        <a:pt x="334396" y="552306"/>
                      </a:cubicBezTo>
                      <a:cubicBezTo>
                        <a:pt x="336657" y="550279"/>
                        <a:pt x="338917" y="544199"/>
                        <a:pt x="340047" y="542172"/>
                      </a:cubicBezTo>
                      <a:lnTo>
                        <a:pt x="345698" y="542172"/>
                      </a:lnTo>
                      <a:cubicBezTo>
                        <a:pt x="349088" y="533052"/>
                        <a:pt x="336657" y="524945"/>
                        <a:pt x="347958" y="522919"/>
                      </a:cubicBezTo>
                      <a:cubicBezTo>
                        <a:pt x="347958" y="522919"/>
                        <a:pt x="346828" y="511772"/>
                        <a:pt x="345698" y="515825"/>
                      </a:cubicBezTo>
                      <a:cubicBezTo>
                        <a:pt x="345698" y="515825"/>
                        <a:pt x="345698" y="506705"/>
                        <a:pt x="345698" y="505692"/>
                      </a:cubicBezTo>
                      <a:cubicBezTo>
                        <a:pt x="347958" y="505692"/>
                        <a:pt x="354738" y="506705"/>
                        <a:pt x="356999" y="505692"/>
                      </a:cubicBezTo>
                      <a:cubicBezTo>
                        <a:pt x="356999" y="511772"/>
                        <a:pt x="356999" y="526972"/>
                        <a:pt x="356999" y="540146"/>
                      </a:cubicBezTo>
                      <a:cubicBezTo>
                        <a:pt x="378471" y="534066"/>
                        <a:pt x="387512" y="541159"/>
                        <a:pt x="408984" y="533052"/>
                      </a:cubicBezTo>
                      <a:cubicBezTo>
                        <a:pt x="411244" y="532039"/>
                        <a:pt x="412375" y="525959"/>
                        <a:pt x="414635" y="525959"/>
                      </a:cubicBezTo>
                      <a:cubicBezTo>
                        <a:pt x="416895" y="524945"/>
                        <a:pt x="422546" y="526972"/>
                        <a:pt x="428196" y="525959"/>
                      </a:cubicBezTo>
                      <a:cubicBezTo>
                        <a:pt x="428196" y="526972"/>
                        <a:pt x="432717" y="533052"/>
                        <a:pt x="433847" y="533052"/>
                      </a:cubicBezTo>
                      <a:cubicBezTo>
                        <a:pt x="436107" y="534066"/>
                        <a:pt x="445148" y="532039"/>
                        <a:pt x="441758" y="531025"/>
                      </a:cubicBezTo>
                      <a:cubicBezTo>
                        <a:pt x="459840" y="535079"/>
                        <a:pt x="458710" y="533052"/>
                        <a:pt x="471141" y="528999"/>
                      </a:cubicBezTo>
                      <a:cubicBezTo>
                        <a:pt x="471141" y="527985"/>
                        <a:pt x="470011" y="522919"/>
                        <a:pt x="471141" y="521905"/>
                      </a:cubicBezTo>
                      <a:cubicBezTo>
                        <a:pt x="472271" y="519879"/>
                        <a:pt x="477922" y="520892"/>
                        <a:pt x="479052" y="519879"/>
                      </a:cubicBezTo>
                      <a:cubicBezTo>
                        <a:pt x="477922" y="522919"/>
                        <a:pt x="480182" y="526972"/>
                        <a:pt x="479052" y="530012"/>
                      </a:cubicBezTo>
                      <a:cubicBezTo>
                        <a:pt x="476791" y="535079"/>
                        <a:pt x="460970" y="550279"/>
                        <a:pt x="454189" y="552306"/>
                      </a:cubicBezTo>
                      <a:cubicBezTo>
                        <a:pt x="438367" y="557373"/>
                        <a:pt x="429326" y="551293"/>
                        <a:pt x="411244" y="554333"/>
                      </a:cubicBezTo>
                      <a:cubicBezTo>
                        <a:pt x="408984" y="554333"/>
                        <a:pt x="398813" y="557373"/>
                        <a:pt x="395423" y="559399"/>
                      </a:cubicBezTo>
                      <a:cubicBezTo>
                        <a:pt x="393163" y="560413"/>
                        <a:pt x="392032" y="565480"/>
                        <a:pt x="389772" y="566493"/>
                      </a:cubicBezTo>
                      <a:cubicBezTo>
                        <a:pt x="385252" y="567506"/>
                        <a:pt x="380731" y="565480"/>
                        <a:pt x="376211" y="566493"/>
                      </a:cubicBezTo>
                      <a:cubicBezTo>
                        <a:pt x="362649" y="569533"/>
                        <a:pt x="356999" y="581693"/>
                        <a:pt x="368300" y="590813"/>
                      </a:cubicBezTo>
                      <a:cubicBezTo>
                        <a:pt x="369430" y="591827"/>
                        <a:pt x="377341" y="597907"/>
                        <a:pt x="379601" y="597907"/>
                      </a:cubicBezTo>
                      <a:cubicBezTo>
                        <a:pt x="390902" y="599934"/>
                        <a:pt x="415765" y="595880"/>
                        <a:pt x="422546" y="592840"/>
                      </a:cubicBezTo>
                      <a:cubicBezTo>
                        <a:pt x="425936" y="590813"/>
                        <a:pt x="427066" y="584733"/>
                        <a:pt x="430457" y="582707"/>
                      </a:cubicBezTo>
                      <a:cubicBezTo>
                        <a:pt x="438367" y="578653"/>
                        <a:pt x="440628" y="581693"/>
                        <a:pt x="449669" y="575613"/>
                      </a:cubicBezTo>
                      <a:cubicBezTo>
                        <a:pt x="454189" y="572573"/>
                        <a:pt x="458710" y="560413"/>
                        <a:pt x="465490" y="558386"/>
                      </a:cubicBezTo>
                      <a:cubicBezTo>
                        <a:pt x="475661" y="556359"/>
                        <a:pt x="479052" y="562440"/>
                        <a:pt x="486963" y="560413"/>
                      </a:cubicBezTo>
                      <a:cubicBezTo>
                        <a:pt x="488093" y="560413"/>
                        <a:pt x="496003" y="553319"/>
                        <a:pt x="498264" y="553319"/>
                      </a:cubicBezTo>
                      <a:cubicBezTo>
                        <a:pt x="509565" y="551293"/>
                        <a:pt x="518606" y="555346"/>
                        <a:pt x="527647" y="551293"/>
                      </a:cubicBezTo>
                      <a:cubicBezTo>
                        <a:pt x="528777" y="550279"/>
                        <a:pt x="532167" y="544199"/>
                        <a:pt x="533297" y="544199"/>
                      </a:cubicBezTo>
                      <a:cubicBezTo>
                        <a:pt x="536688" y="543186"/>
                        <a:pt x="541208" y="545212"/>
                        <a:pt x="544599" y="544199"/>
                      </a:cubicBezTo>
                      <a:cubicBezTo>
                        <a:pt x="553640" y="551293"/>
                        <a:pt x="540078" y="560413"/>
                        <a:pt x="566071" y="556359"/>
                      </a:cubicBezTo>
                      <a:cubicBezTo>
                        <a:pt x="575112" y="555346"/>
                        <a:pt x="581893" y="542172"/>
                        <a:pt x="581893" y="542172"/>
                      </a:cubicBezTo>
                      <a:cubicBezTo>
                        <a:pt x="586413" y="541159"/>
                        <a:pt x="593194" y="546226"/>
                        <a:pt x="595454" y="547239"/>
                      </a:cubicBezTo>
                      <a:cubicBezTo>
                        <a:pt x="612406" y="549266"/>
                        <a:pt x="623707" y="542172"/>
                        <a:pt x="633878" y="547239"/>
                      </a:cubicBezTo>
                      <a:lnTo>
                        <a:pt x="636138" y="547239"/>
                      </a:lnTo>
                      <a:cubicBezTo>
                        <a:pt x="638399" y="546226"/>
                        <a:pt x="641789" y="539132"/>
                        <a:pt x="644049" y="537106"/>
                      </a:cubicBezTo>
                      <a:cubicBezTo>
                        <a:pt x="647439" y="535079"/>
                        <a:pt x="649700" y="536092"/>
                        <a:pt x="651960" y="535079"/>
                      </a:cubicBezTo>
                      <a:cubicBezTo>
                        <a:pt x="648570" y="514812"/>
                        <a:pt x="649700" y="489478"/>
                        <a:pt x="638399" y="476304"/>
                      </a:cubicBezTo>
                      <a:cubicBezTo>
                        <a:pt x="636138" y="473264"/>
                        <a:pt x="628228" y="471237"/>
                        <a:pt x="624837" y="469211"/>
                      </a:cubicBezTo>
                      <a:cubicBezTo>
                        <a:pt x="627097" y="463131"/>
                        <a:pt x="616926" y="469211"/>
                        <a:pt x="616926" y="469211"/>
                      </a:cubicBezTo>
                      <a:cubicBezTo>
                        <a:pt x="618056" y="473264"/>
                        <a:pt x="616926" y="479344"/>
                        <a:pt x="616926" y="483398"/>
                      </a:cubicBezTo>
                      <a:lnTo>
                        <a:pt x="622577" y="485424"/>
                      </a:lnTo>
                      <a:cubicBezTo>
                        <a:pt x="622577" y="493531"/>
                        <a:pt x="616926" y="490491"/>
                        <a:pt x="614666" y="495558"/>
                      </a:cubicBezTo>
                      <a:cubicBezTo>
                        <a:pt x="613536" y="497585"/>
                        <a:pt x="614666" y="502651"/>
                        <a:pt x="614666" y="505692"/>
                      </a:cubicBezTo>
                      <a:cubicBezTo>
                        <a:pt x="613536" y="504678"/>
                        <a:pt x="609015" y="510758"/>
                        <a:pt x="609015" y="510758"/>
                      </a:cubicBezTo>
                      <a:cubicBezTo>
                        <a:pt x="606755" y="502651"/>
                        <a:pt x="606755" y="498598"/>
                        <a:pt x="603365" y="488464"/>
                      </a:cubicBezTo>
                      <a:cubicBezTo>
                        <a:pt x="597714" y="490491"/>
                        <a:pt x="590934" y="492518"/>
                        <a:pt x="587543" y="493531"/>
                      </a:cubicBezTo>
                      <a:cubicBezTo>
                        <a:pt x="588673" y="485424"/>
                        <a:pt x="592064" y="477318"/>
                        <a:pt x="589803" y="469211"/>
                      </a:cubicBezTo>
                      <a:lnTo>
                        <a:pt x="587543" y="464144"/>
                      </a:lnTo>
                      <a:cubicBezTo>
                        <a:pt x="584153" y="465157"/>
                        <a:pt x="579632" y="463131"/>
                        <a:pt x="576242" y="464144"/>
                      </a:cubicBezTo>
                      <a:cubicBezTo>
                        <a:pt x="575112" y="464144"/>
                        <a:pt x="575112" y="470224"/>
                        <a:pt x="573982" y="471237"/>
                      </a:cubicBezTo>
                      <a:cubicBezTo>
                        <a:pt x="569461" y="474277"/>
                        <a:pt x="567201" y="471237"/>
                        <a:pt x="562681" y="473264"/>
                      </a:cubicBezTo>
                      <a:cubicBezTo>
                        <a:pt x="557030" y="468197"/>
                        <a:pt x="552509" y="460090"/>
                        <a:pt x="546859" y="456037"/>
                      </a:cubicBezTo>
                      <a:cubicBezTo>
                        <a:pt x="541208" y="451984"/>
                        <a:pt x="534428" y="454010"/>
                        <a:pt x="531037" y="448944"/>
                      </a:cubicBezTo>
                      <a:cubicBezTo>
                        <a:pt x="523126" y="434757"/>
                        <a:pt x="533297" y="414489"/>
                        <a:pt x="514085" y="412463"/>
                      </a:cubicBezTo>
                      <a:close/>
                      <a:moveTo>
                        <a:pt x="326485" y="419556"/>
                      </a:moveTo>
                      <a:cubicBezTo>
                        <a:pt x="326485" y="419556"/>
                        <a:pt x="326485" y="426650"/>
                        <a:pt x="326485" y="426650"/>
                      </a:cubicBezTo>
                      <a:cubicBezTo>
                        <a:pt x="321965" y="424623"/>
                        <a:pt x="324225" y="433743"/>
                        <a:pt x="324225" y="436783"/>
                      </a:cubicBezTo>
                      <a:cubicBezTo>
                        <a:pt x="331006" y="435770"/>
                        <a:pt x="333266" y="433743"/>
                        <a:pt x="340047" y="434757"/>
                      </a:cubicBezTo>
                      <a:cubicBezTo>
                        <a:pt x="338917" y="428676"/>
                        <a:pt x="345698" y="413476"/>
                        <a:pt x="326485" y="419556"/>
                      </a:cubicBezTo>
                      <a:close/>
                      <a:moveTo>
                        <a:pt x="299363" y="448944"/>
                      </a:moveTo>
                      <a:cubicBezTo>
                        <a:pt x="284671" y="457050"/>
                        <a:pt x="300493" y="460090"/>
                        <a:pt x="305013" y="463131"/>
                      </a:cubicBezTo>
                      <a:lnTo>
                        <a:pt x="307273" y="450970"/>
                      </a:lnTo>
                      <a:lnTo>
                        <a:pt x="299363" y="448944"/>
                      </a:lnTo>
                      <a:close/>
                      <a:moveTo>
                        <a:pt x="229295" y="471237"/>
                      </a:moveTo>
                      <a:cubicBezTo>
                        <a:pt x="228165" y="473264"/>
                        <a:pt x="221385" y="477318"/>
                        <a:pt x="221385" y="478331"/>
                      </a:cubicBezTo>
                      <a:cubicBezTo>
                        <a:pt x="220254" y="480358"/>
                        <a:pt x="222515" y="486438"/>
                        <a:pt x="221385" y="488464"/>
                      </a:cubicBezTo>
                      <a:cubicBezTo>
                        <a:pt x="219124" y="490491"/>
                        <a:pt x="205563" y="495558"/>
                        <a:pt x="202172" y="498598"/>
                      </a:cubicBezTo>
                      <a:cubicBezTo>
                        <a:pt x="198782" y="501638"/>
                        <a:pt x="196522" y="507718"/>
                        <a:pt x="194262" y="510758"/>
                      </a:cubicBezTo>
                      <a:cubicBezTo>
                        <a:pt x="189741" y="507718"/>
                        <a:pt x="192001" y="520892"/>
                        <a:pt x="192001" y="522919"/>
                      </a:cubicBezTo>
                      <a:cubicBezTo>
                        <a:pt x="204433" y="523932"/>
                        <a:pt x="210083" y="523932"/>
                        <a:pt x="221385" y="524945"/>
                      </a:cubicBezTo>
                      <a:cubicBezTo>
                        <a:pt x="224775" y="515825"/>
                        <a:pt x="222515" y="507718"/>
                        <a:pt x="227035" y="498598"/>
                      </a:cubicBezTo>
                      <a:cubicBezTo>
                        <a:pt x="228165" y="495558"/>
                        <a:pt x="232686" y="497585"/>
                        <a:pt x="234946" y="496571"/>
                      </a:cubicBezTo>
                      <a:cubicBezTo>
                        <a:pt x="239466" y="492518"/>
                        <a:pt x="238336" y="481371"/>
                        <a:pt x="240597" y="474277"/>
                      </a:cubicBezTo>
                      <a:cubicBezTo>
                        <a:pt x="239466" y="473264"/>
                        <a:pt x="230425" y="471237"/>
                        <a:pt x="229295" y="471237"/>
                      </a:cubicBezTo>
                      <a:close/>
                      <a:moveTo>
                        <a:pt x="714117" y="523932"/>
                      </a:moveTo>
                      <a:cubicBezTo>
                        <a:pt x="712987" y="528999"/>
                        <a:pt x="711856" y="539132"/>
                        <a:pt x="711856" y="541159"/>
                      </a:cubicBezTo>
                      <a:lnTo>
                        <a:pt x="717507" y="543186"/>
                      </a:lnTo>
                      <a:cubicBezTo>
                        <a:pt x="710726" y="548253"/>
                        <a:pt x="728808" y="543186"/>
                        <a:pt x="723158" y="543186"/>
                      </a:cubicBezTo>
                      <a:cubicBezTo>
                        <a:pt x="723158" y="543186"/>
                        <a:pt x="725418" y="534066"/>
                        <a:pt x="723158" y="528999"/>
                      </a:cubicBezTo>
                      <a:cubicBezTo>
                        <a:pt x="722027" y="526972"/>
                        <a:pt x="715247" y="524945"/>
                        <a:pt x="714117" y="523932"/>
                      </a:cubicBezTo>
                      <a:close/>
                      <a:moveTo>
                        <a:pt x="519736" y="553319"/>
                      </a:moveTo>
                      <a:cubicBezTo>
                        <a:pt x="515216" y="554333"/>
                        <a:pt x="511825" y="564466"/>
                        <a:pt x="521996" y="560413"/>
                      </a:cubicBezTo>
                      <a:cubicBezTo>
                        <a:pt x="525387" y="559399"/>
                        <a:pt x="531037" y="549266"/>
                        <a:pt x="519736" y="553319"/>
                      </a:cubicBezTo>
                      <a:close/>
                      <a:moveTo>
                        <a:pt x="655350" y="276673"/>
                      </a:moveTo>
                      <a:cubicBezTo>
                        <a:pt x="639529" y="288833"/>
                        <a:pt x="642919" y="288833"/>
                        <a:pt x="647439" y="306060"/>
                      </a:cubicBezTo>
                      <a:cubicBezTo>
                        <a:pt x="651960" y="304034"/>
                        <a:pt x="657611" y="302007"/>
                        <a:pt x="661001" y="300993"/>
                      </a:cubicBezTo>
                      <a:cubicBezTo>
                        <a:pt x="661001" y="303020"/>
                        <a:pt x="659871" y="314167"/>
                        <a:pt x="661001" y="315180"/>
                      </a:cubicBezTo>
                      <a:cubicBezTo>
                        <a:pt x="668912" y="312140"/>
                        <a:pt x="667782" y="306060"/>
                        <a:pt x="676823" y="310114"/>
                      </a:cubicBezTo>
                      <a:cubicBezTo>
                        <a:pt x="677953" y="311127"/>
                        <a:pt x="674563" y="322274"/>
                        <a:pt x="674563" y="324301"/>
                      </a:cubicBezTo>
                      <a:cubicBezTo>
                        <a:pt x="676823" y="323287"/>
                        <a:pt x="682473" y="324301"/>
                        <a:pt x="685864" y="324301"/>
                      </a:cubicBezTo>
                      <a:lnTo>
                        <a:pt x="685864" y="319234"/>
                      </a:lnTo>
                      <a:cubicBezTo>
                        <a:pt x="686994" y="319234"/>
                        <a:pt x="697165" y="324301"/>
                        <a:pt x="697165" y="324301"/>
                      </a:cubicBezTo>
                      <a:cubicBezTo>
                        <a:pt x="697165" y="324301"/>
                        <a:pt x="699425" y="325314"/>
                        <a:pt x="694905" y="326327"/>
                      </a:cubicBezTo>
                      <a:cubicBezTo>
                        <a:pt x="684734" y="329367"/>
                        <a:pt x="696035" y="333421"/>
                        <a:pt x="700555" y="336461"/>
                      </a:cubicBezTo>
                      <a:cubicBezTo>
                        <a:pt x="694905" y="336461"/>
                        <a:pt x="688124" y="337474"/>
                        <a:pt x="679083" y="336461"/>
                      </a:cubicBezTo>
                      <a:cubicBezTo>
                        <a:pt x="679083" y="337474"/>
                        <a:pt x="682473" y="345581"/>
                        <a:pt x="681343" y="346595"/>
                      </a:cubicBezTo>
                      <a:cubicBezTo>
                        <a:pt x="685864" y="347608"/>
                        <a:pt x="684734" y="344568"/>
                        <a:pt x="686994" y="348621"/>
                      </a:cubicBezTo>
                      <a:cubicBezTo>
                        <a:pt x="689254" y="347608"/>
                        <a:pt x="696035" y="347608"/>
                        <a:pt x="700555" y="346595"/>
                      </a:cubicBezTo>
                      <a:cubicBezTo>
                        <a:pt x="703945" y="344568"/>
                        <a:pt x="708466" y="337474"/>
                        <a:pt x="714117" y="336461"/>
                      </a:cubicBezTo>
                      <a:cubicBezTo>
                        <a:pt x="718637" y="335448"/>
                        <a:pt x="723158" y="337474"/>
                        <a:pt x="727678" y="336461"/>
                      </a:cubicBezTo>
                      <a:lnTo>
                        <a:pt x="733329" y="331394"/>
                      </a:lnTo>
                      <a:cubicBezTo>
                        <a:pt x="745760" y="331394"/>
                        <a:pt x="738979" y="339501"/>
                        <a:pt x="752541" y="338488"/>
                      </a:cubicBezTo>
                      <a:cubicBezTo>
                        <a:pt x="752541" y="338488"/>
                        <a:pt x="754801" y="330381"/>
                        <a:pt x="754801" y="328354"/>
                      </a:cubicBezTo>
                      <a:cubicBezTo>
                        <a:pt x="759322" y="329367"/>
                        <a:pt x="761582" y="332407"/>
                        <a:pt x="762712" y="333421"/>
                      </a:cubicBezTo>
                      <a:cubicBezTo>
                        <a:pt x="769493" y="335448"/>
                        <a:pt x="777403" y="331394"/>
                        <a:pt x="784184" y="333421"/>
                      </a:cubicBezTo>
                      <a:cubicBezTo>
                        <a:pt x="787575" y="334434"/>
                        <a:pt x="792095" y="341528"/>
                        <a:pt x="795485" y="343554"/>
                      </a:cubicBezTo>
                      <a:cubicBezTo>
                        <a:pt x="800006" y="345581"/>
                        <a:pt x="804526" y="343554"/>
                        <a:pt x="809047" y="345581"/>
                      </a:cubicBezTo>
                      <a:cubicBezTo>
                        <a:pt x="816957" y="348621"/>
                        <a:pt x="823738" y="358755"/>
                        <a:pt x="830519" y="362808"/>
                      </a:cubicBezTo>
                      <a:cubicBezTo>
                        <a:pt x="836170" y="365848"/>
                        <a:pt x="841820" y="364835"/>
                        <a:pt x="846341" y="367875"/>
                      </a:cubicBezTo>
                      <a:cubicBezTo>
                        <a:pt x="855382" y="372942"/>
                        <a:pt x="858772" y="387129"/>
                        <a:pt x="873463" y="387129"/>
                      </a:cubicBezTo>
                      <a:cubicBezTo>
                        <a:pt x="905107" y="388142"/>
                        <a:pt x="890415" y="352675"/>
                        <a:pt x="881374" y="340514"/>
                      </a:cubicBezTo>
                      <a:cubicBezTo>
                        <a:pt x="872333" y="328354"/>
                        <a:pt x="859902" y="322274"/>
                        <a:pt x="838430" y="323287"/>
                      </a:cubicBezTo>
                      <a:cubicBezTo>
                        <a:pt x="838430" y="323287"/>
                        <a:pt x="833909" y="327341"/>
                        <a:pt x="830519" y="325314"/>
                      </a:cubicBezTo>
                      <a:cubicBezTo>
                        <a:pt x="830519" y="325314"/>
                        <a:pt x="822608" y="311127"/>
                        <a:pt x="822608" y="311127"/>
                      </a:cubicBezTo>
                      <a:cubicBezTo>
                        <a:pt x="812437" y="303020"/>
                        <a:pt x="801136" y="308087"/>
                        <a:pt x="795485" y="306060"/>
                      </a:cubicBezTo>
                      <a:cubicBezTo>
                        <a:pt x="795485" y="306060"/>
                        <a:pt x="790965" y="296940"/>
                        <a:pt x="789835" y="295927"/>
                      </a:cubicBezTo>
                      <a:cubicBezTo>
                        <a:pt x="774013" y="287820"/>
                        <a:pt x="770623" y="299980"/>
                        <a:pt x="762712" y="303020"/>
                      </a:cubicBezTo>
                      <a:cubicBezTo>
                        <a:pt x="759322" y="304034"/>
                        <a:pt x="757061" y="302007"/>
                        <a:pt x="754801" y="303020"/>
                      </a:cubicBezTo>
                      <a:cubicBezTo>
                        <a:pt x="751411" y="298967"/>
                        <a:pt x="754801" y="296940"/>
                        <a:pt x="752541" y="292887"/>
                      </a:cubicBezTo>
                      <a:cubicBezTo>
                        <a:pt x="748020" y="286806"/>
                        <a:pt x="733329" y="283766"/>
                        <a:pt x="725418" y="280726"/>
                      </a:cubicBezTo>
                      <a:cubicBezTo>
                        <a:pt x="724288" y="283766"/>
                        <a:pt x="720897" y="284780"/>
                        <a:pt x="719767" y="285793"/>
                      </a:cubicBezTo>
                      <a:cubicBezTo>
                        <a:pt x="717507" y="289847"/>
                        <a:pt x="720897" y="295927"/>
                        <a:pt x="719767" y="299980"/>
                      </a:cubicBezTo>
                      <a:lnTo>
                        <a:pt x="708466" y="302007"/>
                      </a:lnTo>
                      <a:cubicBezTo>
                        <a:pt x="706206" y="297953"/>
                        <a:pt x="698295" y="281740"/>
                        <a:pt x="694905" y="279713"/>
                      </a:cubicBezTo>
                      <a:cubicBezTo>
                        <a:pt x="689254" y="277686"/>
                        <a:pt x="681343" y="280726"/>
                        <a:pt x="675692" y="279713"/>
                      </a:cubicBezTo>
                      <a:cubicBezTo>
                        <a:pt x="668912" y="282753"/>
                        <a:pt x="661001" y="277686"/>
                        <a:pt x="655350" y="276673"/>
                      </a:cubicBezTo>
                      <a:close/>
                      <a:moveTo>
                        <a:pt x="502784" y="300993"/>
                      </a:moveTo>
                      <a:cubicBezTo>
                        <a:pt x="502784" y="300993"/>
                        <a:pt x="496003" y="308087"/>
                        <a:pt x="494873" y="308087"/>
                      </a:cubicBezTo>
                      <a:cubicBezTo>
                        <a:pt x="490353" y="309100"/>
                        <a:pt x="485832" y="306060"/>
                        <a:pt x="481312" y="308087"/>
                      </a:cubicBezTo>
                      <a:cubicBezTo>
                        <a:pt x="480182" y="308087"/>
                        <a:pt x="477922" y="314167"/>
                        <a:pt x="475661" y="315180"/>
                      </a:cubicBezTo>
                      <a:cubicBezTo>
                        <a:pt x="463230" y="322274"/>
                        <a:pt x="464360" y="320247"/>
                        <a:pt x="456449" y="332407"/>
                      </a:cubicBezTo>
                      <a:cubicBezTo>
                        <a:pt x="470011" y="336461"/>
                        <a:pt x="489223" y="343554"/>
                        <a:pt x="505044" y="342541"/>
                      </a:cubicBezTo>
                      <a:lnTo>
                        <a:pt x="510695" y="337474"/>
                      </a:lnTo>
                      <a:cubicBezTo>
                        <a:pt x="516346" y="336461"/>
                        <a:pt x="524256" y="337474"/>
                        <a:pt x="529907" y="337474"/>
                      </a:cubicBezTo>
                      <a:cubicBezTo>
                        <a:pt x="531037" y="331394"/>
                        <a:pt x="538948" y="323287"/>
                        <a:pt x="535558" y="313154"/>
                      </a:cubicBezTo>
                      <a:cubicBezTo>
                        <a:pt x="535558" y="312140"/>
                        <a:pt x="531037" y="311127"/>
                        <a:pt x="529907" y="308087"/>
                      </a:cubicBezTo>
                      <a:cubicBezTo>
                        <a:pt x="527647" y="308087"/>
                        <a:pt x="520866" y="309100"/>
                        <a:pt x="518606" y="308087"/>
                      </a:cubicBezTo>
                      <a:cubicBezTo>
                        <a:pt x="514085" y="306060"/>
                        <a:pt x="512955" y="299980"/>
                        <a:pt x="502784" y="300993"/>
                      </a:cubicBezTo>
                      <a:close/>
                      <a:moveTo>
                        <a:pt x="679083" y="363822"/>
                      </a:moveTo>
                      <a:cubicBezTo>
                        <a:pt x="677953" y="367875"/>
                        <a:pt x="677953" y="364835"/>
                        <a:pt x="673432" y="365848"/>
                      </a:cubicBezTo>
                      <a:cubicBezTo>
                        <a:pt x="674563" y="370915"/>
                        <a:pt x="671172" y="378009"/>
                        <a:pt x="673432" y="383075"/>
                      </a:cubicBezTo>
                      <a:cubicBezTo>
                        <a:pt x="674563" y="386115"/>
                        <a:pt x="682473" y="386115"/>
                        <a:pt x="684734" y="388142"/>
                      </a:cubicBezTo>
                      <a:cubicBezTo>
                        <a:pt x="688124" y="392196"/>
                        <a:pt x="688124" y="398276"/>
                        <a:pt x="690384" y="402329"/>
                      </a:cubicBezTo>
                      <a:cubicBezTo>
                        <a:pt x="691514" y="401316"/>
                        <a:pt x="697165" y="395236"/>
                        <a:pt x="698295" y="395236"/>
                      </a:cubicBezTo>
                      <a:cubicBezTo>
                        <a:pt x="697165" y="391182"/>
                        <a:pt x="699425" y="387129"/>
                        <a:pt x="698295" y="383075"/>
                      </a:cubicBezTo>
                      <a:cubicBezTo>
                        <a:pt x="697165" y="381049"/>
                        <a:pt x="690384" y="376995"/>
                        <a:pt x="690384" y="375982"/>
                      </a:cubicBezTo>
                      <a:cubicBezTo>
                        <a:pt x="689254" y="372942"/>
                        <a:pt x="691514" y="370915"/>
                        <a:pt x="690384" y="368888"/>
                      </a:cubicBezTo>
                      <a:cubicBezTo>
                        <a:pt x="688124" y="366862"/>
                        <a:pt x="680213" y="364835"/>
                        <a:pt x="679083" y="363822"/>
                      </a:cubicBezTo>
                      <a:close/>
                      <a:moveTo>
                        <a:pt x="798876" y="363822"/>
                      </a:moveTo>
                      <a:cubicBezTo>
                        <a:pt x="794355" y="366862"/>
                        <a:pt x="793225" y="373955"/>
                        <a:pt x="793225" y="373955"/>
                      </a:cubicBezTo>
                      <a:cubicBezTo>
                        <a:pt x="793225" y="373955"/>
                        <a:pt x="792095" y="379022"/>
                        <a:pt x="795485" y="375982"/>
                      </a:cubicBezTo>
                      <a:cubicBezTo>
                        <a:pt x="795485" y="375982"/>
                        <a:pt x="801136" y="385102"/>
                        <a:pt x="801136" y="386115"/>
                      </a:cubicBezTo>
                      <a:cubicBezTo>
                        <a:pt x="811307" y="383075"/>
                        <a:pt x="831649" y="381049"/>
                        <a:pt x="816957" y="371928"/>
                      </a:cubicBezTo>
                      <a:cubicBezTo>
                        <a:pt x="811307" y="366862"/>
                        <a:pt x="806786" y="366862"/>
                        <a:pt x="798876" y="363822"/>
                      </a:cubicBezTo>
                      <a:close/>
                      <a:moveTo>
                        <a:pt x="863292" y="419556"/>
                      </a:moveTo>
                      <a:lnTo>
                        <a:pt x="861032" y="424623"/>
                      </a:lnTo>
                      <a:cubicBezTo>
                        <a:pt x="855382" y="426650"/>
                        <a:pt x="849731" y="425636"/>
                        <a:pt x="845210" y="426650"/>
                      </a:cubicBezTo>
                      <a:cubicBezTo>
                        <a:pt x="848601" y="428676"/>
                        <a:pt x="842950" y="431716"/>
                        <a:pt x="842950" y="431716"/>
                      </a:cubicBezTo>
                      <a:lnTo>
                        <a:pt x="845210" y="438810"/>
                      </a:lnTo>
                      <a:cubicBezTo>
                        <a:pt x="855382" y="439823"/>
                        <a:pt x="863292" y="442863"/>
                        <a:pt x="870073" y="443877"/>
                      </a:cubicBezTo>
                      <a:cubicBezTo>
                        <a:pt x="865553" y="444890"/>
                        <a:pt x="868943" y="444890"/>
                        <a:pt x="867813" y="448944"/>
                      </a:cubicBezTo>
                      <a:cubicBezTo>
                        <a:pt x="857642" y="449957"/>
                        <a:pt x="848601" y="450970"/>
                        <a:pt x="840690" y="450970"/>
                      </a:cubicBezTo>
                      <a:cubicBezTo>
                        <a:pt x="841820" y="452997"/>
                        <a:pt x="839560" y="456037"/>
                        <a:pt x="840690" y="458064"/>
                      </a:cubicBezTo>
                      <a:cubicBezTo>
                        <a:pt x="842950" y="463131"/>
                        <a:pt x="854251" y="465157"/>
                        <a:pt x="859902" y="468197"/>
                      </a:cubicBezTo>
                      <a:cubicBezTo>
                        <a:pt x="859902" y="473264"/>
                        <a:pt x="858772" y="480358"/>
                        <a:pt x="857642" y="487451"/>
                      </a:cubicBezTo>
                      <a:cubicBezTo>
                        <a:pt x="871203" y="486438"/>
                        <a:pt x="864423" y="498598"/>
                        <a:pt x="859902" y="499611"/>
                      </a:cubicBezTo>
                      <a:cubicBezTo>
                        <a:pt x="858772" y="499611"/>
                        <a:pt x="850861" y="496571"/>
                        <a:pt x="846341" y="497585"/>
                      </a:cubicBezTo>
                      <a:cubicBezTo>
                        <a:pt x="847471" y="494545"/>
                        <a:pt x="851991" y="487451"/>
                        <a:pt x="848601" y="483398"/>
                      </a:cubicBezTo>
                      <a:cubicBezTo>
                        <a:pt x="848601" y="483398"/>
                        <a:pt x="824868" y="470224"/>
                        <a:pt x="821478" y="466171"/>
                      </a:cubicBezTo>
                      <a:cubicBezTo>
                        <a:pt x="820348" y="464144"/>
                        <a:pt x="816957" y="449957"/>
                        <a:pt x="815827" y="448944"/>
                      </a:cubicBezTo>
                      <a:cubicBezTo>
                        <a:pt x="797746" y="434757"/>
                        <a:pt x="796615" y="450970"/>
                        <a:pt x="794355" y="450970"/>
                      </a:cubicBezTo>
                      <a:cubicBezTo>
                        <a:pt x="792095" y="446917"/>
                        <a:pt x="792095" y="458064"/>
                        <a:pt x="792095" y="458064"/>
                      </a:cubicBezTo>
                      <a:cubicBezTo>
                        <a:pt x="794355" y="458064"/>
                        <a:pt x="797746" y="458064"/>
                        <a:pt x="800006" y="458064"/>
                      </a:cubicBezTo>
                      <a:cubicBezTo>
                        <a:pt x="795485" y="473264"/>
                        <a:pt x="796615" y="472251"/>
                        <a:pt x="802266" y="484411"/>
                      </a:cubicBezTo>
                      <a:cubicBezTo>
                        <a:pt x="803396" y="484411"/>
                        <a:pt x="810177" y="483398"/>
                        <a:pt x="810177" y="484411"/>
                      </a:cubicBezTo>
                      <a:cubicBezTo>
                        <a:pt x="810177" y="484411"/>
                        <a:pt x="815827" y="500625"/>
                        <a:pt x="815827" y="501638"/>
                      </a:cubicBezTo>
                      <a:cubicBezTo>
                        <a:pt x="812437" y="500625"/>
                        <a:pt x="811307" y="505692"/>
                        <a:pt x="804526" y="503665"/>
                      </a:cubicBezTo>
                      <a:cubicBezTo>
                        <a:pt x="804526" y="503665"/>
                        <a:pt x="802266" y="499611"/>
                        <a:pt x="802266" y="498598"/>
                      </a:cubicBezTo>
                      <a:cubicBezTo>
                        <a:pt x="789835" y="499611"/>
                        <a:pt x="787575" y="501638"/>
                        <a:pt x="775143" y="503665"/>
                      </a:cubicBezTo>
                      <a:cubicBezTo>
                        <a:pt x="780794" y="506705"/>
                        <a:pt x="770623" y="504678"/>
                        <a:pt x="783054" y="508732"/>
                      </a:cubicBezTo>
                      <a:lnTo>
                        <a:pt x="780794" y="515825"/>
                      </a:lnTo>
                      <a:cubicBezTo>
                        <a:pt x="778533" y="515825"/>
                        <a:pt x="771753" y="514812"/>
                        <a:pt x="769493" y="515825"/>
                      </a:cubicBezTo>
                      <a:cubicBezTo>
                        <a:pt x="769493" y="517852"/>
                        <a:pt x="770623" y="526972"/>
                        <a:pt x="769493" y="527985"/>
                      </a:cubicBezTo>
                      <a:cubicBezTo>
                        <a:pt x="777403" y="528999"/>
                        <a:pt x="772883" y="533052"/>
                        <a:pt x="783054" y="533052"/>
                      </a:cubicBezTo>
                      <a:cubicBezTo>
                        <a:pt x="792095" y="532039"/>
                        <a:pt x="803396" y="520892"/>
                        <a:pt x="810177" y="518865"/>
                      </a:cubicBezTo>
                      <a:cubicBezTo>
                        <a:pt x="823738" y="514812"/>
                        <a:pt x="830519" y="520892"/>
                        <a:pt x="845210" y="518865"/>
                      </a:cubicBezTo>
                      <a:cubicBezTo>
                        <a:pt x="849731" y="517852"/>
                        <a:pt x="858772" y="513798"/>
                        <a:pt x="864423" y="511772"/>
                      </a:cubicBezTo>
                      <a:cubicBezTo>
                        <a:pt x="864423" y="511772"/>
                        <a:pt x="864423" y="518865"/>
                        <a:pt x="864423" y="518865"/>
                      </a:cubicBezTo>
                      <a:lnTo>
                        <a:pt x="858772" y="518865"/>
                      </a:lnTo>
                      <a:cubicBezTo>
                        <a:pt x="857642" y="519879"/>
                        <a:pt x="854251" y="524945"/>
                        <a:pt x="853121" y="525959"/>
                      </a:cubicBezTo>
                      <a:cubicBezTo>
                        <a:pt x="848601" y="528999"/>
                        <a:pt x="842950" y="531025"/>
                        <a:pt x="837300" y="533052"/>
                      </a:cubicBezTo>
                      <a:cubicBezTo>
                        <a:pt x="836170" y="561426"/>
                        <a:pt x="846341" y="554333"/>
                        <a:pt x="875724" y="552306"/>
                      </a:cubicBezTo>
                      <a:cubicBezTo>
                        <a:pt x="880244" y="552306"/>
                        <a:pt x="892675" y="554333"/>
                        <a:pt x="891545" y="554333"/>
                      </a:cubicBezTo>
                      <a:cubicBezTo>
                        <a:pt x="913018" y="550279"/>
                        <a:pt x="925449" y="552306"/>
                        <a:pt x="951442" y="552306"/>
                      </a:cubicBezTo>
                      <a:cubicBezTo>
                        <a:pt x="952572" y="549266"/>
                        <a:pt x="954832" y="549266"/>
                        <a:pt x="957092" y="547239"/>
                      </a:cubicBezTo>
                      <a:cubicBezTo>
                        <a:pt x="955962" y="545212"/>
                        <a:pt x="954832" y="540146"/>
                        <a:pt x="954832" y="540146"/>
                      </a:cubicBezTo>
                      <a:lnTo>
                        <a:pt x="952572" y="538119"/>
                      </a:lnTo>
                      <a:cubicBezTo>
                        <a:pt x="954832" y="537106"/>
                        <a:pt x="959352" y="538119"/>
                        <a:pt x="960483" y="538119"/>
                      </a:cubicBezTo>
                      <a:cubicBezTo>
                        <a:pt x="959352" y="536092"/>
                        <a:pt x="963873" y="533052"/>
                        <a:pt x="960483" y="527985"/>
                      </a:cubicBezTo>
                      <a:cubicBezTo>
                        <a:pt x="959352" y="525959"/>
                        <a:pt x="950312" y="525959"/>
                        <a:pt x="949181" y="522919"/>
                      </a:cubicBezTo>
                      <a:cubicBezTo>
                        <a:pt x="948051" y="519879"/>
                        <a:pt x="950312" y="513798"/>
                        <a:pt x="949181" y="510758"/>
                      </a:cubicBezTo>
                      <a:cubicBezTo>
                        <a:pt x="958222" y="515825"/>
                        <a:pt x="951442" y="500625"/>
                        <a:pt x="951442" y="500625"/>
                      </a:cubicBezTo>
                      <a:cubicBezTo>
                        <a:pt x="944661" y="499611"/>
                        <a:pt x="942401" y="499611"/>
                        <a:pt x="937880" y="498598"/>
                      </a:cubicBezTo>
                      <a:cubicBezTo>
                        <a:pt x="937880" y="492518"/>
                        <a:pt x="942401" y="487451"/>
                        <a:pt x="940141" y="479344"/>
                      </a:cubicBezTo>
                      <a:lnTo>
                        <a:pt x="934490" y="472251"/>
                      </a:lnTo>
                      <a:cubicBezTo>
                        <a:pt x="933360" y="468197"/>
                        <a:pt x="931099" y="451984"/>
                        <a:pt x="934490" y="449957"/>
                      </a:cubicBezTo>
                      <a:cubicBezTo>
                        <a:pt x="925449" y="447930"/>
                        <a:pt x="916408" y="442863"/>
                        <a:pt x="909627" y="439823"/>
                      </a:cubicBezTo>
                      <a:cubicBezTo>
                        <a:pt x="910757" y="438810"/>
                        <a:pt x="916408" y="437797"/>
                        <a:pt x="915278" y="434757"/>
                      </a:cubicBezTo>
                      <a:cubicBezTo>
                        <a:pt x="910757" y="428676"/>
                        <a:pt x="899456" y="426650"/>
                        <a:pt x="893806" y="422596"/>
                      </a:cubicBezTo>
                      <a:cubicBezTo>
                        <a:pt x="892675" y="427663"/>
                        <a:pt x="890415" y="433743"/>
                        <a:pt x="888155" y="439823"/>
                      </a:cubicBezTo>
                      <a:cubicBezTo>
                        <a:pt x="892675" y="439823"/>
                        <a:pt x="890415" y="442863"/>
                        <a:pt x="893806" y="444890"/>
                      </a:cubicBezTo>
                      <a:cubicBezTo>
                        <a:pt x="899456" y="448944"/>
                        <a:pt x="881374" y="447930"/>
                        <a:pt x="874594" y="449957"/>
                      </a:cubicBezTo>
                      <a:cubicBezTo>
                        <a:pt x="873463" y="446917"/>
                        <a:pt x="874594" y="442863"/>
                        <a:pt x="872333" y="442863"/>
                      </a:cubicBezTo>
                      <a:cubicBezTo>
                        <a:pt x="872333" y="444890"/>
                        <a:pt x="877984" y="437797"/>
                        <a:pt x="877984" y="437797"/>
                      </a:cubicBezTo>
                      <a:cubicBezTo>
                        <a:pt x="874594" y="433743"/>
                        <a:pt x="866683" y="425636"/>
                        <a:pt x="863292" y="419556"/>
                      </a:cubicBezTo>
                      <a:close/>
                      <a:moveTo>
                        <a:pt x="714117" y="424623"/>
                      </a:moveTo>
                      <a:cubicBezTo>
                        <a:pt x="710726" y="432730"/>
                        <a:pt x="707336" y="441850"/>
                        <a:pt x="702816" y="448944"/>
                      </a:cubicBezTo>
                      <a:cubicBezTo>
                        <a:pt x="734459" y="441850"/>
                        <a:pt x="762712" y="437797"/>
                        <a:pt x="714117" y="424623"/>
                      </a:cubicBezTo>
                      <a:close/>
                      <a:moveTo>
                        <a:pt x="754801" y="443877"/>
                      </a:moveTo>
                      <a:cubicBezTo>
                        <a:pt x="748020" y="442863"/>
                        <a:pt x="723158" y="450970"/>
                        <a:pt x="716377" y="454010"/>
                      </a:cubicBezTo>
                      <a:cubicBezTo>
                        <a:pt x="711856" y="456037"/>
                        <a:pt x="711856" y="459077"/>
                        <a:pt x="708466" y="461104"/>
                      </a:cubicBezTo>
                      <a:cubicBezTo>
                        <a:pt x="701685" y="457050"/>
                        <a:pt x="699425" y="468197"/>
                        <a:pt x="710726" y="473264"/>
                      </a:cubicBezTo>
                      <a:lnTo>
                        <a:pt x="710726" y="475291"/>
                      </a:lnTo>
                      <a:cubicBezTo>
                        <a:pt x="726548" y="473264"/>
                        <a:pt x="733329" y="473264"/>
                        <a:pt x="749150" y="470224"/>
                      </a:cubicBezTo>
                      <a:cubicBezTo>
                        <a:pt x="749150" y="470224"/>
                        <a:pt x="742370" y="475291"/>
                        <a:pt x="743500" y="475291"/>
                      </a:cubicBezTo>
                      <a:cubicBezTo>
                        <a:pt x="732198" y="478331"/>
                        <a:pt x="724288" y="481371"/>
                        <a:pt x="716377" y="485424"/>
                      </a:cubicBezTo>
                      <a:lnTo>
                        <a:pt x="714117" y="492518"/>
                      </a:lnTo>
                      <a:cubicBezTo>
                        <a:pt x="732198" y="487451"/>
                        <a:pt x="761582" y="489478"/>
                        <a:pt x="749150" y="490491"/>
                      </a:cubicBezTo>
                      <a:cubicBezTo>
                        <a:pt x="746890" y="490491"/>
                        <a:pt x="740109" y="493531"/>
                        <a:pt x="737849" y="495558"/>
                      </a:cubicBezTo>
                      <a:cubicBezTo>
                        <a:pt x="735589" y="497585"/>
                        <a:pt x="734459" y="503665"/>
                        <a:pt x="732198" y="505692"/>
                      </a:cubicBezTo>
                      <a:cubicBezTo>
                        <a:pt x="729938" y="506705"/>
                        <a:pt x="722027" y="506705"/>
                        <a:pt x="720897" y="507718"/>
                      </a:cubicBezTo>
                      <a:cubicBezTo>
                        <a:pt x="719767" y="508732"/>
                        <a:pt x="722027" y="513798"/>
                        <a:pt x="720897" y="514812"/>
                      </a:cubicBezTo>
                      <a:cubicBezTo>
                        <a:pt x="731069" y="513798"/>
                        <a:pt x="742370" y="515825"/>
                        <a:pt x="753671" y="512785"/>
                      </a:cubicBezTo>
                      <a:cubicBezTo>
                        <a:pt x="760451" y="510758"/>
                        <a:pt x="759322" y="503665"/>
                        <a:pt x="764972" y="500625"/>
                      </a:cubicBezTo>
                      <a:cubicBezTo>
                        <a:pt x="770623" y="497585"/>
                        <a:pt x="778533" y="495558"/>
                        <a:pt x="784184" y="493531"/>
                      </a:cubicBezTo>
                      <a:cubicBezTo>
                        <a:pt x="783054" y="492518"/>
                        <a:pt x="785314" y="484411"/>
                        <a:pt x="778533" y="488464"/>
                      </a:cubicBezTo>
                      <a:lnTo>
                        <a:pt x="778533" y="483398"/>
                      </a:lnTo>
                      <a:lnTo>
                        <a:pt x="784184" y="478331"/>
                      </a:lnTo>
                      <a:cubicBezTo>
                        <a:pt x="778533" y="474277"/>
                        <a:pt x="793225" y="467184"/>
                        <a:pt x="772883" y="466171"/>
                      </a:cubicBezTo>
                      <a:cubicBezTo>
                        <a:pt x="764972" y="466171"/>
                        <a:pt x="763842" y="468197"/>
                        <a:pt x="757061" y="468197"/>
                      </a:cubicBezTo>
                      <a:cubicBezTo>
                        <a:pt x="763842" y="461104"/>
                        <a:pt x="778533" y="445903"/>
                        <a:pt x="754801" y="443877"/>
                      </a:cubicBezTo>
                      <a:close/>
                      <a:moveTo>
                        <a:pt x="155838" y="448944"/>
                      </a:moveTo>
                      <a:cubicBezTo>
                        <a:pt x="159228" y="450970"/>
                        <a:pt x="153577" y="454010"/>
                        <a:pt x="153577" y="454010"/>
                      </a:cubicBezTo>
                      <a:cubicBezTo>
                        <a:pt x="153577" y="451984"/>
                        <a:pt x="151317" y="446917"/>
                        <a:pt x="155838" y="448944"/>
                      </a:cubicBezTo>
                      <a:close/>
                      <a:moveTo>
                        <a:pt x="587543" y="487451"/>
                      </a:moveTo>
                      <a:cubicBezTo>
                        <a:pt x="587543" y="487451"/>
                        <a:pt x="587543" y="494545"/>
                        <a:pt x="587543" y="494545"/>
                      </a:cubicBezTo>
                      <a:cubicBezTo>
                        <a:pt x="578502" y="497585"/>
                        <a:pt x="581893" y="488464"/>
                        <a:pt x="587543" y="487451"/>
                      </a:cubicBezTo>
                      <a:close/>
                      <a:moveTo>
                        <a:pt x="1748176" y="155070"/>
                      </a:moveTo>
                      <a:cubicBezTo>
                        <a:pt x="1758347" y="154057"/>
                        <a:pt x="1756087" y="159123"/>
                        <a:pt x="1750436" y="160137"/>
                      </a:cubicBezTo>
                      <a:cubicBezTo>
                        <a:pt x="1728964" y="163177"/>
                        <a:pt x="1727834" y="157097"/>
                        <a:pt x="1748176" y="155070"/>
                      </a:cubicBezTo>
                      <a:close/>
                      <a:moveTo>
                        <a:pt x="872333" y="217898"/>
                      </a:moveTo>
                      <a:cubicBezTo>
                        <a:pt x="874594" y="229045"/>
                        <a:pt x="875724" y="238165"/>
                        <a:pt x="877984" y="247286"/>
                      </a:cubicBezTo>
                      <a:cubicBezTo>
                        <a:pt x="880244" y="246272"/>
                        <a:pt x="889285" y="245259"/>
                        <a:pt x="889285" y="245259"/>
                      </a:cubicBezTo>
                      <a:cubicBezTo>
                        <a:pt x="891545" y="246272"/>
                        <a:pt x="891545" y="256406"/>
                        <a:pt x="894936" y="257419"/>
                      </a:cubicBezTo>
                      <a:cubicBezTo>
                        <a:pt x="897196" y="258432"/>
                        <a:pt x="901716" y="256406"/>
                        <a:pt x="902846" y="257419"/>
                      </a:cubicBezTo>
                      <a:cubicBezTo>
                        <a:pt x="900586" y="250326"/>
                        <a:pt x="902846" y="246272"/>
                        <a:pt x="900586" y="240192"/>
                      </a:cubicBezTo>
                      <a:cubicBezTo>
                        <a:pt x="898326" y="237152"/>
                        <a:pt x="888155" y="234112"/>
                        <a:pt x="887025" y="230058"/>
                      </a:cubicBezTo>
                      <a:cubicBezTo>
                        <a:pt x="885895" y="226005"/>
                        <a:pt x="888155" y="221952"/>
                        <a:pt x="887025" y="217898"/>
                      </a:cubicBezTo>
                      <a:cubicBezTo>
                        <a:pt x="882504" y="217898"/>
                        <a:pt x="874594" y="218912"/>
                        <a:pt x="872333" y="217898"/>
                      </a:cubicBezTo>
                      <a:close/>
                      <a:moveTo>
                        <a:pt x="926579" y="297953"/>
                      </a:moveTo>
                      <a:cubicBezTo>
                        <a:pt x="909627" y="330381"/>
                        <a:pt x="915278" y="344568"/>
                        <a:pt x="955962" y="344568"/>
                      </a:cubicBezTo>
                      <a:cubicBezTo>
                        <a:pt x="955962" y="344568"/>
                        <a:pt x="960483" y="351661"/>
                        <a:pt x="961613" y="351661"/>
                      </a:cubicBezTo>
                      <a:cubicBezTo>
                        <a:pt x="958222" y="352675"/>
                        <a:pt x="951442" y="350648"/>
                        <a:pt x="948051" y="351661"/>
                      </a:cubicBezTo>
                      <a:cubicBezTo>
                        <a:pt x="946921" y="351661"/>
                        <a:pt x="942401" y="360781"/>
                        <a:pt x="948051" y="358755"/>
                      </a:cubicBezTo>
                      <a:cubicBezTo>
                        <a:pt x="950312" y="361795"/>
                        <a:pt x="953702" y="365848"/>
                        <a:pt x="955962" y="368888"/>
                      </a:cubicBezTo>
                      <a:cubicBezTo>
                        <a:pt x="959352" y="371928"/>
                        <a:pt x="970654" y="374968"/>
                        <a:pt x="971784" y="379022"/>
                      </a:cubicBezTo>
                      <a:cubicBezTo>
                        <a:pt x="972914" y="381049"/>
                        <a:pt x="969523" y="382062"/>
                        <a:pt x="971784" y="386115"/>
                      </a:cubicBezTo>
                      <a:cubicBezTo>
                        <a:pt x="975174" y="385102"/>
                        <a:pt x="981955" y="387129"/>
                        <a:pt x="985345" y="386115"/>
                      </a:cubicBezTo>
                      <a:cubicBezTo>
                        <a:pt x="987605" y="385102"/>
                        <a:pt x="988736" y="376995"/>
                        <a:pt x="990996" y="375982"/>
                      </a:cubicBezTo>
                      <a:cubicBezTo>
                        <a:pt x="1000037" y="371928"/>
                        <a:pt x="1030550" y="370915"/>
                        <a:pt x="1037331" y="370915"/>
                      </a:cubicBezTo>
                      <a:cubicBezTo>
                        <a:pt x="1036201" y="367875"/>
                        <a:pt x="1038461" y="363822"/>
                        <a:pt x="1037331" y="360781"/>
                      </a:cubicBezTo>
                      <a:cubicBezTo>
                        <a:pt x="1036201" y="358755"/>
                        <a:pt x="1029420" y="354701"/>
                        <a:pt x="1029420" y="353688"/>
                      </a:cubicBezTo>
                      <a:cubicBezTo>
                        <a:pt x="1028290" y="349635"/>
                        <a:pt x="1031680" y="349635"/>
                        <a:pt x="1031680" y="348621"/>
                      </a:cubicBezTo>
                      <a:cubicBezTo>
                        <a:pt x="1030550" y="348621"/>
                        <a:pt x="1026029" y="336461"/>
                        <a:pt x="1026029" y="336461"/>
                      </a:cubicBezTo>
                      <a:cubicBezTo>
                        <a:pt x="1024900" y="336461"/>
                        <a:pt x="1019249" y="337474"/>
                        <a:pt x="1018119" y="336461"/>
                      </a:cubicBezTo>
                      <a:cubicBezTo>
                        <a:pt x="1016989" y="336461"/>
                        <a:pt x="1010208" y="329367"/>
                        <a:pt x="1010208" y="329367"/>
                      </a:cubicBezTo>
                      <a:cubicBezTo>
                        <a:pt x="1003427" y="328354"/>
                        <a:pt x="1001167" y="333421"/>
                        <a:pt x="996647" y="331394"/>
                      </a:cubicBezTo>
                      <a:lnTo>
                        <a:pt x="996647" y="329367"/>
                      </a:lnTo>
                      <a:cubicBezTo>
                        <a:pt x="996647" y="326327"/>
                        <a:pt x="989866" y="323287"/>
                        <a:pt x="988736" y="322274"/>
                      </a:cubicBezTo>
                      <a:cubicBezTo>
                        <a:pt x="976304" y="316194"/>
                        <a:pt x="963873" y="317207"/>
                        <a:pt x="950312" y="312140"/>
                      </a:cubicBezTo>
                      <a:cubicBezTo>
                        <a:pt x="942401" y="310114"/>
                        <a:pt x="933360" y="303020"/>
                        <a:pt x="926579" y="297953"/>
                      </a:cubicBezTo>
                      <a:close/>
                      <a:moveTo>
                        <a:pt x="1469037" y="351661"/>
                      </a:moveTo>
                      <a:cubicBezTo>
                        <a:pt x="1474687" y="349635"/>
                        <a:pt x="1469037" y="359768"/>
                        <a:pt x="1469037" y="361795"/>
                      </a:cubicBezTo>
                      <a:cubicBezTo>
                        <a:pt x="1462256" y="361795"/>
                        <a:pt x="1465646" y="352675"/>
                        <a:pt x="1469037" y="351661"/>
                      </a:cubicBezTo>
                      <a:close/>
                      <a:moveTo>
                        <a:pt x="1192157" y="361795"/>
                      </a:moveTo>
                      <a:cubicBezTo>
                        <a:pt x="1189897" y="363822"/>
                        <a:pt x="1193287" y="366862"/>
                        <a:pt x="1192157" y="368888"/>
                      </a:cubicBezTo>
                      <a:cubicBezTo>
                        <a:pt x="1191027" y="370915"/>
                        <a:pt x="1183116" y="373955"/>
                        <a:pt x="1180856" y="375982"/>
                      </a:cubicBezTo>
                      <a:cubicBezTo>
                        <a:pt x="1179726" y="378009"/>
                        <a:pt x="1179726" y="385102"/>
                        <a:pt x="1180856" y="383075"/>
                      </a:cubicBezTo>
                      <a:cubicBezTo>
                        <a:pt x="1184246" y="392196"/>
                        <a:pt x="1181986" y="397262"/>
                        <a:pt x="1183116" y="402329"/>
                      </a:cubicBezTo>
                      <a:cubicBezTo>
                        <a:pt x="1188767" y="401316"/>
                        <a:pt x="1186507" y="398276"/>
                        <a:pt x="1188767" y="397262"/>
                      </a:cubicBezTo>
                      <a:cubicBezTo>
                        <a:pt x="1193287" y="396249"/>
                        <a:pt x="1200068" y="397262"/>
                        <a:pt x="1204589" y="397262"/>
                      </a:cubicBezTo>
                      <a:cubicBezTo>
                        <a:pt x="1207979" y="389156"/>
                        <a:pt x="1210239" y="382062"/>
                        <a:pt x="1212499" y="370915"/>
                      </a:cubicBezTo>
                      <a:cubicBezTo>
                        <a:pt x="1206849" y="367875"/>
                        <a:pt x="1200068" y="364835"/>
                        <a:pt x="1192157" y="361795"/>
                      </a:cubicBezTo>
                      <a:close/>
                      <a:moveTo>
                        <a:pt x="1066714" y="370915"/>
                      </a:moveTo>
                      <a:lnTo>
                        <a:pt x="1064454" y="375982"/>
                      </a:lnTo>
                      <a:cubicBezTo>
                        <a:pt x="1056543" y="379022"/>
                        <a:pt x="1047502" y="379022"/>
                        <a:pt x="1039591" y="381049"/>
                      </a:cubicBezTo>
                      <a:lnTo>
                        <a:pt x="1039591" y="383075"/>
                      </a:lnTo>
                      <a:cubicBezTo>
                        <a:pt x="1029420" y="385102"/>
                        <a:pt x="1016989" y="383075"/>
                        <a:pt x="1006818" y="383075"/>
                      </a:cubicBezTo>
                      <a:cubicBezTo>
                        <a:pt x="1010208" y="381049"/>
                        <a:pt x="995516" y="389156"/>
                        <a:pt x="993256" y="390169"/>
                      </a:cubicBezTo>
                      <a:cubicBezTo>
                        <a:pt x="994386" y="391182"/>
                        <a:pt x="996647" y="393209"/>
                        <a:pt x="995516" y="395236"/>
                      </a:cubicBezTo>
                      <a:cubicBezTo>
                        <a:pt x="1035071" y="392196"/>
                        <a:pt x="1076885" y="414489"/>
                        <a:pt x="1106268" y="395236"/>
                      </a:cubicBezTo>
                      <a:cubicBezTo>
                        <a:pt x="1108528" y="393209"/>
                        <a:pt x="1108528" y="393209"/>
                        <a:pt x="1114179" y="393209"/>
                      </a:cubicBezTo>
                      <a:lnTo>
                        <a:pt x="1116439" y="381049"/>
                      </a:lnTo>
                      <a:cubicBezTo>
                        <a:pt x="1134521" y="380035"/>
                        <a:pt x="1100617" y="375982"/>
                        <a:pt x="1100617" y="375982"/>
                      </a:cubicBezTo>
                      <a:lnTo>
                        <a:pt x="1100617" y="370915"/>
                      </a:lnTo>
                      <a:cubicBezTo>
                        <a:pt x="1091577" y="370915"/>
                        <a:pt x="1089316" y="378009"/>
                        <a:pt x="1075755" y="375982"/>
                      </a:cubicBezTo>
                      <a:cubicBezTo>
                        <a:pt x="1074625" y="374968"/>
                        <a:pt x="1073495" y="370915"/>
                        <a:pt x="1066714" y="370915"/>
                      </a:cubicBezTo>
                      <a:close/>
                      <a:moveTo>
                        <a:pt x="1523282" y="383075"/>
                      </a:moveTo>
                      <a:cubicBezTo>
                        <a:pt x="1527803" y="383075"/>
                        <a:pt x="1526673" y="386115"/>
                        <a:pt x="1528933" y="388142"/>
                      </a:cubicBezTo>
                      <a:cubicBezTo>
                        <a:pt x="1531193" y="390169"/>
                        <a:pt x="1532323" y="391182"/>
                        <a:pt x="1534583" y="393209"/>
                      </a:cubicBezTo>
                      <a:cubicBezTo>
                        <a:pt x="1522152" y="392196"/>
                        <a:pt x="1513111" y="393209"/>
                        <a:pt x="1505200" y="393209"/>
                      </a:cubicBezTo>
                      <a:cubicBezTo>
                        <a:pt x="1506330" y="393209"/>
                        <a:pt x="1502940" y="389156"/>
                        <a:pt x="1502940" y="388142"/>
                      </a:cubicBezTo>
                      <a:cubicBezTo>
                        <a:pt x="1504070" y="387129"/>
                        <a:pt x="1519892" y="383075"/>
                        <a:pt x="1523282" y="383075"/>
                      </a:cubicBezTo>
                      <a:close/>
                      <a:moveTo>
                        <a:pt x="1002297" y="414489"/>
                      </a:moveTo>
                      <a:cubicBezTo>
                        <a:pt x="998907" y="419556"/>
                        <a:pt x="995516" y="423610"/>
                        <a:pt x="990996" y="428676"/>
                      </a:cubicBezTo>
                      <a:cubicBezTo>
                        <a:pt x="987605" y="426650"/>
                        <a:pt x="986475" y="434757"/>
                        <a:pt x="985345" y="435770"/>
                      </a:cubicBezTo>
                      <a:cubicBezTo>
                        <a:pt x="989866" y="437797"/>
                        <a:pt x="997776" y="439823"/>
                        <a:pt x="1001167" y="442863"/>
                      </a:cubicBezTo>
                      <a:cubicBezTo>
                        <a:pt x="1005687" y="446917"/>
                        <a:pt x="1005687" y="457050"/>
                        <a:pt x="1012468" y="460090"/>
                      </a:cubicBezTo>
                      <a:cubicBezTo>
                        <a:pt x="1021509" y="464144"/>
                        <a:pt x="1030550" y="461104"/>
                        <a:pt x="1041851" y="462117"/>
                      </a:cubicBezTo>
                      <a:cubicBezTo>
                        <a:pt x="1053153" y="464144"/>
                        <a:pt x="1062193" y="473264"/>
                        <a:pt x="1068974" y="474277"/>
                      </a:cubicBezTo>
                      <a:cubicBezTo>
                        <a:pt x="1071234" y="474277"/>
                        <a:pt x="1074625" y="473264"/>
                        <a:pt x="1076885" y="474277"/>
                      </a:cubicBezTo>
                      <a:cubicBezTo>
                        <a:pt x="1083666" y="468197"/>
                        <a:pt x="1076885" y="460090"/>
                        <a:pt x="1092707" y="462117"/>
                      </a:cubicBezTo>
                      <a:lnTo>
                        <a:pt x="1092707" y="471237"/>
                      </a:lnTo>
                      <a:cubicBezTo>
                        <a:pt x="1106268" y="473264"/>
                        <a:pt x="1132261" y="477318"/>
                        <a:pt x="1135651" y="485424"/>
                      </a:cubicBezTo>
                      <a:cubicBezTo>
                        <a:pt x="1136781" y="487451"/>
                        <a:pt x="1133391" y="490491"/>
                        <a:pt x="1135651" y="492518"/>
                      </a:cubicBezTo>
                      <a:cubicBezTo>
                        <a:pt x="1136781" y="494545"/>
                        <a:pt x="1145822" y="495558"/>
                        <a:pt x="1146952" y="497585"/>
                      </a:cubicBezTo>
                      <a:cubicBezTo>
                        <a:pt x="1153733" y="511772"/>
                        <a:pt x="1143562" y="517852"/>
                        <a:pt x="1141302" y="526972"/>
                      </a:cubicBezTo>
                      <a:cubicBezTo>
                        <a:pt x="1140172" y="531025"/>
                        <a:pt x="1143562" y="537106"/>
                        <a:pt x="1143562" y="537106"/>
                      </a:cubicBezTo>
                      <a:cubicBezTo>
                        <a:pt x="1144692" y="545212"/>
                        <a:pt x="1137912" y="547239"/>
                        <a:pt x="1137912" y="549266"/>
                      </a:cubicBezTo>
                      <a:cubicBezTo>
                        <a:pt x="1136781" y="554333"/>
                        <a:pt x="1142432" y="562440"/>
                        <a:pt x="1143562" y="566493"/>
                      </a:cubicBezTo>
                      <a:cubicBezTo>
                        <a:pt x="1144692" y="568520"/>
                        <a:pt x="1143562" y="574600"/>
                        <a:pt x="1143562" y="573586"/>
                      </a:cubicBezTo>
                      <a:cubicBezTo>
                        <a:pt x="1143562" y="575613"/>
                        <a:pt x="1145822" y="587773"/>
                        <a:pt x="1145822" y="587773"/>
                      </a:cubicBezTo>
                      <a:cubicBezTo>
                        <a:pt x="1152603" y="585747"/>
                        <a:pt x="1157123" y="588787"/>
                        <a:pt x="1161644" y="585747"/>
                      </a:cubicBezTo>
                      <a:lnTo>
                        <a:pt x="1163904" y="578653"/>
                      </a:lnTo>
                      <a:cubicBezTo>
                        <a:pt x="1180856" y="575613"/>
                        <a:pt x="1176336" y="585747"/>
                        <a:pt x="1177466" y="585747"/>
                      </a:cubicBezTo>
                      <a:lnTo>
                        <a:pt x="1177466" y="587773"/>
                      </a:lnTo>
                      <a:cubicBezTo>
                        <a:pt x="1177466" y="587773"/>
                        <a:pt x="1224931" y="578653"/>
                        <a:pt x="1226061" y="577640"/>
                      </a:cubicBezTo>
                      <a:cubicBezTo>
                        <a:pt x="1229451" y="575613"/>
                        <a:pt x="1226061" y="568520"/>
                        <a:pt x="1228321" y="565480"/>
                      </a:cubicBezTo>
                      <a:lnTo>
                        <a:pt x="1241882" y="558386"/>
                      </a:lnTo>
                      <a:cubicBezTo>
                        <a:pt x="1243013" y="565480"/>
                        <a:pt x="1248663" y="576627"/>
                        <a:pt x="1249793" y="582707"/>
                      </a:cubicBezTo>
                      <a:cubicBezTo>
                        <a:pt x="1257704" y="582707"/>
                        <a:pt x="1259964" y="586760"/>
                        <a:pt x="1269005" y="584733"/>
                      </a:cubicBezTo>
                      <a:cubicBezTo>
                        <a:pt x="1270135" y="584733"/>
                        <a:pt x="1281437" y="577640"/>
                        <a:pt x="1284827" y="577640"/>
                      </a:cubicBezTo>
                      <a:cubicBezTo>
                        <a:pt x="1284827" y="577640"/>
                        <a:pt x="1294998" y="584733"/>
                        <a:pt x="1304039" y="582707"/>
                      </a:cubicBezTo>
                      <a:lnTo>
                        <a:pt x="1306299" y="572573"/>
                      </a:lnTo>
                      <a:cubicBezTo>
                        <a:pt x="1313080" y="571560"/>
                        <a:pt x="1315340" y="571560"/>
                        <a:pt x="1319861" y="570546"/>
                      </a:cubicBezTo>
                      <a:cubicBezTo>
                        <a:pt x="1323251" y="573586"/>
                        <a:pt x="1320991" y="576627"/>
                        <a:pt x="1322121" y="582707"/>
                      </a:cubicBezTo>
                      <a:cubicBezTo>
                        <a:pt x="1332292" y="582707"/>
                        <a:pt x="1343593" y="580680"/>
                        <a:pt x="1349244" y="580680"/>
                      </a:cubicBezTo>
                      <a:lnTo>
                        <a:pt x="1351504" y="573586"/>
                      </a:lnTo>
                      <a:cubicBezTo>
                        <a:pt x="1356025" y="576627"/>
                        <a:pt x="1354894" y="578653"/>
                        <a:pt x="1357155" y="583720"/>
                      </a:cubicBezTo>
                      <a:cubicBezTo>
                        <a:pt x="1361675" y="582707"/>
                        <a:pt x="1363936" y="578653"/>
                        <a:pt x="1365065" y="578653"/>
                      </a:cubicBezTo>
                      <a:cubicBezTo>
                        <a:pt x="1369586" y="577640"/>
                        <a:pt x="1378627" y="581693"/>
                        <a:pt x="1386538" y="580680"/>
                      </a:cubicBezTo>
                      <a:cubicBezTo>
                        <a:pt x="1400099" y="579667"/>
                        <a:pt x="1415921" y="578653"/>
                        <a:pt x="1429482" y="578653"/>
                      </a:cubicBezTo>
                      <a:cubicBezTo>
                        <a:pt x="1430613" y="574600"/>
                        <a:pt x="1430613" y="577640"/>
                        <a:pt x="1435133" y="576627"/>
                      </a:cubicBezTo>
                      <a:cubicBezTo>
                        <a:pt x="1434003" y="571560"/>
                        <a:pt x="1435133" y="564466"/>
                        <a:pt x="1432873" y="562440"/>
                      </a:cubicBezTo>
                      <a:cubicBezTo>
                        <a:pt x="1434003" y="562440"/>
                        <a:pt x="1439653" y="563453"/>
                        <a:pt x="1440784" y="562440"/>
                      </a:cubicBezTo>
                      <a:cubicBezTo>
                        <a:pt x="1441914" y="564466"/>
                        <a:pt x="1443044" y="573586"/>
                        <a:pt x="1443044" y="574600"/>
                      </a:cubicBezTo>
                      <a:cubicBezTo>
                        <a:pt x="1447564" y="575613"/>
                        <a:pt x="1452085" y="579667"/>
                        <a:pt x="1454345" y="579667"/>
                      </a:cubicBezTo>
                      <a:cubicBezTo>
                        <a:pt x="1461126" y="580680"/>
                        <a:pt x="1457735" y="576627"/>
                        <a:pt x="1465646" y="577640"/>
                      </a:cubicBezTo>
                      <a:cubicBezTo>
                        <a:pt x="1466776" y="574600"/>
                        <a:pt x="1463386" y="572573"/>
                        <a:pt x="1467906" y="572573"/>
                      </a:cubicBezTo>
                      <a:cubicBezTo>
                        <a:pt x="1469037" y="572573"/>
                        <a:pt x="1472427" y="579667"/>
                        <a:pt x="1473557" y="579667"/>
                      </a:cubicBezTo>
                      <a:cubicBezTo>
                        <a:pt x="1479208" y="580680"/>
                        <a:pt x="1531193" y="578653"/>
                        <a:pt x="1541364" y="574600"/>
                      </a:cubicBezTo>
                      <a:cubicBezTo>
                        <a:pt x="1542494" y="573586"/>
                        <a:pt x="1543624" y="566493"/>
                        <a:pt x="1543624" y="564466"/>
                      </a:cubicBezTo>
                      <a:cubicBezTo>
                        <a:pt x="1549275" y="579667"/>
                        <a:pt x="1545885" y="558386"/>
                        <a:pt x="1543624" y="552306"/>
                      </a:cubicBezTo>
                      <a:cubicBezTo>
                        <a:pt x="1548145" y="549266"/>
                        <a:pt x="1544755" y="554333"/>
                        <a:pt x="1545885" y="554333"/>
                      </a:cubicBezTo>
                      <a:cubicBezTo>
                        <a:pt x="1551535" y="549266"/>
                        <a:pt x="1559446" y="547239"/>
                        <a:pt x="1565097" y="542172"/>
                      </a:cubicBezTo>
                      <a:cubicBezTo>
                        <a:pt x="1575268" y="533052"/>
                        <a:pt x="1570747" y="527985"/>
                        <a:pt x="1565097" y="517852"/>
                      </a:cubicBezTo>
                      <a:cubicBezTo>
                        <a:pt x="1563966" y="517852"/>
                        <a:pt x="1558316" y="518865"/>
                        <a:pt x="1557186" y="517852"/>
                      </a:cubicBezTo>
                      <a:cubicBezTo>
                        <a:pt x="1547015" y="512785"/>
                        <a:pt x="1533453" y="502651"/>
                        <a:pt x="1518762" y="503665"/>
                      </a:cubicBezTo>
                      <a:cubicBezTo>
                        <a:pt x="1515371" y="503665"/>
                        <a:pt x="1507461" y="509745"/>
                        <a:pt x="1502940" y="508732"/>
                      </a:cubicBezTo>
                      <a:lnTo>
                        <a:pt x="1491639" y="501638"/>
                      </a:lnTo>
                      <a:cubicBezTo>
                        <a:pt x="1491639" y="500625"/>
                        <a:pt x="1491639" y="494545"/>
                        <a:pt x="1491639" y="494545"/>
                      </a:cubicBezTo>
                      <a:cubicBezTo>
                        <a:pt x="1487118" y="492518"/>
                        <a:pt x="1454345" y="490491"/>
                        <a:pt x="1448694" y="492518"/>
                      </a:cubicBezTo>
                      <a:cubicBezTo>
                        <a:pt x="1445304" y="493531"/>
                        <a:pt x="1444174" y="498598"/>
                        <a:pt x="1435133" y="497585"/>
                      </a:cubicBezTo>
                      <a:cubicBezTo>
                        <a:pt x="1429482" y="496571"/>
                        <a:pt x="1427222" y="489478"/>
                        <a:pt x="1410270" y="490491"/>
                      </a:cubicBezTo>
                      <a:lnTo>
                        <a:pt x="1404620" y="495558"/>
                      </a:lnTo>
                      <a:cubicBezTo>
                        <a:pt x="1398969" y="496571"/>
                        <a:pt x="1393318" y="494545"/>
                        <a:pt x="1388798" y="495558"/>
                      </a:cubicBezTo>
                      <a:lnTo>
                        <a:pt x="1386538" y="502651"/>
                      </a:lnTo>
                      <a:cubicBezTo>
                        <a:pt x="1376367" y="503665"/>
                        <a:pt x="1363936" y="498598"/>
                        <a:pt x="1351504" y="502651"/>
                      </a:cubicBezTo>
                      <a:cubicBezTo>
                        <a:pt x="1348114" y="503665"/>
                        <a:pt x="1342463" y="505692"/>
                        <a:pt x="1337943" y="507718"/>
                      </a:cubicBezTo>
                      <a:cubicBezTo>
                        <a:pt x="1337943" y="507718"/>
                        <a:pt x="1337943" y="514812"/>
                        <a:pt x="1337943" y="514812"/>
                      </a:cubicBezTo>
                      <a:cubicBezTo>
                        <a:pt x="1328902" y="516838"/>
                        <a:pt x="1299519" y="507718"/>
                        <a:pt x="1291608" y="504678"/>
                      </a:cubicBezTo>
                      <a:lnTo>
                        <a:pt x="1291608" y="516838"/>
                      </a:lnTo>
                      <a:cubicBezTo>
                        <a:pt x="1285957" y="513798"/>
                        <a:pt x="1280306" y="507718"/>
                        <a:pt x="1272396" y="509745"/>
                      </a:cubicBezTo>
                      <a:cubicBezTo>
                        <a:pt x="1270135" y="509745"/>
                        <a:pt x="1271266" y="515825"/>
                        <a:pt x="1264485" y="514812"/>
                      </a:cubicBezTo>
                      <a:lnTo>
                        <a:pt x="1264485" y="509745"/>
                      </a:lnTo>
                      <a:cubicBezTo>
                        <a:pt x="1250924" y="505692"/>
                        <a:pt x="1241882" y="503665"/>
                        <a:pt x="1229451" y="499611"/>
                      </a:cubicBezTo>
                      <a:cubicBezTo>
                        <a:pt x="1227191" y="502651"/>
                        <a:pt x="1227191" y="505692"/>
                        <a:pt x="1223800" y="506705"/>
                      </a:cubicBezTo>
                      <a:cubicBezTo>
                        <a:pt x="1222671" y="502651"/>
                        <a:pt x="1223800" y="496571"/>
                        <a:pt x="1223800" y="492518"/>
                      </a:cubicBezTo>
                      <a:cubicBezTo>
                        <a:pt x="1212499" y="491505"/>
                        <a:pt x="1206849" y="486438"/>
                        <a:pt x="1194418" y="490491"/>
                      </a:cubicBezTo>
                      <a:cubicBezTo>
                        <a:pt x="1192157" y="491505"/>
                        <a:pt x="1191027" y="496571"/>
                        <a:pt x="1188767" y="497585"/>
                      </a:cubicBezTo>
                      <a:cubicBezTo>
                        <a:pt x="1174075" y="506705"/>
                        <a:pt x="1187637" y="490491"/>
                        <a:pt x="1188767" y="487451"/>
                      </a:cubicBezTo>
                      <a:cubicBezTo>
                        <a:pt x="1186507" y="487451"/>
                        <a:pt x="1179726" y="486438"/>
                        <a:pt x="1175205" y="485424"/>
                      </a:cubicBezTo>
                      <a:lnTo>
                        <a:pt x="1177466" y="478331"/>
                      </a:lnTo>
                      <a:cubicBezTo>
                        <a:pt x="1193287" y="482384"/>
                        <a:pt x="1198938" y="482384"/>
                        <a:pt x="1215890" y="476304"/>
                      </a:cubicBezTo>
                      <a:cubicBezTo>
                        <a:pt x="1215890" y="475291"/>
                        <a:pt x="1214760" y="469211"/>
                        <a:pt x="1215890" y="469211"/>
                      </a:cubicBezTo>
                      <a:cubicBezTo>
                        <a:pt x="1206849" y="466171"/>
                        <a:pt x="1197808" y="465157"/>
                        <a:pt x="1188767" y="462117"/>
                      </a:cubicBezTo>
                      <a:cubicBezTo>
                        <a:pt x="1187637" y="461104"/>
                        <a:pt x="1181986" y="455024"/>
                        <a:pt x="1180856" y="455024"/>
                      </a:cubicBezTo>
                      <a:cubicBezTo>
                        <a:pt x="1172945" y="452997"/>
                        <a:pt x="1167294" y="456037"/>
                        <a:pt x="1161644" y="452997"/>
                      </a:cubicBezTo>
                      <a:cubicBezTo>
                        <a:pt x="1159384" y="450970"/>
                        <a:pt x="1158254" y="442863"/>
                        <a:pt x="1155993" y="440837"/>
                      </a:cubicBezTo>
                      <a:cubicBezTo>
                        <a:pt x="1142432" y="442863"/>
                        <a:pt x="1097227" y="450970"/>
                        <a:pt x="1090446" y="447930"/>
                      </a:cubicBezTo>
                      <a:cubicBezTo>
                        <a:pt x="1089316" y="447930"/>
                        <a:pt x="1090446" y="441850"/>
                        <a:pt x="1090446" y="440837"/>
                      </a:cubicBezTo>
                      <a:cubicBezTo>
                        <a:pt x="1090446" y="440837"/>
                        <a:pt x="1076885" y="428676"/>
                        <a:pt x="1076885" y="428676"/>
                      </a:cubicBezTo>
                      <a:cubicBezTo>
                        <a:pt x="1065584" y="425636"/>
                        <a:pt x="1061063" y="431716"/>
                        <a:pt x="1052022" y="430703"/>
                      </a:cubicBezTo>
                      <a:cubicBezTo>
                        <a:pt x="1047502" y="430703"/>
                        <a:pt x="1030550" y="427663"/>
                        <a:pt x="1024900" y="425636"/>
                      </a:cubicBezTo>
                      <a:cubicBezTo>
                        <a:pt x="1023769" y="425636"/>
                        <a:pt x="1022639" y="420570"/>
                        <a:pt x="1022639" y="420570"/>
                      </a:cubicBezTo>
                      <a:cubicBezTo>
                        <a:pt x="1019249" y="419556"/>
                        <a:pt x="1011338" y="422596"/>
                        <a:pt x="1011338" y="422596"/>
                      </a:cubicBezTo>
                      <a:cubicBezTo>
                        <a:pt x="1016989" y="419556"/>
                        <a:pt x="1007948" y="416516"/>
                        <a:pt x="1002297" y="414489"/>
                      </a:cubicBezTo>
                      <a:close/>
                      <a:moveTo>
                        <a:pt x="1194418" y="424623"/>
                      </a:moveTo>
                      <a:cubicBezTo>
                        <a:pt x="1191027" y="425636"/>
                        <a:pt x="1188767" y="426650"/>
                        <a:pt x="1183116" y="426650"/>
                      </a:cubicBezTo>
                      <a:lnTo>
                        <a:pt x="1180856" y="433743"/>
                      </a:lnTo>
                      <a:cubicBezTo>
                        <a:pt x="1189897" y="444890"/>
                        <a:pt x="1189897" y="443877"/>
                        <a:pt x="1207979" y="447930"/>
                      </a:cubicBezTo>
                      <a:cubicBezTo>
                        <a:pt x="1207979" y="447930"/>
                        <a:pt x="1203458" y="440837"/>
                        <a:pt x="1205719" y="440837"/>
                      </a:cubicBezTo>
                      <a:cubicBezTo>
                        <a:pt x="1205719" y="437797"/>
                        <a:pt x="1203458" y="429690"/>
                        <a:pt x="1203458" y="423610"/>
                      </a:cubicBezTo>
                      <a:cubicBezTo>
                        <a:pt x="1202328" y="424623"/>
                        <a:pt x="1194418" y="424623"/>
                        <a:pt x="1194418" y="424623"/>
                      </a:cubicBezTo>
                      <a:close/>
                      <a:moveTo>
                        <a:pt x="1582048" y="475291"/>
                      </a:moveTo>
                      <a:cubicBezTo>
                        <a:pt x="1579788" y="475291"/>
                        <a:pt x="1573008" y="481371"/>
                        <a:pt x="1570747" y="482384"/>
                      </a:cubicBezTo>
                      <a:cubicBezTo>
                        <a:pt x="1569617" y="483398"/>
                        <a:pt x="1563966" y="482384"/>
                        <a:pt x="1562836" y="482384"/>
                      </a:cubicBezTo>
                      <a:cubicBezTo>
                        <a:pt x="1568487" y="484411"/>
                        <a:pt x="1560576" y="484411"/>
                        <a:pt x="1560576" y="484411"/>
                      </a:cubicBezTo>
                      <a:lnTo>
                        <a:pt x="1562836" y="491505"/>
                      </a:lnTo>
                      <a:cubicBezTo>
                        <a:pt x="1567357" y="490491"/>
                        <a:pt x="1569617" y="487451"/>
                        <a:pt x="1574137" y="489478"/>
                      </a:cubicBezTo>
                      <a:cubicBezTo>
                        <a:pt x="1576398" y="490491"/>
                        <a:pt x="1578658" y="495558"/>
                        <a:pt x="1582048" y="496571"/>
                      </a:cubicBezTo>
                      <a:cubicBezTo>
                        <a:pt x="1583179" y="494545"/>
                        <a:pt x="1580918" y="489478"/>
                        <a:pt x="1582048" y="486438"/>
                      </a:cubicBezTo>
                      <a:cubicBezTo>
                        <a:pt x="1583179" y="486438"/>
                        <a:pt x="1606911" y="473264"/>
                        <a:pt x="1582048" y="475291"/>
                      </a:cubicBezTo>
                      <a:close/>
                      <a:moveTo>
                        <a:pt x="1037331" y="487451"/>
                      </a:moveTo>
                      <a:cubicBezTo>
                        <a:pt x="1031680" y="488464"/>
                        <a:pt x="1037331" y="493531"/>
                        <a:pt x="1039591" y="494545"/>
                      </a:cubicBezTo>
                      <a:cubicBezTo>
                        <a:pt x="1039591" y="495558"/>
                        <a:pt x="1047502" y="485424"/>
                        <a:pt x="1037331" y="487451"/>
                      </a:cubicBezTo>
                      <a:close/>
                      <a:moveTo>
                        <a:pt x="963873" y="492518"/>
                      </a:moveTo>
                      <a:cubicBezTo>
                        <a:pt x="963873" y="492518"/>
                        <a:pt x="963873" y="499611"/>
                        <a:pt x="963873" y="499611"/>
                      </a:cubicBezTo>
                      <a:cubicBezTo>
                        <a:pt x="972914" y="503665"/>
                        <a:pt x="966133" y="493531"/>
                        <a:pt x="963873" y="492518"/>
                      </a:cubicBezTo>
                      <a:close/>
                      <a:moveTo>
                        <a:pt x="977434" y="492518"/>
                      </a:moveTo>
                      <a:lnTo>
                        <a:pt x="979695" y="497585"/>
                      </a:lnTo>
                      <a:cubicBezTo>
                        <a:pt x="979695" y="494545"/>
                        <a:pt x="983085" y="492518"/>
                        <a:pt x="977434" y="492518"/>
                      </a:cubicBezTo>
                      <a:close/>
                      <a:moveTo>
                        <a:pt x="998907" y="495558"/>
                      </a:moveTo>
                      <a:cubicBezTo>
                        <a:pt x="998907" y="495558"/>
                        <a:pt x="994386" y="504678"/>
                        <a:pt x="993256" y="505692"/>
                      </a:cubicBezTo>
                      <a:cubicBezTo>
                        <a:pt x="987605" y="508732"/>
                        <a:pt x="978565" y="508732"/>
                        <a:pt x="971784" y="510758"/>
                      </a:cubicBezTo>
                      <a:cubicBezTo>
                        <a:pt x="972914" y="518865"/>
                        <a:pt x="969523" y="520892"/>
                        <a:pt x="974044" y="520892"/>
                      </a:cubicBezTo>
                      <a:cubicBezTo>
                        <a:pt x="976304" y="520892"/>
                        <a:pt x="979695" y="521905"/>
                        <a:pt x="981955" y="520892"/>
                      </a:cubicBezTo>
                      <a:cubicBezTo>
                        <a:pt x="981955" y="520892"/>
                        <a:pt x="987605" y="511772"/>
                        <a:pt x="987605" y="510758"/>
                      </a:cubicBezTo>
                      <a:cubicBezTo>
                        <a:pt x="990996" y="510758"/>
                        <a:pt x="997776" y="511772"/>
                        <a:pt x="1001167" y="510758"/>
                      </a:cubicBezTo>
                      <a:cubicBezTo>
                        <a:pt x="1000037" y="508732"/>
                        <a:pt x="1010208" y="491505"/>
                        <a:pt x="998907" y="495558"/>
                      </a:cubicBezTo>
                      <a:close/>
                      <a:moveTo>
                        <a:pt x="1018119" y="502651"/>
                      </a:moveTo>
                      <a:cubicBezTo>
                        <a:pt x="1015858" y="508732"/>
                        <a:pt x="1011338" y="523932"/>
                        <a:pt x="1004557" y="526972"/>
                      </a:cubicBezTo>
                      <a:cubicBezTo>
                        <a:pt x="1000037" y="528999"/>
                        <a:pt x="996647" y="525959"/>
                        <a:pt x="993256" y="528999"/>
                      </a:cubicBezTo>
                      <a:cubicBezTo>
                        <a:pt x="992126" y="531025"/>
                        <a:pt x="994386" y="536092"/>
                        <a:pt x="993256" y="539132"/>
                      </a:cubicBezTo>
                      <a:cubicBezTo>
                        <a:pt x="993256" y="540146"/>
                        <a:pt x="985345" y="546226"/>
                        <a:pt x="985345" y="546226"/>
                      </a:cubicBezTo>
                      <a:cubicBezTo>
                        <a:pt x="984215" y="551293"/>
                        <a:pt x="988736" y="555346"/>
                        <a:pt x="987605" y="558386"/>
                      </a:cubicBezTo>
                      <a:cubicBezTo>
                        <a:pt x="992126" y="558386"/>
                        <a:pt x="989866" y="555346"/>
                        <a:pt x="993256" y="553319"/>
                      </a:cubicBezTo>
                      <a:cubicBezTo>
                        <a:pt x="995516" y="554333"/>
                        <a:pt x="1001167" y="554333"/>
                        <a:pt x="1004557" y="555346"/>
                      </a:cubicBezTo>
                      <a:cubicBezTo>
                        <a:pt x="1006818" y="556359"/>
                        <a:pt x="1007948" y="561426"/>
                        <a:pt x="1010208" y="562440"/>
                      </a:cubicBezTo>
                      <a:cubicBezTo>
                        <a:pt x="1013598" y="564466"/>
                        <a:pt x="1037331" y="572573"/>
                        <a:pt x="1039591" y="572573"/>
                      </a:cubicBezTo>
                      <a:cubicBezTo>
                        <a:pt x="1040721" y="572573"/>
                        <a:pt x="1039591" y="565480"/>
                        <a:pt x="1047502" y="567506"/>
                      </a:cubicBezTo>
                      <a:cubicBezTo>
                        <a:pt x="1049762" y="567506"/>
                        <a:pt x="1054282" y="575613"/>
                        <a:pt x="1055413" y="577640"/>
                      </a:cubicBezTo>
                      <a:cubicBezTo>
                        <a:pt x="1061063" y="576627"/>
                        <a:pt x="1064454" y="574600"/>
                        <a:pt x="1068974" y="575613"/>
                      </a:cubicBezTo>
                      <a:cubicBezTo>
                        <a:pt x="1072364" y="563453"/>
                        <a:pt x="1082535" y="538119"/>
                        <a:pt x="1074625" y="524945"/>
                      </a:cubicBezTo>
                      <a:cubicBezTo>
                        <a:pt x="1072364" y="520892"/>
                        <a:pt x="1064454" y="520892"/>
                        <a:pt x="1061063" y="517852"/>
                      </a:cubicBezTo>
                      <a:cubicBezTo>
                        <a:pt x="1057673" y="514812"/>
                        <a:pt x="1061063" y="511772"/>
                        <a:pt x="1058803" y="507718"/>
                      </a:cubicBezTo>
                      <a:cubicBezTo>
                        <a:pt x="1055413" y="501638"/>
                        <a:pt x="1024900" y="502651"/>
                        <a:pt x="1018119" y="502651"/>
                      </a:cubicBezTo>
                      <a:close/>
                      <a:moveTo>
                        <a:pt x="942401" y="568520"/>
                      </a:moveTo>
                      <a:cubicBezTo>
                        <a:pt x="937880" y="569533"/>
                        <a:pt x="932230" y="579667"/>
                        <a:pt x="944661" y="578653"/>
                      </a:cubicBezTo>
                      <a:cubicBezTo>
                        <a:pt x="944661" y="577640"/>
                        <a:pt x="952572" y="565480"/>
                        <a:pt x="942401" y="568520"/>
                      </a:cubicBezTo>
                      <a:close/>
                      <a:moveTo>
                        <a:pt x="1007948" y="577640"/>
                      </a:moveTo>
                      <a:cubicBezTo>
                        <a:pt x="1007948" y="577640"/>
                        <a:pt x="1007948" y="584733"/>
                        <a:pt x="1010208" y="584733"/>
                      </a:cubicBezTo>
                      <a:cubicBezTo>
                        <a:pt x="1018119" y="585747"/>
                        <a:pt x="1014728" y="578653"/>
                        <a:pt x="1007948" y="577640"/>
                      </a:cubicBezTo>
                      <a:close/>
                      <a:moveTo>
                        <a:pt x="1579788" y="84135"/>
                      </a:moveTo>
                      <a:cubicBezTo>
                        <a:pt x="1592219" y="85148"/>
                        <a:pt x="1596740" y="89202"/>
                        <a:pt x="1604651" y="91229"/>
                      </a:cubicBezTo>
                      <a:cubicBezTo>
                        <a:pt x="1596740" y="94269"/>
                        <a:pt x="1594480" y="93255"/>
                        <a:pt x="1588829" y="96295"/>
                      </a:cubicBezTo>
                      <a:cubicBezTo>
                        <a:pt x="1587699" y="96295"/>
                        <a:pt x="1588829" y="89202"/>
                        <a:pt x="1588829" y="89202"/>
                      </a:cubicBezTo>
                      <a:cubicBezTo>
                        <a:pt x="1585439" y="88189"/>
                        <a:pt x="1571877" y="83122"/>
                        <a:pt x="1579788" y="84135"/>
                      </a:cubicBezTo>
                      <a:close/>
                      <a:moveTo>
                        <a:pt x="1422702" y="108456"/>
                      </a:moveTo>
                      <a:cubicBezTo>
                        <a:pt x="1426092" y="109469"/>
                        <a:pt x="1426092" y="112509"/>
                        <a:pt x="1420442" y="113522"/>
                      </a:cubicBezTo>
                      <a:cubicBezTo>
                        <a:pt x="1420442" y="110482"/>
                        <a:pt x="1417051" y="107442"/>
                        <a:pt x="1422702" y="108456"/>
                      </a:cubicBezTo>
                      <a:close/>
                      <a:moveTo>
                        <a:pt x="1365065" y="115549"/>
                      </a:moveTo>
                      <a:cubicBezTo>
                        <a:pt x="1365065" y="115549"/>
                        <a:pt x="1380887" y="138856"/>
                        <a:pt x="1370716" y="129736"/>
                      </a:cubicBezTo>
                      <a:cubicBezTo>
                        <a:pt x="1370716" y="129736"/>
                        <a:pt x="1356025" y="107442"/>
                        <a:pt x="1365065" y="115549"/>
                      </a:cubicBezTo>
                      <a:close/>
                      <a:moveTo>
                        <a:pt x="1113049" y="212831"/>
                      </a:moveTo>
                      <a:cubicBezTo>
                        <a:pt x="1125480" y="209791"/>
                        <a:pt x="1114179" y="220938"/>
                        <a:pt x="1107398" y="222965"/>
                      </a:cubicBezTo>
                      <a:cubicBezTo>
                        <a:pt x="1101748" y="223978"/>
                        <a:pt x="1109659" y="213845"/>
                        <a:pt x="1113049" y="212831"/>
                      </a:cubicBezTo>
                      <a:close/>
                      <a:moveTo>
                        <a:pt x="1744786" y="271606"/>
                      </a:moveTo>
                      <a:cubicBezTo>
                        <a:pt x="1743655" y="275660"/>
                        <a:pt x="1741395" y="280726"/>
                        <a:pt x="1739135" y="285793"/>
                      </a:cubicBezTo>
                      <a:cubicBezTo>
                        <a:pt x="1750436" y="288833"/>
                        <a:pt x="1758347" y="289847"/>
                        <a:pt x="1771908" y="292887"/>
                      </a:cubicBezTo>
                      <a:lnTo>
                        <a:pt x="1777559" y="297953"/>
                      </a:lnTo>
                      <a:cubicBezTo>
                        <a:pt x="1784340" y="297953"/>
                        <a:pt x="1776429" y="293900"/>
                        <a:pt x="1783210" y="295927"/>
                      </a:cubicBezTo>
                      <a:cubicBezTo>
                        <a:pt x="1782080" y="289847"/>
                        <a:pt x="1780950" y="286806"/>
                        <a:pt x="1780950" y="278700"/>
                      </a:cubicBezTo>
                      <a:cubicBezTo>
                        <a:pt x="1788860" y="278700"/>
                        <a:pt x="1782080" y="275660"/>
                        <a:pt x="1786600" y="273633"/>
                      </a:cubicBezTo>
                      <a:cubicBezTo>
                        <a:pt x="1770779" y="274646"/>
                        <a:pt x="1762868" y="274646"/>
                        <a:pt x="1744786" y="271606"/>
                      </a:cubicBezTo>
                      <a:close/>
                      <a:moveTo>
                        <a:pt x="1211369" y="332407"/>
                      </a:moveTo>
                      <a:cubicBezTo>
                        <a:pt x="1214760" y="333421"/>
                        <a:pt x="1209109" y="339501"/>
                        <a:pt x="1209109" y="339501"/>
                      </a:cubicBezTo>
                      <a:cubicBezTo>
                        <a:pt x="1207979" y="337474"/>
                        <a:pt x="1205719" y="330381"/>
                        <a:pt x="1211369" y="332407"/>
                      </a:cubicBezTo>
                      <a:close/>
                      <a:moveTo>
                        <a:pt x="1219280" y="344568"/>
                      </a:moveTo>
                      <a:cubicBezTo>
                        <a:pt x="1222671" y="345581"/>
                        <a:pt x="1222671" y="348621"/>
                        <a:pt x="1217020" y="349635"/>
                      </a:cubicBezTo>
                      <a:cubicBezTo>
                        <a:pt x="1217020" y="346595"/>
                        <a:pt x="1213629" y="343554"/>
                        <a:pt x="1219280" y="344568"/>
                      </a:cubicBezTo>
                      <a:close/>
                      <a:moveTo>
                        <a:pt x="1446434" y="426650"/>
                      </a:moveTo>
                      <a:cubicBezTo>
                        <a:pt x="1452085" y="427663"/>
                        <a:pt x="1473557" y="451984"/>
                        <a:pt x="1454345" y="445903"/>
                      </a:cubicBezTo>
                      <a:cubicBezTo>
                        <a:pt x="1455475" y="446917"/>
                        <a:pt x="1430613" y="422596"/>
                        <a:pt x="1446434" y="426650"/>
                      </a:cubicBezTo>
                      <a:close/>
                      <a:moveTo>
                        <a:pt x="1215890" y="490491"/>
                      </a:moveTo>
                      <a:cubicBezTo>
                        <a:pt x="1219280" y="492518"/>
                        <a:pt x="1213629" y="495558"/>
                        <a:pt x="1213629" y="495558"/>
                      </a:cubicBezTo>
                      <a:cubicBezTo>
                        <a:pt x="1213629" y="493531"/>
                        <a:pt x="1211369" y="488464"/>
                        <a:pt x="1215890" y="490491"/>
                      </a:cubicBezTo>
                      <a:close/>
                      <a:moveTo>
                        <a:pt x="1563966" y="553319"/>
                      </a:moveTo>
                      <a:lnTo>
                        <a:pt x="1566227" y="563453"/>
                      </a:lnTo>
                      <a:cubicBezTo>
                        <a:pt x="1579788" y="554333"/>
                        <a:pt x="1579788" y="559399"/>
                        <a:pt x="1563966" y="553319"/>
                      </a:cubicBezTo>
                      <a:close/>
                      <a:moveTo>
                        <a:pt x="2064610" y="115549"/>
                      </a:moveTo>
                      <a:cubicBezTo>
                        <a:pt x="2069130" y="115549"/>
                        <a:pt x="2068000" y="118589"/>
                        <a:pt x="2070260" y="120616"/>
                      </a:cubicBezTo>
                      <a:cubicBezTo>
                        <a:pt x="2054438" y="119603"/>
                        <a:pt x="2054438" y="115549"/>
                        <a:pt x="2064610" y="115549"/>
                      </a:cubicBezTo>
                      <a:close/>
                      <a:moveTo>
                        <a:pt x="1322121" y="118589"/>
                      </a:moveTo>
                      <a:cubicBezTo>
                        <a:pt x="1311950" y="114536"/>
                        <a:pt x="1293868" y="90215"/>
                        <a:pt x="1283697" y="89202"/>
                      </a:cubicBezTo>
                      <a:lnTo>
                        <a:pt x="1278046" y="91229"/>
                      </a:lnTo>
                      <a:cubicBezTo>
                        <a:pt x="1273526" y="93255"/>
                        <a:pt x="1264485" y="93255"/>
                        <a:pt x="1258834" y="96295"/>
                      </a:cubicBezTo>
                      <a:cubicBezTo>
                        <a:pt x="1249793" y="100349"/>
                        <a:pt x="1238492" y="116562"/>
                        <a:pt x="1229451" y="122643"/>
                      </a:cubicBezTo>
                      <a:cubicBezTo>
                        <a:pt x="1220410" y="116562"/>
                        <a:pt x="1196678" y="108456"/>
                        <a:pt x="1180856" y="110482"/>
                      </a:cubicBezTo>
                      <a:cubicBezTo>
                        <a:pt x="1178596" y="110482"/>
                        <a:pt x="1171815" y="117576"/>
                        <a:pt x="1169555" y="117576"/>
                      </a:cubicBezTo>
                      <a:cubicBezTo>
                        <a:pt x="1165034" y="118589"/>
                        <a:pt x="1159384" y="115549"/>
                        <a:pt x="1155993" y="117576"/>
                      </a:cubicBezTo>
                      <a:cubicBezTo>
                        <a:pt x="1154863" y="118589"/>
                        <a:pt x="1154863" y="126696"/>
                        <a:pt x="1153733" y="127709"/>
                      </a:cubicBezTo>
                      <a:cubicBezTo>
                        <a:pt x="1166165" y="123656"/>
                        <a:pt x="1180856" y="122643"/>
                        <a:pt x="1200068" y="122643"/>
                      </a:cubicBezTo>
                      <a:cubicBezTo>
                        <a:pt x="1195547" y="123656"/>
                        <a:pt x="1184246" y="128723"/>
                        <a:pt x="1175205" y="129736"/>
                      </a:cubicBezTo>
                      <a:cubicBezTo>
                        <a:pt x="1175205" y="129736"/>
                        <a:pt x="1170685" y="137843"/>
                        <a:pt x="1177466" y="139870"/>
                      </a:cubicBezTo>
                      <a:cubicBezTo>
                        <a:pt x="1187637" y="141896"/>
                        <a:pt x="1207979" y="132776"/>
                        <a:pt x="1218150" y="132776"/>
                      </a:cubicBezTo>
                      <a:cubicBezTo>
                        <a:pt x="1231711" y="131763"/>
                        <a:pt x="1243013" y="135816"/>
                        <a:pt x="1253184" y="134803"/>
                      </a:cubicBezTo>
                      <a:cubicBezTo>
                        <a:pt x="1226061" y="138856"/>
                        <a:pt x="1206849" y="141896"/>
                        <a:pt x="1179726" y="148990"/>
                      </a:cubicBezTo>
                      <a:cubicBezTo>
                        <a:pt x="1180856" y="152030"/>
                        <a:pt x="1179726" y="157097"/>
                        <a:pt x="1179726" y="163177"/>
                      </a:cubicBezTo>
                      <a:cubicBezTo>
                        <a:pt x="1181986" y="162164"/>
                        <a:pt x="1186507" y="165204"/>
                        <a:pt x="1185376" y="161150"/>
                      </a:cubicBezTo>
                      <a:cubicBezTo>
                        <a:pt x="1191027" y="158110"/>
                        <a:pt x="1193287" y="158110"/>
                        <a:pt x="1198938" y="156083"/>
                      </a:cubicBezTo>
                      <a:cubicBezTo>
                        <a:pt x="1222671" y="148990"/>
                        <a:pt x="1253184" y="145950"/>
                        <a:pt x="1278046" y="138856"/>
                      </a:cubicBezTo>
                      <a:lnTo>
                        <a:pt x="1278046" y="143923"/>
                      </a:lnTo>
                      <a:cubicBezTo>
                        <a:pt x="1273526" y="144936"/>
                        <a:pt x="1270135" y="147977"/>
                        <a:pt x="1266745" y="148990"/>
                      </a:cubicBezTo>
                      <a:cubicBezTo>
                        <a:pt x="1254314" y="153043"/>
                        <a:pt x="1252053" y="146963"/>
                        <a:pt x="1239622" y="148990"/>
                      </a:cubicBezTo>
                      <a:cubicBezTo>
                        <a:pt x="1233972" y="150003"/>
                        <a:pt x="1228321" y="157097"/>
                        <a:pt x="1223800" y="159123"/>
                      </a:cubicBezTo>
                      <a:cubicBezTo>
                        <a:pt x="1219280" y="161150"/>
                        <a:pt x="1212499" y="157097"/>
                        <a:pt x="1207979" y="159123"/>
                      </a:cubicBezTo>
                      <a:cubicBezTo>
                        <a:pt x="1204589" y="160137"/>
                        <a:pt x="1195547" y="168244"/>
                        <a:pt x="1192157" y="171284"/>
                      </a:cubicBezTo>
                      <a:cubicBezTo>
                        <a:pt x="1195547" y="173310"/>
                        <a:pt x="1200068" y="180404"/>
                        <a:pt x="1205719" y="181417"/>
                      </a:cubicBezTo>
                      <a:cubicBezTo>
                        <a:pt x="1212499" y="181417"/>
                        <a:pt x="1218150" y="174324"/>
                        <a:pt x="1221540" y="174324"/>
                      </a:cubicBezTo>
                      <a:cubicBezTo>
                        <a:pt x="1232842" y="172297"/>
                        <a:pt x="1255444" y="179391"/>
                        <a:pt x="1267875" y="179391"/>
                      </a:cubicBezTo>
                      <a:lnTo>
                        <a:pt x="1279177" y="174324"/>
                      </a:lnTo>
                      <a:cubicBezTo>
                        <a:pt x="1282567" y="174324"/>
                        <a:pt x="1285957" y="178377"/>
                        <a:pt x="1292738" y="176351"/>
                      </a:cubicBezTo>
                      <a:cubicBezTo>
                        <a:pt x="1294998" y="175337"/>
                        <a:pt x="1291608" y="170270"/>
                        <a:pt x="1300649" y="171284"/>
                      </a:cubicBezTo>
                      <a:cubicBezTo>
                        <a:pt x="1302909" y="171284"/>
                        <a:pt x="1301779" y="176351"/>
                        <a:pt x="1302909" y="178377"/>
                      </a:cubicBezTo>
                      <a:cubicBezTo>
                        <a:pt x="1309690" y="179391"/>
                        <a:pt x="1315340" y="181417"/>
                        <a:pt x="1322121" y="180404"/>
                      </a:cubicBezTo>
                      <a:cubicBezTo>
                        <a:pt x="1327772" y="179391"/>
                        <a:pt x="1341333" y="169257"/>
                        <a:pt x="1346984" y="166217"/>
                      </a:cubicBezTo>
                      <a:cubicBezTo>
                        <a:pt x="1346984" y="166217"/>
                        <a:pt x="1344723" y="180404"/>
                        <a:pt x="1344723" y="183444"/>
                      </a:cubicBezTo>
                      <a:cubicBezTo>
                        <a:pt x="1351504" y="184457"/>
                        <a:pt x="1361675" y="188511"/>
                        <a:pt x="1369586" y="188511"/>
                      </a:cubicBezTo>
                      <a:cubicBezTo>
                        <a:pt x="1371846" y="188511"/>
                        <a:pt x="1384278" y="184457"/>
                        <a:pt x="1391058" y="186484"/>
                      </a:cubicBezTo>
                      <a:cubicBezTo>
                        <a:pt x="1391058" y="186484"/>
                        <a:pt x="1397839" y="190538"/>
                        <a:pt x="1398969" y="191551"/>
                      </a:cubicBezTo>
                      <a:cubicBezTo>
                        <a:pt x="1406880" y="180404"/>
                        <a:pt x="1405750" y="181417"/>
                        <a:pt x="1418181" y="174324"/>
                      </a:cubicBezTo>
                      <a:cubicBezTo>
                        <a:pt x="1417051" y="170270"/>
                        <a:pt x="1414791" y="163177"/>
                        <a:pt x="1415921" y="162164"/>
                      </a:cubicBezTo>
                      <a:cubicBezTo>
                        <a:pt x="1420442" y="161150"/>
                        <a:pt x="1420442" y="164190"/>
                        <a:pt x="1421571" y="160137"/>
                      </a:cubicBezTo>
                      <a:cubicBezTo>
                        <a:pt x="1424962" y="161150"/>
                        <a:pt x="1426092" y="159123"/>
                        <a:pt x="1429482" y="160137"/>
                      </a:cubicBezTo>
                      <a:lnTo>
                        <a:pt x="1429482" y="165204"/>
                      </a:lnTo>
                      <a:cubicBezTo>
                        <a:pt x="1429482" y="163177"/>
                        <a:pt x="1427222" y="175337"/>
                        <a:pt x="1427222" y="177364"/>
                      </a:cubicBezTo>
                      <a:cubicBezTo>
                        <a:pt x="1431743" y="178377"/>
                        <a:pt x="1431743" y="175337"/>
                        <a:pt x="1432873" y="179391"/>
                      </a:cubicBezTo>
                      <a:cubicBezTo>
                        <a:pt x="1458866" y="174324"/>
                        <a:pt x="1492769" y="167230"/>
                        <a:pt x="1519892" y="165204"/>
                      </a:cubicBezTo>
                      <a:cubicBezTo>
                        <a:pt x="1548145" y="162164"/>
                        <a:pt x="1560576" y="168244"/>
                        <a:pt x="1587699" y="165204"/>
                      </a:cubicBezTo>
                      <a:cubicBezTo>
                        <a:pt x="1609171" y="163177"/>
                        <a:pt x="1635164" y="155070"/>
                        <a:pt x="1655506" y="147977"/>
                      </a:cubicBezTo>
                      <a:lnTo>
                        <a:pt x="1657767" y="142910"/>
                      </a:lnTo>
                      <a:cubicBezTo>
                        <a:pt x="1660027" y="142910"/>
                        <a:pt x="1671328" y="145950"/>
                        <a:pt x="1676978" y="144936"/>
                      </a:cubicBezTo>
                      <a:cubicBezTo>
                        <a:pt x="1687149" y="143923"/>
                        <a:pt x="1700711" y="139870"/>
                        <a:pt x="1712012" y="137843"/>
                      </a:cubicBezTo>
                      <a:cubicBezTo>
                        <a:pt x="1708622" y="138856"/>
                        <a:pt x="1699581" y="143923"/>
                        <a:pt x="1696191" y="144936"/>
                      </a:cubicBezTo>
                      <a:cubicBezTo>
                        <a:pt x="1686020" y="146963"/>
                        <a:pt x="1679239" y="144936"/>
                        <a:pt x="1669068" y="146963"/>
                      </a:cubicBezTo>
                      <a:cubicBezTo>
                        <a:pt x="1666807" y="147977"/>
                        <a:pt x="1660027" y="154057"/>
                        <a:pt x="1657767" y="154057"/>
                      </a:cubicBezTo>
                      <a:cubicBezTo>
                        <a:pt x="1657767" y="154057"/>
                        <a:pt x="1661157" y="156083"/>
                        <a:pt x="1663417" y="156083"/>
                      </a:cubicBezTo>
                      <a:cubicBezTo>
                        <a:pt x="1671328" y="158110"/>
                        <a:pt x="1684889" y="158110"/>
                        <a:pt x="1696191" y="158110"/>
                      </a:cubicBezTo>
                      <a:lnTo>
                        <a:pt x="1696191" y="163177"/>
                      </a:lnTo>
                      <a:cubicBezTo>
                        <a:pt x="1682629" y="163177"/>
                        <a:pt x="1665677" y="161150"/>
                        <a:pt x="1657767" y="163177"/>
                      </a:cubicBezTo>
                      <a:cubicBezTo>
                        <a:pt x="1656636" y="163177"/>
                        <a:pt x="1648725" y="170270"/>
                        <a:pt x="1646465" y="170270"/>
                      </a:cubicBezTo>
                      <a:cubicBezTo>
                        <a:pt x="1635164" y="173310"/>
                        <a:pt x="1627253" y="169257"/>
                        <a:pt x="1617082" y="172297"/>
                      </a:cubicBezTo>
                      <a:cubicBezTo>
                        <a:pt x="1578658" y="183444"/>
                        <a:pt x="1662287" y="181417"/>
                        <a:pt x="1671328" y="182431"/>
                      </a:cubicBezTo>
                      <a:cubicBezTo>
                        <a:pt x="1654376" y="186484"/>
                        <a:pt x="1629514" y="195604"/>
                        <a:pt x="1611432" y="194591"/>
                      </a:cubicBezTo>
                      <a:cubicBezTo>
                        <a:pt x="1606911" y="194591"/>
                        <a:pt x="1597870" y="189524"/>
                        <a:pt x="1592219" y="189524"/>
                      </a:cubicBezTo>
                      <a:cubicBezTo>
                        <a:pt x="1589959" y="189524"/>
                        <a:pt x="1589959" y="194591"/>
                        <a:pt x="1589959" y="196618"/>
                      </a:cubicBezTo>
                      <a:cubicBezTo>
                        <a:pt x="1558316" y="192564"/>
                        <a:pt x="1531193" y="197631"/>
                        <a:pt x="1497290" y="201684"/>
                      </a:cubicBezTo>
                      <a:cubicBezTo>
                        <a:pt x="1498420" y="202698"/>
                        <a:pt x="1496159" y="207765"/>
                        <a:pt x="1497290" y="208778"/>
                      </a:cubicBezTo>
                      <a:cubicBezTo>
                        <a:pt x="1499550" y="213845"/>
                        <a:pt x="1507461" y="212831"/>
                        <a:pt x="1505200" y="222965"/>
                      </a:cubicBezTo>
                      <a:cubicBezTo>
                        <a:pt x="1505200" y="223978"/>
                        <a:pt x="1500680" y="226005"/>
                        <a:pt x="1502940" y="230058"/>
                      </a:cubicBezTo>
                      <a:cubicBezTo>
                        <a:pt x="1502940" y="231072"/>
                        <a:pt x="1507461" y="232085"/>
                        <a:pt x="1508591" y="235125"/>
                      </a:cubicBezTo>
                      <a:cubicBezTo>
                        <a:pt x="1521022" y="237152"/>
                        <a:pt x="1562836" y="238165"/>
                        <a:pt x="1547015" y="237152"/>
                      </a:cubicBezTo>
                      <a:cubicBezTo>
                        <a:pt x="1553795" y="239179"/>
                        <a:pt x="1556056" y="238165"/>
                        <a:pt x="1562836" y="239179"/>
                      </a:cubicBezTo>
                      <a:lnTo>
                        <a:pt x="1562836" y="244245"/>
                      </a:lnTo>
                      <a:cubicBezTo>
                        <a:pt x="1558316" y="243232"/>
                        <a:pt x="1553795" y="242219"/>
                        <a:pt x="1551535" y="242219"/>
                      </a:cubicBezTo>
                      <a:cubicBezTo>
                        <a:pt x="1549275" y="247286"/>
                        <a:pt x="1551535" y="243232"/>
                        <a:pt x="1545885" y="244245"/>
                      </a:cubicBezTo>
                      <a:lnTo>
                        <a:pt x="1545885" y="251339"/>
                      </a:lnTo>
                      <a:cubicBezTo>
                        <a:pt x="1541364" y="252352"/>
                        <a:pt x="1534583" y="246272"/>
                        <a:pt x="1532323" y="246272"/>
                      </a:cubicBezTo>
                      <a:cubicBezTo>
                        <a:pt x="1525542" y="245259"/>
                        <a:pt x="1518762" y="249312"/>
                        <a:pt x="1516502" y="248299"/>
                      </a:cubicBezTo>
                      <a:lnTo>
                        <a:pt x="1514241" y="243232"/>
                      </a:lnTo>
                      <a:cubicBezTo>
                        <a:pt x="1510851" y="242219"/>
                        <a:pt x="1506330" y="244245"/>
                        <a:pt x="1502940" y="243232"/>
                      </a:cubicBezTo>
                      <a:cubicBezTo>
                        <a:pt x="1489379" y="239179"/>
                        <a:pt x="1497290" y="226005"/>
                        <a:pt x="1491639" y="213845"/>
                      </a:cubicBezTo>
                      <a:lnTo>
                        <a:pt x="1472427" y="199658"/>
                      </a:lnTo>
                      <a:lnTo>
                        <a:pt x="1472427" y="197631"/>
                      </a:lnTo>
                      <a:cubicBezTo>
                        <a:pt x="1456605" y="188511"/>
                        <a:pt x="1386538" y="194591"/>
                        <a:pt x="1361675" y="197631"/>
                      </a:cubicBezTo>
                      <a:lnTo>
                        <a:pt x="1359415" y="211818"/>
                      </a:lnTo>
                      <a:cubicBezTo>
                        <a:pt x="1361675" y="207765"/>
                        <a:pt x="1361675" y="213845"/>
                        <a:pt x="1361675" y="213845"/>
                      </a:cubicBezTo>
                      <a:cubicBezTo>
                        <a:pt x="1362805" y="211818"/>
                        <a:pt x="1358285" y="223978"/>
                        <a:pt x="1356025" y="226005"/>
                      </a:cubicBezTo>
                      <a:cubicBezTo>
                        <a:pt x="1352634" y="229045"/>
                        <a:pt x="1346984" y="226005"/>
                        <a:pt x="1342463" y="228032"/>
                      </a:cubicBezTo>
                      <a:cubicBezTo>
                        <a:pt x="1340203" y="229045"/>
                        <a:pt x="1335683" y="238165"/>
                        <a:pt x="1334552" y="240192"/>
                      </a:cubicBezTo>
                      <a:cubicBezTo>
                        <a:pt x="1334552" y="240192"/>
                        <a:pt x="1330032" y="233099"/>
                        <a:pt x="1328902" y="233099"/>
                      </a:cubicBezTo>
                      <a:cubicBezTo>
                        <a:pt x="1331162" y="229045"/>
                        <a:pt x="1337943" y="224992"/>
                        <a:pt x="1336812" y="218912"/>
                      </a:cubicBezTo>
                      <a:cubicBezTo>
                        <a:pt x="1336812" y="218912"/>
                        <a:pt x="1330032" y="208778"/>
                        <a:pt x="1328902" y="206751"/>
                      </a:cubicBezTo>
                      <a:cubicBezTo>
                        <a:pt x="1328902" y="206751"/>
                        <a:pt x="1320991" y="206751"/>
                        <a:pt x="1320991" y="206751"/>
                      </a:cubicBezTo>
                      <a:cubicBezTo>
                        <a:pt x="1318731" y="202698"/>
                        <a:pt x="1322121" y="198644"/>
                        <a:pt x="1320991" y="192564"/>
                      </a:cubicBezTo>
                      <a:lnTo>
                        <a:pt x="1315340" y="192564"/>
                      </a:lnTo>
                      <a:cubicBezTo>
                        <a:pt x="1314210" y="193578"/>
                        <a:pt x="1313080" y="200671"/>
                        <a:pt x="1313080" y="202698"/>
                      </a:cubicBezTo>
                      <a:cubicBezTo>
                        <a:pt x="1308559" y="200671"/>
                        <a:pt x="1301779" y="202698"/>
                        <a:pt x="1297258" y="202698"/>
                      </a:cubicBezTo>
                      <a:cubicBezTo>
                        <a:pt x="1296128" y="196618"/>
                        <a:pt x="1298388" y="193578"/>
                        <a:pt x="1294998" y="190538"/>
                      </a:cubicBezTo>
                      <a:cubicBezTo>
                        <a:pt x="1291608" y="192564"/>
                        <a:pt x="1287087" y="196618"/>
                        <a:pt x="1283697" y="197631"/>
                      </a:cubicBezTo>
                      <a:lnTo>
                        <a:pt x="1283697" y="199658"/>
                      </a:lnTo>
                      <a:cubicBezTo>
                        <a:pt x="1283697" y="199658"/>
                        <a:pt x="1201198" y="199658"/>
                        <a:pt x="1200068" y="199658"/>
                      </a:cubicBezTo>
                      <a:cubicBezTo>
                        <a:pt x="1194418" y="198644"/>
                        <a:pt x="1177466" y="189524"/>
                        <a:pt x="1170685" y="187497"/>
                      </a:cubicBezTo>
                      <a:cubicBezTo>
                        <a:pt x="1170685" y="180404"/>
                        <a:pt x="1175205" y="176351"/>
                        <a:pt x="1172945" y="170270"/>
                      </a:cubicBezTo>
                      <a:lnTo>
                        <a:pt x="1151473" y="143923"/>
                      </a:lnTo>
                      <a:cubicBezTo>
                        <a:pt x="1136781" y="134803"/>
                        <a:pt x="1111919" y="140883"/>
                        <a:pt x="1091577" y="136830"/>
                      </a:cubicBezTo>
                      <a:cubicBezTo>
                        <a:pt x="1089316" y="135816"/>
                        <a:pt x="1082535" y="129736"/>
                        <a:pt x="1080275" y="129736"/>
                      </a:cubicBezTo>
                      <a:cubicBezTo>
                        <a:pt x="1061063" y="124669"/>
                        <a:pt x="1026029" y="125683"/>
                        <a:pt x="1010208" y="127709"/>
                      </a:cubicBezTo>
                      <a:cubicBezTo>
                        <a:pt x="1010208" y="127709"/>
                        <a:pt x="1010208" y="137843"/>
                        <a:pt x="1010208" y="137843"/>
                      </a:cubicBezTo>
                      <a:cubicBezTo>
                        <a:pt x="1027160" y="135816"/>
                        <a:pt x="1032810" y="136830"/>
                        <a:pt x="1048632" y="137843"/>
                      </a:cubicBezTo>
                      <a:cubicBezTo>
                        <a:pt x="1048632" y="137843"/>
                        <a:pt x="1058803" y="135816"/>
                        <a:pt x="1062193" y="137843"/>
                      </a:cubicBezTo>
                      <a:cubicBezTo>
                        <a:pt x="1063324" y="137843"/>
                        <a:pt x="1064454" y="141896"/>
                        <a:pt x="1064454" y="142910"/>
                      </a:cubicBezTo>
                      <a:cubicBezTo>
                        <a:pt x="1068974" y="139870"/>
                        <a:pt x="1066714" y="150003"/>
                        <a:pt x="1066714" y="150003"/>
                      </a:cubicBezTo>
                      <a:lnTo>
                        <a:pt x="1062193" y="150003"/>
                      </a:lnTo>
                      <a:cubicBezTo>
                        <a:pt x="1065584" y="155070"/>
                        <a:pt x="1065584" y="156083"/>
                        <a:pt x="1067844" y="162164"/>
                      </a:cubicBezTo>
                      <a:cubicBezTo>
                        <a:pt x="1050892" y="159123"/>
                        <a:pt x="1042981" y="161150"/>
                        <a:pt x="1024900" y="157097"/>
                      </a:cubicBezTo>
                      <a:lnTo>
                        <a:pt x="1016989" y="152030"/>
                      </a:lnTo>
                      <a:cubicBezTo>
                        <a:pt x="1010208" y="151017"/>
                        <a:pt x="1009078" y="155070"/>
                        <a:pt x="1005687" y="154057"/>
                      </a:cubicBezTo>
                      <a:cubicBezTo>
                        <a:pt x="1006818" y="158110"/>
                        <a:pt x="1007948" y="167230"/>
                        <a:pt x="1007948" y="168244"/>
                      </a:cubicBezTo>
                      <a:cubicBezTo>
                        <a:pt x="1011338" y="169257"/>
                        <a:pt x="1016989" y="168244"/>
                        <a:pt x="1021509" y="168244"/>
                      </a:cubicBezTo>
                      <a:cubicBezTo>
                        <a:pt x="1021509" y="168244"/>
                        <a:pt x="1021509" y="175337"/>
                        <a:pt x="1021509" y="175337"/>
                      </a:cubicBezTo>
                      <a:cubicBezTo>
                        <a:pt x="1036201" y="178377"/>
                        <a:pt x="1036201" y="169257"/>
                        <a:pt x="1042981" y="165204"/>
                      </a:cubicBezTo>
                      <a:cubicBezTo>
                        <a:pt x="1055413" y="174324"/>
                        <a:pt x="1056543" y="175337"/>
                        <a:pt x="1081406" y="175337"/>
                      </a:cubicBezTo>
                      <a:cubicBezTo>
                        <a:pt x="1083666" y="171284"/>
                        <a:pt x="1082535" y="168244"/>
                        <a:pt x="1087056" y="165204"/>
                      </a:cubicBezTo>
                      <a:cubicBezTo>
                        <a:pt x="1088186" y="168244"/>
                        <a:pt x="1087056" y="172297"/>
                        <a:pt x="1089316" y="177364"/>
                      </a:cubicBezTo>
                      <a:cubicBezTo>
                        <a:pt x="1090446" y="178377"/>
                        <a:pt x="1097227" y="180404"/>
                        <a:pt x="1097227" y="182431"/>
                      </a:cubicBezTo>
                      <a:cubicBezTo>
                        <a:pt x="1098357" y="183444"/>
                        <a:pt x="1096097" y="188511"/>
                        <a:pt x="1097227" y="189524"/>
                      </a:cubicBezTo>
                      <a:cubicBezTo>
                        <a:pt x="1072364" y="189524"/>
                        <a:pt x="1055413" y="192564"/>
                        <a:pt x="1037331" y="196618"/>
                      </a:cubicBezTo>
                      <a:cubicBezTo>
                        <a:pt x="1038461" y="198644"/>
                        <a:pt x="1045242" y="205738"/>
                        <a:pt x="1045242" y="206751"/>
                      </a:cubicBezTo>
                      <a:lnTo>
                        <a:pt x="1042981" y="211818"/>
                      </a:lnTo>
                      <a:cubicBezTo>
                        <a:pt x="1038461" y="212831"/>
                        <a:pt x="1040721" y="208778"/>
                        <a:pt x="1035071" y="209791"/>
                      </a:cubicBezTo>
                      <a:lnTo>
                        <a:pt x="1029420" y="214858"/>
                      </a:lnTo>
                      <a:cubicBezTo>
                        <a:pt x="1013598" y="218912"/>
                        <a:pt x="1063324" y="227018"/>
                        <a:pt x="1070104" y="224992"/>
                      </a:cubicBezTo>
                      <a:cubicBezTo>
                        <a:pt x="1072364" y="223978"/>
                        <a:pt x="1075755" y="216885"/>
                        <a:pt x="1078015" y="214858"/>
                      </a:cubicBezTo>
                      <a:cubicBezTo>
                        <a:pt x="1079145" y="217898"/>
                        <a:pt x="1078015" y="223978"/>
                        <a:pt x="1078015" y="227018"/>
                      </a:cubicBezTo>
                      <a:cubicBezTo>
                        <a:pt x="1084796" y="227018"/>
                        <a:pt x="1083666" y="230058"/>
                        <a:pt x="1091577" y="229045"/>
                      </a:cubicBezTo>
                      <a:lnTo>
                        <a:pt x="1099487" y="223978"/>
                      </a:lnTo>
                      <a:cubicBezTo>
                        <a:pt x="1099487" y="223978"/>
                        <a:pt x="1106268" y="228032"/>
                        <a:pt x="1101748" y="229045"/>
                      </a:cubicBezTo>
                      <a:cubicBezTo>
                        <a:pt x="1104008" y="228032"/>
                        <a:pt x="1106268" y="235125"/>
                        <a:pt x="1107398" y="236139"/>
                      </a:cubicBezTo>
                      <a:cubicBezTo>
                        <a:pt x="1092707" y="236139"/>
                        <a:pt x="1081406" y="237152"/>
                        <a:pt x="1068974" y="234112"/>
                      </a:cubicBezTo>
                      <a:cubicBezTo>
                        <a:pt x="1066714" y="233099"/>
                        <a:pt x="1057673" y="227018"/>
                        <a:pt x="1055413" y="227018"/>
                      </a:cubicBezTo>
                      <a:cubicBezTo>
                        <a:pt x="1028290" y="223978"/>
                        <a:pt x="1037331" y="242219"/>
                        <a:pt x="1041851" y="239179"/>
                      </a:cubicBezTo>
                      <a:cubicBezTo>
                        <a:pt x="1041851" y="239179"/>
                        <a:pt x="1040721" y="254379"/>
                        <a:pt x="1041851" y="251339"/>
                      </a:cubicBezTo>
                      <a:cubicBezTo>
                        <a:pt x="1042981" y="251339"/>
                        <a:pt x="1046372" y="255392"/>
                        <a:pt x="1047502" y="256406"/>
                      </a:cubicBezTo>
                      <a:cubicBezTo>
                        <a:pt x="1064454" y="270593"/>
                        <a:pt x="1085926" y="274646"/>
                        <a:pt x="1115309" y="270593"/>
                      </a:cubicBezTo>
                      <a:lnTo>
                        <a:pt x="1115309" y="278700"/>
                      </a:lnTo>
                      <a:cubicBezTo>
                        <a:pt x="1111919" y="278700"/>
                        <a:pt x="1107398" y="280726"/>
                        <a:pt x="1107398" y="280726"/>
                      </a:cubicBezTo>
                      <a:cubicBezTo>
                        <a:pt x="1097227" y="282753"/>
                        <a:pt x="1082535" y="276673"/>
                        <a:pt x="1072364" y="280726"/>
                      </a:cubicBezTo>
                      <a:cubicBezTo>
                        <a:pt x="1070104" y="281740"/>
                        <a:pt x="1067844" y="292887"/>
                        <a:pt x="1072364" y="290860"/>
                      </a:cubicBezTo>
                      <a:lnTo>
                        <a:pt x="1074625" y="295927"/>
                      </a:lnTo>
                      <a:cubicBezTo>
                        <a:pt x="1078015" y="296940"/>
                        <a:pt x="1118699" y="295927"/>
                        <a:pt x="1123220" y="293900"/>
                      </a:cubicBezTo>
                      <a:cubicBezTo>
                        <a:pt x="1125480" y="292887"/>
                        <a:pt x="1128870" y="284780"/>
                        <a:pt x="1131131" y="283766"/>
                      </a:cubicBezTo>
                      <a:cubicBezTo>
                        <a:pt x="1143562" y="280726"/>
                        <a:pt x="1155993" y="284780"/>
                        <a:pt x="1166165" y="285793"/>
                      </a:cubicBezTo>
                      <a:cubicBezTo>
                        <a:pt x="1166165" y="285793"/>
                        <a:pt x="1166165" y="292887"/>
                        <a:pt x="1166165" y="292887"/>
                      </a:cubicBezTo>
                      <a:cubicBezTo>
                        <a:pt x="1143562" y="294913"/>
                        <a:pt x="1132261" y="296940"/>
                        <a:pt x="1114179" y="303020"/>
                      </a:cubicBezTo>
                      <a:cubicBezTo>
                        <a:pt x="1113049" y="304034"/>
                        <a:pt x="1113049" y="307074"/>
                        <a:pt x="1111919" y="308087"/>
                      </a:cubicBezTo>
                      <a:cubicBezTo>
                        <a:pt x="1114179" y="312140"/>
                        <a:pt x="1117569" y="317207"/>
                        <a:pt x="1119830" y="322274"/>
                      </a:cubicBezTo>
                      <a:cubicBezTo>
                        <a:pt x="1119830" y="322274"/>
                        <a:pt x="1127740" y="322274"/>
                        <a:pt x="1127740" y="322274"/>
                      </a:cubicBezTo>
                      <a:cubicBezTo>
                        <a:pt x="1128870" y="324301"/>
                        <a:pt x="1130001" y="336461"/>
                        <a:pt x="1130001" y="336461"/>
                      </a:cubicBezTo>
                      <a:cubicBezTo>
                        <a:pt x="1131131" y="336461"/>
                        <a:pt x="1137912" y="337474"/>
                        <a:pt x="1141302" y="338488"/>
                      </a:cubicBezTo>
                      <a:lnTo>
                        <a:pt x="1141302" y="343554"/>
                      </a:lnTo>
                      <a:cubicBezTo>
                        <a:pt x="1134521" y="344568"/>
                        <a:pt x="1132261" y="344568"/>
                        <a:pt x="1127740" y="345581"/>
                      </a:cubicBezTo>
                      <a:cubicBezTo>
                        <a:pt x="1127740" y="347608"/>
                        <a:pt x="1132261" y="354701"/>
                        <a:pt x="1130001" y="355715"/>
                      </a:cubicBezTo>
                      <a:cubicBezTo>
                        <a:pt x="1158254" y="355715"/>
                        <a:pt x="1165034" y="358755"/>
                        <a:pt x="1184246" y="350648"/>
                      </a:cubicBezTo>
                      <a:cubicBezTo>
                        <a:pt x="1184246" y="348621"/>
                        <a:pt x="1183116" y="342541"/>
                        <a:pt x="1184246" y="340514"/>
                      </a:cubicBezTo>
                      <a:cubicBezTo>
                        <a:pt x="1186507" y="341528"/>
                        <a:pt x="1189897" y="339501"/>
                        <a:pt x="1192157" y="340514"/>
                      </a:cubicBezTo>
                      <a:cubicBezTo>
                        <a:pt x="1194418" y="341528"/>
                        <a:pt x="1195547" y="349635"/>
                        <a:pt x="1197808" y="350648"/>
                      </a:cubicBezTo>
                      <a:cubicBezTo>
                        <a:pt x="1201198" y="352675"/>
                        <a:pt x="1207979" y="351661"/>
                        <a:pt x="1211369" y="352675"/>
                      </a:cubicBezTo>
                      <a:cubicBezTo>
                        <a:pt x="1206849" y="354701"/>
                        <a:pt x="1219280" y="354701"/>
                        <a:pt x="1219280" y="354701"/>
                      </a:cubicBezTo>
                      <a:cubicBezTo>
                        <a:pt x="1219280" y="354701"/>
                        <a:pt x="1219280" y="347608"/>
                        <a:pt x="1219280" y="347608"/>
                      </a:cubicBezTo>
                      <a:cubicBezTo>
                        <a:pt x="1221540" y="346595"/>
                        <a:pt x="1226061" y="353688"/>
                        <a:pt x="1230581" y="349635"/>
                      </a:cubicBezTo>
                      <a:lnTo>
                        <a:pt x="1238492" y="327341"/>
                      </a:lnTo>
                      <a:cubicBezTo>
                        <a:pt x="1238492" y="327341"/>
                        <a:pt x="1249793" y="330381"/>
                        <a:pt x="1254314" y="329367"/>
                      </a:cubicBezTo>
                      <a:cubicBezTo>
                        <a:pt x="1257704" y="328354"/>
                        <a:pt x="1267875" y="324301"/>
                        <a:pt x="1273526" y="322274"/>
                      </a:cubicBezTo>
                      <a:cubicBezTo>
                        <a:pt x="1267875" y="318221"/>
                        <a:pt x="1273526" y="298967"/>
                        <a:pt x="1279177" y="295927"/>
                      </a:cubicBezTo>
                      <a:cubicBezTo>
                        <a:pt x="1281437" y="294913"/>
                        <a:pt x="1280306" y="308087"/>
                        <a:pt x="1279177" y="313154"/>
                      </a:cubicBezTo>
                      <a:cubicBezTo>
                        <a:pt x="1283697" y="311127"/>
                        <a:pt x="1288217" y="315180"/>
                        <a:pt x="1292738" y="313154"/>
                      </a:cubicBezTo>
                      <a:lnTo>
                        <a:pt x="1292738" y="311127"/>
                      </a:lnTo>
                      <a:cubicBezTo>
                        <a:pt x="1296128" y="310114"/>
                        <a:pt x="1313080" y="293900"/>
                        <a:pt x="1314210" y="293900"/>
                      </a:cubicBezTo>
                      <a:cubicBezTo>
                        <a:pt x="1318731" y="292887"/>
                        <a:pt x="1319861" y="300993"/>
                        <a:pt x="1322121" y="300993"/>
                      </a:cubicBezTo>
                      <a:cubicBezTo>
                        <a:pt x="1323251" y="300993"/>
                        <a:pt x="1335683" y="296940"/>
                        <a:pt x="1341333" y="295927"/>
                      </a:cubicBezTo>
                      <a:cubicBezTo>
                        <a:pt x="1341333" y="295927"/>
                        <a:pt x="1333422" y="305047"/>
                        <a:pt x="1335683" y="306060"/>
                      </a:cubicBezTo>
                      <a:cubicBezTo>
                        <a:pt x="1348114" y="307074"/>
                        <a:pt x="1352634" y="296940"/>
                        <a:pt x="1341333" y="293900"/>
                      </a:cubicBezTo>
                      <a:cubicBezTo>
                        <a:pt x="1346984" y="294913"/>
                        <a:pt x="1357155" y="298967"/>
                        <a:pt x="1357155" y="298967"/>
                      </a:cubicBezTo>
                      <a:lnTo>
                        <a:pt x="1357155" y="293900"/>
                      </a:lnTo>
                      <a:cubicBezTo>
                        <a:pt x="1370716" y="290860"/>
                        <a:pt x="1388798" y="289847"/>
                        <a:pt x="1395579" y="281740"/>
                      </a:cubicBezTo>
                      <a:cubicBezTo>
                        <a:pt x="1396709" y="280726"/>
                        <a:pt x="1398969" y="271606"/>
                        <a:pt x="1397839" y="271606"/>
                      </a:cubicBezTo>
                      <a:cubicBezTo>
                        <a:pt x="1397839" y="271606"/>
                        <a:pt x="1382017" y="246272"/>
                        <a:pt x="1382017" y="245259"/>
                      </a:cubicBezTo>
                      <a:cubicBezTo>
                        <a:pt x="1383147" y="246272"/>
                        <a:pt x="1388798" y="245259"/>
                        <a:pt x="1389928" y="245259"/>
                      </a:cubicBezTo>
                      <a:cubicBezTo>
                        <a:pt x="1394449" y="254379"/>
                        <a:pt x="1401229" y="264513"/>
                        <a:pt x="1405750" y="274646"/>
                      </a:cubicBezTo>
                      <a:cubicBezTo>
                        <a:pt x="1412531" y="272619"/>
                        <a:pt x="1409140" y="277686"/>
                        <a:pt x="1413661" y="276673"/>
                      </a:cubicBezTo>
                      <a:cubicBezTo>
                        <a:pt x="1413661" y="276673"/>
                        <a:pt x="1423832" y="269579"/>
                        <a:pt x="1424962" y="269579"/>
                      </a:cubicBezTo>
                      <a:lnTo>
                        <a:pt x="1424962" y="274646"/>
                      </a:lnTo>
                      <a:lnTo>
                        <a:pt x="1427222" y="274646"/>
                      </a:lnTo>
                      <a:cubicBezTo>
                        <a:pt x="1430613" y="277686"/>
                        <a:pt x="1432873" y="280726"/>
                        <a:pt x="1435133" y="284780"/>
                      </a:cubicBezTo>
                      <a:cubicBezTo>
                        <a:pt x="1430613" y="284780"/>
                        <a:pt x="1388798" y="287820"/>
                        <a:pt x="1405750" y="291873"/>
                      </a:cubicBezTo>
                      <a:cubicBezTo>
                        <a:pt x="1429482" y="297953"/>
                        <a:pt x="1458866" y="297953"/>
                        <a:pt x="1479208" y="298967"/>
                      </a:cubicBezTo>
                      <a:cubicBezTo>
                        <a:pt x="1473557" y="302007"/>
                        <a:pt x="1482598" y="311127"/>
                        <a:pt x="1476947" y="311127"/>
                      </a:cubicBezTo>
                      <a:lnTo>
                        <a:pt x="1469037" y="306060"/>
                      </a:lnTo>
                      <a:cubicBezTo>
                        <a:pt x="1446434" y="304034"/>
                        <a:pt x="1428352" y="302007"/>
                        <a:pt x="1406880" y="304034"/>
                      </a:cubicBezTo>
                      <a:cubicBezTo>
                        <a:pt x="1402360" y="304034"/>
                        <a:pt x="1388798" y="309100"/>
                        <a:pt x="1379757" y="306060"/>
                      </a:cubicBezTo>
                      <a:cubicBezTo>
                        <a:pt x="1376367" y="305047"/>
                        <a:pt x="1374107" y="298967"/>
                        <a:pt x="1368456" y="298967"/>
                      </a:cubicBezTo>
                      <a:cubicBezTo>
                        <a:pt x="1363936" y="298967"/>
                        <a:pt x="1324381" y="313154"/>
                        <a:pt x="1319861" y="316194"/>
                      </a:cubicBezTo>
                      <a:cubicBezTo>
                        <a:pt x="1319861" y="316194"/>
                        <a:pt x="1317601" y="321261"/>
                        <a:pt x="1317601" y="321261"/>
                      </a:cubicBezTo>
                      <a:cubicBezTo>
                        <a:pt x="1314210" y="322274"/>
                        <a:pt x="1309690" y="320247"/>
                        <a:pt x="1306299" y="321261"/>
                      </a:cubicBezTo>
                      <a:cubicBezTo>
                        <a:pt x="1310820" y="319234"/>
                        <a:pt x="1296128" y="319234"/>
                        <a:pt x="1294998" y="319234"/>
                      </a:cubicBezTo>
                      <a:cubicBezTo>
                        <a:pt x="1290478" y="334434"/>
                        <a:pt x="1288217" y="339501"/>
                        <a:pt x="1289348" y="355715"/>
                      </a:cubicBezTo>
                      <a:cubicBezTo>
                        <a:pt x="1293868" y="356728"/>
                        <a:pt x="1292738" y="353688"/>
                        <a:pt x="1294998" y="357741"/>
                      </a:cubicBezTo>
                      <a:cubicBezTo>
                        <a:pt x="1298388" y="356728"/>
                        <a:pt x="1302909" y="358755"/>
                        <a:pt x="1306299" y="357741"/>
                      </a:cubicBezTo>
                      <a:cubicBezTo>
                        <a:pt x="1315340" y="355715"/>
                        <a:pt x="1327772" y="343554"/>
                        <a:pt x="1339073" y="343554"/>
                      </a:cubicBezTo>
                      <a:cubicBezTo>
                        <a:pt x="1350374" y="343554"/>
                        <a:pt x="1336812" y="348621"/>
                        <a:pt x="1344723" y="350648"/>
                      </a:cubicBezTo>
                      <a:cubicBezTo>
                        <a:pt x="1360545" y="354701"/>
                        <a:pt x="1376367" y="347608"/>
                        <a:pt x="1383147" y="343554"/>
                      </a:cubicBezTo>
                      <a:cubicBezTo>
                        <a:pt x="1391058" y="338488"/>
                        <a:pt x="1397839" y="332407"/>
                        <a:pt x="1404620" y="326327"/>
                      </a:cubicBezTo>
                      <a:cubicBezTo>
                        <a:pt x="1403490" y="345581"/>
                        <a:pt x="1401229" y="345581"/>
                        <a:pt x="1391058" y="357741"/>
                      </a:cubicBezTo>
                      <a:cubicBezTo>
                        <a:pt x="1394449" y="360781"/>
                        <a:pt x="1395579" y="358755"/>
                        <a:pt x="1402360" y="359768"/>
                      </a:cubicBezTo>
                      <a:cubicBezTo>
                        <a:pt x="1404620" y="367875"/>
                        <a:pt x="1405750" y="369902"/>
                        <a:pt x="1408010" y="373955"/>
                      </a:cubicBezTo>
                      <a:cubicBezTo>
                        <a:pt x="1405750" y="374968"/>
                        <a:pt x="1413661" y="379022"/>
                        <a:pt x="1413661" y="379022"/>
                      </a:cubicBezTo>
                      <a:cubicBezTo>
                        <a:pt x="1415921" y="376995"/>
                        <a:pt x="1418181" y="371928"/>
                        <a:pt x="1419311" y="368888"/>
                      </a:cubicBezTo>
                      <a:lnTo>
                        <a:pt x="1424962" y="368888"/>
                      </a:lnTo>
                      <a:lnTo>
                        <a:pt x="1430613" y="379022"/>
                      </a:lnTo>
                      <a:cubicBezTo>
                        <a:pt x="1441914" y="383075"/>
                        <a:pt x="1463386" y="373955"/>
                        <a:pt x="1459996" y="376995"/>
                      </a:cubicBezTo>
                      <a:cubicBezTo>
                        <a:pt x="1457735" y="378009"/>
                        <a:pt x="1454345" y="382062"/>
                        <a:pt x="1452085" y="384089"/>
                      </a:cubicBezTo>
                      <a:cubicBezTo>
                        <a:pt x="1453215" y="387129"/>
                        <a:pt x="1456605" y="391182"/>
                        <a:pt x="1454345" y="394222"/>
                      </a:cubicBezTo>
                      <a:cubicBezTo>
                        <a:pt x="1453215" y="395236"/>
                        <a:pt x="1444174" y="394222"/>
                        <a:pt x="1443044" y="394222"/>
                      </a:cubicBezTo>
                      <a:lnTo>
                        <a:pt x="1440784" y="404356"/>
                      </a:lnTo>
                      <a:cubicBezTo>
                        <a:pt x="1430613" y="406383"/>
                        <a:pt x="1431743" y="398276"/>
                        <a:pt x="1427222" y="397262"/>
                      </a:cubicBezTo>
                      <a:cubicBezTo>
                        <a:pt x="1417051" y="395236"/>
                        <a:pt x="1396709" y="401316"/>
                        <a:pt x="1392189" y="399289"/>
                      </a:cubicBezTo>
                      <a:cubicBezTo>
                        <a:pt x="1391058" y="399289"/>
                        <a:pt x="1383147" y="380035"/>
                        <a:pt x="1380887" y="380035"/>
                      </a:cubicBezTo>
                      <a:cubicBezTo>
                        <a:pt x="1377497" y="378009"/>
                        <a:pt x="1368456" y="381049"/>
                        <a:pt x="1365065" y="380035"/>
                      </a:cubicBezTo>
                      <a:cubicBezTo>
                        <a:pt x="1359415" y="378009"/>
                        <a:pt x="1353764" y="367875"/>
                        <a:pt x="1345854" y="365848"/>
                      </a:cubicBezTo>
                      <a:cubicBezTo>
                        <a:pt x="1332292" y="361795"/>
                        <a:pt x="1299519" y="367875"/>
                        <a:pt x="1280306" y="370915"/>
                      </a:cubicBezTo>
                      <a:cubicBezTo>
                        <a:pt x="1280306" y="371928"/>
                        <a:pt x="1285957" y="384089"/>
                        <a:pt x="1282567" y="385102"/>
                      </a:cubicBezTo>
                      <a:cubicBezTo>
                        <a:pt x="1284827" y="386115"/>
                        <a:pt x="1289348" y="392196"/>
                        <a:pt x="1290478" y="392196"/>
                      </a:cubicBezTo>
                      <a:cubicBezTo>
                        <a:pt x="1293868" y="393209"/>
                        <a:pt x="1300649" y="392196"/>
                        <a:pt x="1304039" y="392196"/>
                      </a:cubicBezTo>
                      <a:cubicBezTo>
                        <a:pt x="1304039" y="393209"/>
                        <a:pt x="1306299" y="397262"/>
                        <a:pt x="1306299" y="397262"/>
                      </a:cubicBezTo>
                      <a:cubicBezTo>
                        <a:pt x="1306299" y="399289"/>
                        <a:pt x="1307430" y="405369"/>
                        <a:pt x="1308559" y="409423"/>
                      </a:cubicBezTo>
                      <a:cubicBezTo>
                        <a:pt x="1266745" y="418543"/>
                        <a:pt x="1252053" y="412463"/>
                        <a:pt x="1224931" y="435770"/>
                      </a:cubicBezTo>
                      <a:cubicBezTo>
                        <a:pt x="1223800" y="436783"/>
                        <a:pt x="1217020" y="437797"/>
                        <a:pt x="1217020" y="437797"/>
                      </a:cubicBezTo>
                      <a:cubicBezTo>
                        <a:pt x="1222671" y="448944"/>
                        <a:pt x="1224931" y="456037"/>
                        <a:pt x="1230581" y="467184"/>
                      </a:cubicBezTo>
                      <a:cubicBezTo>
                        <a:pt x="1230581" y="467184"/>
                        <a:pt x="1238492" y="467184"/>
                        <a:pt x="1238492" y="467184"/>
                      </a:cubicBezTo>
                      <a:cubicBezTo>
                        <a:pt x="1238492" y="467184"/>
                        <a:pt x="1238492" y="460090"/>
                        <a:pt x="1238492" y="460090"/>
                      </a:cubicBezTo>
                      <a:lnTo>
                        <a:pt x="1240752" y="460090"/>
                      </a:lnTo>
                      <a:lnTo>
                        <a:pt x="1240752" y="455024"/>
                      </a:lnTo>
                      <a:cubicBezTo>
                        <a:pt x="1240752" y="455024"/>
                        <a:pt x="1248663" y="455024"/>
                        <a:pt x="1243013" y="457050"/>
                      </a:cubicBezTo>
                      <a:cubicBezTo>
                        <a:pt x="1245273" y="458064"/>
                        <a:pt x="1249793" y="457050"/>
                        <a:pt x="1250924" y="457050"/>
                      </a:cubicBezTo>
                      <a:lnTo>
                        <a:pt x="1253184" y="467184"/>
                      </a:lnTo>
                      <a:cubicBezTo>
                        <a:pt x="1266745" y="473264"/>
                        <a:pt x="1280306" y="466171"/>
                        <a:pt x="1288217" y="465157"/>
                      </a:cubicBezTo>
                      <a:cubicBezTo>
                        <a:pt x="1287087" y="464144"/>
                        <a:pt x="1289348" y="456037"/>
                        <a:pt x="1282567" y="460090"/>
                      </a:cubicBezTo>
                      <a:lnTo>
                        <a:pt x="1282567" y="455024"/>
                      </a:lnTo>
                      <a:cubicBezTo>
                        <a:pt x="1285957" y="452997"/>
                        <a:pt x="1289348" y="451984"/>
                        <a:pt x="1290478" y="447930"/>
                      </a:cubicBezTo>
                      <a:cubicBezTo>
                        <a:pt x="1292738" y="450970"/>
                        <a:pt x="1299519" y="451984"/>
                        <a:pt x="1301779" y="455024"/>
                      </a:cubicBezTo>
                      <a:cubicBezTo>
                        <a:pt x="1302909" y="456037"/>
                        <a:pt x="1301779" y="461104"/>
                        <a:pt x="1301779" y="462117"/>
                      </a:cubicBezTo>
                      <a:cubicBezTo>
                        <a:pt x="1310820" y="462117"/>
                        <a:pt x="1311950" y="467184"/>
                        <a:pt x="1311950" y="467184"/>
                      </a:cubicBezTo>
                      <a:cubicBezTo>
                        <a:pt x="1311950" y="467184"/>
                        <a:pt x="1311950" y="464144"/>
                        <a:pt x="1315340" y="455024"/>
                      </a:cubicBezTo>
                      <a:lnTo>
                        <a:pt x="1320991" y="449957"/>
                      </a:lnTo>
                      <a:cubicBezTo>
                        <a:pt x="1322121" y="450970"/>
                        <a:pt x="1320991" y="458064"/>
                        <a:pt x="1320991" y="460090"/>
                      </a:cubicBezTo>
                      <a:cubicBezTo>
                        <a:pt x="1327772" y="462117"/>
                        <a:pt x="1336812" y="466171"/>
                        <a:pt x="1342463" y="467184"/>
                      </a:cubicBezTo>
                      <a:cubicBezTo>
                        <a:pt x="1353764" y="469211"/>
                        <a:pt x="1360545" y="463131"/>
                        <a:pt x="1371846" y="469211"/>
                      </a:cubicBezTo>
                      <a:cubicBezTo>
                        <a:pt x="1375237" y="471237"/>
                        <a:pt x="1374107" y="474277"/>
                        <a:pt x="1377497" y="476304"/>
                      </a:cubicBezTo>
                      <a:cubicBezTo>
                        <a:pt x="1378627" y="474277"/>
                        <a:pt x="1377497" y="468197"/>
                        <a:pt x="1377497" y="466171"/>
                      </a:cubicBezTo>
                      <a:cubicBezTo>
                        <a:pt x="1398969" y="457050"/>
                        <a:pt x="1398969" y="459077"/>
                        <a:pt x="1385408" y="441850"/>
                      </a:cubicBezTo>
                      <a:cubicBezTo>
                        <a:pt x="1409140" y="448944"/>
                        <a:pt x="1398969" y="447930"/>
                        <a:pt x="1412531" y="436783"/>
                      </a:cubicBezTo>
                      <a:cubicBezTo>
                        <a:pt x="1413661" y="435770"/>
                        <a:pt x="1418181" y="434757"/>
                        <a:pt x="1418181" y="434757"/>
                      </a:cubicBezTo>
                      <a:lnTo>
                        <a:pt x="1418181" y="429690"/>
                      </a:lnTo>
                      <a:cubicBezTo>
                        <a:pt x="1424962" y="426650"/>
                        <a:pt x="1420442" y="448944"/>
                        <a:pt x="1420442" y="446917"/>
                      </a:cubicBezTo>
                      <a:cubicBezTo>
                        <a:pt x="1420442" y="447930"/>
                        <a:pt x="1421571" y="454010"/>
                        <a:pt x="1420442" y="454010"/>
                      </a:cubicBezTo>
                      <a:cubicBezTo>
                        <a:pt x="1431743" y="452997"/>
                        <a:pt x="1447564" y="448944"/>
                        <a:pt x="1453215" y="448944"/>
                      </a:cubicBezTo>
                      <a:cubicBezTo>
                        <a:pt x="1454345" y="448944"/>
                        <a:pt x="1466776" y="454010"/>
                        <a:pt x="1466776" y="454010"/>
                      </a:cubicBezTo>
                      <a:cubicBezTo>
                        <a:pt x="1472427" y="454010"/>
                        <a:pt x="1476947" y="449957"/>
                        <a:pt x="1480338" y="448944"/>
                      </a:cubicBezTo>
                      <a:cubicBezTo>
                        <a:pt x="1482598" y="447930"/>
                        <a:pt x="1483728" y="450970"/>
                        <a:pt x="1485988" y="450970"/>
                      </a:cubicBezTo>
                      <a:cubicBezTo>
                        <a:pt x="1487118" y="447930"/>
                        <a:pt x="1489379" y="447930"/>
                        <a:pt x="1491639" y="445903"/>
                      </a:cubicBezTo>
                      <a:cubicBezTo>
                        <a:pt x="1489379" y="435770"/>
                        <a:pt x="1488249" y="431716"/>
                        <a:pt x="1485988" y="423610"/>
                      </a:cubicBezTo>
                      <a:cubicBezTo>
                        <a:pt x="1490509" y="426650"/>
                        <a:pt x="1493899" y="427663"/>
                        <a:pt x="1499550" y="430703"/>
                      </a:cubicBezTo>
                      <a:cubicBezTo>
                        <a:pt x="1498420" y="432730"/>
                        <a:pt x="1493899" y="436783"/>
                        <a:pt x="1497290" y="440837"/>
                      </a:cubicBezTo>
                      <a:cubicBezTo>
                        <a:pt x="1506330" y="454010"/>
                        <a:pt x="1510851" y="443877"/>
                        <a:pt x="1518762" y="442863"/>
                      </a:cubicBezTo>
                      <a:cubicBezTo>
                        <a:pt x="1515371" y="440837"/>
                        <a:pt x="1523282" y="439823"/>
                        <a:pt x="1524412" y="440837"/>
                      </a:cubicBezTo>
                      <a:cubicBezTo>
                        <a:pt x="1526673" y="441850"/>
                        <a:pt x="1528933" y="446917"/>
                        <a:pt x="1532323" y="447930"/>
                      </a:cubicBezTo>
                      <a:cubicBezTo>
                        <a:pt x="1531193" y="461104"/>
                        <a:pt x="1531193" y="464144"/>
                        <a:pt x="1532323" y="477318"/>
                      </a:cubicBezTo>
                      <a:cubicBezTo>
                        <a:pt x="1533453" y="477318"/>
                        <a:pt x="1544755" y="478331"/>
                        <a:pt x="1540234" y="475291"/>
                      </a:cubicBezTo>
                      <a:cubicBezTo>
                        <a:pt x="1542494" y="476304"/>
                        <a:pt x="1551535" y="477318"/>
                        <a:pt x="1551535" y="477318"/>
                      </a:cubicBezTo>
                      <a:cubicBezTo>
                        <a:pt x="1556056" y="475291"/>
                        <a:pt x="1556056" y="468197"/>
                        <a:pt x="1559446" y="465157"/>
                      </a:cubicBezTo>
                      <a:cubicBezTo>
                        <a:pt x="1566227" y="460090"/>
                        <a:pt x="1574137" y="458064"/>
                        <a:pt x="1580918" y="452997"/>
                      </a:cubicBezTo>
                      <a:lnTo>
                        <a:pt x="1583179" y="450970"/>
                      </a:lnTo>
                      <a:lnTo>
                        <a:pt x="1583179" y="445903"/>
                      </a:lnTo>
                      <a:cubicBezTo>
                        <a:pt x="1587699" y="448944"/>
                        <a:pt x="1588829" y="450970"/>
                        <a:pt x="1591089" y="456037"/>
                      </a:cubicBezTo>
                      <a:cubicBezTo>
                        <a:pt x="1593350" y="455024"/>
                        <a:pt x="1599000" y="457050"/>
                        <a:pt x="1602390" y="456037"/>
                      </a:cubicBezTo>
                      <a:cubicBezTo>
                        <a:pt x="1603521" y="456037"/>
                        <a:pt x="1606911" y="449957"/>
                        <a:pt x="1608041" y="448944"/>
                      </a:cubicBezTo>
                      <a:cubicBezTo>
                        <a:pt x="1617082" y="442863"/>
                        <a:pt x="1628383" y="436783"/>
                        <a:pt x="1637424" y="431716"/>
                      </a:cubicBezTo>
                      <a:cubicBezTo>
                        <a:pt x="1634034" y="429690"/>
                        <a:pt x="1631774" y="424623"/>
                        <a:pt x="1629514" y="421583"/>
                      </a:cubicBezTo>
                      <a:cubicBezTo>
                        <a:pt x="1623863" y="422596"/>
                        <a:pt x="1617082" y="426650"/>
                        <a:pt x="1610301" y="423610"/>
                      </a:cubicBezTo>
                      <a:cubicBezTo>
                        <a:pt x="1608041" y="422596"/>
                        <a:pt x="1597870" y="406383"/>
                        <a:pt x="1594480" y="404356"/>
                      </a:cubicBezTo>
                      <a:cubicBezTo>
                        <a:pt x="1584309" y="399289"/>
                        <a:pt x="1570747" y="401316"/>
                        <a:pt x="1556056" y="399289"/>
                      </a:cubicBezTo>
                      <a:cubicBezTo>
                        <a:pt x="1582048" y="394222"/>
                        <a:pt x="1608041" y="393209"/>
                        <a:pt x="1635164" y="387129"/>
                      </a:cubicBezTo>
                      <a:cubicBezTo>
                        <a:pt x="1632904" y="374968"/>
                        <a:pt x="1634034" y="365848"/>
                        <a:pt x="1632904" y="360781"/>
                      </a:cubicBezTo>
                      <a:cubicBezTo>
                        <a:pt x="1647595" y="361795"/>
                        <a:pt x="1666807" y="369902"/>
                        <a:pt x="1684889" y="365848"/>
                      </a:cubicBezTo>
                      <a:lnTo>
                        <a:pt x="1690540" y="360781"/>
                      </a:lnTo>
                      <a:cubicBezTo>
                        <a:pt x="1695060" y="359768"/>
                        <a:pt x="1701841" y="362808"/>
                        <a:pt x="1706362" y="360781"/>
                      </a:cubicBezTo>
                      <a:cubicBezTo>
                        <a:pt x="1707492" y="360781"/>
                        <a:pt x="1708622" y="356728"/>
                        <a:pt x="1708622" y="355715"/>
                      </a:cubicBezTo>
                      <a:cubicBezTo>
                        <a:pt x="1714273" y="356728"/>
                        <a:pt x="1712012" y="350648"/>
                        <a:pt x="1714273" y="348621"/>
                      </a:cubicBezTo>
                      <a:cubicBezTo>
                        <a:pt x="1704101" y="346595"/>
                        <a:pt x="1681499" y="344568"/>
                        <a:pt x="1706362" y="341528"/>
                      </a:cubicBezTo>
                      <a:cubicBezTo>
                        <a:pt x="1719923" y="339501"/>
                        <a:pt x="1750436" y="344568"/>
                        <a:pt x="1725574" y="331394"/>
                      </a:cubicBezTo>
                      <a:lnTo>
                        <a:pt x="1725574" y="329367"/>
                      </a:lnTo>
                      <a:cubicBezTo>
                        <a:pt x="1751566" y="329367"/>
                        <a:pt x="1753827" y="327341"/>
                        <a:pt x="1768518" y="319234"/>
                      </a:cubicBezTo>
                      <a:lnTo>
                        <a:pt x="1768518" y="314167"/>
                      </a:lnTo>
                      <a:cubicBezTo>
                        <a:pt x="1762868" y="310114"/>
                        <a:pt x="1766258" y="311127"/>
                        <a:pt x="1762868" y="304034"/>
                      </a:cubicBezTo>
                      <a:cubicBezTo>
                        <a:pt x="1752697" y="305047"/>
                        <a:pt x="1745916" y="308087"/>
                        <a:pt x="1735745" y="306060"/>
                      </a:cubicBezTo>
                      <a:cubicBezTo>
                        <a:pt x="1735745" y="306060"/>
                        <a:pt x="1735745" y="298967"/>
                        <a:pt x="1735745" y="298967"/>
                      </a:cubicBezTo>
                      <a:cubicBezTo>
                        <a:pt x="1727834" y="297953"/>
                        <a:pt x="1712012" y="293900"/>
                        <a:pt x="1710882" y="293900"/>
                      </a:cubicBezTo>
                      <a:cubicBezTo>
                        <a:pt x="1705231" y="293900"/>
                        <a:pt x="1702971" y="297953"/>
                        <a:pt x="1699581" y="298967"/>
                      </a:cubicBezTo>
                      <a:cubicBezTo>
                        <a:pt x="1693930" y="299980"/>
                        <a:pt x="1688280" y="297953"/>
                        <a:pt x="1683759" y="298967"/>
                      </a:cubicBezTo>
                      <a:lnTo>
                        <a:pt x="1678109" y="304034"/>
                      </a:lnTo>
                      <a:cubicBezTo>
                        <a:pt x="1661157" y="308087"/>
                        <a:pt x="1652116" y="310114"/>
                        <a:pt x="1637424" y="314167"/>
                      </a:cubicBezTo>
                      <a:cubicBezTo>
                        <a:pt x="1639685" y="312140"/>
                        <a:pt x="1637424" y="307074"/>
                        <a:pt x="1639685" y="304034"/>
                      </a:cubicBezTo>
                      <a:cubicBezTo>
                        <a:pt x="1641945" y="302007"/>
                        <a:pt x="1653246" y="297953"/>
                        <a:pt x="1655506" y="296940"/>
                      </a:cubicBezTo>
                      <a:cubicBezTo>
                        <a:pt x="1660027" y="299980"/>
                        <a:pt x="1653246" y="289847"/>
                        <a:pt x="1653246" y="289847"/>
                      </a:cubicBezTo>
                      <a:cubicBezTo>
                        <a:pt x="1639685" y="286806"/>
                        <a:pt x="1632904" y="286806"/>
                        <a:pt x="1618212" y="284780"/>
                      </a:cubicBezTo>
                      <a:cubicBezTo>
                        <a:pt x="1618212" y="284780"/>
                        <a:pt x="1623863" y="279713"/>
                        <a:pt x="1626123" y="279713"/>
                      </a:cubicBezTo>
                      <a:cubicBezTo>
                        <a:pt x="1626123" y="279713"/>
                        <a:pt x="1661157" y="285793"/>
                        <a:pt x="1664547" y="286806"/>
                      </a:cubicBezTo>
                      <a:cubicBezTo>
                        <a:pt x="1664547" y="286806"/>
                        <a:pt x="1671328" y="293900"/>
                        <a:pt x="1672458" y="293900"/>
                      </a:cubicBezTo>
                      <a:cubicBezTo>
                        <a:pt x="1675848" y="293900"/>
                        <a:pt x="1683759" y="289847"/>
                        <a:pt x="1691670" y="288833"/>
                      </a:cubicBezTo>
                      <a:cubicBezTo>
                        <a:pt x="1696191" y="287820"/>
                        <a:pt x="1726704" y="286806"/>
                        <a:pt x="1705231" y="276673"/>
                      </a:cubicBezTo>
                      <a:cubicBezTo>
                        <a:pt x="1695060" y="272619"/>
                        <a:pt x="1688280" y="274646"/>
                        <a:pt x="1678109" y="271606"/>
                      </a:cubicBezTo>
                      <a:cubicBezTo>
                        <a:pt x="1679239" y="271606"/>
                        <a:pt x="1670198" y="266539"/>
                        <a:pt x="1670198" y="266539"/>
                      </a:cubicBezTo>
                      <a:cubicBezTo>
                        <a:pt x="1687149" y="268566"/>
                        <a:pt x="1697321" y="267553"/>
                        <a:pt x="1713142" y="271606"/>
                      </a:cubicBezTo>
                      <a:cubicBezTo>
                        <a:pt x="1715402" y="271606"/>
                        <a:pt x="1721053" y="276673"/>
                        <a:pt x="1724444" y="276673"/>
                      </a:cubicBezTo>
                      <a:cubicBezTo>
                        <a:pt x="1725574" y="276673"/>
                        <a:pt x="1733484" y="271606"/>
                        <a:pt x="1735745" y="271606"/>
                      </a:cubicBezTo>
                      <a:lnTo>
                        <a:pt x="1730094" y="264513"/>
                      </a:lnTo>
                      <a:cubicBezTo>
                        <a:pt x="1710882" y="259446"/>
                        <a:pt x="1691670" y="259446"/>
                        <a:pt x="1667938" y="259446"/>
                      </a:cubicBezTo>
                      <a:cubicBezTo>
                        <a:pt x="1671328" y="258432"/>
                        <a:pt x="1670198" y="250326"/>
                        <a:pt x="1667938" y="249312"/>
                      </a:cubicBezTo>
                      <a:cubicBezTo>
                        <a:pt x="1679239" y="251339"/>
                        <a:pt x="1684889" y="251339"/>
                        <a:pt x="1695060" y="254379"/>
                      </a:cubicBezTo>
                      <a:cubicBezTo>
                        <a:pt x="1696191" y="253366"/>
                        <a:pt x="1699581" y="245259"/>
                        <a:pt x="1700711" y="244245"/>
                      </a:cubicBezTo>
                      <a:cubicBezTo>
                        <a:pt x="1701841" y="243232"/>
                        <a:pt x="1705231" y="246272"/>
                        <a:pt x="1708622" y="244245"/>
                      </a:cubicBezTo>
                      <a:cubicBezTo>
                        <a:pt x="1709752" y="245259"/>
                        <a:pt x="1709752" y="250326"/>
                        <a:pt x="1710882" y="251339"/>
                      </a:cubicBezTo>
                      <a:cubicBezTo>
                        <a:pt x="1717663" y="257419"/>
                        <a:pt x="1732354" y="260459"/>
                        <a:pt x="1740265" y="258432"/>
                      </a:cubicBezTo>
                      <a:cubicBezTo>
                        <a:pt x="1740265" y="258432"/>
                        <a:pt x="1730094" y="247286"/>
                        <a:pt x="1745916" y="251339"/>
                      </a:cubicBezTo>
                      <a:cubicBezTo>
                        <a:pt x="1745916" y="251339"/>
                        <a:pt x="1760607" y="259446"/>
                        <a:pt x="1765128" y="261473"/>
                      </a:cubicBezTo>
                      <a:cubicBezTo>
                        <a:pt x="1767388" y="259446"/>
                        <a:pt x="1775299" y="249312"/>
                        <a:pt x="1776429" y="249312"/>
                      </a:cubicBezTo>
                      <a:cubicBezTo>
                        <a:pt x="1779819" y="250326"/>
                        <a:pt x="1783210" y="256406"/>
                        <a:pt x="1784340" y="256406"/>
                      </a:cubicBezTo>
                      <a:cubicBezTo>
                        <a:pt x="1802422" y="261473"/>
                        <a:pt x="1815983" y="254379"/>
                        <a:pt x="1832935" y="254379"/>
                      </a:cubicBezTo>
                      <a:cubicBezTo>
                        <a:pt x="1832935" y="254379"/>
                        <a:pt x="1835195" y="247286"/>
                        <a:pt x="1835195" y="244245"/>
                      </a:cubicBezTo>
                      <a:cubicBezTo>
                        <a:pt x="1832935" y="242219"/>
                        <a:pt x="1830675" y="242219"/>
                        <a:pt x="1829545" y="239179"/>
                      </a:cubicBezTo>
                      <a:cubicBezTo>
                        <a:pt x="1815983" y="238165"/>
                        <a:pt x="1844236" y="239179"/>
                        <a:pt x="1845366" y="239179"/>
                      </a:cubicBezTo>
                      <a:cubicBezTo>
                        <a:pt x="1847627" y="238165"/>
                        <a:pt x="1851017" y="230058"/>
                        <a:pt x="1853277" y="229045"/>
                      </a:cubicBezTo>
                      <a:cubicBezTo>
                        <a:pt x="1853277" y="229045"/>
                        <a:pt x="1892831" y="224992"/>
                        <a:pt x="1878140" y="221952"/>
                      </a:cubicBezTo>
                      <a:cubicBezTo>
                        <a:pt x="1872489" y="220938"/>
                        <a:pt x="1866839" y="218912"/>
                        <a:pt x="1858928" y="216885"/>
                      </a:cubicBezTo>
                      <a:cubicBezTo>
                        <a:pt x="1858928" y="215871"/>
                        <a:pt x="1862318" y="211818"/>
                        <a:pt x="1861188" y="211818"/>
                      </a:cubicBezTo>
                      <a:lnTo>
                        <a:pt x="1866839" y="206751"/>
                      </a:lnTo>
                      <a:cubicBezTo>
                        <a:pt x="1873619" y="206751"/>
                        <a:pt x="1875880" y="212831"/>
                        <a:pt x="1880400" y="213845"/>
                      </a:cubicBezTo>
                      <a:cubicBezTo>
                        <a:pt x="1896222" y="218912"/>
                        <a:pt x="1898482" y="212831"/>
                        <a:pt x="1907523" y="208778"/>
                      </a:cubicBezTo>
                      <a:lnTo>
                        <a:pt x="1907523" y="207765"/>
                      </a:lnTo>
                      <a:cubicBezTo>
                        <a:pt x="1912044" y="204725"/>
                        <a:pt x="1917694" y="208778"/>
                        <a:pt x="1921084" y="205738"/>
                      </a:cubicBezTo>
                      <a:cubicBezTo>
                        <a:pt x="1924475" y="201684"/>
                        <a:pt x="1918824" y="197631"/>
                        <a:pt x="1918824" y="195604"/>
                      </a:cubicBezTo>
                      <a:cubicBezTo>
                        <a:pt x="1922215" y="192564"/>
                        <a:pt x="1925605" y="192564"/>
                        <a:pt x="1926735" y="188511"/>
                      </a:cubicBezTo>
                      <a:cubicBezTo>
                        <a:pt x="1941426" y="208778"/>
                        <a:pt x="1944817" y="196618"/>
                        <a:pt x="1942557" y="195604"/>
                      </a:cubicBezTo>
                      <a:cubicBezTo>
                        <a:pt x="1944817" y="196618"/>
                        <a:pt x="1947077" y="199658"/>
                        <a:pt x="1950468" y="197631"/>
                      </a:cubicBezTo>
                      <a:cubicBezTo>
                        <a:pt x="1951598" y="196618"/>
                        <a:pt x="1953858" y="188511"/>
                        <a:pt x="1956118" y="187497"/>
                      </a:cubicBezTo>
                      <a:cubicBezTo>
                        <a:pt x="1964029" y="182431"/>
                        <a:pt x="1973070" y="184457"/>
                        <a:pt x="1983241" y="180404"/>
                      </a:cubicBezTo>
                      <a:cubicBezTo>
                        <a:pt x="1985501" y="179391"/>
                        <a:pt x="1988892" y="172297"/>
                        <a:pt x="1991152" y="170270"/>
                      </a:cubicBezTo>
                      <a:cubicBezTo>
                        <a:pt x="1995672" y="167230"/>
                        <a:pt x="2003583" y="168244"/>
                        <a:pt x="2006974" y="165204"/>
                      </a:cubicBezTo>
                      <a:cubicBezTo>
                        <a:pt x="2008104" y="164190"/>
                        <a:pt x="2006974" y="158110"/>
                        <a:pt x="2009234" y="158110"/>
                      </a:cubicBezTo>
                      <a:cubicBezTo>
                        <a:pt x="2017145" y="156083"/>
                        <a:pt x="2023925" y="161150"/>
                        <a:pt x="2034096" y="160137"/>
                      </a:cubicBezTo>
                      <a:cubicBezTo>
                        <a:pt x="2038617" y="160137"/>
                        <a:pt x="2055569" y="153043"/>
                        <a:pt x="2058959" y="153043"/>
                      </a:cubicBezTo>
                      <a:cubicBezTo>
                        <a:pt x="2088342" y="146963"/>
                        <a:pt x="2106424" y="145950"/>
                        <a:pt x="2126766" y="133790"/>
                      </a:cubicBezTo>
                      <a:cubicBezTo>
                        <a:pt x="2131287" y="130749"/>
                        <a:pt x="2131287" y="124669"/>
                        <a:pt x="2134677" y="121629"/>
                      </a:cubicBezTo>
                      <a:cubicBezTo>
                        <a:pt x="2129026" y="122643"/>
                        <a:pt x="2125636" y="119603"/>
                        <a:pt x="2115465" y="121629"/>
                      </a:cubicBezTo>
                      <a:cubicBezTo>
                        <a:pt x="2106424" y="123656"/>
                        <a:pt x="2091732" y="131763"/>
                        <a:pt x="2082691" y="133790"/>
                      </a:cubicBezTo>
                      <a:cubicBezTo>
                        <a:pt x="2071390" y="135816"/>
                        <a:pt x="2044267" y="135816"/>
                        <a:pt x="2047658" y="133790"/>
                      </a:cubicBezTo>
                      <a:lnTo>
                        <a:pt x="2053308" y="128723"/>
                      </a:lnTo>
                      <a:cubicBezTo>
                        <a:pt x="2066870" y="124669"/>
                        <a:pt x="2080431" y="126696"/>
                        <a:pt x="2093993" y="123656"/>
                      </a:cubicBezTo>
                      <a:cubicBezTo>
                        <a:pt x="2092863" y="121629"/>
                        <a:pt x="2095123" y="120616"/>
                        <a:pt x="2096253" y="118589"/>
                      </a:cubicBezTo>
                      <a:cubicBezTo>
                        <a:pt x="2096253" y="118589"/>
                        <a:pt x="2088342" y="113522"/>
                        <a:pt x="2090602" y="113522"/>
                      </a:cubicBezTo>
                      <a:cubicBezTo>
                        <a:pt x="2095123" y="112509"/>
                        <a:pt x="2101904" y="117576"/>
                        <a:pt x="2104164" y="118589"/>
                      </a:cubicBezTo>
                      <a:cubicBezTo>
                        <a:pt x="2107554" y="118589"/>
                        <a:pt x="2130157" y="115549"/>
                        <a:pt x="2133547" y="113522"/>
                      </a:cubicBezTo>
                      <a:cubicBezTo>
                        <a:pt x="2138068" y="111496"/>
                        <a:pt x="2142588" y="100349"/>
                        <a:pt x="2147108" y="99335"/>
                      </a:cubicBezTo>
                      <a:cubicBezTo>
                        <a:pt x="2152759" y="97309"/>
                        <a:pt x="2162930" y="101362"/>
                        <a:pt x="2168581" y="99335"/>
                      </a:cubicBezTo>
                      <a:lnTo>
                        <a:pt x="2168581" y="96295"/>
                      </a:lnTo>
                      <a:cubicBezTo>
                        <a:pt x="2173101" y="95282"/>
                        <a:pt x="2179882" y="96295"/>
                        <a:pt x="2184402" y="94269"/>
                      </a:cubicBezTo>
                      <a:cubicBezTo>
                        <a:pt x="2186663" y="93255"/>
                        <a:pt x="2190053" y="85148"/>
                        <a:pt x="2192313" y="84135"/>
                      </a:cubicBezTo>
                      <a:cubicBezTo>
                        <a:pt x="2196834" y="82108"/>
                        <a:pt x="2203614" y="85148"/>
                        <a:pt x="2208135" y="84135"/>
                      </a:cubicBezTo>
                      <a:lnTo>
                        <a:pt x="2210395" y="79068"/>
                      </a:lnTo>
                      <a:cubicBezTo>
                        <a:pt x="2213785" y="78055"/>
                        <a:pt x="2218306" y="80082"/>
                        <a:pt x="2221696" y="79068"/>
                      </a:cubicBezTo>
                      <a:lnTo>
                        <a:pt x="2221696" y="77042"/>
                      </a:lnTo>
                      <a:cubicBezTo>
                        <a:pt x="2221696" y="72988"/>
                        <a:pt x="2227347" y="70961"/>
                        <a:pt x="2229607" y="69948"/>
                      </a:cubicBezTo>
                      <a:lnTo>
                        <a:pt x="2227347" y="59815"/>
                      </a:lnTo>
                      <a:cubicBezTo>
                        <a:pt x="2216046" y="58801"/>
                        <a:pt x="2208135" y="59815"/>
                        <a:pt x="2197964" y="57788"/>
                      </a:cubicBezTo>
                      <a:lnTo>
                        <a:pt x="2203614" y="52721"/>
                      </a:lnTo>
                      <a:cubicBezTo>
                        <a:pt x="2202484" y="52721"/>
                        <a:pt x="2190053" y="50694"/>
                        <a:pt x="2190053" y="50694"/>
                      </a:cubicBezTo>
                      <a:cubicBezTo>
                        <a:pt x="2183272" y="50694"/>
                        <a:pt x="2182142" y="55761"/>
                        <a:pt x="2174231" y="52721"/>
                      </a:cubicBezTo>
                      <a:lnTo>
                        <a:pt x="2174231" y="49681"/>
                      </a:lnTo>
                      <a:cubicBezTo>
                        <a:pt x="2169711" y="47654"/>
                        <a:pt x="2171971" y="44614"/>
                        <a:pt x="2168581" y="42587"/>
                      </a:cubicBezTo>
                      <a:cubicBezTo>
                        <a:pt x="2164060" y="39547"/>
                        <a:pt x="2159540" y="42587"/>
                        <a:pt x="2155019" y="40561"/>
                      </a:cubicBezTo>
                      <a:lnTo>
                        <a:pt x="2155019" y="35494"/>
                      </a:lnTo>
                      <a:cubicBezTo>
                        <a:pt x="2143718" y="30427"/>
                        <a:pt x="2133547" y="33467"/>
                        <a:pt x="2119986" y="30427"/>
                      </a:cubicBezTo>
                      <a:cubicBezTo>
                        <a:pt x="2117725" y="29414"/>
                        <a:pt x="2109815" y="23334"/>
                        <a:pt x="2106424" y="23334"/>
                      </a:cubicBezTo>
                      <a:cubicBezTo>
                        <a:pt x="2089472" y="20294"/>
                        <a:pt x="2056699" y="20294"/>
                        <a:pt x="2054438" y="21307"/>
                      </a:cubicBezTo>
                      <a:cubicBezTo>
                        <a:pt x="2046528" y="24347"/>
                        <a:pt x="2039747" y="39547"/>
                        <a:pt x="2032966" y="43601"/>
                      </a:cubicBezTo>
                      <a:cubicBezTo>
                        <a:pt x="2026185" y="46641"/>
                        <a:pt x="2018275" y="45628"/>
                        <a:pt x="2011494" y="48668"/>
                      </a:cubicBezTo>
                      <a:cubicBezTo>
                        <a:pt x="2008104" y="49681"/>
                        <a:pt x="2003583" y="57788"/>
                        <a:pt x="2000193" y="58801"/>
                      </a:cubicBezTo>
                      <a:cubicBezTo>
                        <a:pt x="1993412" y="60828"/>
                        <a:pt x="1993412" y="55761"/>
                        <a:pt x="1988892" y="56774"/>
                      </a:cubicBezTo>
                      <a:cubicBezTo>
                        <a:pt x="1986631" y="56774"/>
                        <a:pt x="1979851" y="63868"/>
                        <a:pt x="1977590" y="63868"/>
                      </a:cubicBezTo>
                      <a:cubicBezTo>
                        <a:pt x="1962899" y="67921"/>
                        <a:pt x="1959508" y="65895"/>
                        <a:pt x="1948207" y="70961"/>
                      </a:cubicBezTo>
                      <a:cubicBezTo>
                        <a:pt x="1949337" y="69948"/>
                        <a:pt x="1945947" y="66908"/>
                        <a:pt x="1945947" y="65895"/>
                      </a:cubicBezTo>
                      <a:cubicBezTo>
                        <a:pt x="1952728" y="62855"/>
                        <a:pt x="1964029" y="52721"/>
                        <a:pt x="1970810" y="51708"/>
                      </a:cubicBezTo>
                      <a:cubicBezTo>
                        <a:pt x="1977590" y="49681"/>
                        <a:pt x="1985501" y="52721"/>
                        <a:pt x="1992282" y="51708"/>
                      </a:cubicBezTo>
                      <a:cubicBezTo>
                        <a:pt x="1996802" y="50694"/>
                        <a:pt x="2028446" y="35494"/>
                        <a:pt x="2030706" y="32454"/>
                      </a:cubicBezTo>
                      <a:cubicBezTo>
                        <a:pt x="2032966" y="29414"/>
                        <a:pt x="2030706" y="25360"/>
                        <a:pt x="2032966" y="22320"/>
                      </a:cubicBezTo>
                      <a:cubicBezTo>
                        <a:pt x="2027316" y="21307"/>
                        <a:pt x="2021665" y="19280"/>
                        <a:pt x="2017145" y="17254"/>
                      </a:cubicBezTo>
                      <a:cubicBezTo>
                        <a:pt x="1999063" y="11173"/>
                        <a:pt x="1990022" y="18267"/>
                        <a:pt x="1968550" y="19280"/>
                      </a:cubicBezTo>
                      <a:cubicBezTo>
                        <a:pt x="1964029" y="19280"/>
                        <a:pt x="1953858" y="17254"/>
                        <a:pt x="1954988" y="17254"/>
                      </a:cubicBezTo>
                      <a:lnTo>
                        <a:pt x="1952728" y="22320"/>
                      </a:lnTo>
                      <a:cubicBezTo>
                        <a:pt x="1948207" y="22320"/>
                        <a:pt x="1932386" y="20294"/>
                        <a:pt x="1927865" y="17254"/>
                      </a:cubicBezTo>
                      <a:lnTo>
                        <a:pt x="1925605" y="12187"/>
                      </a:lnTo>
                      <a:cubicBezTo>
                        <a:pt x="1922215" y="11173"/>
                        <a:pt x="1918824" y="15227"/>
                        <a:pt x="1912044" y="14213"/>
                      </a:cubicBezTo>
                      <a:cubicBezTo>
                        <a:pt x="1904133" y="13200"/>
                        <a:pt x="1891701" y="8133"/>
                        <a:pt x="1882660" y="9147"/>
                      </a:cubicBezTo>
                      <a:cubicBezTo>
                        <a:pt x="1879270" y="9147"/>
                        <a:pt x="1864578" y="18267"/>
                        <a:pt x="1863448" y="21307"/>
                      </a:cubicBezTo>
                      <a:cubicBezTo>
                        <a:pt x="1862318" y="24347"/>
                        <a:pt x="1864578" y="30427"/>
                        <a:pt x="1863448" y="33467"/>
                      </a:cubicBezTo>
                      <a:cubicBezTo>
                        <a:pt x="1857798" y="32454"/>
                        <a:pt x="1860058" y="29414"/>
                        <a:pt x="1857798" y="28400"/>
                      </a:cubicBezTo>
                      <a:cubicBezTo>
                        <a:pt x="1847627" y="24347"/>
                        <a:pt x="1792251" y="35494"/>
                        <a:pt x="1814853" y="52721"/>
                      </a:cubicBezTo>
                      <a:cubicBezTo>
                        <a:pt x="1805812" y="48668"/>
                        <a:pt x="1799032" y="47654"/>
                        <a:pt x="1789990" y="42587"/>
                      </a:cubicBezTo>
                      <a:cubicBezTo>
                        <a:pt x="1786600" y="40561"/>
                        <a:pt x="1783210" y="33467"/>
                        <a:pt x="1778689" y="32454"/>
                      </a:cubicBezTo>
                      <a:cubicBezTo>
                        <a:pt x="1773039" y="31441"/>
                        <a:pt x="1766258" y="34481"/>
                        <a:pt x="1765128" y="34481"/>
                      </a:cubicBezTo>
                      <a:cubicBezTo>
                        <a:pt x="1733484" y="37521"/>
                        <a:pt x="1699581" y="28400"/>
                        <a:pt x="1678109" y="32454"/>
                      </a:cubicBezTo>
                      <a:cubicBezTo>
                        <a:pt x="1672458" y="33467"/>
                        <a:pt x="1662287" y="39547"/>
                        <a:pt x="1656636" y="42587"/>
                      </a:cubicBezTo>
                      <a:lnTo>
                        <a:pt x="1656636" y="47654"/>
                      </a:lnTo>
                      <a:cubicBezTo>
                        <a:pt x="1658896" y="49681"/>
                        <a:pt x="1663417" y="48668"/>
                        <a:pt x="1664547" y="49681"/>
                      </a:cubicBezTo>
                      <a:cubicBezTo>
                        <a:pt x="1666807" y="51708"/>
                        <a:pt x="1664547" y="55761"/>
                        <a:pt x="1666807" y="56774"/>
                      </a:cubicBezTo>
                      <a:cubicBezTo>
                        <a:pt x="1671328" y="58801"/>
                        <a:pt x="1678109" y="54748"/>
                        <a:pt x="1682629" y="56774"/>
                      </a:cubicBezTo>
                      <a:cubicBezTo>
                        <a:pt x="1683759" y="56774"/>
                        <a:pt x="1684889" y="60828"/>
                        <a:pt x="1684889" y="61841"/>
                      </a:cubicBezTo>
                      <a:cubicBezTo>
                        <a:pt x="1690540" y="64881"/>
                        <a:pt x="1696191" y="67921"/>
                        <a:pt x="1700711" y="71975"/>
                      </a:cubicBezTo>
                      <a:cubicBezTo>
                        <a:pt x="1699581" y="74002"/>
                        <a:pt x="1695060" y="82108"/>
                        <a:pt x="1695060" y="82108"/>
                      </a:cubicBezTo>
                      <a:cubicBezTo>
                        <a:pt x="1689410" y="71975"/>
                        <a:pt x="1683759" y="64881"/>
                        <a:pt x="1670198" y="62855"/>
                      </a:cubicBezTo>
                      <a:cubicBezTo>
                        <a:pt x="1667938" y="62855"/>
                        <a:pt x="1661157" y="63868"/>
                        <a:pt x="1658896" y="62855"/>
                      </a:cubicBezTo>
                      <a:cubicBezTo>
                        <a:pt x="1656636" y="61841"/>
                        <a:pt x="1649856" y="52721"/>
                        <a:pt x="1647595" y="50694"/>
                      </a:cubicBezTo>
                      <a:cubicBezTo>
                        <a:pt x="1644205" y="51708"/>
                        <a:pt x="1643075" y="49681"/>
                        <a:pt x="1639685" y="50694"/>
                      </a:cubicBezTo>
                      <a:cubicBezTo>
                        <a:pt x="1638554" y="50694"/>
                        <a:pt x="1636294" y="57788"/>
                        <a:pt x="1634034" y="57788"/>
                      </a:cubicBezTo>
                      <a:cubicBezTo>
                        <a:pt x="1627253" y="59815"/>
                        <a:pt x="1615952" y="57788"/>
                        <a:pt x="1609171" y="57788"/>
                      </a:cubicBezTo>
                      <a:cubicBezTo>
                        <a:pt x="1605781" y="53734"/>
                        <a:pt x="1604651" y="50694"/>
                        <a:pt x="1601261" y="47654"/>
                      </a:cubicBezTo>
                      <a:cubicBezTo>
                        <a:pt x="1600130" y="49681"/>
                        <a:pt x="1602390" y="54748"/>
                        <a:pt x="1601261" y="57788"/>
                      </a:cubicBezTo>
                      <a:cubicBezTo>
                        <a:pt x="1600130" y="60828"/>
                        <a:pt x="1587699" y="69948"/>
                        <a:pt x="1585439" y="71975"/>
                      </a:cubicBezTo>
                      <a:cubicBezTo>
                        <a:pt x="1582048" y="69948"/>
                        <a:pt x="1575268" y="74002"/>
                        <a:pt x="1571877" y="71975"/>
                      </a:cubicBezTo>
                      <a:cubicBezTo>
                        <a:pt x="1570747" y="70961"/>
                        <a:pt x="1569617" y="63868"/>
                        <a:pt x="1569617" y="61841"/>
                      </a:cubicBezTo>
                      <a:cubicBezTo>
                        <a:pt x="1566227" y="62855"/>
                        <a:pt x="1559446" y="61841"/>
                        <a:pt x="1556056" y="61841"/>
                      </a:cubicBezTo>
                      <a:cubicBezTo>
                        <a:pt x="1556056" y="61841"/>
                        <a:pt x="1553795" y="68935"/>
                        <a:pt x="1553795" y="71975"/>
                      </a:cubicBezTo>
                      <a:cubicBezTo>
                        <a:pt x="1557186" y="72988"/>
                        <a:pt x="1560576" y="79068"/>
                        <a:pt x="1561706" y="79068"/>
                      </a:cubicBezTo>
                      <a:cubicBezTo>
                        <a:pt x="1565097" y="80082"/>
                        <a:pt x="1569617" y="78055"/>
                        <a:pt x="1573008" y="79068"/>
                      </a:cubicBezTo>
                      <a:lnTo>
                        <a:pt x="1575268" y="84135"/>
                      </a:lnTo>
                      <a:cubicBezTo>
                        <a:pt x="1559446" y="80082"/>
                        <a:pt x="1547015" y="71975"/>
                        <a:pt x="1534583" y="69948"/>
                      </a:cubicBezTo>
                      <a:cubicBezTo>
                        <a:pt x="1531193" y="68935"/>
                        <a:pt x="1526673" y="70961"/>
                        <a:pt x="1523282" y="69948"/>
                      </a:cubicBezTo>
                      <a:cubicBezTo>
                        <a:pt x="1519892" y="68935"/>
                        <a:pt x="1515371" y="60828"/>
                        <a:pt x="1511981" y="59815"/>
                      </a:cubicBezTo>
                      <a:cubicBezTo>
                        <a:pt x="1507461" y="58801"/>
                        <a:pt x="1500680" y="60828"/>
                        <a:pt x="1496159" y="59815"/>
                      </a:cubicBezTo>
                      <a:cubicBezTo>
                        <a:pt x="1495029" y="66908"/>
                        <a:pt x="1493899" y="87175"/>
                        <a:pt x="1501810" y="94269"/>
                      </a:cubicBezTo>
                      <a:cubicBezTo>
                        <a:pt x="1504070" y="96295"/>
                        <a:pt x="1511981" y="97309"/>
                        <a:pt x="1513111" y="99335"/>
                      </a:cubicBezTo>
                      <a:cubicBezTo>
                        <a:pt x="1514241" y="101362"/>
                        <a:pt x="1511981" y="105416"/>
                        <a:pt x="1513111" y="106429"/>
                      </a:cubicBezTo>
                      <a:cubicBezTo>
                        <a:pt x="1508591" y="103389"/>
                        <a:pt x="1504070" y="97309"/>
                        <a:pt x="1499550" y="94269"/>
                      </a:cubicBezTo>
                      <a:cubicBezTo>
                        <a:pt x="1497290" y="93255"/>
                        <a:pt x="1496159" y="91229"/>
                        <a:pt x="1493899" y="89202"/>
                      </a:cubicBezTo>
                      <a:cubicBezTo>
                        <a:pt x="1490509" y="91229"/>
                        <a:pt x="1487118" y="87175"/>
                        <a:pt x="1485988" y="87175"/>
                      </a:cubicBezTo>
                      <a:cubicBezTo>
                        <a:pt x="1485988" y="88189"/>
                        <a:pt x="1487118" y="101362"/>
                        <a:pt x="1485988" y="101362"/>
                      </a:cubicBezTo>
                      <a:lnTo>
                        <a:pt x="1480338" y="101362"/>
                      </a:lnTo>
                      <a:cubicBezTo>
                        <a:pt x="1469037" y="87175"/>
                        <a:pt x="1466776" y="80082"/>
                        <a:pt x="1445304" y="75015"/>
                      </a:cubicBezTo>
                      <a:lnTo>
                        <a:pt x="1439653" y="69948"/>
                      </a:lnTo>
                      <a:cubicBezTo>
                        <a:pt x="1426092" y="66908"/>
                        <a:pt x="1419311" y="70961"/>
                        <a:pt x="1406880" y="67921"/>
                      </a:cubicBezTo>
                      <a:lnTo>
                        <a:pt x="1391058" y="62855"/>
                      </a:lnTo>
                      <a:cubicBezTo>
                        <a:pt x="1389928" y="61841"/>
                        <a:pt x="1388798" y="56774"/>
                        <a:pt x="1385408" y="55761"/>
                      </a:cubicBezTo>
                      <a:lnTo>
                        <a:pt x="1385408" y="52721"/>
                      </a:lnTo>
                      <a:cubicBezTo>
                        <a:pt x="1377497" y="50694"/>
                        <a:pt x="1363936" y="52721"/>
                        <a:pt x="1356025" y="52721"/>
                      </a:cubicBezTo>
                      <a:cubicBezTo>
                        <a:pt x="1357155" y="55761"/>
                        <a:pt x="1354894" y="56774"/>
                        <a:pt x="1356025" y="59815"/>
                      </a:cubicBezTo>
                      <a:cubicBezTo>
                        <a:pt x="1356025" y="59815"/>
                        <a:pt x="1368456" y="75015"/>
                        <a:pt x="1369586" y="77042"/>
                      </a:cubicBezTo>
                      <a:cubicBezTo>
                        <a:pt x="1345854" y="70961"/>
                        <a:pt x="1331162" y="77042"/>
                        <a:pt x="1307430" y="75015"/>
                      </a:cubicBezTo>
                      <a:cubicBezTo>
                        <a:pt x="1310820" y="83122"/>
                        <a:pt x="1309690" y="86162"/>
                        <a:pt x="1313080" y="94269"/>
                      </a:cubicBezTo>
                      <a:cubicBezTo>
                        <a:pt x="1320991" y="94269"/>
                        <a:pt x="1323251" y="90215"/>
                        <a:pt x="1332292" y="92242"/>
                      </a:cubicBezTo>
                      <a:cubicBezTo>
                        <a:pt x="1332292" y="92242"/>
                        <a:pt x="1339073" y="99335"/>
                        <a:pt x="1340203" y="99335"/>
                      </a:cubicBezTo>
                      <a:cubicBezTo>
                        <a:pt x="1350374" y="100349"/>
                        <a:pt x="1357155" y="95282"/>
                        <a:pt x="1361675" y="94269"/>
                      </a:cubicBezTo>
                      <a:cubicBezTo>
                        <a:pt x="1368456" y="93255"/>
                        <a:pt x="1374107" y="98322"/>
                        <a:pt x="1383147" y="96295"/>
                      </a:cubicBezTo>
                      <a:cubicBezTo>
                        <a:pt x="1386538" y="96295"/>
                        <a:pt x="1391058" y="88189"/>
                        <a:pt x="1398969" y="91229"/>
                      </a:cubicBezTo>
                      <a:cubicBezTo>
                        <a:pt x="1400099" y="91229"/>
                        <a:pt x="1401229" y="95282"/>
                        <a:pt x="1404620" y="96295"/>
                      </a:cubicBezTo>
                      <a:lnTo>
                        <a:pt x="1404620" y="101362"/>
                      </a:lnTo>
                      <a:cubicBezTo>
                        <a:pt x="1402360" y="102376"/>
                        <a:pt x="1395579" y="101362"/>
                        <a:pt x="1393318" y="101362"/>
                      </a:cubicBezTo>
                      <a:cubicBezTo>
                        <a:pt x="1393318" y="101362"/>
                        <a:pt x="1393318" y="121629"/>
                        <a:pt x="1393318" y="123656"/>
                      </a:cubicBezTo>
                      <a:cubicBezTo>
                        <a:pt x="1392189" y="122643"/>
                        <a:pt x="1388798" y="122643"/>
                        <a:pt x="1387668" y="121629"/>
                      </a:cubicBezTo>
                      <a:cubicBezTo>
                        <a:pt x="1384278" y="115549"/>
                        <a:pt x="1384278" y="110482"/>
                        <a:pt x="1382017" y="104402"/>
                      </a:cubicBezTo>
                      <a:cubicBezTo>
                        <a:pt x="1372976" y="106429"/>
                        <a:pt x="1368456" y="105416"/>
                        <a:pt x="1360545" y="106429"/>
                      </a:cubicBezTo>
                      <a:lnTo>
                        <a:pt x="1358285" y="113522"/>
                      </a:lnTo>
                      <a:cubicBezTo>
                        <a:pt x="1358285" y="113522"/>
                        <a:pt x="1328902" y="102376"/>
                        <a:pt x="1323251" y="101362"/>
                      </a:cubicBezTo>
                      <a:cubicBezTo>
                        <a:pt x="1325511" y="101362"/>
                        <a:pt x="1315340" y="108456"/>
                        <a:pt x="1317601" y="108456"/>
                      </a:cubicBezTo>
                      <a:cubicBezTo>
                        <a:pt x="1323251" y="109469"/>
                        <a:pt x="1326641" y="119603"/>
                        <a:pt x="1322121" y="118589"/>
                      </a:cubicBezTo>
                      <a:close/>
                      <a:moveTo>
                        <a:pt x="411244" y="315180"/>
                      </a:moveTo>
                      <a:lnTo>
                        <a:pt x="408984" y="320247"/>
                      </a:lnTo>
                      <a:cubicBezTo>
                        <a:pt x="388642" y="321261"/>
                        <a:pt x="390902" y="319234"/>
                        <a:pt x="379601" y="327341"/>
                      </a:cubicBezTo>
                      <a:cubicBezTo>
                        <a:pt x="376211" y="329367"/>
                        <a:pt x="376211" y="331394"/>
                        <a:pt x="373951" y="334434"/>
                      </a:cubicBezTo>
                      <a:cubicBezTo>
                        <a:pt x="379601" y="335448"/>
                        <a:pt x="378471" y="339501"/>
                        <a:pt x="387512" y="339501"/>
                      </a:cubicBezTo>
                      <a:lnTo>
                        <a:pt x="393163" y="334434"/>
                      </a:lnTo>
                      <a:cubicBezTo>
                        <a:pt x="393163" y="334434"/>
                        <a:pt x="419155" y="333421"/>
                        <a:pt x="422546" y="334434"/>
                      </a:cubicBezTo>
                      <a:cubicBezTo>
                        <a:pt x="424806" y="335448"/>
                        <a:pt x="425936" y="342541"/>
                        <a:pt x="428196" y="344568"/>
                      </a:cubicBezTo>
                      <a:cubicBezTo>
                        <a:pt x="432717" y="347608"/>
                        <a:pt x="437237" y="344568"/>
                        <a:pt x="441758" y="346595"/>
                      </a:cubicBezTo>
                      <a:cubicBezTo>
                        <a:pt x="442888" y="344568"/>
                        <a:pt x="440628" y="341528"/>
                        <a:pt x="441758" y="339501"/>
                      </a:cubicBezTo>
                      <a:cubicBezTo>
                        <a:pt x="442888" y="335448"/>
                        <a:pt x="451929" y="334434"/>
                        <a:pt x="455319" y="332407"/>
                      </a:cubicBezTo>
                      <a:cubicBezTo>
                        <a:pt x="454189" y="331394"/>
                        <a:pt x="457579" y="326327"/>
                        <a:pt x="453059" y="330381"/>
                      </a:cubicBezTo>
                      <a:cubicBezTo>
                        <a:pt x="450799" y="325314"/>
                        <a:pt x="450799" y="326327"/>
                        <a:pt x="450799" y="320247"/>
                      </a:cubicBezTo>
                      <a:cubicBezTo>
                        <a:pt x="446278" y="320247"/>
                        <a:pt x="439497" y="321261"/>
                        <a:pt x="434977" y="320247"/>
                      </a:cubicBezTo>
                      <a:cubicBezTo>
                        <a:pt x="427066" y="318221"/>
                        <a:pt x="422546" y="314167"/>
                        <a:pt x="411244" y="31518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0" name="Freeform: Shape 429">
                  <a:extLst>
                    <a:ext uri="{FF2B5EF4-FFF2-40B4-BE49-F238E27FC236}">
                      <a16:creationId xmlns:a16="http://schemas.microsoft.com/office/drawing/2014/main" id="{3C28F47C-B990-41A3-822D-10181559100D}"/>
                    </a:ext>
                  </a:extLst>
                </p:cNvPr>
                <p:cNvSpPr/>
                <p:nvPr/>
              </p:nvSpPr>
              <p:spPr>
                <a:xfrm>
                  <a:off x="6173117" y="3733705"/>
                  <a:ext cx="316433" cy="456011"/>
                </a:xfrm>
                <a:custGeom>
                  <a:avLst/>
                  <a:gdLst>
                    <a:gd name="connsiteX0" fmla="*/ 16149 w 316433"/>
                    <a:gd name="connsiteY0" fmla="*/ 354568 h 456010"/>
                    <a:gd name="connsiteX1" fmla="*/ 21799 w 316433"/>
                    <a:gd name="connsiteY1" fmla="*/ 364702 h 456010"/>
                    <a:gd name="connsiteX2" fmla="*/ 37621 w 316433"/>
                    <a:gd name="connsiteY2" fmla="*/ 357608 h 456010"/>
                    <a:gd name="connsiteX3" fmla="*/ 35361 w 316433"/>
                    <a:gd name="connsiteY3" fmla="*/ 362675 h 456010"/>
                    <a:gd name="connsiteX4" fmla="*/ 64745 w 316433"/>
                    <a:gd name="connsiteY4" fmla="*/ 374835 h 456010"/>
                    <a:gd name="connsiteX5" fmla="*/ 56834 w 316433"/>
                    <a:gd name="connsiteY5" fmla="*/ 384969 h 456010"/>
                    <a:gd name="connsiteX6" fmla="*/ 68135 w 316433"/>
                    <a:gd name="connsiteY6" fmla="*/ 409289 h 456010"/>
                    <a:gd name="connsiteX7" fmla="*/ 73785 w 316433"/>
                    <a:gd name="connsiteY7" fmla="*/ 411316 h 456010"/>
                    <a:gd name="connsiteX8" fmla="*/ 70395 w 316433"/>
                    <a:gd name="connsiteY8" fmla="*/ 440703 h 456010"/>
                    <a:gd name="connsiteX9" fmla="*/ 131421 w 316433"/>
                    <a:gd name="connsiteY9" fmla="*/ 440703 h 456010"/>
                    <a:gd name="connsiteX10" fmla="*/ 151763 w 316433"/>
                    <a:gd name="connsiteY10" fmla="*/ 435637 h 456010"/>
                    <a:gd name="connsiteX11" fmla="*/ 173236 w 316433"/>
                    <a:gd name="connsiteY11" fmla="*/ 434623 h 456010"/>
                    <a:gd name="connsiteX12" fmla="*/ 196968 w 316433"/>
                    <a:gd name="connsiteY12" fmla="*/ 434623 h 456010"/>
                    <a:gd name="connsiteX13" fmla="*/ 225221 w 316433"/>
                    <a:gd name="connsiteY13" fmla="*/ 434623 h 456010"/>
                    <a:gd name="connsiteX14" fmla="*/ 251214 w 316433"/>
                    <a:gd name="connsiteY14" fmla="*/ 438677 h 456010"/>
                    <a:gd name="connsiteX15" fmla="*/ 263645 w 316433"/>
                    <a:gd name="connsiteY15" fmla="*/ 443743 h 456010"/>
                    <a:gd name="connsiteX16" fmla="*/ 285118 w 316433"/>
                    <a:gd name="connsiteY16" fmla="*/ 443743 h 456010"/>
                    <a:gd name="connsiteX17" fmla="*/ 305460 w 316433"/>
                    <a:gd name="connsiteY17" fmla="*/ 447797 h 456010"/>
                    <a:gd name="connsiteX18" fmla="*/ 298679 w 316433"/>
                    <a:gd name="connsiteY18" fmla="*/ 432596 h 456010"/>
                    <a:gd name="connsiteX19" fmla="*/ 307720 w 316433"/>
                    <a:gd name="connsiteY19" fmla="*/ 416383 h 456010"/>
                    <a:gd name="connsiteX20" fmla="*/ 285118 w 316433"/>
                    <a:gd name="connsiteY20" fmla="*/ 392062 h 456010"/>
                    <a:gd name="connsiteX21" fmla="*/ 263645 w 316433"/>
                    <a:gd name="connsiteY21" fmla="*/ 371795 h 456010"/>
                    <a:gd name="connsiteX22" fmla="*/ 247823 w 316433"/>
                    <a:gd name="connsiteY22" fmla="*/ 347475 h 456010"/>
                    <a:gd name="connsiteX23" fmla="*/ 232002 w 316433"/>
                    <a:gd name="connsiteY23" fmla="*/ 316060 h 456010"/>
                    <a:gd name="connsiteX24" fmla="*/ 217311 w 316433"/>
                    <a:gd name="connsiteY24" fmla="*/ 301873 h 456010"/>
                    <a:gd name="connsiteX25" fmla="*/ 226351 w 316433"/>
                    <a:gd name="connsiteY25" fmla="*/ 287687 h 456010"/>
                    <a:gd name="connsiteX26" fmla="*/ 250084 w 316433"/>
                    <a:gd name="connsiteY26" fmla="*/ 246139 h 456010"/>
                    <a:gd name="connsiteX27" fmla="*/ 260255 w 316433"/>
                    <a:gd name="connsiteY27" fmla="*/ 226885 h 456010"/>
                    <a:gd name="connsiteX28" fmla="*/ 250084 w 316433"/>
                    <a:gd name="connsiteY28" fmla="*/ 196484 h 456010"/>
                    <a:gd name="connsiteX29" fmla="*/ 224091 w 316433"/>
                    <a:gd name="connsiteY29" fmla="*/ 168110 h 456010"/>
                    <a:gd name="connsiteX30" fmla="*/ 229742 w 316433"/>
                    <a:gd name="connsiteY30" fmla="*/ 148857 h 456010"/>
                    <a:gd name="connsiteX31" fmla="*/ 273817 w 316433"/>
                    <a:gd name="connsiteY31" fmla="*/ 147843 h 456010"/>
                    <a:gd name="connsiteX32" fmla="*/ 269296 w 316433"/>
                    <a:gd name="connsiteY32" fmla="*/ 133656 h 456010"/>
                    <a:gd name="connsiteX33" fmla="*/ 265906 w 316433"/>
                    <a:gd name="connsiteY33" fmla="*/ 113389 h 456010"/>
                    <a:gd name="connsiteX34" fmla="*/ 256865 w 316433"/>
                    <a:gd name="connsiteY34" fmla="*/ 87042 h 456010"/>
                    <a:gd name="connsiteX35" fmla="*/ 262515 w 316433"/>
                    <a:gd name="connsiteY35" fmla="*/ 75895 h 456010"/>
                    <a:gd name="connsiteX36" fmla="*/ 262515 w 316433"/>
                    <a:gd name="connsiteY36" fmla="*/ 64748 h 456010"/>
                    <a:gd name="connsiteX37" fmla="*/ 256865 w 316433"/>
                    <a:gd name="connsiteY37" fmla="*/ 48534 h 456010"/>
                    <a:gd name="connsiteX38" fmla="*/ 252344 w 316433"/>
                    <a:gd name="connsiteY38" fmla="*/ 30294 h 456010"/>
                    <a:gd name="connsiteX39" fmla="*/ 229742 w 316433"/>
                    <a:gd name="connsiteY39" fmla="*/ 9013 h 456010"/>
                    <a:gd name="connsiteX40" fmla="*/ 225221 w 316433"/>
                    <a:gd name="connsiteY40" fmla="*/ 39414 h 456010"/>
                    <a:gd name="connsiteX41" fmla="*/ 236522 w 316433"/>
                    <a:gd name="connsiteY41" fmla="*/ 48534 h 456010"/>
                    <a:gd name="connsiteX42" fmla="*/ 222961 w 316433"/>
                    <a:gd name="connsiteY42" fmla="*/ 76908 h 456010"/>
                    <a:gd name="connsiteX43" fmla="*/ 211660 w 316433"/>
                    <a:gd name="connsiteY43" fmla="*/ 85015 h 456010"/>
                    <a:gd name="connsiteX44" fmla="*/ 196968 w 316433"/>
                    <a:gd name="connsiteY44" fmla="*/ 103255 h 456010"/>
                    <a:gd name="connsiteX45" fmla="*/ 195838 w 316433"/>
                    <a:gd name="connsiteY45" fmla="*/ 119469 h 456010"/>
                    <a:gd name="connsiteX46" fmla="*/ 185667 w 316433"/>
                    <a:gd name="connsiteY46" fmla="*/ 134670 h 456010"/>
                    <a:gd name="connsiteX47" fmla="*/ 180016 w 316433"/>
                    <a:gd name="connsiteY47" fmla="*/ 148857 h 456010"/>
                    <a:gd name="connsiteX48" fmla="*/ 180016 w 316433"/>
                    <a:gd name="connsiteY48" fmla="*/ 164057 h 456010"/>
                    <a:gd name="connsiteX49" fmla="*/ 154024 w 316433"/>
                    <a:gd name="connsiteY49" fmla="*/ 175204 h 456010"/>
                    <a:gd name="connsiteX50" fmla="*/ 142722 w 316433"/>
                    <a:gd name="connsiteY50" fmla="*/ 189391 h 456010"/>
                    <a:gd name="connsiteX51" fmla="*/ 137072 w 316433"/>
                    <a:gd name="connsiteY51" fmla="*/ 209658 h 456010"/>
                    <a:gd name="connsiteX52" fmla="*/ 128031 w 316433"/>
                    <a:gd name="connsiteY52" fmla="*/ 225872 h 456010"/>
                    <a:gd name="connsiteX53" fmla="*/ 112209 w 316433"/>
                    <a:gd name="connsiteY53" fmla="*/ 241072 h 456010"/>
                    <a:gd name="connsiteX54" fmla="*/ 103168 w 316433"/>
                    <a:gd name="connsiteY54" fmla="*/ 262353 h 456010"/>
                    <a:gd name="connsiteX55" fmla="*/ 103168 w 316433"/>
                    <a:gd name="connsiteY55" fmla="*/ 278566 h 456010"/>
                    <a:gd name="connsiteX56" fmla="*/ 77176 w 316433"/>
                    <a:gd name="connsiteY56" fmla="*/ 297820 h 456010"/>
                    <a:gd name="connsiteX57" fmla="*/ 73785 w 316433"/>
                    <a:gd name="connsiteY57" fmla="*/ 276540 h 456010"/>
                    <a:gd name="connsiteX58" fmla="*/ 61354 w 316433"/>
                    <a:gd name="connsiteY58" fmla="*/ 272486 h 456010"/>
                    <a:gd name="connsiteX59" fmla="*/ 48923 w 316433"/>
                    <a:gd name="connsiteY59" fmla="*/ 276540 h 456010"/>
                    <a:gd name="connsiteX60" fmla="*/ 22930 w 316433"/>
                    <a:gd name="connsiteY60" fmla="*/ 289713 h 456010"/>
                    <a:gd name="connsiteX61" fmla="*/ 13889 w 316433"/>
                    <a:gd name="connsiteY61" fmla="*/ 310994 h 456010"/>
                    <a:gd name="connsiteX62" fmla="*/ 10498 w 316433"/>
                    <a:gd name="connsiteY62" fmla="*/ 321127 h 456010"/>
                    <a:gd name="connsiteX63" fmla="*/ 16149 w 316433"/>
                    <a:gd name="connsiteY63" fmla="*/ 330247 h 456010"/>
                    <a:gd name="connsiteX64" fmla="*/ 10498 w 316433"/>
                    <a:gd name="connsiteY64" fmla="*/ 344435 h 456010"/>
                    <a:gd name="connsiteX65" fmla="*/ 16149 w 316433"/>
                    <a:gd name="connsiteY65" fmla="*/ 354568 h 45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16433" h="456010">
                      <a:moveTo>
                        <a:pt x="16149" y="354568"/>
                      </a:moveTo>
                      <a:cubicBezTo>
                        <a:pt x="18409" y="354568"/>
                        <a:pt x="19540" y="361661"/>
                        <a:pt x="21799" y="364702"/>
                      </a:cubicBezTo>
                      <a:cubicBezTo>
                        <a:pt x="26320" y="362675"/>
                        <a:pt x="34231" y="356595"/>
                        <a:pt x="37621" y="357608"/>
                      </a:cubicBezTo>
                      <a:cubicBezTo>
                        <a:pt x="41012" y="357608"/>
                        <a:pt x="35361" y="362675"/>
                        <a:pt x="35361" y="362675"/>
                      </a:cubicBezTo>
                      <a:cubicBezTo>
                        <a:pt x="29710" y="383955"/>
                        <a:pt x="54573" y="377875"/>
                        <a:pt x="64745" y="374835"/>
                      </a:cubicBezTo>
                      <a:cubicBezTo>
                        <a:pt x="62484" y="379902"/>
                        <a:pt x="60224" y="381929"/>
                        <a:pt x="56834" y="384969"/>
                      </a:cubicBezTo>
                      <a:cubicBezTo>
                        <a:pt x="56834" y="384969"/>
                        <a:pt x="65874" y="407263"/>
                        <a:pt x="68135" y="409289"/>
                      </a:cubicBezTo>
                      <a:lnTo>
                        <a:pt x="73785" y="411316"/>
                      </a:lnTo>
                      <a:cubicBezTo>
                        <a:pt x="73785" y="413343"/>
                        <a:pt x="71525" y="429557"/>
                        <a:pt x="70395" y="440703"/>
                      </a:cubicBezTo>
                      <a:lnTo>
                        <a:pt x="131421" y="440703"/>
                      </a:lnTo>
                      <a:cubicBezTo>
                        <a:pt x="131421" y="440703"/>
                        <a:pt x="146113" y="439690"/>
                        <a:pt x="151763" y="435637"/>
                      </a:cubicBezTo>
                      <a:cubicBezTo>
                        <a:pt x="157414" y="431583"/>
                        <a:pt x="161935" y="439690"/>
                        <a:pt x="173236" y="434623"/>
                      </a:cubicBezTo>
                      <a:cubicBezTo>
                        <a:pt x="184537" y="429557"/>
                        <a:pt x="196968" y="434623"/>
                        <a:pt x="196968" y="434623"/>
                      </a:cubicBezTo>
                      <a:lnTo>
                        <a:pt x="225221" y="434623"/>
                      </a:lnTo>
                      <a:cubicBezTo>
                        <a:pt x="235392" y="430570"/>
                        <a:pt x="245564" y="433610"/>
                        <a:pt x="251214" y="438677"/>
                      </a:cubicBezTo>
                      <a:cubicBezTo>
                        <a:pt x="256865" y="443743"/>
                        <a:pt x="256865" y="443743"/>
                        <a:pt x="263645" y="443743"/>
                      </a:cubicBezTo>
                      <a:cubicBezTo>
                        <a:pt x="270426" y="443743"/>
                        <a:pt x="274947" y="442730"/>
                        <a:pt x="285118" y="443743"/>
                      </a:cubicBezTo>
                      <a:cubicBezTo>
                        <a:pt x="295289" y="444757"/>
                        <a:pt x="305460" y="447797"/>
                        <a:pt x="305460" y="447797"/>
                      </a:cubicBezTo>
                      <a:cubicBezTo>
                        <a:pt x="305460" y="447797"/>
                        <a:pt x="299809" y="438677"/>
                        <a:pt x="298679" y="432596"/>
                      </a:cubicBezTo>
                      <a:cubicBezTo>
                        <a:pt x="297549" y="426516"/>
                        <a:pt x="307720" y="416383"/>
                        <a:pt x="307720" y="416383"/>
                      </a:cubicBezTo>
                      <a:cubicBezTo>
                        <a:pt x="307720" y="416383"/>
                        <a:pt x="291898" y="405236"/>
                        <a:pt x="285118" y="392062"/>
                      </a:cubicBezTo>
                      <a:cubicBezTo>
                        <a:pt x="278337" y="378889"/>
                        <a:pt x="274947" y="381929"/>
                        <a:pt x="263645" y="371795"/>
                      </a:cubicBezTo>
                      <a:cubicBezTo>
                        <a:pt x="252344" y="361661"/>
                        <a:pt x="254604" y="358622"/>
                        <a:pt x="247823" y="347475"/>
                      </a:cubicBezTo>
                      <a:cubicBezTo>
                        <a:pt x="241043" y="336328"/>
                        <a:pt x="235392" y="326194"/>
                        <a:pt x="232002" y="316060"/>
                      </a:cubicBezTo>
                      <a:cubicBezTo>
                        <a:pt x="228612" y="305927"/>
                        <a:pt x="225221" y="305927"/>
                        <a:pt x="217311" y="301873"/>
                      </a:cubicBezTo>
                      <a:cubicBezTo>
                        <a:pt x="209400" y="297820"/>
                        <a:pt x="216180" y="292753"/>
                        <a:pt x="226351" y="287687"/>
                      </a:cubicBezTo>
                      <a:cubicBezTo>
                        <a:pt x="236522" y="282620"/>
                        <a:pt x="250084" y="246139"/>
                        <a:pt x="250084" y="246139"/>
                      </a:cubicBezTo>
                      <a:lnTo>
                        <a:pt x="260255" y="226885"/>
                      </a:lnTo>
                      <a:cubicBezTo>
                        <a:pt x="260255" y="226885"/>
                        <a:pt x="255734" y="200538"/>
                        <a:pt x="250084" y="196484"/>
                      </a:cubicBezTo>
                      <a:cubicBezTo>
                        <a:pt x="244433" y="192431"/>
                        <a:pt x="229742" y="172164"/>
                        <a:pt x="224091" y="168110"/>
                      </a:cubicBezTo>
                      <a:cubicBezTo>
                        <a:pt x="218441" y="164057"/>
                        <a:pt x="222961" y="153923"/>
                        <a:pt x="229742" y="148857"/>
                      </a:cubicBezTo>
                      <a:cubicBezTo>
                        <a:pt x="236522" y="143790"/>
                        <a:pt x="273817" y="147843"/>
                        <a:pt x="273817" y="147843"/>
                      </a:cubicBezTo>
                      <a:cubicBezTo>
                        <a:pt x="273817" y="147843"/>
                        <a:pt x="273817" y="139736"/>
                        <a:pt x="269296" y="133656"/>
                      </a:cubicBezTo>
                      <a:cubicBezTo>
                        <a:pt x="264775" y="127576"/>
                        <a:pt x="269296" y="118456"/>
                        <a:pt x="265906" y="113389"/>
                      </a:cubicBezTo>
                      <a:cubicBezTo>
                        <a:pt x="262515" y="108322"/>
                        <a:pt x="256865" y="95149"/>
                        <a:pt x="256865" y="87042"/>
                      </a:cubicBezTo>
                      <a:cubicBezTo>
                        <a:pt x="256865" y="78935"/>
                        <a:pt x="262515" y="75895"/>
                        <a:pt x="262515" y="75895"/>
                      </a:cubicBezTo>
                      <a:cubicBezTo>
                        <a:pt x="262515" y="75895"/>
                        <a:pt x="261385" y="69815"/>
                        <a:pt x="262515" y="64748"/>
                      </a:cubicBezTo>
                      <a:cubicBezTo>
                        <a:pt x="263645" y="59681"/>
                        <a:pt x="262515" y="53601"/>
                        <a:pt x="256865" y="48534"/>
                      </a:cubicBezTo>
                      <a:cubicBezTo>
                        <a:pt x="251214" y="43468"/>
                        <a:pt x="257995" y="37387"/>
                        <a:pt x="252344" y="30294"/>
                      </a:cubicBezTo>
                      <a:cubicBezTo>
                        <a:pt x="246694" y="23200"/>
                        <a:pt x="229742" y="9013"/>
                        <a:pt x="229742" y="9013"/>
                      </a:cubicBezTo>
                      <a:lnTo>
                        <a:pt x="225221" y="39414"/>
                      </a:lnTo>
                      <a:cubicBezTo>
                        <a:pt x="225221" y="39414"/>
                        <a:pt x="236522" y="43468"/>
                        <a:pt x="236522" y="48534"/>
                      </a:cubicBezTo>
                      <a:cubicBezTo>
                        <a:pt x="236522" y="53601"/>
                        <a:pt x="230872" y="76908"/>
                        <a:pt x="222961" y="76908"/>
                      </a:cubicBezTo>
                      <a:cubicBezTo>
                        <a:pt x="215050" y="76908"/>
                        <a:pt x="211660" y="77922"/>
                        <a:pt x="211660" y="85015"/>
                      </a:cubicBezTo>
                      <a:cubicBezTo>
                        <a:pt x="211660" y="92109"/>
                        <a:pt x="202619" y="98189"/>
                        <a:pt x="196968" y="103255"/>
                      </a:cubicBezTo>
                      <a:cubicBezTo>
                        <a:pt x="191317" y="108322"/>
                        <a:pt x="200359" y="112376"/>
                        <a:pt x="195838" y="119469"/>
                      </a:cubicBezTo>
                      <a:cubicBezTo>
                        <a:pt x="191317" y="126563"/>
                        <a:pt x="191317" y="133656"/>
                        <a:pt x="185667" y="134670"/>
                      </a:cubicBezTo>
                      <a:cubicBezTo>
                        <a:pt x="180016" y="135683"/>
                        <a:pt x="180016" y="148857"/>
                        <a:pt x="180016" y="148857"/>
                      </a:cubicBezTo>
                      <a:cubicBezTo>
                        <a:pt x="180016" y="148857"/>
                        <a:pt x="185667" y="162030"/>
                        <a:pt x="180016" y="164057"/>
                      </a:cubicBezTo>
                      <a:cubicBezTo>
                        <a:pt x="174366" y="166084"/>
                        <a:pt x="163064" y="173177"/>
                        <a:pt x="154024" y="175204"/>
                      </a:cubicBezTo>
                      <a:cubicBezTo>
                        <a:pt x="144983" y="177231"/>
                        <a:pt x="143853" y="179257"/>
                        <a:pt x="142722" y="189391"/>
                      </a:cubicBezTo>
                      <a:cubicBezTo>
                        <a:pt x="141593" y="199524"/>
                        <a:pt x="143853" y="203578"/>
                        <a:pt x="137072" y="209658"/>
                      </a:cubicBezTo>
                      <a:cubicBezTo>
                        <a:pt x="130291" y="215738"/>
                        <a:pt x="133682" y="215738"/>
                        <a:pt x="128031" y="225872"/>
                      </a:cubicBezTo>
                      <a:cubicBezTo>
                        <a:pt x="122380" y="236005"/>
                        <a:pt x="116730" y="231952"/>
                        <a:pt x="112209" y="241072"/>
                      </a:cubicBezTo>
                      <a:cubicBezTo>
                        <a:pt x="107689" y="250192"/>
                        <a:pt x="103168" y="256272"/>
                        <a:pt x="103168" y="262353"/>
                      </a:cubicBezTo>
                      <a:cubicBezTo>
                        <a:pt x="103168" y="268433"/>
                        <a:pt x="112209" y="275526"/>
                        <a:pt x="103168" y="278566"/>
                      </a:cubicBezTo>
                      <a:cubicBezTo>
                        <a:pt x="94127" y="281606"/>
                        <a:pt x="94127" y="300860"/>
                        <a:pt x="77176" y="297820"/>
                      </a:cubicBezTo>
                      <a:cubicBezTo>
                        <a:pt x="77176" y="289713"/>
                        <a:pt x="82826" y="279580"/>
                        <a:pt x="73785" y="276540"/>
                      </a:cubicBezTo>
                      <a:cubicBezTo>
                        <a:pt x="64745" y="273500"/>
                        <a:pt x="61354" y="272486"/>
                        <a:pt x="61354" y="272486"/>
                      </a:cubicBezTo>
                      <a:cubicBezTo>
                        <a:pt x="61354" y="272486"/>
                        <a:pt x="55703" y="269446"/>
                        <a:pt x="48923" y="276540"/>
                      </a:cubicBezTo>
                      <a:cubicBezTo>
                        <a:pt x="42142" y="283633"/>
                        <a:pt x="26320" y="281606"/>
                        <a:pt x="22930" y="289713"/>
                      </a:cubicBezTo>
                      <a:cubicBezTo>
                        <a:pt x="19540" y="297820"/>
                        <a:pt x="19540" y="309980"/>
                        <a:pt x="13889" y="310994"/>
                      </a:cubicBezTo>
                      <a:cubicBezTo>
                        <a:pt x="8239" y="312007"/>
                        <a:pt x="10498" y="314034"/>
                        <a:pt x="10498" y="321127"/>
                      </a:cubicBezTo>
                      <a:cubicBezTo>
                        <a:pt x="10498" y="328221"/>
                        <a:pt x="16149" y="330247"/>
                        <a:pt x="16149" y="330247"/>
                      </a:cubicBezTo>
                      <a:lnTo>
                        <a:pt x="10498" y="344435"/>
                      </a:lnTo>
                      <a:lnTo>
                        <a:pt x="16149" y="35456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2" name="Freeform: Shape 431">
                  <a:extLst>
                    <a:ext uri="{FF2B5EF4-FFF2-40B4-BE49-F238E27FC236}">
                      <a16:creationId xmlns:a16="http://schemas.microsoft.com/office/drawing/2014/main" id="{F1D41676-B765-4824-8C89-3B2C28998569}"/>
                    </a:ext>
                  </a:extLst>
                </p:cNvPr>
                <p:cNvSpPr/>
                <p:nvPr/>
              </p:nvSpPr>
              <p:spPr>
                <a:xfrm>
                  <a:off x="9488205" y="3681010"/>
                  <a:ext cx="203422" cy="202671"/>
                </a:xfrm>
                <a:custGeom>
                  <a:avLst/>
                  <a:gdLst>
                    <a:gd name="connsiteX0" fmla="*/ 29263 w 203421"/>
                    <a:gd name="connsiteY0" fmla="*/ 151897 h 202671"/>
                    <a:gd name="connsiteX1" fmla="*/ 36045 w 203421"/>
                    <a:gd name="connsiteY1" fmla="*/ 166084 h 202671"/>
                    <a:gd name="connsiteX2" fmla="*/ 41695 w 203421"/>
                    <a:gd name="connsiteY2" fmla="*/ 166084 h 202671"/>
                    <a:gd name="connsiteX3" fmla="*/ 47346 w 203421"/>
                    <a:gd name="connsiteY3" fmla="*/ 185337 h 202671"/>
                    <a:gd name="connsiteX4" fmla="*/ 60907 w 203421"/>
                    <a:gd name="connsiteY4" fmla="*/ 180271 h 202671"/>
                    <a:gd name="connsiteX5" fmla="*/ 60907 w 203421"/>
                    <a:gd name="connsiteY5" fmla="*/ 192431 h 202671"/>
                    <a:gd name="connsiteX6" fmla="*/ 78989 w 203421"/>
                    <a:gd name="connsiteY6" fmla="*/ 194458 h 202671"/>
                    <a:gd name="connsiteX7" fmla="*/ 81249 w 203421"/>
                    <a:gd name="connsiteY7" fmla="*/ 195471 h 202671"/>
                    <a:gd name="connsiteX8" fmla="*/ 97071 w 203421"/>
                    <a:gd name="connsiteY8" fmla="*/ 176217 h 202671"/>
                    <a:gd name="connsiteX9" fmla="*/ 109502 w 203421"/>
                    <a:gd name="connsiteY9" fmla="*/ 173177 h 202671"/>
                    <a:gd name="connsiteX10" fmla="*/ 112893 w 203421"/>
                    <a:gd name="connsiteY10" fmla="*/ 165070 h 202671"/>
                    <a:gd name="connsiteX11" fmla="*/ 137755 w 203421"/>
                    <a:gd name="connsiteY11" fmla="*/ 162030 h 202671"/>
                    <a:gd name="connsiteX12" fmla="*/ 151317 w 203421"/>
                    <a:gd name="connsiteY12" fmla="*/ 170137 h 202671"/>
                    <a:gd name="connsiteX13" fmla="*/ 154707 w 203421"/>
                    <a:gd name="connsiteY13" fmla="*/ 156964 h 202671"/>
                    <a:gd name="connsiteX14" fmla="*/ 162618 w 203421"/>
                    <a:gd name="connsiteY14" fmla="*/ 150883 h 202671"/>
                    <a:gd name="connsiteX15" fmla="*/ 180700 w 203421"/>
                    <a:gd name="connsiteY15" fmla="*/ 144803 h 202671"/>
                    <a:gd name="connsiteX16" fmla="*/ 190871 w 203421"/>
                    <a:gd name="connsiteY16" fmla="*/ 135683 h 202671"/>
                    <a:gd name="connsiteX17" fmla="*/ 192001 w 203421"/>
                    <a:gd name="connsiteY17" fmla="*/ 122510 h 202671"/>
                    <a:gd name="connsiteX18" fmla="*/ 195391 w 203421"/>
                    <a:gd name="connsiteY18" fmla="*/ 102242 h 202671"/>
                    <a:gd name="connsiteX19" fmla="*/ 201042 w 203421"/>
                    <a:gd name="connsiteY19" fmla="*/ 86029 h 202671"/>
                    <a:gd name="connsiteX20" fmla="*/ 198781 w 203421"/>
                    <a:gd name="connsiteY20" fmla="*/ 69815 h 202671"/>
                    <a:gd name="connsiteX21" fmla="*/ 194261 w 203421"/>
                    <a:gd name="connsiteY21" fmla="*/ 51575 h 202671"/>
                    <a:gd name="connsiteX22" fmla="*/ 187480 w 203421"/>
                    <a:gd name="connsiteY22" fmla="*/ 36374 h 202671"/>
                    <a:gd name="connsiteX23" fmla="*/ 186350 w 203421"/>
                    <a:gd name="connsiteY23" fmla="*/ 18134 h 202671"/>
                    <a:gd name="connsiteX24" fmla="*/ 170528 w 203421"/>
                    <a:gd name="connsiteY24" fmla="*/ 21174 h 202671"/>
                    <a:gd name="connsiteX25" fmla="*/ 160358 w 203421"/>
                    <a:gd name="connsiteY25" fmla="*/ 13067 h 202671"/>
                    <a:gd name="connsiteX26" fmla="*/ 150186 w 203421"/>
                    <a:gd name="connsiteY26" fmla="*/ 9013 h 202671"/>
                    <a:gd name="connsiteX27" fmla="*/ 140016 w 203421"/>
                    <a:gd name="connsiteY27" fmla="*/ 20160 h 202671"/>
                    <a:gd name="connsiteX28" fmla="*/ 140016 w 203421"/>
                    <a:gd name="connsiteY28" fmla="*/ 36374 h 202671"/>
                    <a:gd name="connsiteX29" fmla="*/ 129844 w 203421"/>
                    <a:gd name="connsiteY29" fmla="*/ 39414 h 202671"/>
                    <a:gd name="connsiteX30" fmla="*/ 117413 w 203421"/>
                    <a:gd name="connsiteY30" fmla="*/ 32321 h 202671"/>
                    <a:gd name="connsiteX31" fmla="*/ 112893 w 203421"/>
                    <a:gd name="connsiteY31" fmla="*/ 25227 h 202671"/>
                    <a:gd name="connsiteX32" fmla="*/ 93680 w 203421"/>
                    <a:gd name="connsiteY32" fmla="*/ 22187 h 202671"/>
                    <a:gd name="connsiteX33" fmla="*/ 83510 w 203421"/>
                    <a:gd name="connsiteY33" fmla="*/ 29281 h 202671"/>
                    <a:gd name="connsiteX34" fmla="*/ 66558 w 203421"/>
                    <a:gd name="connsiteY34" fmla="*/ 40428 h 202671"/>
                    <a:gd name="connsiteX35" fmla="*/ 55257 w 203421"/>
                    <a:gd name="connsiteY35" fmla="*/ 40428 h 202671"/>
                    <a:gd name="connsiteX36" fmla="*/ 40565 w 203421"/>
                    <a:gd name="connsiteY36" fmla="*/ 39414 h 202671"/>
                    <a:gd name="connsiteX37" fmla="*/ 24743 w 203421"/>
                    <a:gd name="connsiteY37" fmla="*/ 47521 h 202671"/>
                    <a:gd name="connsiteX38" fmla="*/ 14572 w 203421"/>
                    <a:gd name="connsiteY38" fmla="*/ 52588 h 202671"/>
                    <a:gd name="connsiteX39" fmla="*/ 10052 w 203421"/>
                    <a:gd name="connsiteY39" fmla="*/ 71842 h 202671"/>
                    <a:gd name="connsiteX40" fmla="*/ 11182 w 203421"/>
                    <a:gd name="connsiteY40" fmla="*/ 96162 h 202671"/>
                    <a:gd name="connsiteX41" fmla="*/ 23613 w 203421"/>
                    <a:gd name="connsiteY41" fmla="*/ 112376 h 202671"/>
                    <a:gd name="connsiteX42" fmla="*/ 27004 w 203421"/>
                    <a:gd name="connsiteY42" fmla="*/ 127576 h 202671"/>
                    <a:gd name="connsiteX43" fmla="*/ 29263 w 203421"/>
                    <a:gd name="connsiteY43" fmla="*/ 151897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3421" h="202671">
                      <a:moveTo>
                        <a:pt x="29263" y="151897"/>
                      </a:moveTo>
                      <a:cubicBezTo>
                        <a:pt x="31524" y="154937"/>
                        <a:pt x="34914" y="163044"/>
                        <a:pt x="36045" y="166084"/>
                      </a:cubicBezTo>
                      <a:lnTo>
                        <a:pt x="41695" y="166084"/>
                      </a:lnTo>
                      <a:cubicBezTo>
                        <a:pt x="45085" y="171151"/>
                        <a:pt x="45085" y="179258"/>
                        <a:pt x="47346" y="185337"/>
                      </a:cubicBezTo>
                      <a:cubicBezTo>
                        <a:pt x="52996" y="184324"/>
                        <a:pt x="56387" y="182298"/>
                        <a:pt x="60907" y="180271"/>
                      </a:cubicBezTo>
                      <a:cubicBezTo>
                        <a:pt x="62037" y="183311"/>
                        <a:pt x="60907" y="189391"/>
                        <a:pt x="60907" y="192431"/>
                      </a:cubicBezTo>
                      <a:cubicBezTo>
                        <a:pt x="69948" y="192431"/>
                        <a:pt x="75599" y="193444"/>
                        <a:pt x="78989" y="194458"/>
                      </a:cubicBezTo>
                      <a:lnTo>
                        <a:pt x="81249" y="195471"/>
                      </a:lnTo>
                      <a:lnTo>
                        <a:pt x="97071" y="176217"/>
                      </a:lnTo>
                      <a:lnTo>
                        <a:pt x="109502" y="173177"/>
                      </a:lnTo>
                      <a:lnTo>
                        <a:pt x="112893" y="165070"/>
                      </a:lnTo>
                      <a:lnTo>
                        <a:pt x="137755" y="162030"/>
                      </a:lnTo>
                      <a:lnTo>
                        <a:pt x="151317" y="170137"/>
                      </a:lnTo>
                      <a:lnTo>
                        <a:pt x="154707" y="156964"/>
                      </a:lnTo>
                      <a:lnTo>
                        <a:pt x="162618" y="150883"/>
                      </a:lnTo>
                      <a:lnTo>
                        <a:pt x="180700" y="144803"/>
                      </a:lnTo>
                      <a:lnTo>
                        <a:pt x="190871" y="135683"/>
                      </a:lnTo>
                      <a:lnTo>
                        <a:pt x="192001" y="122510"/>
                      </a:lnTo>
                      <a:lnTo>
                        <a:pt x="195391" y="102242"/>
                      </a:lnTo>
                      <a:lnTo>
                        <a:pt x="201042" y="86029"/>
                      </a:lnTo>
                      <a:lnTo>
                        <a:pt x="198781" y="69815"/>
                      </a:lnTo>
                      <a:lnTo>
                        <a:pt x="194261" y="51575"/>
                      </a:lnTo>
                      <a:lnTo>
                        <a:pt x="187480" y="36374"/>
                      </a:lnTo>
                      <a:lnTo>
                        <a:pt x="186350" y="18134"/>
                      </a:lnTo>
                      <a:lnTo>
                        <a:pt x="170528" y="21174"/>
                      </a:lnTo>
                      <a:lnTo>
                        <a:pt x="160358" y="13067"/>
                      </a:lnTo>
                      <a:lnTo>
                        <a:pt x="150186" y="9013"/>
                      </a:lnTo>
                      <a:lnTo>
                        <a:pt x="140016" y="20160"/>
                      </a:lnTo>
                      <a:lnTo>
                        <a:pt x="140016" y="36374"/>
                      </a:lnTo>
                      <a:lnTo>
                        <a:pt x="129844" y="39414"/>
                      </a:lnTo>
                      <a:lnTo>
                        <a:pt x="117413" y="32321"/>
                      </a:lnTo>
                      <a:lnTo>
                        <a:pt x="112893" y="25227"/>
                      </a:lnTo>
                      <a:lnTo>
                        <a:pt x="93680" y="22187"/>
                      </a:lnTo>
                      <a:lnTo>
                        <a:pt x="83510" y="29281"/>
                      </a:lnTo>
                      <a:lnTo>
                        <a:pt x="66558" y="40428"/>
                      </a:lnTo>
                      <a:lnTo>
                        <a:pt x="55257" y="40428"/>
                      </a:lnTo>
                      <a:lnTo>
                        <a:pt x="40565" y="39414"/>
                      </a:lnTo>
                      <a:lnTo>
                        <a:pt x="24743" y="47521"/>
                      </a:lnTo>
                      <a:lnTo>
                        <a:pt x="14572" y="52588"/>
                      </a:lnTo>
                      <a:lnTo>
                        <a:pt x="10052" y="71842"/>
                      </a:lnTo>
                      <a:lnTo>
                        <a:pt x="11182" y="96162"/>
                      </a:lnTo>
                      <a:lnTo>
                        <a:pt x="23613" y="112376"/>
                      </a:lnTo>
                      <a:lnTo>
                        <a:pt x="27004" y="127576"/>
                      </a:lnTo>
                      <a:lnTo>
                        <a:pt x="29263" y="15189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3" name="Freeform: Shape 432">
                  <a:extLst>
                    <a:ext uri="{FF2B5EF4-FFF2-40B4-BE49-F238E27FC236}">
                      <a16:creationId xmlns:a16="http://schemas.microsoft.com/office/drawing/2014/main" id="{9E16D38D-B090-4EF4-8940-A0156FCF9538}"/>
                    </a:ext>
                  </a:extLst>
                </p:cNvPr>
                <p:cNvSpPr/>
                <p:nvPr/>
              </p:nvSpPr>
              <p:spPr>
                <a:xfrm>
                  <a:off x="6910401" y="4379468"/>
                  <a:ext cx="90410" cy="91202"/>
                </a:xfrm>
                <a:custGeom>
                  <a:avLst/>
                  <a:gdLst>
                    <a:gd name="connsiteX0" fmla="*/ 12312 w 90409"/>
                    <a:gd name="connsiteY0" fmla="*/ 15852 h 91202"/>
                    <a:gd name="connsiteX1" fmla="*/ 25874 w 90409"/>
                    <a:gd name="connsiteY1" fmla="*/ 14839 h 91202"/>
                    <a:gd name="connsiteX2" fmla="*/ 39436 w 90409"/>
                    <a:gd name="connsiteY2" fmla="*/ 25986 h 91202"/>
                    <a:gd name="connsiteX3" fmla="*/ 51867 w 90409"/>
                    <a:gd name="connsiteY3" fmla="*/ 9772 h 91202"/>
                    <a:gd name="connsiteX4" fmla="*/ 75599 w 90409"/>
                    <a:gd name="connsiteY4" fmla="*/ 14839 h 91202"/>
                    <a:gd name="connsiteX5" fmla="*/ 78990 w 90409"/>
                    <a:gd name="connsiteY5" fmla="*/ 36119 h 91202"/>
                    <a:gd name="connsiteX6" fmla="*/ 90291 w 90409"/>
                    <a:gd name="connsiteY6" fmla="*/ 39159 h 91202"/>
                    <a:gd name="connsiteX7" fmla="*/ 83510 w 90409"/>
                    <a:gd name="connsiteY7" fmla="*/ 53347 h 91202"/>
                    <a:gd name="connsiteX8" fmla="*/ 67689 w 90409"/>
                    <a:gd name="connsiteY8" fmla="*/ 63480 h 91202"/>
                    <a:gd name="connsiteX9" fmla="*/ 63168 w 90409"/>
                    <a:gd name="connsiteY9" fmla="*/ 82734 h 91202"/>
                    <a:gd name="connsiteX10" fmla="*/ 46216 w 90409"/>
                    <a:gd name="connsiteY10" fmla="*/ 87801 h 91202"/>
                    <a:gd name="connsiteX11" fmla="*/ 32654 w 90409"/>
                    <a:gd name="connsiteY11" fmla="*/ 87801 h 91202"/>
                    <a:gd name="connsiteX12" fmla="*/ 29264 w 90409"/>
                    <a:gd name="connsiteY12" fmla="*/ 33079 h 91202"/>
                    <a:gd name="connsiteX13" fmla="*/ 15703 w 90409"/>
                    <a:gd name="connsiteY13" fmla="*/ 31053 h 91202"/>
                    <a:gd name="connsiteX14" fmla="*/ 14573 w 90409"/>
                    <a:gd name="connsiteY14" fmla="*/ 32066 h 91202"/>
                    <a:gd name="connsiteX15" fmla="*/ 10052 w 90409"/>
                    <a:gd name="connsiteY15" fmla="*/ 18892 h 91202"/>
                    <a:gd name="connsiteX16" fmla="*/ 12312 w 90409"/>
                    <a:gd name="connsiteY16" fmla="*/ 15852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409" h="91202">
                      <a:moveTo>
                        <a:pt x="12312" y="15852"/>
                      </a:moveTo>
                      <a:cubicBezTo>
                        <a:pt x="12312" y="15852"/>
                        <a:pt x="17963" y="5719"/>
                        <a:pt x="25874" y="14839"/>
                      </a:cubicBezTo>
                      <a:cubicBezTo>
                        <a:pt x="33785" y="23959"/>
                        <a:pt x="28134" y="33079"/>
                        <a:pt x="39436" y="25986"/>
                      </a:cubicBezTo>
                      <a:cubicBezTo>
                        <a:pt x="50737" y="18892"/>
                        <a:pt x="45086" y="5719"/>
                        <a:pt x="51867" y="9772"/>
                      </a:cubicBezTo>
                      <a:cubicBezTo>
                        <a:pt x="58647" y="13825"/>
                        <a:pt x="75599" y="14839"/>
                        <a:pt x="75599" y="14839"/>
                      </a:cubicBezTo>
                      <a:cubicBezTo>
                        <a:pt x="75599" y="14839"/>
                        <a:pt x="66558" y="31053"/>
                        <a:pt x="78990" y="36119"/>
                      </a:cubicBezTo>
                      <a:cubicBezTo>
                        <a:pt x="90291" y="41186"/>
                        <a:pt x="90291" y="39159"/>
                        <a:pt x="90291" y="39159"/>
                      </a:cubicBezTo>
                      <a:cubicBezTo>
                        <a:pt x="90291" y="39159"/>
                        <a:pt x="88031" y="48280"/>
                        <a:pt x="83510" y="53347"/>
                      </a:cubicBezTo>
                      <a:cubicBezTo>
                        <a:pt x="78990" y="58413"/>
                        <a:pt x="67689" y="63480"/>
                        <a:pt x="67689" y="63480"/>
                      </a:cubicBezTo>
                      <a:lnTo>
                        <a:pt x="63168" y="82734"/>
                      </a:lnTo>
                      <a:cubicBezTo>
                        <a:pt x="63168" y="82734"/>
                        <a:pt x="51867" y="86787"/>
                        <a:pt x="46216" y="87801"/>
                      </a:cubicBezTo>
                      <a:cubicBezTo>
                        <a:pt x="42826" y="88814"/>
                        <a:pt x="37175" y="87801"/>
                        <a:pt x="32654" y="87801"/>
                      </a:cubicBezTo>
                      <a:cubicBezTo>
                        <a:pt x="30394" y="64493"/>
                        <a:pt x="29264" y="56387"/>
                        <a:pt x="29264" y="33079"/>
                      </a:cubicBezTo>
                      <a:cubicBezTo>
                        <a:pt x="22484" y="32066"/>
                        <a:pt x="19093" y="32066"/>
                        <a:pt x="15703" y="31053"/>
                      </a:cubicBezTo>
                      <a:lnTo>
                        <a:pt x="14573" y="32066"/>
                      </a:lnTo>
                      <a:lnTo>
                        <a:pt x="10052" y="18892"/>
                      </a:lnTo>
                      <a:lnTo>
                        <a:pt x="12312" y="1585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4" name="Freeform: Shape 433">
                  <a:extLst>
                    <a:ext uri="{FF2B5EF4-FFF2-40B4-BE49-F238E27FC236}">
                      <a16:creationId xmlns:a16="http://schemas.microsoft.com/office/drawing/2014/main" id="{349978C0-7B45-4F51-A13C-0C40D0DB22D6}"/>
                    </a:ext>
                  </a:extLst>
                </p:cNvPr>
                <p:cNvSpPr/>
                <p:nvPr/>
              </p:nvSpPr>
              <p:spPr>
                <a:xfrm>
                  <a:off x="9145778" y="3188519"/>
                  <a:ext cx="316433" cy="658682"/>
                </a:xfrm>
                <a:custGeom>
                  <a:avLst/>
                  <a:gdLst>
                    <a:gd name="connsiteX0" fmla="*/ 242857 w 316433"/>
                    <a:gd name="connsiteY0" fmla="*/ 657562 h 658681"/>
                    <a:gd name="connsiteX1" fmla="*/ 246247 w 316433"/>
                    <a:gd name="connsiteY1" fmla="*/ 643375 h 658681"/>
                    <a:gd name="connsiteX2" fmla="*/ 251898 w 316433"/>
                    <a:gd name="connsiteY2" fmla="*/ 623108 h 658681"/>
                    <a:gd name="connsiteX3" fmla="*/ 266589 w 316433"/>
                    <a:gd name="connsiteY3" fmla="*/ 606894 h 658681"/>
                    <a:gd name="connsiteX4" fmla="*/ 265459 w 316433"/>
                    <a:gd name="connsiteY4" fmla="*/ 584600 h 658681"/>
                    <a:gd name="connsiteX5" fmla="*/ 256419 w 316433"/>
                    <a:gd name="connsiteY5" fmla="*/ 563320 h 658681"/>
                    <a:gd name="connsiteX6" fmla="*/ 232686 w 316433"/>
                    <a:gd name="connsiteY6" fmla="*/ 544066 h 658681"/>
                    <a:gd name="connsiteX7" fmla="*/ 222515 w 316433"/>
                    <a:gd name="connsiteY7" fmla="*/ 515692 h 658681"/>
                    <a:gd name="connsiteX8" fmla="*/ 216864 w 316433"/>
                    <a:gd name="connsiteY8" fmla="*/ 484278 h 658681"/>
                    <a:gd name="connsiteX9" fmla="*/ 234946 w 316433"/>
                    <a:gd name="connsiteY9" fmla="*/ 478198 h 658681"/>
                    <a:gd name="connsiteX10" fmla="*/ 234946 w 316433"/>
                    <a:gd name="connsiteY10" fmla="*/ 461984 h 658681"/>
                    <a:gd name="connsiteX11" fmla="*/ 220255 w 316433"/>
                    <a:gd name="connsiteY11" fmla="*/ 448811 h 658681"/>
                    <a:gd name="connsiteX12" fmla="*/ 204433 w 316433"/>
                    <a:gd name="connsiteY12" fmla="*/ 431583 h 658681"/>
                    <a:gd name="connsiteX13" fmla="*/ 198782 w 316433"/>
                    <a:gd name="connsiteY13" fmla="*/ 402196 h 658681"/>
                    <a:gd name="connsiteX14" fmla="*/ 204433 w 316433"/>
                    <a:gd name="connsiteY14" fmla="*/ 380916 h 658681"/>
                    <a:gd name="connsiteX15" fmla="*/ 207823 w 316433"/>
                    <a:gd name="connsiteY15" fmla="*/ 366729 h 658681"/>
                    <a:gd name="connsiteX16" fmla="*/ 199913 w 316433"/>
                    <a:gd name="connsiteY16" fmla="*/ 348488 h 658681"/>
                    <a:gd name="connsiteX17" fmla="*/ 203303 w 316433"/>
                    <a:gd name="connsiteY17" fmla="*/ 337341 h 658681"/>
                    <a:gd name="connsiteX18" fmla="*/ 216864 w 316433"/>
                    <a:gd name="connsiteY18" fmla="*/ 335314 h 658681"/>
                    <a:gd name="connsiteX19" fmla="*/ 229295 w 316433"/>
                    <a:gd name="connsiteY19" fmla="*/ 323154 h 658681"/>
                    <a:gd name="connsiteX20" fmla="*/ 239467 w 316433"/>
                    <a:gd name="connsiteY20" fmla="*/ 322141 h 658681"/>
                    <a:gd name="connsiteX21" fmla="*/ 238336 w 316433"/>
                    <a:gd name="connsiteY21" fmla="*/ 310994 h 658681"/>
                    <a:gd name="connsiteX22" fmla="*/ 243987 w 316433"/>
                    <a:gd name="connsiteY22" fmla="*/ 298834 h 658681"/>
                    <a:gd name="connsiteX23" fmla="*/ 253028 w 316433"/>
                    <a:gd name="connsiteY23" fmla="*/ 298834 h 658681"/>
                    <a:gd name="connsiteX24" fmla="*/ 263199 w 316433"/>
                    <a:gd name="connsiteY24" fmla="*/ 304914 h 658681"/>
                    <a:gd name="connsiteX25" fmla="*/ 291452 w 316433"/>
                    <a:gd name="connsiteY25" fmla="*/ 303900 h 658681"/>
                    <a:gd name="connsiteX26" fmla="*/ 294842 w 316433"/>
                    <a:gd name="connsiteY26" fmla="*/ 297820 h 658681"/>
                    <a:gd name="connsiteX27" fmla="*/ 297103 w 316433"/>
                    <a:gd name="connsiteY27" fmla="*/ 284647 h 658681"/>
                    <a:gd name="connsiteX28" fmla="*/ 310664 w 316433"/>
                    <a:gd name="connsiteY28" fmla="*/ 267419 h 658681"/>
                    <a:gd name="connsiteX29" fmla="*/ 315184 w 316433"/>
                    <a:gd name="connsiteY29" fmla="*/ 257286 h 658681"/>
                    <a:gd name="connsiteX30" fmla="*/ 285801 w 316433"/>
                    <a:gd name="connsiteY30" fmla="*/ 249179 h 658681"/>
                    <a:gd name="connsiteX31" fmla="*/ 281281 w 316433"/>
                    <a:gd name="connsiteY31" fmla="*/ 234992 h 658681"/>
                    <a:gd name="connsiteX32" fmla="*/ 275630 w 316433"/>
                    <a:gd name="connsiteY32" fmla="*/ 217765 h 658681"/>
                    <a:gd name="connsiteX33" fmla="*/ 265459 w 316433"/>
                    <a:gd name="connsiteY33" fmla="*/ 215738 h 658681"/>
                    <a:gd name="connsiteX34" fmla="*/ 250768 w 316433"/>
                    <a:gd name="connsiteY34" fmla="*/ 212698 h 658681"/>
                    <a:gd name="connsiteX35" fmla="*/ 250768 w 316433"/>
                    <a:gd name="connsiteY35" fmla="*/ 205605 h 658681"/>
                    <a:gd name="connsiteX36" fmla="*/ 262069 w 316433"/>
                    <a:gd name="connsiteY36" fmla="*/ 187364 h 658681"/>
                    <a:gd name="connsiteX37" fmla="*/ 259809 w 316433"/>
                    <a:gd name="connsiteY37" fmla="*/ 181284 h 658681"/>
                    <a:gd name="connsiteX38" fmla="*/ 248508 w 316433"/>
                    <a:gd name="connsiteY38" fmla="*/ 181284 h 658681"/>
                    <a:gd name="connsiteX39" fmla="*/ 242857 w 316433"/>
                    <a:gd name="connsiteY39" fmla="*/ 167097 h 658681"/>
                    <a:gd name="connsiteX40" fmla="*/ 246247 w 316433"/>
                    <a:gd name="connsiteY40" fmla="*/ 156964 h 658681"/>
                    <a:gd name="connsiteX41" fmla="*/ 238336 w 316433"/>
                    <a:gd name="connsiteY41" fmla="*/ 148857 h 658681"/>
                    <a:gd name="connsiteX42" fmla="*/ 227035 w 316433"/>
                    <a:gd name="connsiteY42" fmla="*/ 147843 h 658681"/>
                    <a:gd name="connsiteX43" fmla="*/ 212344 w 316433"/>
                    <a:gd name="connsiteY43" fmla="*/ 152910 h 658681"/>
                    <a:gd name="connsiteX44" fmla="*/ 205563 w 316433"/>
                    <a:gd name="connsiteY44" fmla="*/ 158990 h 658681"/>
                    <a:gd name="connsiteX45" fmla="*/ 198782 w 316433"/>
                    <a:gd name="connsiteY45" fmla="*/ 161017 h 658681"/>
                    <a:gd name="connsiteX46" fmla="*/ 197652 w 316433"/>
                    <a:gd name="connsiteY46" fmla="*/ 154937 h 658681"/>
                    <a:gd name="connsiteX47" fmla="*/ 197652 w 316433"/>
                    <a:gd name="connsiteY47" fmla="*/ 143790 h 658681"/>
                    <a:gd name="connsiteX48" fmla="*/ 189741 w 316433"/>
                    <a:gd name="connsiteY48" fmla="*/ 134670 h 658681"/>
                    <a:gd name="connsiteX49" fmla="*/ 189741 w 316433"/>
                    <a:gd name="connsiteY49" fmla="*/ 125549 h 658681"/>
                    <a:gd name="connsiteX50" fmla="*/ 202172 w 316433"/>
                    <a:gd name="connsiteY50" fmla="*/ 110349 h 658681"/>
                    <a:gd name="connsiteX51" fmla="*/ 211214 w 316433"/>
                    <a:gd name="connsiteY51" fmla="*/ 94136 h 658681"/>
                    <a:gd name="connsiteX52" fmla="*/ 214604 w 316433"/>
                    <a:gd name="connsiteY52" fmla="*/ 72855 h 658681"/>
                    <a:gd name="connsiteX53" fmla="*/ 215734 w 316433"/>
                    <a:gd name="connsiteY53" fmla="*/ 61708 h 658681"/>
                    <a:gd name="connsiteX54" fmla="*/ 210083 w 316433"/>
                    <a:gd name="connsiteY54" fmla="*/ 51575 h 658681"/>
                    <a:gd name="connsiteX55" fmla="*/ 215734 w 316433"/>
                    <a:gd name="connsiteY55" fmla="*/ 33334 h 658681"/>
                    <a:gd name="connsiteX56" fmla="*/ 208953 w 316433"/>
                    <a:gd name="connsiteY56" fmla="*/ 23201 h 658681"/>
                    <a:gd name="connsiteX57" fmla="*/ 203303 w 316433"/>
                    <a:gd name="connsiteY57" fmla="*/ 9013 h 658681"/>
                    <a:gd name="connsiteX58" fmla="*/ 192002 w 316433"/>
                    <a:gd name="connsiteY58" fmla="*/ 9013 h 658681"/>
                    <a:gd name="connsiteX59" fmla="*/ 181830 w 316433"/>
                    <a:gd name="connsiteY59" fmla="*/ 12054 h 658681"/>
                    <a:gd name="connsiteX60" fmla="*/ 181830 w 316433"/>
                    <a:gd name="connsiteY60" fmla="*/ 32321 h 658681"/>
                    <a:gd name="connsiteX61" fmla="*/ 169399 w 316433"/>
                    <a:gd name="connsiteY61" fmla="*/ 51575 h 658681"/>
                    <a:gd name="connsiteX62" fmla="*/ 155838 w 316433"/>
                    <a:gd name="connsiteY62" fmla="*/ 48535 h 658681"/>
                    <a:gd name="connsiteX63" fmla="*/ 134365 w 316433"/>
                    <a:gd name="connsiteY63" fmla="*/ 51575 h 658681"/>
                    <a:gd name="connsiteX64" fmla="*/ 124194 w 316433"/>
                    <a:gd name="connsiteY64" fmla="*/ 72855 h 658681"/>
                    <a:gd name="connsiteX65" fmla="*/ 124194 w 316433"/>
                    <a:gd name="connsiteY65" fmla="*/ 81975 h 658681"/>
                    <a:gd name="connsiteX66" fmla="*/ 109503 w 316433"/>
                    <a:gd name="connsiteY66" fmla="*/ 94136 h 658681"/>
                    <a:gd name="connsiteX67" fmla="*/ 99332 w 316433"/>
                    <a:gd name="connsiteY67" fmla="*/ 107309 h 658681"/>
                    <a:gd name="connsiteX68" fmla="*/ 84640 w 316433"/>
                    <a:gd name="connsiteY68" fmla="*/ 113389 h 658681"/>
                    <a:gd name="connsiteX69" fmla="*/ 78990 w 316433"/>
                    <a:gd name="connsiteY69" fmla="*/ 119470 h 658681"/>
                    <a:gd name="connsiteX70" fmla="*/ 88031 w 316433"/>
                    <a:gd name="connsiteY70" fmla="*/ 126563 h 658681"/>
                    <a:gd name="connsiteX71" fmla="*/ 88031 w 316433"/>
                    <a:gd name="connsiteY71" fmla="*/ 134670 h 658681"/>
                    <a:gd name="connsiteX72" fmla="*/ 74469 w 316433"/>
                    <a:gd name="connsiteY72" fmla="*/ 150883 h 658681"/>
                    <a:gd name="connsiteX73" fmla="*/ 67689 w 316433"/>
                    <a:gd name="connsiteY73" fmla="*/ 173177 h 658681"/>
                    <a:gd name="connsiteX74" fmla="*/ 46216 w 316433"/>
                    <a:gd name="connsiteY74" fmla="*/ 160004 h 658681"/>
                    <a:gd name="connsiteX75" fmla="*/ 46216 w 316433"/>
                    <a:gd name="connsiteY75" fmla="*/ 191418 h 658681"/>
                    <a:gd name="connsiteX76" fmla="*/ 51867 w 316433"/>
                    <a:gd name="connsiteY76" fmla="*/ 204591 h 658681"/>
                    <a:gd name="connsiteX77" fmla="*/ 52997 w 316433"/>
                    <a:gd name="connsiteY77" fmla="*/ 219792 h 658681"/>
                    <a:gd name="connsiteX78" fmla="*/ 51867 w 316433"/>
                    <a:gd name="connsiteY78" fmla="*/ 229925 h 658681"/>
                    <a:gd name="connsiteX79" fmla="*/ 46216 w 316433"/>
                    <a:gd name="connsiteY79" fmla="*/ 237019 h 658681"/>
                    <a:gd name="connsiteX80" fmla="*/ 37175 w 316433"/>
                    <a:gd name="connsiteY80" fmla="*/ 245126 h 658681"/>
                    <a:gd name="connsiteX81" fmla="*/ 28134 w 316433"/>
                    <a:gd name="connsiteY81" fmla="*/ 238032 h 658681"/>
                    <a:gd name="connsiteX82" fmla="*/ 17963 w 316433"/>
                    <a:gd name="connsiteY82" fmla="*/ 241072 h 658681"/>
                    <a:gd name="connsiteX83" fmla="*/ 22484 w 316433"/>
                    <a:gd name="connsiteY83" fmla="*/ 256273 h 658681"/>
                    <a:gd name="connsiteX84" fmla="*/ 25874 w 316433"/>
                    <a:gd name="connsiteY84" fmla="*/ 265393 h 658681"/>
                    <a:gd name="connsiteX85" fmla="*/ 28134 w 316433"/>
                    <a:gd name="connsiteY85" fmla="*/ 280593 h 658681"/>
                    <a:gd name="connsiteX86" fmla="*/ 28134 w 316433"/>
                    <a:gd name="connsiteY86" fmla="*/ 280593 h 658681"/>
                    <a:gd name="connsiteX87" fmla="*/ 14573 w 316433"/>
                    <a:gd name="connsiteY87" fmla="*/ 274513 h 658681"/>
                    <a:gd name="connsiteX88" fmla="*/ 10052 w 316433"/>
                    <a:gd name="connsiteY88" fmla="*/ 284647 h 658681"/>
                    <a:gd name="connsiteX89" fmla="*/ 11183 w 316433"/>
                    <a:gd name="connsiteY89" fmla="*/ 297820 h 658681"/>
                    <a:gd name="connsiteX90" fmla="*/ 19094 w 316433"/>
                    <a:gd name="connsiteY90" fmla="*/ 314034 h 658681"/>
                    <a:gd name="connsiteX91" fmla="*/ 24744 w 316433"/>
                    <a:gd name="connsiteY91" fmla="*/ 314034 h 658681"/>
                    <a:gd name="connsiteX92" fmla="*/ 27004 w 316433"/>
                    <a:gd name="connsiteY92" fmla="*/ 306941 h 658681"/>
                    <a:gd name="connsiteX93" fmla="*/ 34915 w 316433"/>
                    <a:gd name="connsiteY93" fmla="*/ 306941 h 658681"/>
                    <a:gd name="connsiteX94" fmla="*/ 34915 w 316433"/>
                    <a:gd name="connsiteY94" fmla="*/ 301874 h 658681"/>
                    <a:gd name="connsiteX95" fmla="*/ 46216 w 316433"/>
                    <a:gd name="connsiteY95" fmla="*/ 301874 h 658681"/>
                    <a:gd name="connsiteX96" fmla="*/ 46216 w 316433"/>
                    <a:gd name="connsiteY96" fmla="*/ 321128 h 658681"/>
                    <a:gd name="connsiteX97" fmla="*/ 54127 w 316433"/>
                    <a:gd name="connsiteY97" fmla="*/ 323154 h 658681"/>
                    <a:gd name="connsiteX98" fmla="*/ 54127 w 316433"/>
                    <a:gd name="connsiteY98" fmla="*/ 337341 h 658681"/>
                    <a:gd name="connsiteX99" fmla="*/ 62038 w 316433"/>
                    <a:gd name="connsiteY99" fmla="*/ 342408 h 658681"/>
                    <a:gd name="connsiteX100" fmla="*/ 62038 w 316433"/>
                    <a:gd name="connsiteY100" fmla="*/ 371795 h 658681"/>
                    <a:gd name="connsiteX101" fmla="*/ 73339 w 316433"/>
                    <a:gd name="connsiteY101" fmla="*/ 373822 h 658681"/>
                    <a:gd name="connsiteX102" fmla="*/ 78990 w 316433"/>
                    <a:gd name="connsiteY102" fmla="*/ 393076 h 658681"/>
                    <a:gd name="connsiteX103" fmla="*/ 63168 w 316433"/>
                    <a:gd name="connsiteY103" fmla="*/ 458944 h 658681"/>
                    <a:gd name="connsiteX104" fmla="*/ 71079 w 316433"/>
                    <a:gd name="connsiteY104" fmla="*/ 466037 h 658681"/>
                    <a:gd name="connsiteX105" fmla="*/ 82380 w 316433"/>
                    <a:gd name="connsiteY105" fmla="*/ 464011 h 658681"/>
                    <a:gd name="connsiteX106" fmla="*/ 84640 w 316433"/>
                    <a:gd name="connsiteY106" fmla="*/ 469078 h 658681"/>
                    <a:gd name="connsiteX107" fmla="*/ 111763 w 316433"/>
                    <a:gd name="connsiteY107" fmla="*/ 469078 h 658681"/>
                    <a:gd name="connsiteX108" fmla="*/ 117413 w 316433"/>
                    <a:gd name="connsiteY108" fmla="*/ 456917 h 658681"/>
                    <a:gd name="connsiteX109" fmla="*/ 125324 w 316433"/>
                    <a:gd name="connsiteY109" fmla="*/ 456917 h 658681"/>
                    <a:gd name="connsiteX110" fmla="*/ 141146 w 316433"/>
                    <a:gd name="connsiteY110" fmla="*/ 427530 h 658681"/>
                    <a:gd name="connsiteX111" fmla="*/ 149057 w 316433"/>
                    <a:gd name="connsiteY111" fmla="*/ 422463 h 658681"/>
                    <a:gd name="connsiteX112" fmla="*/ 168269 w 316433"/>
                    <a:gd name="connsiteY112" fmla="*/ 436650 h 658681"/>
                    <a:gd name="connsiteX113" fmla="*/ 170529 w 316433"/>
                    <a:gd name="connsiteY113" fmla="*/ 446784 h 658681"/>
                    <a:gd name="connsiteX114" fmla="*/ 184091 w 316433"/>
                    <a:gd name="connsiteY114" fmla="*/ 448811 h 658681"/>
                    <a:gd name="connsiteX115" fmla="*/ 178440 w 316433"/>
                    <a:gd name="connsiteY115" fmla="*/ 475158 h 658681"/>
                    <a:gd name="connsiteX116" fmla="*/ 192002 w 316433"/>
                    <a:gd name="connsiteY116" fmla="*/ 482251 h 658681"/>
                    <a:gd name="connsiteX117" fmla="*/ 205563 w 316433"/>
                    <a:gd name="connsiteY117" fmla="*/ 537986 h 658681"/>
                    <a:gd name="connsiteX118" fmla="*/ 205563 w 316433"/>
                    <a:gd name="connsiteY118" fmla="*/ 550146 h 658681"/>
                    <a:gd name="connsiteX119" fmla="*/ 216864 w 316433"/>
                    <a:gd name="connsiteY119" fmla="*/ 555213 h 658681"/>
                    <a:gd name="connsiteX120" fmla="*/ 228166 w 316433"/>
                    <a:gd name="connsiteY120" fmla="*/ 618041 h 658681"/>
                    <a:gd name="connsiteX121" fmla="*/ 220255 w 316433"/>
                    <a:gd name="connsiteY121" fmla="*/ 625135 h 658681"/>
                    <a:gd name="connsiteX122" fmla="*/ 228166 w 316433"/>
                    <a:gd name="connsiteY122" fmla="*/ 627161 h 658681"/>
                    <a:gd name="connsiteX123" fmla="*/ 238336 w 316433"/>
                    <a:gd name="connsiteY123" fmla="*/ 656549 h 658681"/>
                    <a:gd name="connsiteX124" fmla="*/ 242857 w 316433"/>
                    <a:gd name="connsiteY124" fmla="*/ 657562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16433" h="658681">
                      <a:moveTo>
                        <a:pt x="242857" y="657562"/>
                      </a:moveTo>
                      <a:lnTo>
                        <a:pt x="246247" y="643375"/>
                      </a:lnTo>
                      <a:lnTo>
                        <a:pt x="251898" y="623108"/>
                      </a:lnTo>
                      <a:lnTo>
                        <a:pt x="266589" y="606894"/>
                      </a:lnTo>
                      <a:lnTo>
                        <a:pt x="265459" y="584600"/>
                      </a:lnTo>
                      <a:lnTo>
                        <a:pt x="256419" y="563320"/>
                      </a:lnTo>
                      <a:lnTo>
                        <a:pt x="232686" y="544066"/>
                      </a:lnTo>
                      <a:lnTo>
                        <a:pt x="222515" y="515692"/>
                      </a:lnTo>
                      <a:lnTo>
                        <a:pt x="216864" y="484278"/>
                      </a:lnTo>
                      <a:lnTo>
                        <a:pt x="234946" y="478198"/>
                      </a:lnTo>
                      <a:lnTo>
                        <a:pt x="234946" y="461984"/>
                      </a:lnTo>
                      <a:lnTo>
                        <a:pt x="220255" y="448811"/>
                      </a:lnTo>
                      <a:lnTo>
                        <a:pt x="204433" y="431583"/>
                      </a:lnTo>
                      <a:lnTo>
                        <a:pt x="198782" y="402196"/>
                      </a:lnTo>
                      <a:lnTo>
                        <a:pt x="204433" y="380916"/>
                      </a:lnTo>
                      <a:lnTo>
                        <a:pt x="207823" y="366729"/>
                      </a:lnTo>
                      <a:lnTo>
                        <a:pt x="199913" y="348488"/>
                      </a:lnTo>
                      <a:lnTo>
                        <a:pt x="203303" y="337341"/>
                      </a:lnTo>
                      <a:lnTo>
                        <a:pt x="216864" y="335314"/>
                      </a:lnTo>
                      <a:lnTo>
                        <a:pt x="229295" y="323154"/>
                      </a:lnTo>
                      <a:lnTo>
                        <a:pt x="239467" y="322141"/>
                      </a:lnTo>
                      <a:lnTo>
                        <a:pt x="238336" y="310994"/>
                      </a:lnTo>
                      <a:lnTo>
                        <a:pt x="243987" y="298834"/>
                      </a:lnTo>
                      <a:lnTo>
                        <a:pt x="253028" y="298834"/>
                      </a:lnTo>
                      <a:lnTo>
                        <a:pt x="263199" y="304914"/>
                      </a:lnTo>
                      <a:lnTo>
                        <a:pt x="291452" y="303900"/>
                      </a:lnTo>
                      <a:lnTo>
                        <a:pt x="294842" y="297820"/>
                      </a:lnTo>
                      <a:lnTo>
                        <a:pt x="297103" y="284647"/>
                      </a:lnTo>
                      <a:lnTo>
                        <a:pt x="310664" y="267419"/>
                      </a:lnTo>
                      <a:lnTo>
                        <a:pt x="315184" y="257286"/>
                      </a:lnTo>
                      <a:lnTo>
                        <a:pt x="285801" y="249179"/>
                      </a:lnTo>
                      <a:lnTo>
                        <a:pt x="281281" y="234992"/>
                      </a:lnTo>
                      <a:lnTo>
                        <a:pt x="275630" y="217765"/>
                      </a:lnTo>
                      <a:lnTo>
                        <a:pt x="265459" y="215738"/>
                      </a:lnTo>
                      <a:lnTo>
                        <a:pt x="250768" y="212698"/>
                      </a:lnTo>
                      <a:lnTo>
                        <a:pt x="250768" y="205605"/>
                      </a:lnTo>
                      <a:lnTo>
                        <a:pt x="262069" y="187364"/>
                      </a:lnTo>
                      <a:lnTo>
                        <a:pt x="259809" y="181284"/>
                      </a:lnTo>
                      <a:lnTo>
                        <a:pt x="248508" y="181284"/>
                      </a:lnTo>
                      <a:lnTo>
                        <a:pt x="242857" y="167097"/>
                      </a:lnTo>
                      <a:lnTo>
                        <a:pt x="246247" y="156964"/>
                      </a:lnTo>
                      <a:lnTo>
                        <a:pt x="238336" y="148857"/>
                      </a:lnTo>
                      <a:lnTo>
                        <a:pt x="227035" y="147843"/>
                      </a:lnTo>
                      <a:lnTo>
                        <a:pt x="212344" y="152910"/>
                      </a:lnTo>
                      <a:lnTo>
                        <a:pt x="205563" y="158990"/>
                      </a:lnTo>
                      <a:lnTo>
                        <a:pt x="198782" y="161017"/>
                      </a:lnTo>
                      <a:lnTo>
                        <a:pt x="197652" y="154937"/>
                      </a:lnTo>
                      <a:lnTo>
                        <a:pt x="197652" y="143790"/>
                      </a:lnTo>
                      <a:lnTo>
                        <a:pt x="189741" y="134670"/>
                      </a:lnTo>
                      <a:lnTo>
                        <a:pt x="189741" y="125549"/>
                      </a:lnTo>
                      <a:lnTo>
                        <a:pt x="202172" y="110349"/>
                      </a:lnTo>
                      <a:lnTo>
                        <a:pt x="211214" y="94136"/>
                      </a:lnTo>
                      <a:lnTo>
                        <a:pt x="214604" y="72855"/>
                      </a:lnTo>
                      <a:lnTo>
                        <a:pt x="215734" y="61708"/>
                      </a:lnTo>
                      <a:lnTo>
                        <a:pt x="210083" y="51575"/>
                      </a:lnTo>
                      <a:lnTo>
                        <a:pt x="215734" y="33334"/>
                      </a:lnTo>
                      <a:lnTo>
                        <a:pt x="208953" y="23201"/>
                      </a:lnTo>
                      <a:lnTo>
                        <a:pt x="203303" y="9013"/>
                      </a:lnTo>
                      <a:lnTo>
                        <a:pt x="192002" y="9013"/>
                      </a:lnTo>
                      <a:lnTo>
                        <a:pt x="181830" y="12054"/>
                      </a:lnTo>
                      <a:lnTo>
                        <a:pt x="181830" y="32321"/>
                      </a:lnTo>
                      <a:lnTo>
                        <a:pt x="169399" y="51575"/>
                      </a:lnTo>
                      <a:lnTo>
                        <a:pt x="155838" y="48535"/>
                      </a:lnTo>
                      <a:lnTo>
                        <a:pt x="134365" y="51575"/>
                      </a:lnTo>
                      <a:lnTo>
                        <a:pt x="124194" y="72855"/>
                      </a:lnTo>
                      <a:lnTo>
                        <a:pt x="124194" y="81975"/>
                      </a:lnTo>
                      <a:lnTo>
                        <a:pt x="109503" y="94136"/>
                      </a:lnTo>
                      <a:lnTo>
                        <a:pt x="99332" y="107309"/>
                      </a:lnTo>
                      <a:lnTo>
                        <a:pt x="84640" y="113389"/>
                      </a:lnTo>
                      <a:lnTo>
                        <a:pt x="78990" y="119470"/>
                      </a:lnTo>
                      <a:lnTo>
                        <a:pt x="88031" y="126563"/>
                      </a:lnTo>
                      <a:lnTo>
                        <a:pt x="88031" y="134670"/>
                      </a:lnTo>
                      <a:lnTo>
                        <a:pt x="74469" y="150883"/>
                      </a:lnTo>
                      <a:lnTo>
                        <a:pt x="67689" y="173177"/>
                      </a:lnTo>
                      <a:lnTo>
                        <a:pt x="46216" y="160004"/>
                      </a:lnTo>
                      <a:lnTo>
                        <a:pt x="46216" y="191418"/>
                      </a:lnTo>
                      <a:lnTo>
                        <a:pt x="51867" y="204591"/>
                      </a:lnTo>
                      <a:lnTo>
                        <a:pt x="52997" y="219792"/>
                      </a:lnTo>
                      <a:lnTo>
                        <a:pt x="51867" y="229925"/>
                      </a:lnTo>
                      <a:lnTo>
                        <a:pt x="46216" y="237019"/>
                      </a:lnTo>
                      <a:lnTo>
                        <a:pt x="37175" y="245126"/>
                      </a:lnTo>
                      <a:lnTo>
                        <a:pt x="28134" y="238032"/>
                      </a:lnTo>
                      <a:lnTo>
                        <a:pt x="17963" y="241072"/>
                      </a:lnTo>
                      <a:lnTo>
                        <a:pt x="22484" y="256273"/>
                      </a:lnTo>
                      <a:lnTo>
                        <a:pt x="25874" y="265393"/>
                      </a:lnTo>
                      <a:lnTo>
                        <a:pt x="28134" y="280593"/>
                      </a:lnTo>
                      <a:lnTo>
                        <a:pt x="28134" y="280593"/>
                      </a:lnTo>
                      <a:lnTo>
                        <a:pt x="14573" y="274513"/>
                      </a:lnTo>
                      <a:lnTo>
                        <a:pt x="10052" y="284647"/>
                      </a:lnTo>
                      <a:lnTo>
                        <a:pt x="11183" y="297820"/>
                      </a:lnTo>
                      <a:cubicBezTo>
                        <a:pt x="13443" y="302887"/>
                        <a:pt x="15703" y="307954"/>
                        <a:pt x="19094" y="314034"/>
                      </a:cubicBezTo>
                      <a:lnTo>
                        <a:pt x="24744" y="314034"/>
                      </a:lnTo>
                      <a:cubicBezTo>
                        <a:pt x="25874" y="310994"/>
                        <a:pt x="24744" y="307954"/>
                        <a:pt x="27004" y="306941"/>
                      </a:cubicBezTo>
                      <a:cubicBezTo>
                        <a:pt x="28134" y="305927"/>
                        <a:pt x="33785" y="307954"/>
                        <a:pt x="34915" y="306941"/>
                      </a:cubicBezTo>
                      <a:lnTo>
                        <a:pt x="34915" y="301874"/>
                      </a:lnTo>
                      <a:cubicBezTo>
                        <a:pt x="38305" y="300860"/>
                        <a:pt x="42826" y="302887"/>
                        <a:pt x="46216" y="301874"/>
                      </a:cubicBezTo>
                      <a:cubicBezTo>
                        <a:pt x="46216" y="307954"/>
                        <a:pt x="46216" y="315047"/>
                        <a:pt x="46216" y="321128"/>
                      </a:cubicBezTo>
                      <a:lnTo>
                        <a:pt x="54127" y="323154"/>
                      </a:lnTo>
                      <a:cubicBezTo>
                        <a:pt x="56387" y="327208"/>
                        <a:pt x="51867" y="333288"/>
                        <a:pt x="54127" y="337341"/>
                      </a:cubicBezTo>
                      <a:cubicBezTo>
                        <a:pt x="54127" y="338354"/>
                        <a:pt x="62038" y="341395"/>
                        <a:pt x="62038" y="342408"/>
                      </a:cubicBezTo>
                      <a:cubicBezTo>
                        <a:pt x="63168" y="349501"/>
                        <a:pt x="56387" y="362675"/>
                        <a:pt x="62038" y="371795"/>
                      </a:cubicBezTo>
                      <a:cubicBezTo>
                        <a:pt x="63168" y="372809"/>
                        <a:pt x="69949" y="373822"/>
                        <a:pt x="73339" y="373822"/>
                      </a:cubicBezTo>
                      <a:cubicBezTo>
                        <a:pt x="74469" y="381929"/>
                        <a:pt x="77859" y="386996"/>
                        <a:pt x="78990" y="393076"/>
                      </a:cubicBezTo>
                      <a:cubicBezTo>
                        <a:pt x="80120" y="414356"/>
                        <a:pt x="65428" y="435637"/>
                        <a:pt x="63168" y="458944"/>
                      </a:cubicBezTo>
                      <a:cubicBezTo>
                        <a:pt x="66558" y="459957"/>
                        <a:pt x="68818" y="466037"/>
                        <a:pt x="71079" y="466037"/>
                      </a:cubicBezTo>
                      <a:cubicBezTo>
                        <a:pt x="77859" y="468064"/>
                        <a:pt x="78990" y="462997"/>
                        <a:pt x="82380" y="464011"/>
                      </a:cubicBezTo>
                      <a:cubicBezTo>
                        <a:pt x="82380" y="464011"/>
                        <a:pt x="84640" y="468064"/>
                        <a:pt x="84640" y="469078"/>
                      </a:cubicBezTo>
                      <a:cubicBezTo>
                        <a:pt x="94811" y="469078"/>
                        <a:pt x="98202" y="468064"/>
                        <a:pt x="111763" y="469078"/>
                      </a:cubicBezTo>
                      <a:cubicBezTo>
                        <a:pt x="114023" y="465024"/>
                        <a:pt x="114023" y="458944"/>
                        <a:pt x="117413" y="456917"/>
                      </a:cubicBezTo>
                      <a:cubicBezTo>
                        <a:pt x="118544" y="455904"/>
                        <a:pt x="123064" y="457931"/>
                        <a:pt x="125324" y="456917"/>
                      </a:cubicBezTo>
                      <a:cubicBezTo>
                        <a:pt x="137756" y="452864"/>
                        <a:pt x="137756" y="440703"/>
                        <a:pt x="141146" y="427530"/>
                      </a:cubicBezTo>
                      <a:lnTo>
                        <a:pt x="149057" y="422463"/>
                      </a:lnTo>
                      <a:cubicBezTo>
                        <a:pt x="153577" y="425503"/>
                        <a:pt x="166009" y="432597"/>
                        <a:pt x="168269" y="436650"/>
                      </a:cubicBezTo>
                      <a:cubicBezTo>
                        <a:pt x="170529" y="439690"/>
                        <a:pt x="167139" y="444757"/>
                        <a:pt x="170529" y="446784"/>
                      </a:cubicBezTo>
                      <a:cubicBezTo>
                        <a:pt x="173919" y="448811"/>
                        <a:pt x="181830" y="447797"/>
                        <a:pt x="184091" y="448811"/>
                      </a:cubicBezTo>
                      <a:cubicBezTo>
                        <a:pt x="182961" y="459957"/>
                        <a:pt x="182961" y="462997"/>
                        <a:pt x="178440" y="475158"/>
                      </a:cubicBezTo>
                      <a:cubicBezTo>
                        <a:pt x="180700" y="477184"/>
                        <a:pt x="189741" y="480224"/>
                        <a:pt x="192002" y="482251"/>
                      </a:cubicBezTo>
                      <a:cubicBezTo>
                        <a:pt x="194262" y="485291"/>
                        <a:pt x="204433" y="532919"/>
                        <a:pt x="205563" y="537986"/>
                      </a:cubicBezTo>
                      <a:cubicBezTo>
                        <a:pt x="206693" y="542039"/>
                        <a:pt x="204433" y="547106"/>
                        <a:pt x="205563" y="550146"/>
                      </a:cubicBezTo>
                      <a:cubicBezTo>
                        <a:pt x="206693" y="552173"/>
                        <a:pt x="215734" y="553186"/>
                        <a:pt x="216864" y="555213"/>
                      </a:cubicBezTo>
                      <a:cubicBezTo>
                        <a:pt x="217994" y="557240"/>
                        <a:pt x="229295" y="613988"/>
                        <a:pt x="228166" y="618041"/>
                      </a:cubicBezTo>
                      <a:cubicBezTo>
                        <a:pt x="227035" y="620068"/>
                        <a:pt x="221385" y="623108"/>
                        <a:pt x="220255" y="625135"/>
                      </a:cubicBezTo>
                      <a:cubicBezTo>
                        <a:pt x="221385" y="626148"/>
                        <a:pt x="227035" y="626148"/>
                        <a:pt x="228166" y="627161"/>
                      </a:cubicBezTo>
                      <a:cubicBezTo>
                        <a:pt x="231556" y="630201"/>
                        <a:pt x="236076" y="644388"/>
                        <a:pt x="238336" y="656549"/>
                      </a:cubicBezTo>
                      <a:lnTo>
                        <a:pt x="242857" y="65756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5" name="Freeform: Shape 434">
                  <a:extLst>
                    <a:ext uri="{FF2B5EF4-FFF2-40B4-BE49-F238E27FC236}">
                      <a16:creationId xmlns:a16="http://schemas.microsoft.com/office/drawing/2014/main" id="{D44E13AD-805D-4B4B-B930-5DE952E699D1}"/>
                    </a:ext>
                  </a:extLst>
                </p:cNvPr>
                <p:cNvSpPr/>
                <p:nvPr/>
              </p:nvSpPr>
              <p:spPr>
                <a:xfrm>
                  <a:off x="5681527" y="3633261"/>
                  <a:ext cx="282530" cy="243206"/>
                </a:xfrm>
                <a:custGeom>
                  <a:avLst/>
                  <a:gdLst>
                    <a:gd name="connsiteX0" fmla="*/ 209388 w 282529"/>
                    <a:gd name="connsiteY0" fmla="*/ 176339 h 243205"/>
                    <a:gd name="connsiteX1" fmla="*/ 183396 w 282529"/>
                    <a:gd name="connsiteY1" fmla="*/ 173299 h 243205"/>
                    <a:gd name="connsiteX2" fmla="*/ 180005 w 282529"/>
                    <a:gd name="connsiteY2" fmla="*/ 181406 h 243205"/>
                    <a:gd name="connsiteX3" fmla="*/ 128019 w 282529"/>
                    <a:gd name="connsiteY3" fmla="*/ 177353 h 243205"/>
                    <a:gd name="connsiteX4" fmla="*/ 116718 w 282529"/>
                    <a:gd name="connsiteY4" fmla="*/ 195593 h 243205"/>
                    <a:gd name="connsiteX5" fmla="*/ 121239 w 282529"/>
                    <a:gd name="connsiteY5" fmla="*/ 215860 h 243205"/>
                    <a:gd name="connsiteX6" fmla="*/ 116718 w 282529"/>
                    <a:gd name="connsiteY6" fmla="*/ 237141 h 243205"/>
                    <a:gd name="connsiteX7" fmla="*/ 90726 w 282529"/>
                    <a:gd name="connsiteY7" fmla="*/ 238154 h 243205"/>
                    <a:gd name="connsiteX8" fmla="*/ 85075 w 282529"/>
                    <a:gd name="connsiteY8" fmla="*/ 222954 h 243205"/>
                    <a:gd name="connsiteX9" fmla="*/ 70384 w 282529"/>
                    <a:gd name="connsiteY9" fmla="*/ 221940 h 243205"/>
                    <a:gd name="connsiteX10" fmla="*/ 59082 w 282529"/>
                    <a:gd name="connsiteY10" fmla="*/ 230047 h 243205"/>
                    <a:gd name="connsiteX11" fmla="*/ 44390 w 282529"/>
                    <a:gd name="connsiteY11" fmla="*/ 229034 h 243205"/>
                    <a:gd name="connsiteX12" fmla="*/ 39870 w 282529"/>
                    <a:gd name="connsiteY12" fmla="*/ 217887 h 243205"/>
                    <a:gd name="connsiteX13" fmla="*/ 11617 w 282529"/>
                    <a:gd name="connsiteY13" fmla="*/ 216874 h 243205"/>
                    <a:gd name="connsiteX14" fmla="*/ 16137 w 282529"/>
                    <a:gd name="connsiteY14" fmla="*/ 188499 h 243205"/>
                    <a:gd name="connsiteX15" fmla="*/ 20658 w 282529"/>
                    <a:gd name="connsiteY15" fmla="*/ 172286 h 243205"/>
                    <a:gd name="connsiteX16" fmla="*/ 21788 w 282529"/>
                    <a:gd name="connsiteY16" fmla="*/ 158099 h 243205"/>
                    <a:gd name="connsiteX17" fmla="*/ 34220 w 282529"/>
                    <a:gd name="connsiteY17" fmla="*/ 143912 h 243205"/>
                    <a:gd name="connsiteX18" fmla="*/ 44390 w 282529"/>
                    <a:gd name="connsiteY18" fmla="*/ 146952 h 243205"/>
                    <a:gd name="connsiteX19" fmla="*/ 51172 w 282529"/>
                    <a:gd name="connsiteY19" fmla="*/ 121618 h 243205"/>
                    <a:gd name="connsiteX20" fmla="*/ 65863 w 282529"/>
                    <a:gd name="connsiteY20" fmla="*/ 103378 h 243205"/>
                    <a:gd name="connsiteX21" fmla="*/ 92986 w 282529"/>
                    <a:gd name="connsiteY21" fmla="*/ 95271 h 243205"/>
                    <a:gd name="connsiteX22" fmla="*/ 108807 w 282529"/>
                    <a:gd name="connsiteY22" fmla="*/ 80071 h 243205"/>
                    <a:gd name="connsiteX23" fmla="*/ 120109 w 282529"/>
                    <a:gd name="connsiteY23" fmla="*/ 60816 h 243205"/>
                    <a:gd name="connsiteX24" fmla="*/ 138191 w 282529"/>
                    <a:gd name="connsiteY24" fmla="*/ 49670 h 243205"/>
                    <a:gd name="connsiteX25" fmla="*/ 152882 w 282529"/>
                    <a:gd name="connsiteY25" fmla="*/ 28389 h 243205"/>
                    <a:gd name="connsiteX26" fmla="*/ 170964 w 282529"/>
                    <a:gd name="connsiteY26" fmla="*/ 18256 h 243205"/>
                    <a:gd name="connsiteX27" fmla="*/ 183396 w 282529"/>
                    <a:gd name="connsiteY27" fmla="*/ 12175 h 243205"/>
                    <a:gd name="connsiteX28" fmla="*/ 198087 w 282529"/>
                    <a:gd name="connsiteY28" fmla="*/ 13189 h 243205"/>
                    <a:gd name="connsiteX29" fmla="*/ 207128 w 282529"/>
                    <a:gd name="connsiteY29" fmla="*/ 26362 h 243205"/>
                    <a:gd name="connsiteX30" fmla="*/ 201477 w 282529"/>
                    <a:gd name="connsiteY30" fmla="*/ 37509 h 243205"/>
                    <a:gd name="connsiteX31" fmla="*/ 213908 w 282529"/>
                    <a:gd name="connsiteY31" fmla="*/ 52710 h 243205"/>
                    <a:gd name="connsiteX32" fmla="*/ 239902 w 282529"/>
                    <a:gd name="connsiteY32" fmla="*/ 66897 h 243205"/>
                    <a:gd name="connsiteX33" fmla="*/ 236511 w 282529"/>
                    <a:gd name="connsiteY33" fmla="*/ 78044 h 243205"/>
                    <a:gd name="connsiteX34" fmla="*/ 252333 w 282529"/>
                    <a:gd name="connsiteY34" fmla="*/ 107431 h 243205"/>
                    <a:gd name="connsiteX35" fmla="*/ 267024 w 282529"/>
                    <a:gd name="connsiteY35" fmla="*/ 110471 h 243205"/>
                    <a:gd name="connsiteX36" fmla="*/ 262504 w 282529"/>
                    <a:gd name="connsiteY36" fmla="*/ 124658 h 243205"/>
                    <a:gd name="connsiteX37" fmla="*/ 272675 w 282529"/>
                    <a:gd name="connsiteY37" fmla="*/ 155059 h 243205"/>
                    <a:gd name="connsiteX38" fmla="*/ 268155 w 282529"/>
                    <a:gd name="connsiteY38" fmla="*/ 165192 h 243205"/>
                    <a:gd name="connsiteX39" fmla="*/ 255723 w 282529"/>
                    <a:gd name="connsiteY39" fmla="*/ 171273 h 243205"/>
                    <a:gd name="connsiteX40" fmla="*/ 250072 w 282529"/>
                    <a:gd name="connsiteY40" fmla="*/ 181406 h 243205"/>
                    <a:gd name="connsiteX41" fmla="*/ 241031 w 282529"/>
                    <a:gd name="connsiteY41" fmla="*/ 181406 h 243205"/>
                    <a:gd name="connsiteX42" fmla="*/ 224080 w 282529"/>
                    <a:gd name="connsiteY42" fmla="*/ 180393 h 243205"/>
                    <a:gd name="connsiteX43" fmla="*/ 209388 w 282529"/>
                    <a:gd name="connsiteY43" fmla="*/ 176339 h 2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2529" h="243205">
                      <a:moveTo>
                        <a:pt x="209388" y="176339"/>
                      </a:moveTo>
                      <a:lnTo>
                        <a:pt x="183396" y="173299"/>
                      </a:lnTo>
                      <a:lnTo>
                        <a:pt x="180005" y="181406"/>
                      </a:lnTo>
                      <a:cubicBezTo>
                        <a:pt x="180005" y="181406"/>
                        <a:pt x="133670" y="175326"/>
                        <a:pt x="128019" y="177353"/>
                      </a:cubicBezTo>
                      <a:cubicBezTo>
                        <a:pt x="122369" y="179379"/>
                        <a:pt x="116718" y="187486"/>
                        <a:pt x="116718" y="195593"/>
                      </a:cubicBezTo>
                      <a:cubicBezTo>
                        <a:pt x="116718" y="203700"/>
                        <a:pt x="122369" y="210793"/>
                        <a:pt x="121239" y="215860"/>
                      </a:cubicBezTo>
                      <a:cubicBezTo>
                        <a:pt x="120109" y="220927"/>
                        <a:pt x="116718" y="237141"/>
                        <a:pt x="116718" y="237141"/>
                      </a:cubicBezTo>
                      <a:cubicBezTo>
                        <a:pt x="116718" y="237141"/>
                        <a:pt x="98637" y="240181"/>
                        <a:pt x="90726" y="238154"/>
                      </a:cubicBezTo>
                      <a:cubicBezTo>
                        <a:pt x="82815" y="236127"/>
                        <a:pt x="85075" y="222954"/>
                        <a:pt x="85075" y="222954"/>
                      </a:cubicBezTo>
                      <a:lnTo>
                        <a:pt x="70384" y="221940"/>
                      </a:lnTo>
                      <a:lnTo>
                        <a:pt x="59082" y="230047"/>
                      </a:lnTo>
                      <a:lnTo>
                        <a:pt x="44390" y="229034"/>
                      </a:lnTo>
                      <a:lnTo>
                        <a:pt x="39870" y="217887"/>
                      </a:lnTo>
                      <a:lnTo>
                        <a:pt x="11617" y="216874"/>
                      </a:lnTo>
                      <a:cubicBezTo>
                        <a:pt x="11617" y="216874"/>
                        <a:pt x="5967" y="192553"/>
                        <a:pt x="16137" y="188499"/>
                      </a:cubicBezTo>
                      <a:cubicBezTo>
                        <a:pt x="26309" y="184446"/>
                        <a:pt x="22919" y="177353"/>
                        <a:pt x="20658" y="172286"/>
                      </a:cubicBezTo>
                      <a:cubicBezTo>
                        <a:pt x="18398" y="167219"/>
                        <a:pt x="21788" y="158099"/>
                        <a:pt x="21788" y="158099"/>
                      </a:cubicBezTo>
                      <a:cubicBezTo>
                        <a:pt x="21788" y="158099"/>
                        <a:pt x="27439" y="146952"/>
                        <a:pt x="34220" y="143912"/>
                      </a:cubicBezTo>
                      <a:cubicBezTo>
                        <a:pt x="41000" y="140872"/>
                        <a:pt x="44390" y="146952"/>
                        <a:pt x="44390" y="146952"/>
                      </a:cubicBezTo>
                      <a:cubicBezTo>
                        <a:pt x="44390" y="146952"/>
                        <a:pt x="47781" y="128712"/>
                        <a:pt x="51172" y="121618"/>
                      </a:cubicBezTo>
                      <a:cubicBezTo>
                        <a:pt x="55692" y="113511"/>
                        <a:pt x="56822" y="107431"/>
                        <a:pt x="65863" y="103378"/>
                      </a:cubicBezTo>
                      <a:cubicBezTo>
                        <a:pt x="74904" y="99324"/>
                        <a:pt x="87335" y="94257"/>
                        <a:pt x="92986" y="95271"/>
                      </a:cubicBezTo>
                      <a:cubicBezTo>
                        <a:pt x="98637" y="96284"/>
                        <a:pt x="108807" y="86150"/>
                        <a:pt x="108807" y="80071"/>
                      </a:cubicBezTo>
                      <a:cubicBezTo>
                        <a:pt x="108807" y="73990"/>
                        <a:pt x="109938" y="68924"/>
                        <a:pt x="120109" y="60816"/>
                      </a:cubicBezTo>
                      <a:cubicBezTo>
                        <a:pt x="130280" y="52710"/>
                        <a:pt x="138191" y="55750"/>
                        <a:pt x="138191" y="49670"/>
                      </a:cubicBezTo>
                      <a:cubicBezTo>
                        <a:pt x="138191" y="43590"/>
                        <a:pt x="141581" y="28389"/>
                        <a:pt x="152882" y="28389"/>
                      </a:cubicBezTo>
                      <a:cubicBezTo>
                        <a:pt x="164183" y="28389"/>
                        <a:pt x="170964" y="25349"/>
                        <a:pt x="170964" y="18256"/>
                      </a:cubicBezTo>
                      <a:cubicBezTo>
                        <a:pt x="170964" y="11162"/>
                        <a:pt x="180005" y="5082"/>
                        <a:pt x="183396" y="12175"/>
                      </a:cubicBezTo>
                      <a:cubicBezTo>
                        <a:pt x="186786" y="19269"/>
                        <a:pt x="192436" y="8122"/>
                        <a:pt x="198087" y="13189"/>
                      </a:cubicBezTo>
                      <a:cubicBezTo>
                        <a:pt x="203738" y="18256"/>
                        <a:pt x="207128" y="26362"/>
                        <a:pt x="207128" y="26362"/>
                      </a:cubicBezTo>
                      <a:lnTo>
                        <a:pt x="201477" y="37509"/>
                      </a:lnTo>
                      <a:lnTo>
                        <a:pt x="213908" y="52710"/>
                      </a:lnTo>
                      <a:lnTo>
                        <a:pt x="239902" y="66897"/>
                      </a:lnTo>
                      <a:lnTo>
                        <a:pt x="236511" y="78044"/>
                      </a:lnTo>
                      <a:lnTo>
                        <a:pt x="252333" y="107431"/>
                      </a:lnTo>
                      <a:cubicBezTo>
                        <a:pt x="252333" y="107431"/>
                        <a:pt x="264764" y="103378"/>
                        <a:pt x="267024" y="110471"/>
                      </a:cubicBezTo>
                      <a:cubicBezTo>
                        <a:pt x="269284" y="117565"/>
                        <a:pt x="262504" y="124658"/>
                        <a:pt x="262504" y="124658"/>
                      </a:cubicBezTo>
                      <a:lnTo>
                        <a:pt x="272675" y="155059"/>
                      </a:lnTo>
                      <a:cubicBezTo>
                        <a:pt x="272675" y="155059"/>
                        <a:pt x="276065" y="160126"/>
                        <a:pt x="268155" y="165192"/>
                      </a:cubicBezTo>
                      <a:cubicBezTo>
                        <a:pt x="260244" y="170259"/>
                        <a:pt x="255723" y="171273"/>
                        <a:pt x="255723" y="171273"/>
                      </a:cubicBezTo>
                      <a:cubicBezTo>
                        <a:pt x="255723" y="171273"/>
                        <a:pt x="255723" y="181406"/>
                        <a:pt x="250072" y="181406"/>
                      </a:cubicBezTo>
                      <a:cubicBezTo>
                        <a:pt x="244422" y="181406"/>
                        <a:pt x="241031" y="181406"/>
                        <a:pt x="241031" y="181406"/>
                      </a:cubicBezTo>
                      <a:cubicBezTo>
                        <a:pt x="241031" y="181406"/>
                        <a:pt x="230860" y="181406"/>
                        <a:pt x="224080" y="180393"/>
                      </a:cubicBezTo>
                      <a:cubicBezTo>
                        <a:pt x="218429" y="177353"/>
                        <a:pt x="209388" y="176339"/>
                        <a:pt x="209388" y="17633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6" name="Freeform: Shape 435">
                  <a:extLst>
                    <a:ext uri="{FF2B5EF4-FFF2-40B4-BE49-F238E27FC236}">
                      <a16:creationId xmlns:a16="http://schemas.microsoft.com/office/drawing/2014/main" id="{63899C04-A00C-4BAB-A495-1F6561AEAFCF}"/>
                    </a:ext>
                  </a:extLst>
                </p:cNvPr>
                <p:cNvSpPr/>
                <p:nvPr/>
              </p:nvSpPr>
              <p:spPr>
                <a:xfrm>
                  <a:off x="6687806" y="2446613"/>
                  <a:ext cx="226024" cy="152004"/>
                </a:xfrm>
                <a:custGeom>
                  <a:avLst/>
                  <a:gdLst>
                    <a:gd name="connsiteX0" fmla="*/ 224736 w 226023"/>
                    <a:gd name="connsiteY0" fmla="*/ 21303 h 152003"/>
                    <a:gd name="connsiteX1" fmla="*/ 210045 w 226023"/>
                    <a:gd name="connsiteY1" fmla="*/ 13196 h 152003"/>
                    <a:gd name="connsiteX2" fmla="*/ 184052 w 226023"/>
                    <a:gd name="connsiteY2" fmla="*/ 17249 h 152003"/>
                    <a:gd name="connsiteX3" fmla="*/ 159189 w 226023"/>
                    <a:gd name="connsiteY3" fmla="*/ 9143 h 152003"/>
                    <a:gd name="connsiteX4" fmla="*/ 137717 w 226023"/>
                    <a:gd name="connsiteY4" fmla="*/ 20289 h 152003"/>
                    <a:gd name="connsiteX5" fmla="*/ 115115 w 226023"/>
                    <a:gd name="connsiteY5" fmla="*/ 29410 h 152003"/>
                    <a:gd name="connsiteX6" fmla="*/ 85731 w 226023"/>
                    <a:gd name="connsiteY6" fmla="*/ 28396 h 152003"/>
                    <a:gd name="connsiteX7" fmla="*/ 65389 w 226023"/>
                    <a:gd name="connsiteY7" fmla="*/ 32450 h 152003"/>
                    <a:gd name="connsiteX8" fmla="*/ 54088 w 226023"/>
                    <a:gd name="connsiteY8" fmla="*/ 19276 h 152003"/>
                    <a:gd name="connsiteX9" fmla="*/ 39397 w 226023"/>
                    <a:gd name="connsiteY9" fmla="*/ 11169 h 152003"/>
                    <a:gd name="connsiteX10" fmla="*/ 24705 w 226023"/>
                    <a:gd name="connsiteY10" fmla="*/ 27383 h 152003"/>
                    <a:gd name="connsiteX11" fmla="*/ 13404 w 226023"/>
                    <a:gd name="connsiteY11" fmla="*/ 40557 h 152003"/>
                    <a:gd name="connsiteX12" fmla="*/ 14534 w 226023"/>
                    <a:gd name="connsiteY12" fmla="*/ 58797 h 152003"/>
                    <a:gd name="connsiteX13" fmla="*/ 34876 w 226023"/>
                    <a:gd name="connsiteY13" fmla="*/ 67917 h 152003"/>
                    <a:gd name="connsiteX14" fmla="*/ 28096 w 226023"/>
                    <a:gd name="connsiteY14" fmla="*/ 86158 h 152003"/>
                    <a:gd name="connsiteX15" fmla="*/ 20185 w 226023"/>
                    <a:gd name="connsiteY15" fmla="*/ 99331 h 152003"/>
                    <a:gd name="connsiteX16" fmla="*/ 32616 w 226023"/>
                    <a:gd name="connsiteY16" fmla="*/ 108451 h 152003"/>
                    <a:gd name="connsiteX17" fmla="*/ 33746 w 226023"/>
                    <a:gd name="connsiteY17" fmla="*/ 121625 h 152003"/>
                    <a:gd name="connsiteX18" fmla="*/ 39397 w 226023"/>
                    <a:gd name="connsiteY18" fmla="*/ 132772 h 152003"/>
                    <a:gd name="connsiteX19" fmla="*/ 39397 w 226023"/>
                    <a:gd name="connsiteY19" fmla="*/ 144932 h 152003"/>
                    <a:gd name="connsiteX20" fmla="*/ 61999 w 226023"/>
                    <a:gd name="connsiteY20" fmla="*/ 148986 h 152003"/>
                    <a:gd name="connsiteX21" fmla="*/ 82341 w 226023"/>
                    <a:gd name="connsiteY21" fmla="*/ 138852 h 152003"/>
                    <a:gd name="connsiteX22" fmla="*/ 104944 w 226023"/>
                    <a:gd name="connsiteY22" fmla="*/ 133785 h 152003"/>
                    <a:gd name="connsiteX23" fmla="*/ 116245 w 226023"/>
                    <a:gd name="connsiteY23" fmla="*/ 146959 h 152003"/>
                    <a:gd name="connsiteX24" fmla="*/ 133197 w 226023"/>
                    <a:gd name="connsiteY24" fmla="*/ 145946 h 152003"/>
                    <a:gd name="connsiteX25" fmla="*/ 144498 w 226023"/>
                    <a:gd name="connsiteY25" fmla="*/ 139866 h 152003"/>
                    <a:gd name="connsiteX26" fmla="*/ 159189 w 226023"/>
                    <a:gd name="connsiteY26" fmla="*/ 133785 h 152003"/>
                    <a:gd name="connsiteX27" fmla="*/ 161450 w 226023"/>
                    <a:gd name="connsiteY27" fmla="*/ 126692 h 152003"/>
                    <a:gd name="connsiteX28" fmla="*/ 178401 w 226023"/>
                    <a:gd name="connsiteY28" fmla="*/ 127705 h 152003"/>
                    <a:gd name="connsiteX29" fmla="*/ 198743 w 226023"/>
                    <a:gd name="connsiteY29" fmla="*/ 125679 h 152003"/>
                    <a:gd name="connsiteX30" fmla="*/ 194223 w 226023"/>
                    <a:gd name="connsiteY30" fmla="*/ 111492 h 152003"/>
                    <a:gd name="connsiteX31" fmla="*/ 182922 w 226023"/>
                    <a:gd name="connsiteY31" fmla="*/ 106425 h 152003"/>
                    <a:gd name="connsiteX32" fmla="*/ 194223 w 226023"/>
                    <a:gd name="connsiteY32" fmla="*/ 92238 h 152003"/>
                    <a:gd name="connsiteX33" fmla="*/ 196483 w 226023"/>
                    <a:gd name="connsiteY33" fmla="*/ 92238 h 152003"/>
                    <a:gd name="connsiteX34" fmla="*/ 196483 w 226023"/>
                    <a:gd name="connsiteY34" fmla="*/ 80078 h 152003"/>
                    <a:gd name="connsiteX35" fmla="*/ 221346 w 226023"/>
                    <a:gd name="connsiteY35" fmla="*/ 60824 h 152003"/>
                    <a:gd name="connsiteX36" fmla="*/ 224736 w 226023"/>
                    <a:gd name="connsiteY36" fmla="*/ 21303 h 152003"/>
                    <a:gd name="connsiteX37" fmla="*/ 224736 w 226023"/>
                    <a:gd name="connsiteY37" fmla="*/ 21303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6023" h="152003">
                      <a:moveTo>
                        <a:pt x="224736" y="21303"/>
                      </a:moveTo>
                      <a:cubicBezTo>
                        <a:pt x="224736" y="21303"/>
                        <a:pt x="216826" y="15223"/>
                        <a:pt x="210045" y="13196"/>
                      </a:cubicBezTo>
                      <a:cubicBezTo>
                        <a:pt x="201004" y="10156"/>
                        <a:pt x="199874" y="10156"/>
                        <a:pt x="184052" y="17249"/>
                      </a:cubicBezTo>
                      <a:cubicBezTo>
                        <a:pt x="168230" y="23329"/>
                        <a:pt x="168230" y="11169"/>
                        <a:pt x="159189" y="9143"/>
                      </a:cubicBezTo>
                      <a:cubicBezTo>
                        <a:pt x="150148" y="8129"/>
                        <a:pt x="146758" y="13196"/>
                        <a:pt x="137717" y="20289"/>
                      </a:cubicBezTo>
                      <a:cubicBezTo>
                        <a:pt x="128676" y="27383"/>
                        <a:pt x="132067" y="25356"/>
                        <a:pt x="115115" y="29410"/>
                      </a:cubicBezTo>
                      <a:cubicBezTo>
                        <a:pt x="98163" y="33463"/>
                        <a:pt x="99293" y="32450"/>
                        <a:pt x="85731" y="28396"/>
                      </a:cubicBezTo>
                      <a:cubicBezTo>
                        <a:pt x="72170" y="24343"/>
                        <a:pt x="82341" y="32450"/>
                        <a:pt x="65389" y="32450"/>
                      </a:cubicBezTo>
                      <a:cubicBezTo>
                        <a:pt x="48438" y="32450"/>
                        <a:pt x="45047" y="24343"/>
                        <a:pt x="54088" y="19276"/>
                      </a:cubicBezTo>
                      <a:cubicBezTo>
                        <a:pt x="63129" y="14209"/>
                        <a:pt x="39397" y="11169"/>
                        <a:pt x="39397" y="11169"/>
                      </a:cubicBezTo>
                      <a:cubicBezTo>
                        <a:pt x="39397" y="11169"/>
                        <a:pt x="33746" y="22316"/>
                        <a:pt x="24705" y="27383"/>
                      </a:cubicBezTo>
                      <a:cubicBezTo>
                        <a:pt x="15664" y="32450"/>
                        <a:pt x="19055" y="35490"/>
                        <a:pt x="13404" y="40557"/>
                      </a:cubicBezTo>
                      <a:cubicBezTo>
                        <a:pt x="7754" y="45623"/>
                        <a:pt x="10013" y="51704"/>
                        <a:pt x="14534" y="58797"/>
                      </a:cubicBezTo>
                      <a:cubicBezTo>
                        <a:pt x="19055" y="65890"/>
                        <a:pt x="25835" y="66904"/>
                        <a:pt x="34876" y="67917"/>
                      </a:cubicBezTo>
                      <a:cubicBezTo>
                        <a:pt x="43917" y="68931"/>
                        <a:pt x="29225" y="78051"/>
                        <a:pt x="28096" y="86158"/>
                      </a:cubicBezTo>
                      <a:cubicBezTo>
                        <a:pt x="26965" y="94264"/>
                        <a:pt x="20185" y="99331"/>
                        <a:pt x="20185" y="99331"/>
                      </a:cubicBezTo>
                      <a:cubicBezTo>
                        <a:pt x="20185" y="99331"/>
                        <a:pt x="26965" y="102371"/>
                        <a:pt x="32616" y="108451"/>
                      </a:cubicBezTo>
                      <a:cubicBezTo>
                        <a:pt x="38266" y="114532"/>
                        <a:pt x="24705" y="113518"/>
                        <a:pt x="33746" y="121625"/>
                      </a:cubicBezTo>
                      <a:cubicBezTo>
                        <a:pt x="42787" y="129732"/>
                        <a:pt x="39397" y="132772"/>
                        <a:pt x="39397" y="132772"/>
                      </a:cubicBezTo>
                      <a:lnTo>
                        <a:pt x="39397" y="144932"/>
                      </a:lnTo>
                      <a:cubicBezTo>
                        <a:pt x="39397" y="144932"/>
                        <a:pt x="51828" y="148986"/>
                        <a:pt x="61999" y="148986"/>
                      </a:cubicBezTo>
                      <a:cubicBezTo>
                        <a:pt x="72170" y="148986"/>
                        <a:pt x="74430" y="148986"/>
                        <a:pt x="82341" y="138852"/>
                      </a:cubicBezTo>
                      <a:cubicBezTo>
                        <a:pt x="90252" y="128719"/>
                        <a:pt x="92513" y="133785"/>
                        <a:pt x="104944" y="133785"/>
                      </a:cubicBezTo>
                      <a:cubicBezTo>
                        <a:pt x="117375" y="133785"/>
                        <a:pt x="116245" y="146959"/>
                        <a:pt x="116245" y="146959"/>
                      </a:cubicBezTo>
                      <a:cubicBezTo>
                        <a:pt x="116245" y="146959"/>
                        <a:pt x="125286" y="145946"/>
                        <a:pt x="133197" y="145946"/>
                      </a:cubicBezTo>
                      <a:cubicBezTo>
                        <a:pt x="141108" y="145946"/>
                        <a:pt x="150148" y="151013"/>
                        <a:pt x="144498" y="139866"/>
                      </a:cubicBezTo>
                      <a:cubicBezTo>
                        <a:pt x="138847" y="128719"/>
                        <a:pt x="159189" y="133785"/>
                        <a:pt x="159189" y="133785"/>
                      </a:cubicBezTo>
                      <a:cubicBezTo>
                        <a:pt x="159189" y="133785"/>
                        <a:pt x="156929" y="131759"/>
                        <a:pt x="161450" y="126692"/>
                      </a:cubicBezTo>
                      <a:cubicBezTo>
                        <a:pt x="167100" y="122638"/>
                        <a:pt x="173881" y="123652"/>
                        <a:pt x="178401" y="127705"/>
                      </a:cubicBezTo>
                      <a:cubicBezTo>
                        <a:pt x="182922" y="130745"/>
                        <a:pt x="198743" y="125679"/>
                        <a:pt x="198743" y="125679"/>
                      </a:cubicBezTo>
                      <a:cubicBezTo>
                        <a:pt x="198743" y="121625"/>
                        <a:pt x="197614" y="114532"/>
                        <a:pt x="194223" y="111492"/>
                      </a:cubicBezTo>
                      <a:cubicBezTo>
                        <a:pt x="191963" y="108451"/>
                        <a:pt x="185182" y="108451"/>
                        <a:pt x="182922" y="106425"/>
                      </a:cubicBezTo>
                      <a:cubicBezTo>
                        <a:pt x="182922" y="106425"/>
                        <a:pt x="194223" y="92238"/>
                        <a:pt x="194223" y="92238"/>
                      </a:cubicBezTo>
                      <a:cubicBezTo>
                        <a:pt x="195353" y="92238"/>
                        <a:pt x="196483" y="92238"/>
                        <a:pt x="196483" y="92238"/>
                      </a:cubicBezTo>
                      <a:cubicBezTo>
                        <a:pt x="197614" y="88184"/>
                        <a:pt x="194223" y="84131"/>
                        <a:pt x="196483" y="80078"/>
                      </a:cubicBezTo>
                      <a:cubicBezTo>
                        <a:pt x="197614" y="77037"/>
                        <a:pt x="221346" y="60824"/>
                        <a:pt x="221346" y="60824"/>
                      </a:cubicBezTo>
                      <a:cubicBezTo>
                        <a:pt x="229257" y="47650"/>
                        <a:pt x="221346" y="30423"/>
                        <a:pt x="224736" y="21303"/>
                      </a:cubicBezTo>
                      <a:lnTo>
                        <a:pt x="224736" y="2130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7" name="Freeform: Shape 436">
                  <a:extLst>
                    <a:ext uri="{FF2B5EF4-FFF2-40B4-BE49-F238E27FC236}">
                      <a16:creationId xmlns:a16="http://schemas.microsoft.com/office/drawing/2014/main" id="{80640029-D2F8-4919-8EE3-0BA8653C61E2}"/>
                    </a:ext>
                  </a:extLst>
                </p:cNvPr>
                <p:cNvSpPr/>
                <p:nvPr/>
              </p:nvSpPr>
              <p:spPr>
                <a:xfrm>
                  <a:off x="9897307" y="4081399"/>
                  <a:ext cx="67807" cy="50668"/>
                </a:xfrm>
                <a:custGeom>
                  <a:avLst/>
                  <a:gdLst>
                    <a:gd name="connsiteX0" fmla="*/ 10052 w 67807"/>
                    <a:gd name="connsiteY0" fmla="*/ 28155 h 50667"/>
                    <a:gd name="connsiteX1" fmla="*/ 27004 w 67807"/>
                    <a:gd name="connsiteY1" fmla="*/ 43355 h 50667"/>
                    <a:gd name="connsiteX2" fmla="*/ 39436 w 67807"/>
                    <a:gd name="connsiteY2" fmla="*/ 42342 h 50667"/>
                    <a:gd name="connsiteX3" fmla="*/ 42826 w 67807"/>
                    <a:gd name="connsiteY3" fmla="*/ 37275 h 50667"/>
                    <a:gd name="connsiteX4" fmla="*/ 48476 w 67807"/>
                    <a:gd name="connsiteY4" fmla="*/ 29168 h 50667"/>
                    <a:gd name="connsiteX5" fmla="*/ 57517 w 67807"/>
                    <a:gd name="connsiteY5" fmla="*/ 34235 h 50667"/>
                    <a:gd name="connsiteX6" fmla="*/ 64298 w 67807"/>
                    <a:gd name="connsiteY6" fmla="*/ 31195 h 50667"/>
                    <a:gd name="connsiteX7" fmla="*/ 56387 w 67807"/>
                    <a:gd name="connsiteY7" fmla="*/ 9914 h 50667"/>
                    <a:gd name="connsiteX8" fmla="*/ 45086 w 67807"/>
                    <a:gd name="connsiteY8" fmla="*/ 9914 h 50667"/>
                    <a:gd name="connsiteX9" fmla="*/ 33785 w 67807"/>
                    <a:gd name="connsiteY9" fmla="*/ 27141 h 50667"/>
                    <a:gd name="connsiteX10" fmla="*/ 12312 w 67807"/>
                    <a:gd name="connsiteY10" fmla="*/ 25115 h 50667"/>
                    <a:gd name="connsiteX11" fmla="*/ 10052 w 67807"/>
                    <a:gd name="connsiteY11" fmla="*/ 28155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807" h="50667">
                      <a:moveTo>
                        <a:pt x="10052" y="28155"/>
                      </a:moveTo>
                      <a:lnTo>
                        <a:pt x="27004" y="43355"/>
                      </a:lnTo>
                      <a:lnTo>
                        <a:pt x="39436" y="42342"/>
                      </a:lnTo>
                      <a:lnTo>
                        <a:pt x="42826" y="37275"/>
                      </a:lnTo>
                      <a:lnTo>
                        <a:pt x="48476" y="29168"/>
                      </a:lnTo>
                      <a:lnTo>
                        <a:pt x="57517" y="34235"/>
                      </a:lnTo>
                      <a:lnTo>
                        <a:pt x="64298" y="31195"/>
                      </a:lnTo>
                      <a:lnTo>
                        <a:pt x="56387" y="9914"/>
                      </a:lnTo>
                      <a:cubicBezTo>
                        <a:pt x="52997" y="9914"/>
                        <a:pt x="47346" y="7887"/>
                        <a:pt x="45086" y="9914"/>
                      </a:cubicBezTo>
                      <a:cubicBezTo>
                        <a:pt x="38305" y="12954"/>
                        <a:pt x="38305" y="21061"/>
                        <a:pt x="33785" y="27141"/>
                      </a:cubicBezTo>
                      <a:cubicBezTo>
                        <a:pt x="29264" y="27141"/>
                        <a:pt x="20223" y="25115"/>
                        <a:pt x="12312" y="25115"/>
                      </a:cubicBezTo>
                      <a:lnTo>
                        <a:pt x="10052" y="28155"/>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8" name="Freeform: Shape 437">
                  <a:extLst>
                    <a:ext uri="{FF2B5EF4-FFF2-40B4-BE49-F238E27FC236}">
                      <a16:creationId xmlns:a16="http://schemas.microsoft.com/office/drawing/2014/main" id="{1B3C0022-79A1-4C1F-B991-BF1558A57A44}"/>
                    </a:ext>
                  </a:extLst>
                </p:cNvPr>
                <p:cNvSpPr/>
                <p:nvPr/>
              </p:nvSpPr>
              <p:spPr>
                <a:xfrm>
                  <a:off x="3240849" y="4065073"/>
                  <a:ext cx="1435252" cy="1570703"/>
                </a:xfrm>
                <a:custGeom>
                  <a:avLst/>
                  <a:gdLst>
                    <a:gd name="connsiteX0" fmla="*/ 768416 w 1435251"/>
                    <a:gd name="connsiteY0" fmla="*/ 268433 h 1570703"/>
                    <a:gd name="connsiteX1" fmla="*/ 774067 w 1435251"/>
                    <a:gd name="connsiteY1" fmla="*/ 270460 h 1570703"/>
                    <a:gd name="connsiteX2" fmla="*/ 760505 w 1435251"/>
                    <a:gd name="connsiteY2" fmla="*/ 275526 h 1570703"/>
                    <a:gd name="connsiteX3" fmla="*/ 754855 w 1435251"/>
                    <a:gd name="connsiteY3" fmla="*/ 287687 h 1570703"/>
                    <a:gd name="connsiteX4" fmla="*/ 768416 w 1435251"/>
                    <a:gd name="connsiteY4" fmla="*/ 268433 h 1570703"/>
                    <a:gd name="connsiteX5" fmla="*/ 871257 w 1435251"/>
                    <a:gd name="connsiteY5" fmla="*/ 263366 h 1570703"/>
                    <a:gd name="connsiteX6" fmla="*/ 868997 w 1435251"/>
                    <a:gd name="connsiteY6" fmla="*/ 268433 h 1570703"/>
                    <a:gd name="connsiteX7" fmla="*/ 871257 w 1435251"/>
                    <a:gd name="connsiteY7" fmla="*/ 263366 h 1570703"/>
                    <a:gd name="connsiteX8" fmla="*/ 838484 w 1435251"/>
                    <a:gd name="connsiteY8" fmla="*/ 249179 h 1570703"/>
                    <a:gd name="connsiteX9" fmla="*/ 840744 w 1435251"/>
                    <a:gd name="connsiteY9" fmla="*/ 254246 h 1570703"/>
                    <a:gd name="connsiteX10" fmla="*/ 838484 w 1435251"/>
                    <a:gd name="connsiteY10" fmla="*/ 249179 h 1570703"/>
                    <a:gd name="connsiteX11" fmla="*/ 852045 w 1435251"/>
                    <a:gd name="connsiteY11" fmla="*/ 237019 h 1570703"/>
                    <a:gd name="connsiteX12" fmla="*/ 854305 w 1435251"/>
                    <a:gd name="connsiteY12" fmla="*/ 242085 h 1570703"/>
                    <a:gd name="connsiteX13" fmla="*/ 852045 w 1435251"/>
                    <a:gd name="connsiteY13" fmla="*/ 237019 h 1570703"/>
                    <a:gd name="connsiteX14" fmla="*/ 801190 w 1435251"/>
                    <a:gd name="connsiteY14" fmla="*/ 1513848 h 1570703"/>
                    <a:gd name="connsiteX15" fmla="*/ 801190 w 1435251"/>
                    <a:gd name="connsiteY15" fmla="*/ 1520942 h 1570703"/>
                    <a:gd name="connsiteX16" fmla="*/ 801190 w 1435251"/>
                    <a:gd name="connsiteY16" fmla="*/ 1513848 h 1570703"/>
                    <a:gd name="connsiteX17" fmla="*/ 822662 w 1435251"/>
                    <a:gd name="connsiteY17" fmla="*/ 1508782 h 1570703"/>
                    <a:gd name="connsiteX18" fmla="*/ 824922 w 1435251"/>
                    <a:gd name="connsiteY18" fmla="*/ 1518915 h 1570703"/>
                    <a:gd name="connsiteX19" fmla="*/ 822662 w 1435251"/>
                    <a:gd name="connsiteY19" fmla="*/ 1508782 h 1570703"/>
                    <a:gd name="connsiteX20" fmla="*/ 832833 w 1435251"/>
                    <a:gd name="connsiteY20" fmla="*/ 1494595 h 1570703"/>
                    <a:gd name="connsiteX21" fmla="*/ 830573 w 1435251"/>
                    <a:gd name="connsiteY21" fmla="*/ 1501688 h 1570703"/>
                    <a:gd name="connsiteX22" fmla="*/ 832833 w 1435251"/>
                    <a:gd name="connsiteY22" fmla="*/ 1494595 h 1570703"/>
                    <a:gd name="connsiteX23" fmla="*/ 749204 w 1435251"/>
                    <a:gd name="connsiteY23" fmla="*/ 290727 h 1570703"/>
                    <a:gd name="connsiteX24" fmla="*/ 746944 w 1435251"/>
                    <a:gd name="connsiteY24" fmla="*/ 297820 h 1570703"/>
                    <a:gd name="connsiteX25" fmla="*/ 687048 w 1435251"/>
                    <a:gd name="connsiteY25" fmla="*/ 297820 h 1570703"/>
                    <a:gd name="connsiteX26" fmla="*/ 692698 w 1435251"/>
                    <a:gd name="connsiteY26" fmla="*/ 292753 h 1570703"/>
                    <a:gd name="connsiteX27" fmla="*/ 744684 w 1435251"/>
                    <a:gd name="connsiteY27" fmla="*/ 294780 h 1570703"/>
                    <a:gd name="connsiteX28" fmla="*/ 749204 w 1435251"/>
                    <a:gd name="connsiteY28" fmla="*/ 290727 h 1570703"/>
                    <a:gd name="connsiteX29" fmla="*/ 844134 w 1435251"/>
                    <a:gd name="connsiteY29" fmla="*/ 224859 h 1570703"/>
                    <a:gd name="connsiteX30" fmla="*/ 846395 w 1435251"/>
                    <a:gd name="connsiteY30" fmla="*/ 229925 h 1570703"/>
                    <a:gd name="connsiteX31" fmla="*/ 844134 w 1435251"/>
                    <a:gd name="connsiteY31" fmla="*/ 224859 h 1570703"/>
                    <a:gd name="connsiteX32" fmla="*/ 927763 w 1435251"/>
                    <a:gd name="connsiteY32" fmla="*/ 1229095 h 1570703"/>
                    <a:gd name="connsiteX33" fmla="*/ 966187 w 1435251"/>
                    <a:gd name="connsiteY33" fmla="*/ 1209841 h 1570703"/>
                    <a:gd name="connsiteX34" fmla="*/ 974098 w 1435251"/>
                    <a:gd name="connsiteY34" fmla="*/ 1199708 h 1570703"/>
                    <a:gd name="connsiteX35" fmla="*/ 1003481 w 1435251"/>
                    <a:gd name="connsiteY35" fmla="*/ 1189574 h 1570703"/>
                    <a:gd name="connsiteX36" fmla="*/ 1011392 w 1435251"/>
                    <a:gd name="connsiteY36" fmla="*/ 1172347 h 1570703"/>
                    <a:gd name="connsiteX37" fmla="*/ 1040775 w 1435251"/>
                    <a:gd name="connsiteY37" fmla="*/ 1170320 h 1570703"/>
                    <a:gd name="connsiteX38" fmla="*/ 1046426 w 1435251"/>
                    <a:gd name="connsiteY38" fmla="*/ 1163227 h 1570703"/>
                    <a:gd name="connsiteX39" fmla="*/ 1073549 w 1435251"/>
                    <a:gd name="connsiteY39" fmla="*/ 1161200 h 1570703"/>
                    <a:gd name="connsiteX40" fmla="*/ 1065638 w 1435251"/>
                    <a:gd name="connsiteY40" fmla="*/ 1143973 h 1570703"/>
                    <a:gd name="connsiteX41" fmla="*/ 1073549 w 1435251"/>
                    <a:gd name="connsiteY41" fmla="*/ 1143973 h 1570703"/>
                    <a:gd name="connsiteX42" fmla="*/ 1081459 w 1435251"/>
                    <a:gd name="connsiteY42" fmla="*/ 1136880 h 1570703"/>
                    <a:gd name="connsiteX43" fmla="*/ 1095021 w 1435251"/>
                    <a:gd name="connsiteY43" fmla="*/ 1138906 h 1570703"/>
                    <a:gd name="connsiteX44" fmla="*/ 1102932 w 1435251"/>
                    <a:gd name="connsiteY44" fmla="*/ 1131813 h 1570703"/>
                    <a:gd name="connsiteX45" fmla="*/ 1132315 w 1435251"/>
                    <a:gd name="connsiteY45" fmla="*/ 1131813 h 1570703"/>
                    <a:gd name="connsiteX46" fmla="*/ 1130055 w 1435251"/>
                    <a:gd name="connsiteY46" fmla="*/ 1119653 h 1570703"/>
                    <a:gd name="connsiteX47" fmla="*/ 1137965 w 1435251"/>
                    <a:gd name="connsiteY47" fmla="*/ 1119653 h 1570703"/>
                    <a:gd name="connsiteX48" fmla="*/ 1137965 w 1435251"/>
                    <a:gd name="connsiteY48" fmla="*/ 1124719 h 1570703"/>
                    <a:gd name="connsiteX49" fmla="*/ 1143616 w 1435251"/>
                    <a:gd name="connsiteY49" fmla="*/ 1129786 h 1570703"/>
                    <a:gd name="connsiteX50" fmla="*/ 1162828 w 1435251"/>
                    <a:gd name="connsiteY50" fmla="*/ 1129786 h 1570703"/>
                    <a:gd name="connsiteX51" fmla="*/ 1170739 w 1435251"/>
                    <a:gd name="connsiteY51" fmla="*/ 1119653 h 1570703"/>
                    <a:gd name="connsiteX52" fmla="*/ 1170739 w 1435251"/>
                    <a:gd name="connsiteY52" fmla="*/ 1107492 h 1570703"/>
                    <a:gd name="connsiteX53" fmla="*/ 1189951 w 1435251"/>
                    <a:gd name="connsiteY53" fmla="*/ 1100399 h 1570703"/>
                    <a:gd name="connsiteX54" fmla="*/ 1192211 w 1435251"/>
                    <a:gd name="connsiteY54" fmla="*/ 1090265 h 1570703"/>
                    <a:gd name="connsiteX55" fmla="*/ 1186561 w 1435251"/>
                    <a:gd name="connsiteY55" fmla="*/ 1088238 h 1570703"/>
                    <a:gd name="connsiteX56" fmla="*/ 1186561 w 1435251"/>
                    <a:gd name="connsiteY56" fmla="*/ 1071012 h 1570703"/>
                    <a:gd name="connsiteX57" fmla="*/ 1186561 w 1435251"/>
                    <a:gd name="connsiteY57" fmla="*/ 1068985 h 1570703"/>
                    <a:gd name="connsiteX58" fmla="*/ 1186561 w 1435251"/>
                    <a:gd name="connsiteY58" fmla="*/ 1061891 h 1570703"/>
                    <a:gd name="connsiteX59" fmla="*/ 1197862 w 1435251"/>
                    <a:gd name="connsiteY59" fmla="*/ 1054798 h 1570703"/>
                    <a:gd name="connsiteX60" fmla="*/ 1200122 w 1435251"/>
                    <a:gd name="connsiteY60" fmla="*/ 1035544 h 1570703"/>
                    <a:gd name="connsiteX61" fmla="*/ 1219334 w 1435251"/>
                    <a:gd name="connsiteY61" fmla="*/ 1018317 h 1570703"/>
                    <a:gd name="connsiteX62" fmla="*/ 1219334 w 1435251"/>
                    <a:gd name="connsiteY62" fmla="*/ 1008183 h 1570703"/>
                    <a:gd name="connsiteX63" fmla="*/ 1227245 w 1435251"/>
                    <a:gd name="connsiteY63" fmla="*/ 1006157 h 1570703"/>
                    <a:gd name="connsiteX64" fmla="*/ 1227245 w 1435251"/>
                    <a:gd name="connsiteY64" fmla="*/ 999063 h 1570703"/>
                    <a:gd name="connsiteX65" fmla="*/ 1248717 w 1435251"/>
                    <a:gd name="connsiteY65" fmla="*/ 979809 h 1570703"/>
                    <a:gd name="connsiteX66" fmla="*/ 1250977 w 1435251"/>
                    <a:gd name="connsiteY66" fmla="*/ 938262 h 1570703"/>
                    <a:gd name="connsiteX67" fmla="*/ 1272450 w 1435251"/>
                    <a:gd name="connsiteY67" fmla="*/ 919008 h 1570703"/>
                    <a:gd name="connsiteX68" fmla="*/ 1266799 w 1435251"/>
                    <a:gd name="connsiteY68" fmla="*/ 877460 h 1570703"/>
                    <a:gd name="connsiteX69" fmla="*/ 1274710 w 1435251"/>
                    <a:gd name="connsiteY69" fmla="*/ 872394 h 1570703"/>
                    <a:gd name="connsiteX70" fmla="*/ 1274710 w 1435251"/>
                    <a:gd name="connsiteY70" fmla="*/ 850100 h 1570703"/>
                    <a:gd name="connsiteX71" fmla="*/ 1280361 w 1435251"/>
                    <a:gd name="connsiteY71" fmla="*/ 827806 h 1570703"/>
                    <a:gd name="connsiteX72" fmla="*/ 1274710 w 1435251"/>
                    <a:gd name="connsiteY72" fmla="*/ 815646 h 1570703"/>
                    <a:gd name="connsiteX73" fmla="*/ 1274710 w 1435251"/>
                    <a:gd name="connsiteY73" fmla="*/ 761938 h 1570703"/>
                    <a:gd name="connsiteX74" fmla="*/ 1263409 w 1435251"/>
                    <a:gd name="connsiteY74" fmla="*/ 759911 h 1570703"/>
                    <a:gd name="connsiteX75" fmla="*/ 1274710 w 1435251"/>
                    <a:gd name="connsiteY75" fmla="*/ 749777 h 1570703"/>
                    <a:gd name="connsiteX76" fmla="*/ 1276970 w 1435251"/>
                    <a:gd name="connsiteY76" fmla="*/ 730524 h 1570703"/>
                    <a:gd name="connsiteX77" fmla="*/ 1288271 w 1435251"/>
                    <a:gd name="connsiteY77" fmla="*/ 720390 h 1570703"/>
                    <a:gd name="connsiteX78" fmla="*/ 1288271 w 1435251"/>
                    <a:gd name="connsiteY78" fmla="*/ 701136 h 1570703"/>
                    <a:gd name="connsiteX79" fmla="*/ 1309744 w 1435251"/>
                    <a:gd name="connsiteY79" fmla="*/ 715323 h 1570703"/>
                    <a:gd name="connsiteX80" fmla="*/ 1321045 w 1435251"/>
                    <a:gd name="connsiteY80" fmla="*/ 698096 h 1570703"/>
                    <a:gd name="connsiteX81" fmla="*/ 1321045 w 1435251"/>
                    <a:gd name="connsiteY81" fmla="*/ 691003 h 1570703"/>
                    <a:gd name="connsiteX82" fmla="*/ 1328956 w 1435251"/>
                    <a:gd name="connsiteY82" fmla="*/ 685936 h 1570703"/>
                    <a:gd name="connsiteX83" fmla="*/ 1331216 w 1435251"/>
                    <a:gd name="connsiteY83" fmla="*/ 666682 h 1570703"/>
                    <a:gd name="connsiteX84" fmla="*/ 1344777 w 1435251"/>
                    <a:gd name="connsiteY84" fmla="*/ 649455 h 1570703"/>
                    <a:gd name="connsiteX85" fmla="*/ 1350428 w 1435251"/>
                    <a:gd name="connsiteY85" fmla="*/ 632228 h 1570703"/>
                    <a:gd name="connsiteX86" fmla="*/ 1375290 w 1435251"/>
                    <a:gd name="connsiteY86" fmla="*/ 612974 h 1570703"/>
                    <a:gd name="connsiteX87" fmla="*/ 1388852 w 1435251"/>
                    <a:gd name="connsiteY87" fmla="*/ 610948 h 1570703"/>
                    <a:gd name="connsiteX88" fmla="*/ 1394503 w 1435251"/>
                    <a:gd name="connsiteY88" fmla="*/ 600814 h 1570703"/>
                    <a:gd name="connsiteX89" fmla="*/ 1408064 w 1435251"/>
                    <a:gd name="connsiteY89" fmla="*/ 590681 h 1570703"/>
                    <a:gd name="connsiteX90" fmla="*/ 1408064 w 1435251"/>
                    <a:gd name="connsiteY90" fmla="*/ 583587 h 1570703"/>
                    <a:gd name="connsiteX91" fmla="*/ 1415975 w 1435251"/>
                    <a:gd name="connsiteY91" fmla="*/ 576493 h 1570703"/>
                    <a:gd name="connsiteX92" fmla="*/ 1429536 w 1435251"/>
                    <a:gd name="connsiteY92" fmla="*/ 542039 h 1570703"/>
                    <a:gd name="connsiteX93" fmla="*/ 1435187 w 1435251"/>
                    <a:gd name="connsiteY93" fmla="*/ 536972 h 1570703"/>
                    <a:gd name="connsiteX94" fmla="*/ 1432927 w 1435251"/>
                    <a:gd name="connsiteY94" fmla="*/ 517719 h 1570703"/>
                    <a:gd name="connsiteX95" fmla="*/ 1435187 w 1435251"/>
                    <a:gd name="connsiteY95" fmla="*/ 493398 h 1570703"/>
                    <a:gd name="connsiteX96" fmla="*/ 1427276 w 1435251"/>
                    <a:gd name="connsiteY96" fmla="*/ 488331 h 1570703"/>
                    <a:gd name="connsiteX97" fmla="*/ 1429536 w 1435251"/>
                    <a:gd name="connsiteY97" fmla="*/ 461984 h 1570703"/>
                    <a:gd name="connsiteX98" fmla="*/ 1415975 w 1435251"/>
                    <a:gd name="connsiteY98" fmla="*/ 449824 h 1570703"/>
                    <a:gd name="connsiteX99" fmla="*/ 1415975 w 1435251"/>
                    <a:gd name="connsiteY99" fmla="*/ 442730 h 1570703"/>
                    <a:gd name="connsiteX100" fmla="*/ 1410324 w 1435251"/>
                    <a:gd name="connsiteY100" fmla="*/ 440703 h 1570703"/>
                    <a:gd name="connsiteX101" fmla="*/ 1385461 w 1435251"/>
                    <a:gd name="connsiteY101" fmla="*/ 406249 h 1570703"/>
                    <a:gd name="connsiteX102" fmla="*/ 1369640 w 1435251"/>
                    <a:gd name="connsiteY102" fmla="*/ 411316 h 1570703"/>
                    <a:gd name="connsiteX103" fmla="*/ 1369640 w 1435251"/>
                    <a:gd name="connsiteY103" fmla="*/ 404223 h 1570703"/>
                    <a:gd name="connsiteX104" fmla="*/ 1363989 w 1435251"/>
                    <a:gd name="connsiteY104" fmla="*/ 399156 h 1570703"/>
                    <a:gd name="connsiteX105" fmla="*/ 1342517 w 1435251"/>
                    <a:gd name="connsiteY105" fmla="*/ 406249 h 1570703"/>
                    <a:gd name="connsiteX106" fmla="*/ 1344777 w 1435251"/>
                    <a:gd name="connsiteY106" fmla="*/ 399156 h 1570703"/>
                    <a:gd name="connsiteX107" fmla="*/ 1333476 w 1435251"/>
                    <a:gd name="connsiteY107" fmla="*/ 394089 h 1570703"/>
                    <a:gd name="connsiteX108" fmla="*/ 1333476 w 1435251"/>
                    <a:gd name="connsiteY108" fmla="*/ 386996 h 1570703"/>
                    <a:gd name="connsiteX109" fmla="*/ 1317654 w 1435251"/>
                    <a:gd name="connsiteY109" fmla="*/ 369769 h 1570703"/>
                    <a:gd name="connsiteX110" fmla="*/ 1312004 w 1435251"/>
                    <a:gd name="connsiteY110" fmla="*/ 371795 h 1570703"/>
                    <a:gd name="connsiteX111" fmla="*/ 1273580 w 1435251"/>
                    <a:gd name="connsiteY111" fmla="*/ 340381 h 1570703"/>
                    <a:gd name="connsiteX112" fmla="*/ 1254368 w 1435251"/>
                    <a:gd name="connsiteY112" fmla="*/ 335314 h 1570703"/>
                    <a:gd name="connsiteX113" fmla="*/ 1243067 w 1435251"/>
                    <a:gd name="connsiteY113" fmla="*/ 325181 h 1570703"/>
                    <a:gd name="connsiteX114" fmla="*/ 1204642 w 1435251"/>
                    <a:gd name="connsiteY114" fmla="*/ 325181 h 1570703"/>
                    <a:gd name="connsiteX115" fmla="*/ 1158308 w 1435251"/>
                    <a:gd name="connsiteY115" fmla="*/ 320114 h 1570703"/>
                    <a:gd name="connsiteX116" fmla="*/ 1142486 w 1435251"/>
                    <a:gd name="connsiteY116" fmla="*/ 302887 h 1570703"/>
                    <a:gd name="connsiteX117" fmla="*/ 1128925 w 1435251"/>
                    <a:gd name="connsiteY117" fmla="*/ 304914 h 1570703"/>
                    <a:gd name="connsiteX118" fmla="*/ 1117623 w 1435251"/>
                    <a:gd name="connsiteY118" fmla="*/ 302887 h 1570703"/>
                    <a:gd name="connsiteX119" fmla="*/ 1092761 w 1435251"/>
                    <a:gd name="connsiteY119" fmla="*/ 325181 h 1570703"/>
                    <a:gd name="connsiteX120" fmla="*/ 1092761 w 1435251"/>
                    <a:gd name="connsiteY120" fmla="*/ 305927 h 1570703"/>
                    <a:gd name="connsiteX121" fmla="*/ 1081459 w 1435251"/>
                    <a:gd name="connsiteY121" fmla="*/ 303900 h 1570703"/>
                    <a:gd name="connsiteX122" fmla="*/ 1087110 w 1435251"/>
                    <a:gd name="connsiteY122" fmla="*/ 296807 h 1570703"/>
                    <a:gd name="connsiteX123" fmla="*/ 1084850 w 1435251"/>
                    <a:gd name="connsiteY123" fmla="*/ 286673 h 1570703"/>
                    <a:gd name="connsiteX124" fmla="*/ 1079199 w 1435251"/>
                    <a:gd name="connsiteY124" fmla="*/ 284647 h 1570703"/>
                    <a:gd name="connsiteX125" fmla="*/ 1073549 w 1435251"/>
                    <a:gd name="connsiteY125" fmla="*/ 284647 h 1570703"/>
                    <a:gd name="connsiteX126" fmla="*/ 1075809 w 1435251"/>
                    <a:gd name="connsiteY126" fmla="*/ 274513 h 1570703"/>
                    <a:gd name="connsiteX127" fmla="*/ 1070158 w 1435251"/>
                    <a:gd name="connsiteY127" fmla="*/ 267419 h 1570703"/>
                    <a:gd name="connsiteX128" fmla="*/ 1056597 w 1435251"/>
                    <a:gd name="connsiteY128" fmla="*/ 267419 h 1570703"/>
                    <a:gd name="connsiteX129" fmla="*/ 1048686 w 1435251"/>
                    <a:gd name="connsiteY129" fmla="*/ 277553 h 1570703"/>
                    <a:gd name="connsiteX130" fmla="*/ 1054337 w 1435251"/>
                    <a:gd name="connsiteY130" fmla="*/ 263366 h 1570703"/>
                    <a:gd name="connsiteX131" fmla="*/ 1032864 w 1435251"/>
                    <a:gd name="connsiteY131" fmla="*/ 256273 h 1570703"/>
                    <a:gd name="connsiteX132" fmla="*/ 1032864 w 1435251"/>
                    <a:gd name="connsiteY132" fmla="*/ 249179 h 1570703"/>
                    <a:gd name="connsiteX133" fmla="*/ 1019303 w 1435251"/>
                    <a:gd name="connsiteY133" fmla="*/ 251206 h 1570703"/>
                    <a:gd name="connsiteX134" fmla="*/ 1003481 w 1435251"/>
                    <a:gd name="connsiteY134" fmla="*/ 237019 h 1570703"/>
                    <a:gd name="connsiteX135" fmla="*/ 995570 w 1435251"/>
                    <a:gd name="connsiteY135" fmla="*/ 231952 h 1570703"/>
                    <a:gd name="connsiteX136" fmla="*/ 943585 w 1435251"/>
                    <a:gd name="connsiteY136" fmla="*/ 251206 h 1570703"/>
                    <a:gd name="connsiteX137" fmla="*/ 951496 w 1435251"/>
                    <a:gd name="connsiteY137" fmla="*/ 263366 h 1570703"/>
                    <a:gd name="connsiteX138" fmla="*/ 937934 w 1435251"/>
                    <a:gd name="connsiteY138" fmla="*/ 263366 h 1570703"/>
                    <a:gd name="connsiteX139" fmla="*/ 924373 w 1435251"/>
                    <a:gd name="connsiteY139" fmla="*/ 277553 h 1570703"/>
                    <a:gd name="connsiteX140" fmla="*/ 918722 w 1435251"/>
                    <a:gd name="connsiteY140" fmla="*/ 277553 h 1570703"/>
                    <a:gd name="connsiteX141" fmla="*/ 875778 w 1435251"/>
                    <a:gd name="connsiteY141" fmla="*/ 282620 h 1570703"/>
                    <a:gd name="connsiteX142" fmla="*/ 864477 w 1435251"/>
                    <a:gd name="connsiteY142" fmla="*/ 268433 h 1570703"/>
                    <a:gd name="connsiteX143" fmla="*/ 893859 w 1435251"/>
                    <a:gd name="connsiteY143" fmla="*/ 273500 h 1570703"/>
                    <a:gd name="connsiteX144" fmla="*/ 913072 w 1435251"/>
                    <a:gd name="connsiteY144" fmla="*/ 275526 h 1570703"/>
                    <a:gd name="connsiteX145" fmla="*/ 915332 w 1435251"/>
                    <a:gd name="connsiteY145" fmla="*/ 270460 h 1570703"/>
                    <a:gd name="connsiteX146" fmla="*/ 926633 w 1435251"/>
                    <a:gd name="connsiteY146" fmla="*/ 268433 h 1570703"/>
                    <a:gd name="connsiteX147" fmla="*/ 926633 w 1435251"/>
                    <a:gd name="connsiteY147" fmla="*/ 263366 h 1570703"/>
                    <a:gd name="connsiteX148" fmla="*/ 934544 w 1435251"/>
                    <a:gd name="connsiteY148" fmla="*/ 261340 h 1570703"/>
                    <a:gd name="connsiteX149" fmla="*/ 936804 w 1435251"/>
                    <a:gd name="connsiteY149" fmla="*/ 249179 h 1570703"/>
                    <a:gd name="connsiteX150" fmla="*/ 942455 w 1435251"/>
                    <a:gd name="connsiteY150" fmla="*/ 247152 h 1570703"/>
                    <a:gd name="connsiteX151" fmla="*/ 940194 w 1435251"/>
                    <a:gd name="connsiteY151" fmla="*/ 227899 h 1570703"/>
                    <a:gd name="connsiteX152" fmla="*/ 940194 w 1435251"/>
                    <a:gd name="connsiteY152" fmla="*/ 215738 h 1570703"/>
                    <a:gd name="connsiteX153" fmla="*/ 940194 w 1435251"/>
                    <a:gd name="connsiteY153" fmla="*/ 213712 h 1570703"/>
                    <a:gd name="connsiteX154" fmla="*/ 913072 w 1435251"/>
                    <a:gd name="connsiteY154" fmla="*/ 213712 h 1570703"/>
                    <a:gd name="connsiteX155" fmla="*/ 913072 w 1435251"/>
                    <a:gd name="connsiteY155" fmla="*/ 199525 h 1570703"/>
                    <a:gd name="connsiteX156" fmla="*/ 885949 w 1435251"/>
                    <a:gd name="connsiteY156" fmla="*/ 216752 h 1570703"/>
                    <a:gd name="connsiteX157" fmla="*/ 872387 w 1435251"/>
                    <a:gd name="connsiteY157" fmla="*/ 221818 h 1570703"/>
                    <a:gd name="connsiteX158" fmla="*/ 870127 w 1435251"/>
                    <a:gd name="connsiteY158" fmla="*/ 233979 h 1570703"/>
                    <a:gd name="connsiteX159" fmla="*/ 858826 w 1435251"/>
                    <a:gd name="connsiteY159" fmla="*/ 239046 h 1570703"/>
                    <a:gd name="connsiteX160" fmla="*/ 861086 w 1435251"/>
                    <a:gd name="connsiteY160" fmla="*/ 265393 h 1570703"/>
                    <a:gd name="connsiteX161" fmla="*/ 855435 w 1435251"/>
                    <a:gd name="connsiteY161" fmla="*/ 260326 h 1570703"/>
                    <a:gd name="connsiteX162" fmla="*/ 839614 w 1435251"/>
                    <a:gd name="connsiteY162" fmla="*/ 258299 h 1570703"/>
                    <a:gd name="connsiteX163" fmla="*/ 831703 w 1435251"/>
                    <a:gd name="connsiteY163" fmla="*/ 260326 h 1570703"/>
                    <a:gd name="connsiteX164" fmla="*/ 831703 w 1435251"/>
                    <a:gd name="connsiteY164" fmla="*/ 289713 h 1570703"/>
                    <a:gd name="connsiteX165" fmla="*/ 823792 w 1435251"/>
                    <a:gd name="connsiteY165" fmla="*/ 299847 h 1570703"/>
                    <a:gd name="connsiteX166" fmla="*/ 826052 w 1435251"/>
                    <a:gd name="connsiteY166" fmla="*/ 289713 h 1570703"/>
                    <a:gd name="connsiteX167" fmla="*/ 823792 w 1435251"/>
                    <a:gd name="connsiteY167" fmla="*/ 263366 h 1570703"/>
                    <a:gd name="connsiteX168" fmla="*/ 823792 w 1435251"/>
                    <a:gd name="connsiteY168" fmla="*/ 256273 h 1570703"/>
                    <a:gd name="connsiteX169" fmla="*/ 810231 w 1435251"/>
                    <a:gd name="connsiteY169" fmla="*/ 256273 h 1570703"/>
                    <a:gd name="connsiteX170" fmla="*/ 788758 w 1435251"/>
                    <a:gd name="connsiteY170" fmla="*/ 268433 h 1570703"/>
                    <a:gd name="connsiteX171" fmla="*/ 767286 w 1435251"/>
                    <a:gd name="connsiteY171" fmla="*/ 270460 h 1570703"/>
                    <a:gd name="connsiteX172" fmla="*/ 807971 w 1435251"/>
                    <a:gd name="connsiteY172" fmla="*/ 253232 h 1570703"/>
                    <a:gd name="connsiteX173" fmla="*/ 819272 w 1435251"/>
                    <a:gd name="connsiteY173" fmla="*/ 253232 h 1570703"/>
                    <a:gd name="connsiteX174" fmla="*/ 824922 w 1435251"/>
                    <a:gd name="connsiteY174" fmla="*/ 233979 h 1570703"/>
                    <a:gd name="connsiteX175" fmla="*/ 838484 w 1435251"/>
                    <a:gd name="connsiteY175" fmla="*/ 216752 h 1570703"/>
                    <a:gd name="connsiteX176" fmla="*/ 838484 w 1435251"/>
                    <a:gd name="connsiteY176" fmla="*/ 209658 h 1570703"/>
                    <a:gd name="connsiteX177" fmla="*/ 854305 w 1435251"/>
                    <a:gd name="connsiteY177" fmla="*/ 199525 h 1570703"/>
                    <a:gd name="connsiteX178" fmla="*/ 862216 w 1435251"/>
                    <a:gd name="connsiteY178" fmla="*/ 187364 h 1570703"/>
                    <a:gd name="connsiteX179" fmla="*/ 862216 w 1435251"/>
                    <a:gd name="connsiteY179" fmla="*/ 194458 h 1570703"/>
                    <a:gd name="connsiteX180" fmla="*/ 864477 w 1435251"/>
                    <a:gd name="connsiteY180" fmla="*/ 206618 h 1570703"/>
                    <a:gd name="connsiteX181" fmla="*/ 885949 w 1435251"/>
                    <a:gd name="connsiteY181" fmla="*/ 201551 h 1570703"/>
                    <a:gd name="connsiteX182" fmla="*/ 880298 w 1435251"/>
                    <a:gd name="connsiteY182" fmla="*/ 196484 h 1570703"/>
                    <a:gd name="connsiteX183" fmla="*/ 880298 w 1435251"/>
                    <a:gd name="connsiteY183" fmla="*/ 184324 h 1570703"/>
                    <a:gd name="connsiteX184" fmla="*/ 888209 w 1435251"/>
                    <a:gd name="connsiteY184" fmla="*/ 186351 h 1570703"/>
                    <a:gd name="connsiteX185" fmla="*/ 893859 w 1435251"/>
                    <a:gd name="connsiteY185" fmla="*/ 164057 h 1570703"/>
                    <a:gd name="connsiteX186" fmla="*/ 882558 w 1435251"/>
                    <a:gd name="connsiteY186" fmla="*/ 164057 h 1570703"/>
                    <a:gd name="connsiteX187" fmla="*/ 874648 w 1435251"/>
                    <a:gd name="connsiteY187" fmla="*/ 171151 h 1570703"/>
                    <a:gd name="connsiteX188" fmla="*/ 876908 w 1435251"/>
                    <a:gd name="connsiteY188" fmla="*/ 178244 h 1570703"/>
                    <a:gd name="connsiteX189" fmla="*/ 865606 w 1435251"/>
                    <a:gd name="connsiteY189" fmla="*/ 178244 h 1570703"/>
                    <a:gd name="connsiteX190" fmla="*/ 865606 w 1435251"/>
                    <a:gd name="connsiteY190" fmla="*/ 151897 h 1570703"/>
                    <a:gd name="connsiteX191" fmla="*/ 887079 w 1435251"/>
                    <a:gd name="connsiteY191" fmla="*/ 129603 h 1570703"/>
                    <a:gd name="connsiteX192" fmla="*/ 862216 w 1435251"/>
                    <a:gd name="connsiteY192" fmla="*/ 129603 h 1570703"/>
                    <a:gd name="connsiteX193" fmla="*/ 862216 w 1435251"/>
                    <a:gd name="connsiteY193" fmla="*/ 103256 h 1570703"/>
                    <a:gd name="connsiteX194" fmla="*/ 854305 w 1435251"/>
                    <a:gd name="connsiteY194" fmla="*/ 96162 h 1570703"/>
                    <a:gd name="connsiteX195" fmla="*/ 854305 w 1435251"/>
                    <a:gd name="connsiteY195" fmla="*/ 71842 h 1570703"/>
                    <a:gd name="connsiteX196" fmla="*/ 840744 w 1435251"/>
                    <a:gd name="connsiteY196" fmla="*/ 49548 h 1570703"/>
                    <a:gd name="connsiteX197" fmla="*/ 840744 w 1435251"/>
                    <a:gd name="connsiteY197" fmla="*/ 39414 h 1570703"/>
                    <a:gd name="connsiteX198" fmla="*/ 829443 w 1435251"/>
                    <a:gd name="connsiteY198" fmla="*/ 34347 h 1570703"/>
                    <a:gd name="connsiteX199" fmla="*/ 814751 w 1435251"/>
                    <a:gd name="connsiteY199" fmla="*/ 60695 h 1570703"/>
                    <a:gd name="connsiteX200" fmla="*/ 807971 w 1435251"/>
                    <a:gd name="connsiteY200" fmla="*/ 80962 h 1570703"/>
                    <a:gd name="connsiteX201" fmla="*/ 802320 w 1435251"/>
                    <a:gd name="connsiteY201" fmla="*/ 116429 h 1570703"/>
                    <a:gd name="connsiteX202" fmla="*/ 779718 w 1435251"/>
                    <a:gd name="connsiteY202" fmla="*/ 142777 h 1570703"/>
                    <a:gd name="connsiteX203" fmla="*/ 766156 w 1435251"/>
                    <a:gd name="connsiteY203" fmla="*/ 134670 h 1570703"/>
                    <a:gd name="connsiteX204" fmla="*/ 746944 w 1435251"/>
                    <a:gd name="connsiteY204" fmla="*/ 136696 h 1570703"/>
                    <a:gd name="connsiteX205" fmla="*/ 726602 w 1435251"/>
                    <a:gd name="connsiteY205" fmla="*/ 142777 h 1570703"/>
                    <a:gd name="connsiteX206" fmla="*/ 715301 w 1435251"/>
                    <a:gd name="connsiteY206" fmla="*/ 124536 h 1570703"/>
                    <a:gd name="connsiteX207" fmla="*/ 698349 w 1435251"/>
                    <a:gd name="connsiteY207" fmla="*/ 124536 h 1570703"/>
                    <a:gd name="connsiteX208" fmla="*/ 692698 w 1435251"/>
                    <a:gd name="connsiteY208" fmla="*/ 116429 h 1570703"/>
                    <a:gd name="connsiteX209" fmla="*/ 682527 w 1435251"/>
                    <a:gd name="connsiteY209" fmla="*/ 122510 h 1570703"/>
                    <a:gd name="connsiteX210" fmla="*/ 658795 w 1435251"/>
                    <a:gd name="connsiteY210" fmla="*/ 114403 h 1570703"/>
                    <a:gd name="connsiteX211" fmla="*/ 653144 w 1435251"/>
                    <a:gd name="connsiteY211" fmla="*/ 132643 h 1570703"/>
                    <a:gd name="connsiteX212" fmla="*/ 665575 w 1435251"/>
                    <a:gd name="connsiteY212" fmla="*/ 140750 h 1570703"/>
                    <a:gd name="connsiteX213" fmla="*/ 655404 w 1435251"/>
                    <a:gd name="connsiteY213" fmla="*/ 154937 h 1570703"/>
                    <a:gd name="connsiteX214" fmla="*/ 632802 w 1435251"/>
                    <a:gd name="connsiteY214" fmla="*/ 146830 h 1570703"/>
                    <a:gd name="connsiteX215" fmla="*/ 616980 w 1435251"/>
                    <a:gd name="connsiteY215" fmla="*/ 149870 h 1570703"/>
                    <a:gd name="connsiteX216" fmla="*/ 598899 w 1435251"/>
                    <a:gd name="connsiteY216" fmla="*/ 148857 h 1570703"/>
                    <a:gd name="connsiteX217" fmla="*/ 584207 w 1435251"/>
                    <a:gd name="connsiteY217" fmla="*/ 154937 h 1570703"/>
                    <a:gd name="connsiteX218" fmla="*/ 572906 w 1435251"/>
                    <a:gd name="connsiteY218" fmla="*/ 165071 h 1570703"/>
                    <a:gd name="connsiteX219" fmla="*/ 557084 w 1435251"/>
                    <a:gd name="connsiteY219" fmla="*/ 176217 h 1570703"/>
                    <a:gd name="connsiteX220" fmla="*/ 542393 w 1435251"/>
                    <a:gd name="connsiteY220" fmla="*/ 166084 h 1570703"/>
                    <a:gd name="connsiteX221" fmla="*/ 525441 w 1435251"/>
                    <a:gd name="connsiteY221" fmla="*/ 152910 h 1570703"/>
                    <a:gd name="connsiteX222" fmla="*/ 515269 w 1435251"/>
                    <a:gd name="connsiteY222" fmla="*/ 132643 h 1570703"/>
                    <a:gd name="connsiteX223" fmla="*/ 516400 w 1435251"/>
                    <a:gd name="connsiteY223" fmla="*/ 82989 h 1570703"/>
                    <a:gd name="connsiteX224" fmla="*/ 536742 w 1435251"/>
                    <a:gd name="connsiteY224" fmla="*/ 69815 h 1570703"/>
                    <a:gd name="connsiteX225" fmla="*/ 536742 w 1435251"/>
                    <a:gd name="connsiteY225" fmla="*/ 55628 h 1570703"/>
                    <a:gd name="connsiteX226" fmla="*/ 536742 w 1435251"/>
                    <a:gd name="connsiteY226" fmla="*/ 41441 h 1570703"/>
                    <a:gd name="connsiteX227" fmla="*/ 518660 w 1435251"/>
                    <a:gd name="connsiteY227" fmla="*/ 33334 h 1570703"/>
                    <a:gd name="connsiteX228" fmla="*/ 529961 w 1435251"/>
                    <a:gd name="connsiteY228" fmla="*/ 23201 h 1570703"/>
                    <a:gd name="connsiteX229" fmla="*/ 520920 w 1435251"/>
                    <a:gd name="connsiteY229" fmla="*/ 14080 h 1570703"/>
                    <a:gd name="connsiteX230" fmla="*/ 493797 w 1435251"/>
                    <a:gd name="connsiteY230" fmla="*/ 9013 h 1570703"/>
                    <a:gd name="connsiteX231" fmla="*/ 494927 w 1435251"/>
                    <a:gd name="connsiteY231" fmla="*/ 19147 h 1570703"/>
                    <a:gd name="connsiteX232" fmla="*/ 490407 w 1435251"/>
                    <a:gd name="connsiteY232" fmla="*/ 29281 h 1570703"/>
                    <a:gd name="connsiteX233" fmla="*/ 473455 w 1435251"/>
                    <a:gd name="connsiteY233" fmla="*/ 32321 h 1570703"/>
                    <a:gd name="connsiteX234" fmla="*/ 457634 w 1435251"/>
                    <a:gd name="connsiteY234" fmla="*/ 46508 h 1570703"/>
                    <a:gd name="connsiteX235" fmla="*/ 441812 w 1435251"/>
                    <a:gd name="connsiteY235" fmla="*/ 55628 h 1570703"/>
                    <a:gd name="connsiteX236" fmla="*/ 421470 w 1435251"/>
                    <a:gd name="connsiteY236" fmla="*/ 52588 h 1570703"/>
                    <a:gd name="connsiteX237" fmla="*/ 410168 w 1435251"/>
                    <a:gd name="connsiteY237" fmla="*/ 57655 h 1570703"/>
                    <a:gd name="connsiteX238" fmla="*/ 414689 w 1435251"/>
                    <a:gd name="connsiteY238" fmla="*/ 66775 h 1570703"/>
                    <a:gd name="connsiteX239" fmla="*/ 392086 w 1435251"/>
                    <a:gd name="connsiteY239" fmla="*/ 61708 h 1570703"/>
                    <a:gd name="connsiteX240" fmla="*/ 369484 w 1435251"/>
                    <a:gd name="connsiteY240" fmla="*/ 56641 h 1570703"/>
                    <a:gd name="connsiteX241" fmla="*/ 343491 w 1435251"/>
                    <a:gd name="connsiteY241" fmla="*/ 48535 h 1570703"/>
                    <a:gd name="connsiteX242" fmla="*/ 338971 w 1435251"/>
                    <a:gd name="connsiteY242" fmla="*/ 53601 h 1570703"/>
                    <a:gd name="connsiteX243" fmla="*/ 345751 w 1435251"/>
                    <a:gd name="connsiteY243" fmla="*/ 71842 h 1570703"/>
                    <a:gd name="connsiteX244" fmla="*/ 355923 w 1435251"/>
                    <a:gd name="connsiteY244" fmla="*/ 88055 h 1570703"/>
                    <a:gd name="connsiteX245" fmla="*/ 351402 w 1435251"/>
                    <a:gd name="connsiteY245" fmla="*/ 114403 h 1570703"/>
                    <a:gd name="connsiteX246" fmla="*/ 366094 w 1435251"/>
                    <a:gd name="connsiteY246" fmla="*/ 127576 h 1570703"/>
                    <a:gd name="connsiteX247" fmla="*/ 392086 w 1435251"/>
                    <a:gd name="connsiteY247" fmla="*/ 123523 h 1570703"/>
                    <a:gd name="connsiteX248" fmla="*/ 404518 w 1435251"/>
                    <a:gd name="connsiteY248" fmla="*/ 133657 h 1570703"/>
                    <a:gd name="connsiteX249" fmla="*/ 392086 w 1435251"/>
                    <a:gd name="connsiteY249" fmla="*/ 138723 h 1570703"/>
                    <a:gd name="connsiteX250" fmla="*/ 371744 w 1435251"/>
                    <a:gd name="connsiteY250" fmla="*/ 158990 h 1570703"/>
                    <a:gd name="connsiteX251" fmla="*/ 353662 w 1435251"/>
                    <a:gd name="connsiteY251" fmla="*/ 167097 h 1570703"/>
                    <a:gd name="connsiteX252" fmla="*/ 333320 w 1435251"/>
                    <a:gd name="connsiteY252" fmla="*/ 182298 h 1570703"/>
                    <a:gd name="connsiteX253" fmla="*/ 310718 w 1435251"/>
                    <a:gd name="connsiteY253" fmla="*/ 192431 h 1570703"/>
                    <a:gd name="connsiteX254" fmla="*/ 292636 w 1435251"/>
                    <a:gd name="connsiteY254" fmla="*/ 181284 h 1570703"/>
                    <a:gd name="connsiteX255" fmla="*/ 281335 w 1435251"/>
                    <a:gd name="connsiteY255" fmla="*/ 178244 h 1570703"/>
                    <a:gd name="connsiteX256" fmla="*/ 277944 w 1435251"/>
                    <a:gd name="connsiteY256" fmla="*/ 163044 h 1570703"/>
                    <a:gd name="connsiteX257" fmla="*/ 265513 w 1435251"/>
                    <a:gd name="connsiteY257" fmla="*/ 162030 h 1570703"/>
                    <a:gd name="connsiteX258" fmla="*/ 260992 w 1435251"/>
                    <a:gd name="connsiteY258" fmla="*/ 177231 h 1570703"/>
                    <a:gd name="connsiteX259" fmla="*/ 248561 w 1435251"/>
                    <a:gd name="connsiteY259" fmla="*/ 181284 h 1570703"/>
                    <a:gd name="connsiteX260" fmla="*/ 237260 w 1435251"/>
                    <a:gd name="connsiteY260" fmla="*/ 173177 h 1570703"/>
                    <a:gd name="connsiteX261" fmla="*/ 236130 w 1435251"/>
                    <a:gd name="connsiteY261" fmla="*/ 183311 h 1570703"/>
                    <a:gd name="connsiteX262" fmla="*/ 201096 w 1435251"/>
                    <a:gd name="connsiteY262" fmla="*/ 184324 h 1570703"/>
                    <a:gd name="connsiteX263" fmla="*/ 177364 w 1435251"/>
                    <a:gd name="connsiteY263" fmla="*/ 178244 h 1570703"/>
                    <a:gd name="connsiteX264" fmla="*/ 176233 w 1435251"/>
                    <a:gd name="connsiteY264" fmla="*/ 192431 h 1570703"/>
                    <a:gd name="connsiteX265" fmla="*/ 194315 w 1435251"/>
                    <a:gd name="connsiteY265" fmla="*/ 194458 h 1570703"/>
                    <a:gd name="connsiteX266" fmla="*/ 190925 w 1435251"/>
                    <a:gd name="connsiteY266" fmla="*/ 199525 h 1570703"/>
                    <a:gd name="connsiteX267" fmla="*/ 170583 w 1435251"/>
                    <a:gd name="connsiteY267" fmla="*/ 199525 h 1570703"/>
                    <a:gd name="connsiteX268" fmla="*/ 167193 w 1435251"/>
                    <a:gd name="connsiteY268" fmla="*/ 215738 h 1570703"/>
                    <a:gd name="connsiteX269" fmla="*/ 177364 w 1435251"/>
                    <a:gd name="connsiteY269" fmla="*/ 221818 h 1570703"/>
                    <a:gd name="connsiteX270" fmla="*/ 192055 w 1435251"/>
                    <a:gd name="connsiteY270" fmla="*/ 250193 h 1570703"/>
                    <a:gd name="connsiteX271" fmla="*/ 185275 w 1435251"/>
                    <a:gd name="connsiteY271" fmla="*/ 280593 h 1570703"/>
                    <a:gd name="connsiteX272" fmla="*/ 146851 w 1435251"/>
                    <a:gd name="connsiteY272" fmla="*/ 370782 h 1570703"/>
                    <a:gd name="connsiteX273" fmla="*/ 135549 w 1435251"/>
                    <a:gd name="connsiteY273" fmla="*/ 381929 h 1570703"/>
                    <a:gd name="connsiteX274" fmla="*/ 107296 w 1435251"/>
                    <a:gd name="connsiteY274" fmla="*/ 384969 h 1570703"/>
                    <a:gd name="connsiteX275" fmla="*/ 75653 w 1435251"/>
                    <a:gd name="connsiteY275" fmla="*/ 396116 h 1570703"/>
                    <a:gd name="connsiteX276" fmla="*/ 46270 w 1435251"/>
                    <a:gd name="connsiteY276" fmla="*/ 416383 h 1570703"/>
                    <a:gd name="connsiteX277" fmla="*/ 37229 w 1435251"/>
                    <a:gd name="connsiteY277" fmla="*/ 444757 h 1570703"/>
                    <a:gd name="connsiteX278" fmla="*/ 25928 w 1435251"/>
                    <a:gd name="connsiteY278" fmla="*/ 466037 h 1570703"/>
                    <a:gd name="connsiteX279" fmla="*/ 25928 w 1435251"/>
                    <a:gd name="connsiteY279" fmla="*/ 482251 h 1570703"/>
                    <a:gd name="connsiteX280" fmla="*/ 10106 w 1435251"/>
                    <a:gd name="connsiteY280" fmla="*/ 482251 h 1570703"/>
                    <a:gd name="connsiteX281" fmla="*/ 16887 w 1435251"/>
                    <a:gd name="connsiteY281" fmla="*/ 505558 h 1570703"/>
                    <a:gd name="connsiteX282" fmla="*/ 22537 w 1435251"/>
                    <a:gd name="connsiteY282" fmla="*/ 521772 h 1570703"/>
                    <a:gd name="connsiteX283" fmla="*/ 16887 w 1435251"/>
                    <a:gd name="connsiteY283" fmla="*/ 536972 h 1570703"/>
                    <a:gd name="connsiteX284" fmla="*/ 38359 w 1435251"/>
                    <a:gd name="connsiteY284" fmla="*/ 552173 h 1570703"/>
                    <a:gd name="connsiteX285" fmla="*/ 62092 w 1435251"/>
                    <a:gd name="connsiteY285" fmla="*/ 573453 h 1570703"/>
                    <a:gd name="connsiteX286" fmla="*/ 68872 w 1435251"/>
                    <a:gd name="connsiteY286" fmla="*/ 587640 h 1570703"/>
                    <a:gd name="connsiteX287" fmla="*/ 101646 w 1435251"/>
                    <a:gd name="connsiteY287" fmla="*/ 587640 h 1570703"/>
                    <a:gd name="connsiteX288" fmla="*/ 128769 w 1435251"/>
                    <a:gd name="connsiteY288" fmla="*/ 572440 h 1570703"/>
                    <a:gd name="connsiteX289" fmla="*/ 134419 w 1435251"/>
                    <a:gd name="connsiteY289" fmla="*/ 580547 h 1570703"/>
                    <a:gd name="connsiteX290" fmla="*/ 144590 w 1435251"/>
                    <a:gd name="connsiteY290" fmla="*/ 679856 h 1570703"/>
                    <a:gd name="connsiteX291" fmla="*/ 184144 w 1435251"/>
                    <a:gd name="connsiteY291" fmla="*/ 691003 h 1570703"/>
                    <a:gd name="connsiteX292" fmla="*/ 201096 w 1435251"/>
                    <a:gd name="connsiteY292" fmla="*/ 694043 h 1570703"/>
                    <a:gd name="connsiteX293" fmla="*/ 222568 w 1435251"/>
                    <a:gd name="connsiteY293" fmla="*/ 685936 h 1570703"/>
                    <a:gd name="connsiteX294" fmla="*/ 228219 w 1435251"/>
                    <a:gd name="connsiteY294" fmla="*/ 676816 h 1570703"/>
                    <a:gd name="connsiteX295" fmla="*/ 239520 w 1435251"/>
                    <a:gd name="connsiteY295" fmla="*/ 673776 h 1570703"/>
                    <a:gd name="connsiteX296" fmla="*/ 277944 w 1435251"/>
                    <a:gd name="connsiteY296" fmla="*/ 636282 h 1570703"/>
                    <a:gd name="connsiteX297" fmla="*/ 320889 w 1435251"/>
                    <a:gd name="connsiteY297" fmla="*/ 626148 h 1570703"/>
                    <a:gd name="connsiteX298" fmla="*/ 336711 w 1435251"/>
                    <a:gd name="connsiteY298" fmla="*/ 626148 h 1570703"/>
                    <a:gd name="connsiteX299" fmla="*/ 343491 w 1435251"/>
                    <a:gd name="connsiteY299" fmla="*/ 635268 h 1570703"/>
                    <a:gd name="connsiteX300" fmla="*/ 331060 w 1435251"/>
                    <a:gd name="connsiteY300" fmla="*/ 667695 h 1570703"/>
                    <a:gd name="connsiteX301" fmla="*/ 346882 w 1435251"/>
                    <a:gd name="connsiteY301" fmla="*/ 686949 h 1570703"/>
                    <a:gd name="connsiteX302" fmla="*/ 364964 w 1435251"/>
                    <a:gd name="connsiteY302" fmla="*/ 692016 h 1570703"/>
                    <a:gd name="connsiteX303" fmla="*/ 388696 w 1435251"/>
                    <a:gd name="connsiteY303" fmla="*/ 691003 h 1570703"/>
                    <a:gd name="connsiteX304" fmla="*/ 415819 w 1435251"/>
                    <a:gd name="connsiteY304" fmla="*/ 711270 h 1570703"/>
                    <a:gd name="connsiteX305" fmla="*/ 433901 w 1435251"/>
                    <a:gd name="connsiteY305" fmla="*/ 725457 h 1570703"/>
                    <a:gd name="connsiteX306" fmla="*/ 459894 w 1435251"/>
                    <a:gd name="connsiteY306" fmla="*/ 739644 h 1570703"/>
                    <a:gd name="connsiteX307" fmla="*/ 488147 w 1435251"/>
                    <a:gd name="connsiteY307" fmla="*/ 745724 h 1570703"/>
                    <a:gd name="connsiteX308" fmla="*/ 510749 w 1435251"/>
                    <a:gd name="connsiteY308" fmla="*/ 745724 h 1570703"/>
                    <a:gd name="connsiteX309" fmla="*/ 522050 w 1435251"/>
                    <a:gd name="connsiteY309" fmla="*/ 774098 h 1570703"/>
                    <a:gd name="connsiteX310" fmla="*/ 531091 w 1435251"/>
                    <a:gd name="connsiteY310" fmla="*/ 794365 h 1570703"/>
                    <a:gd name="connsiteX311" fmla="*/ 518660 w 1435251"/>
                    <a:gd name="connsiteY311" fmla="*/ 810579 h 1570703"/>
                    <a:gd name="connsiteX312" fmla="*/ 525441 w 1435251"/>
                    <a:gd name="connsiteY312" fmla="*/ 835913 h 1570703"/>
                    <a:gd name="connsiteX313" fmla="*/ 531091 w 1435251"/>
                    <a:gd name="connsiteY313" fmla="*/ 854153 h 1570703"/>
                    <a:gd name="connsiteX314" fmla="*/ 585337 w 1435251"/>
                    <a:gd name="connsiteY314" fmla="*/ 851113 h 1570703"/>
                    <a:gd name="connsiteX315" fmla="*/ 581947 w 1435251"/>
                    <a:gd name="connsiteY315" fmla="*/ 871380 h 1570703"/>
                    <a:gd name="connsiteX316" fmla="*/ 594378 w 1435251"/>
                    <a:gd name="connsiteY316" fmla="*/ 894688 h 1570703"/>
                    <a:gd name="connsiteX317" fmla="*/ 611330 w 1435251"/>
                    <a:gd name="connsiteY317" fmla="*/ 913941 h 1570703"/>
                    <a:gd name="connsiteX318" fmla="*/ 611330 w 1435251"/>
                    <a:gd name="connsiteY318" fmla="*/ 933195 h 1570703"/>
                    <a:gd name="connsiteX319" fmla="*/ 600028 w 1435251"/>
                    <a:gd name="connsiteY319" fmla="*/ 974743 h 1570703"/>
                    <a:gd name="connsiteX320" fmla="*/ 609070 w 1435251"/>
                    <a:gd name="connsiteY320" fmla="*/ 984876 h 1570703"/>
                    <a:gd name="connsiteX321" fmla="*/ 597768 w 1435251"/>
                    <a:gd name="connsiteY321" fmla="*/ 989943 h 1570703"/>
                    <a:gd name="connsiteX322" fmla="*/ 603419 w 1435251"/>
                    <a:gd name="connsiteY322" fmla="*/ 997036 h 1570703"/>
                    <a:gd name="connsiteX323" fmla="*/ 612460 w 1435251"/>
                    <a:gd name="connsiteY323" fmla="*/ 1010210 h 1570703"/>
                    <a:gd name="connsiteX324" fmla="*/ 613590 w 1435251"/>
                    <a:gd name="connsiteY324" fmla="*/ 1040611 h 1570703"/>
                    <a:gd name="connsiteX325" fmla="*/ 619241 w 1435251"/>
                    <a:gd name="connsiteY325" fmla="*/ 1066958 h 1570703"/>
                    <a:gd name="connsiteX326" fmla="*/ 658795 w 1435251"/>
                    <a:gd name="connsiteY326" fmla="*/ 1076078 h 1570703"/>
                    <a:gd name="connsiteX327" fmla="*/ 668966 w 1435251"/>
                    <a:gd name="connsiteY327" fmla="*/ 1071012 h 1570703"/>
                    <a:gd name="connsiteX328" fmla="*/ 674616 w 1435251"/>
                    <a:gd name="connsiteY328" fmla="*/ 1079118 h 1570703"/>
                    <a:gd name="connsiteX329" fmla="*/ 684787 w 1435251"/>
                    <a:gd name="connsiteY329" fmla="*/ 1090265 h 1570703"/>
                    <a:gd name="connsiteX330" fmla="*/ 702869 w 1435251"/>
                    <a:gd name="connsiteY330" fmla="*/ 1106479 h 1570703"/>
                    <a:gd name="connsiteX331" fmla="*/ 701739 w 1435251"/>
                    <a:gd name="connsiteY331" fmla="*/ 1141947 h 1570703"/>
                    <a:gd name="connsiteX332" fmla="*/ 711910 w 1435251"/>
                    <a:gd name="connsiteY332" fmla="*/ 1160187 h 1570703"/>
                    <a:gd name="connsiteX333" fmla="*/ 732252 w 1435251"/>
                    <a:gd name="connsiteY333" fmla="*/ 1157147 h 1570703"/>
                    <a:gd name="connsiteX334" fmla="*/ 726602 w 1435251"/>
                    <a:gd name="connsiteY334" fmla="*/ 1188561 h 1570703"/>
                    <a:gd name="connsiteX335" fmla="*/ 722081 w 1435251"/>
                    <a:gd name="connsiteY335" fmla="*/ 1225042 h 1570703"/>
                    <a:gd name="connsiteX336" fmla="*/ 740163 w 1435251"/>
                    <a:gd name="connsiteY336" fmla="*/ 1229095 h 1570703"/>
                    <a:gd name="connsiteX337" fmla="*/ 752594 w 1435251"/>
                    <a:gd name="connsiteY337" fmla="*/ 1228082 h 1570703"/>
                    <a:gd name="connsiteX338" fmla="*/ 753725 w 1435251"/>
                    <a:gd name="connsiteY338" fmla="*/ 1256456 h 1570703"/>
                    <a:gd name="connsiteX339" fmla="*/ 757115 w 1435251"/>
                    <a:gd name="connsiteY339" fmla="*/ 1289897 h 1570703"/>
                    <a:gd name="connsiteX340" fmla="*/ 744684 w 1435251"/>
                    <a:gd name="connsiteY340" fmla="*/ 1301043 h 1570703"/>
                    <a:gd name="connsiteX341" fmla="*/ 715301 w 1435251"/>
                    <a:gd name="connsiteY341" fmla="*/ 1314217 h 1570703"/>
                    <a:gd name="connsiteX342" fmla="*/ 697219 w 1435251"/>
                    <a:gd name="connsiteY342" fmla="*/ 1335498 h 1570703"/>
                    <a:gd name="connsiteX343" fmla="*/ 681397 w 1435251"/>
                    <a:gd name="connsiteY343" fmla="*/ 1349684 h 1570703"/>
                    <a:gd name="connsiteX344" fmla="*/ 657665 w 1435251"/>
                    <a:gd name="connsiteY344" fmla="*/ 1365898 h 1570703"/>
                    <a:gd name="connsiteX345" fmla="*/ 646363 w 1435251"/>
                    <a:gd name="connsiteY345" fmla="*/ 1391232 h 1570703"/>
                    <a:gd name="connsiteX346" fmla="*/ 628281 w 1435251"/>
                    <a:gd name="connsiteY346" fmla="*/ 1406433 h 1570703"/>
                    <a:gd name="connsiteX347" fmla="*/ 622631 w 1435251"/>
                    <a:gd name="connsiteY347" fmla="*/ 1430753 h 1570703"/>
                    <a:gd name="connsiteX348" fmla="*/ 648624 w 1435251"/>
                    <a:gd name="connsiteY348" fmla="*/ 1422646 h 1570703"/>
                    <a:gd name="connsiteX349" fmla="*/ 680267 w 1435251"/>
                    <a:gd name="connsiteY349" fmla="*/ 1440887 h 1570703"/>
                    <a:gd name="connsiteX350" fmla="*/ 687048 w 1435251"/>
                    <a:gd name="connsiteY350" fmla="*/ 1457101 h 1570703"/>
                    <a:gd name="connsiteX351" fmla="*/ 710780 w 1435251"/>
                    <a:gd name="connsiteY351" fmla="*/ 1470274 h 1570703"/>
                    <a:gd name="connsiteX352" fmla="*/ 732252 w 1435251"/>
                    <a:gd name="connsiteY352" fmla="*/ 1486488 h 1570703"/>
                    <a:gd name="connsiteX353" fmla="*/ 755985 w 1435251"/>
                    <a:gd name="connsiteY353" fmla="*/ 1500675 h 1570703"/>
                    <a:gd name="connsiteX354" fmla="*/ 771807 w 1435251"/>
                    <a:gd name="connsiteY354" fmla="*/ 1521955 h 1570703"/>
                    <a:gd name="connsiteX355" fmla="*/ 786498 w 1435251"/>
                    <a:gd name="connsiteY355" fmla="*/ 1531076 h 1570703"/>
                    <a:gd name="connsiteX356" fmla="*/ 770676 w 1435251"/>
                    <a:gd name="connsiteY356" fmla="*/ 1553369 h 1570703"/>
                    <a:gd name="connsiteX357" fmla="*/ 775197 w 1435251"/>
                    <a:gd name="connsiteY357" fmla="*/ 1562489 h 1570703"/>
                    <a:gd name="connsiteX358" fmla="*/ 796669 w 1435251"/>
                    <a:gd name="connsiteY358" fmla="*/ 1537155 h 1570703"/>
                    <a:gd name="connsiteX359" fmla="*/ 791019 w 1435251"/>
                    <a:gd name="connsiteY359" fmla="*/ 1512835 h 1570703"/>
                    <a:gd name="connsiteX360" fmla="*/ 815881 w 1435251"/>
                    <a:gd name="connsiteY360" fmla="*/ 1486488 h 1570703"/>
                    <a:gd name="connsiteX361" fmla="*/ 815881 w 1435251"/>
                    <a:gd name="connsiteY361" fmla="*/ 1476354 h 1570703"/>
                    <a:gd name="connsiteX362" fmla="*/ 829443 w 1435251"/>
                    <a:gd name="connsiteY362" fmla="*/ 1471287 h 1570703"/>
                    <a:gd name="connsiteX363" fmla="*/ 829443 w 1435251"/>
                    <a:gd name="connsiteY363" fmla="*/ 1466220 h 1570703"/>
                    <a:gd name="connsiteX364" fmla="*/ 843004 w 1435251"/>
                    <a:gd name="connsiteY364" fmla="*/ 1434807 h 1570703"/>
                    <a:gd name="connsiteX365" fmla="*/ 854305 w 1435251"/>
                    <a:gd name="connsiteY365" fmla="*/ 1436833 h 1570703"/>
                    <a:gd name="connsiteX366" fmla="*/ 854305 w 1435251"/>
                    <a:gd name="connsiteY366" fmla="*/ 1441900 h 1570703"/>
                    <a:gd name="connsiteX367" fmla="*/ 862216 w 1435251"/>
                    <a:gd name="connsiteY367" fmla="*/ 1443927 h 1570703"/>
                    <a:gd name="connsiteX368" fmla="*/ 864477 w 1435251"/>
                    <a:gd name="connsiteY368" fmla="*/ 1436833 h 1570703"/>
                    <a:gd name="connsiteX369" fmla="*/ 870127 w 1435251"/>
                    <a:gd name="connsiteY369" fmla="*/ 1438860 h 1570703"/>
                    <a:gd name="connsiteX370" fmla="*/ 867867 w 1435251"/>
                    <a:gd name="connsiteY370" fmla="*/ 1448994 h 1570703"/>
                    <a:gd name="connsiteX371" fmla="*/ 859956 w 1435251"/>
                    <a:gd name="connsiteY371" fmla="*/ 1475341 h 1570703"/>
                    <a:gd name="connsiteX372" fmla="*/ 852045 w 1435251"/>
                    <a:gd name="connsiteY372" fmla="*/ 1482435 h 1570703"/>
                    <a:gd name="connsiteX373" fmla="*/ 867867 w 1435251"/>
                    <a:gd name="connsiteY373" fmla="*/ 1472301 h 1570703"/>
                    <a:gd name="connsiteX374" fmla="*/ 883688 w 1435251"/>
                    <a:gd name="connsiteY374" fmla="*/ 1430753 h 1570703"/>
                    <a:gd name="connsiteX375" fmla="*/ 897250 w 1435251"/>
                    <a:gd name="connsiteY375" fmla="*/ 1396299 h 1570703"/>
                    <a:gd name="connsiteX376" fmla="*/ 922112 w 1435251"/>
                    <a:gd name="connsiteY376" fmla="*/ 1371978 h 1570703"/>
                    <a:gd name="connsiteX377" fmla="*/ 930023 w 1435251"/>
                    <a:gd name="connsiteY377" fmla="*/ 1369952 h 1570703"/>
                    <a:gd name="connsiteX378" fmla="*/ 932284 w 1435251"/>
                    <a:gd name="connsiteY378" fmla="*/ 1355765 h 1570703"/>
                    <a:gd name="connsiteX379" fmla="*/ 937934 w 1435251"/>
                    <a:gd name="connsiteY379" fmla="*/ 1353738 h 1570703"/>
                    <a:gd name="connsiteX380" fmla="*/ 937934 w 1435251"/>
                    <a:gd name="connsiteY380" fmla="*/ 1305097 h 1570703"/>
                    <a:gd name="connsiteX381" fmla="*/ 930023 w 1435251"/>
                    <a:gd name="connsiteY381" fmla="*/ 1303070 h 1570703"/>
                    <a:gd name="connsiteX382" fmla="*/ 932284 w 1435251"/>
                    <a:gd name="connsiteY382" fmla="*/ 1290910 h 1570703"/>
                    <a:gd name="connsiteX383" fmla="*/ 926633 w 1435251"/>
                    <a:gd name="connsiteY383" fmla="*/ 1290910 h 1570703"/>
                    <a:gd name="connsiteX384" fmla="*/ 926633 w 1435251"/>
                    <a:gd name="connsiteY384" fmla="*/ 1283817 h 1570703"/>
                    <a:gd name="connsiteX385" fmla="*/ 928893 w 1435251"/>
                    <a:gd name="connsiteY385" fmla="*/ 1278750 h 1570703"/>
                    <a:gd name="connsiteX386" fmla="*/ 928893 w 1435251"/>
                    <a:gd name="connsiteY386" fmla="*/ 1261523 h 1570703"/>
                    <a:gd name="connsiteX387" fmla="*/ 923243 w 1435251"/>
                    <a:gd name="connsiteY387" fmla="*/ 1254429 h 1570703"/>
                    <a:gd name="connsiteX388" fmla="*/ 931154 w 1435251"/>
                    <a:gd name="connsiteY388" fmla="*/ 1247336 h 1570703"/>
                    <a:gd name="connsiteX389" fmla="*/ 927763 w 1435251"/>
                    <a:gd name="connsiteY389" fmla="*/ 1229095 h 157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Lst>
                  <a:rect l="l" t="t" r="r" b="b"/>
                  <a:pathLst>
                    <a:path w="1435251" h="1570703">
                      <a:moveTo>
                        <a:pt x="768416" y="268433"/>
                      </a:moveTo>
                      <a:cubicBezTo>
                        <a:pt x="772937" y="266406"/>
                        <a:pt x="772937" y="270460"/>
                        <a:pt x="774067" y="270460"/>
                      </a:cubicBezTo>
                      <a:cubicBezTo>
                        <a:pt x="769546" y="272486"/>
                        <a:pt x="762766" y="272486"/>
                        <a:pt x="760505" y="275526"/>
                      </a:cubicBezTo>
                      <a:cubicBezTo>
                        <a:pt x="757115" y="279580"/>
                        <a:pt x="759375" y="284647"/>
                        <a:pt x="754855" y="287687"/>
                      </a:cubicBezTo>
                      <a:cubicBezTo>
                        <a:pt x="749204" y="291740"/>
                        <a:pt x="757115" y="274513"/>
                        <a:pt x="768416" y="268433"/>
                      </a:cubicBezTo>
                      <a:close/>
                      <a:moveTo>
                        <a:pt x="871257" y="263366"/>
                      </a:moveTo>
                      <a:cubicBezTo>
                        <a:pt x="874648" y="265393"/>
                        <a:pt x="868997" y="268433"/>
                        <a:pt x="868997" y="268433"/>
                      </a:cubicBezTo>
                      <a:cubicBezTo>
                        <a:pt x="868997" y="266406"/>
                        <a:pt x="866737" y="261340"/>
                        <a:pt x="871257" y="263366"/>
                      </a:cubicBezTo>
                      <a:close/>
                      <a:moveTo>
                        <a:pt x="838484" y="249179"/>
                      </a:moveTo>
                      <a:cubicBezTo>
                        <a:pt x="833963" y="250193"/>
                        <a:pt x="835093" y="253232"/>
                        <a:pt x="840744" y="254246"/>
                      </a:cubicBezTo>
                      <a:cubicBezTo>
                        <a:pt x="841874" y="254246"/>
                        <a:pt x="847525" y="246139"/>
                        <a:pt x="838484" y="249179"/>
                      </a:cubicBezTo>
                      <a:close/>
                      <a:moveTo>
                        <a:pt x="852045" y="237019"/>
                      </a:moveTo>
                      <a:lnTo>
                        <a:pt x="854305" y="242085"/>
                      </a:lnTo>
                      <a:cubicBezTo>
                        <a:pt x="854305" y="238032"/>
                        <a:pt x="856566" y="237019"/>
                        <a:pt x="852045" y="237019"/>
                      </a:cubicBezTo>
                      <a:close/>
                      <a:moveTo>
                        <a:pt x="801190" y="1513848"/>
                      </a:moveTo>
                      <a:cubicBezTo>
                        <a:pt x="798929" y="1514862"/>
                        <a:pt x="789889" y="1523982"/>
                        <a:pt x="801190" y="1520942"/>
                      </a:cubicBezTo>
                      <a:cubicBezTo>
                        <a:pt x="801190" y="1520942"/>
                        <a:pt x="806840" y="1511821"/>
                        <a:pt x="801190" y="1513848"/>
                      </a:cubicBezTo>
                      <a:close/>
                      <a:moveTo>
                        <a:pt x="822662" y="1508782"/>
                      </a:moveTo>
                      <a:cubicBezTo>
                        <a:pt x="811361" y="1509795"/>
                        <a:pt x="806840" y="1520942"/>
                        <a:pt x="824922" y="1518915"/>
                      </a:cubicBezTo>
                      <a:cubicBezTo>
                        <a:pt x="835093" y="1516888"/>
                        <a:pt x="839614" y="1506755"/>
                        <a:pt x="822662" y="1508782"/>
                      </a:cubicBezTo>
                      <a:close/>
                      <a:moveTo>
                        <a:pt x="832833" y="1494595"/>
                      </a:moveTo>
                      <a:lnTo>
                        <a:pt x="830573" y="1501688"/>
                      </a:lnTo>
                      <a:cubicBezTo>
                        <a:pt x="836224" y="1499662"/>
                        <a:pt x="861086" y="1496621"/>
                        <a:pt x="832833" y="1494595"/>
                      </a:cubicBezTo>
                      <a:close/>
                      <a:moveTo>
                        <a:pt x="749204" y="290727"/>
                      </a:moveTo>
                      <a:lnTo>
                        <a:pt x="746944" y="297820"/>
                      </a:lnTo>
                      <a:cubicBezTo>
                        <a:pt x="723212" y="297820"/>
                        <a:pt x="706260" y="295794"/>
                        <a:pt x="687048" y="297820"/>
                      </a:cubicBezTo>
                      <a:lnTo>
                        <a:pt x="692698" y="292753"/>
                      </a:lnTo>
                      <a:cubicBezTo>
                        <a:pt x="710780" y="290727"/>
                        <a:pt x="726602" y="300860"/>
                        <a:pt x="744684" y="294780"/>
                      </a:cubicBezTo>
                      <a:cubicBezTo>
                        <a:pt x="744684" y="294780"/>
                        <a:pt x="745814" y="290727"/>
                        <a:pt x="749204" y="290727"/>
                      </a:cubicBezTo>
                      <a:close/>
                      <a:moveTo>
                        <a:pt x="844134" y="224859"/>
                      </a:moveTo>
                      <a:cubicBezTo>
                        <a:pt x="839614" y="225872"/>
                        <a:pt x="840744" y="228912"/>
                        <a:pt x="846395" y="229925"/>
                      </a:cubicBezTo>
                      <a:cubicBezTo>
                        <a:pt x="846395" y="228912"/>
                        <a:pt x="854305" y="221818"/>
                        <a:pt x="844134" y="224859"/>
                      </a:cubicBezTo>
                      <a:close/>
                      <a:moveTo>
                        <a:pt x="927763" y="1229095"/>
                      </a:moveTo>
                      <a:cubicBezTo>
                        <a:pt x="942455" y="1224029"/>
                        <a:pt x="953756" y="1217948"/>
                        <a:pt x="966187" y="1209841"/>
                      </a:cubicBezTo>
                      <a:cubicBezTo>
                        <a:pt x="968447" y="1207815"/>
                        <a:pt x="971838" y="1201735"/>
                        <a:pt x="974098" y="1199708"/>
                      </a:cubicBezTo>
                      <a:cubicBezTo>
                        <a:pt x="983139" y="1194641"/>
                        <a:pt x="995570" y="1195654"/>
                        <a:pt x="1003481" y="1189574"/>
                      </a:cubicBezTo>
                      <a:cubicBezTo>
                        <a:pt x="1006871" y="1187548"/>
                        <a:pt x="1011392" y="1172347"/>
                        <a:pt x="1011392" y="1172347"/>
                      </a:cubicBezTo>
                      <a:cubicBezTo>
                        <a:pt x="1018173" y="1167280"/>
                        <a:pt x="1035124" y="1171334"/>
                        <a:pt x="1040775" y="1170320"/>
                      </a:cubicBezTo>
                      <a:cubicBezTo>
                        <a:pt x="1043035" y="1169307"/>
                        <a:pt x="1044166" y="1164240"/>
                        <a:pt x="1046426" y="1163227"/>
                      </a:cubicBezTo>
                      <a:cubicBezTo>
                        <a:pt x="1054337" y="1160187"/>
                        <a:pt x="1063377" y="1162214"/>
                        <a:pt x="1073549" y="1161200"/>
                      </a:cubicBezTo>
                      <a:cubicBezTo>
                        <a:pt x="1070158" y="1155120"/>
                        <a:pt x="1069028" y="1151067"/>
                        <a:pt x="1065638" y="1143973"/>
                      </a:cubicBezTo>
                      <a:cubicBezTo>
                        <a:pt x="1069028" y="1142960"/>
                        <a:pt x="1070158" y="1144987"/>
                        <a:pt x="1073549" y="1143973"/>
                      </a:cubicBezTo>
                      <a:cubicBezTo>
                        <a:pt x="1073549" y="1143973"/>
                        <a:pt x="1080329" y="1136880"/>
                        <a:pt x="1081459" y="1136880"/>
                      </a:cubicBezTo>
                      <a:cubicBezTo>
                        <a:pt x="1084850" y="1136880"/>
                        <a:pt x="1088240" y="1140933"/>
                        <a:pt x="1095021" y="1138906"/>
                      </a:cubicBezTo>
                      <a:cubicBezTo>
                        <a:pt x="1096151" y="1138906"/>
                        <a:pt x="1100672" y="1131813"/>
                        <a:pt x="1102932" y="1131813"/>
                      </a:cubicBezTo>
                      <a:cubicBezTo>
                        <a:pt x="1113103" y="1129786"/>
                        <a:pt x="1119883" y="1132826"/>
                        <a:pt x="1132315" y="1131813"/>
                      </a:cubicBezTo>
                      <a:cubicBezTo>
                        <a:pt x="1131185" y="1129786"/>
                        <a:pt x="1128925" y="1119653"/>
                        <a:pt x="1130055" y="1119653"/>
                      </a:cubicBezTo>
                      <a:cubicBezTo>
                        <a:pt x="1131185" y="1120666"/>
                        <a:pt x="1135705" y="1118639"/>
                        <a:pt x="1137965" y="1119653"/>
                      </a:cubicBezTo>
                      <a:lnTo>
                        <a:pt x="1137965" y="1124719"/>
                      </a:lnTo>
                      <a:cubicBezTo>
                        <a:pt x="1141356" y="1125733"/>
                        <a:pt x="1142486" y="1128773"/>
                        <a:pt x="1143616" y="1129786"/>
                      </a:cubicBezTo>
                      <a:cubicBezTo>
                        <a:pt x="1149267" y="1131813"/>
                        <a:pt x="1156047" y="1128773"/>
                        <a:pt x="1162828" y="1129786"/>
                      </a:cubicBezTo>
                      <a:cubicBezTo>
                        <a:pt x="1163958" y="1127760"/>
                        <a:pt x="1170739" y="1121679"/>
                        <a:pt x="1170739" y="1119653"/>
                      </a:cubicBezTo>
                      <a:cubicBezTo>
                        <a:pt x="1171869" y="1116613"/>
                        <a:pt x="1168479" y="1109519"/>
                        <a:pt x="1170739" y="1107492"/>
                      </a:cubicBezTo>
                      <a:lnTo>
                        <a:pt x="1189951" y="1100399"/>
                      </a:lnTo>
                      <a:cubicBezTo>
                        <a:pt x="1188821" y="1095332"/>
                        <a:pt x="1193341" y="1093305"/>
                        <a:pt x="1192211" y="1090265"/>
                      </a:cubicBezTo>
                      <a:lnTo>
                        <a:pt x="1186561" y="1088238"/>
                      </a:lnTo>
                      <a:cubicBezTo>
                        <a:pt x="1186561" y="1080132"/>
                        <a:pt x="1187691" y="1081145"/>
                        <a:pt x="1186561" y="1071012"/>
                      </a:cubicBezTo>
                      <a:cubicBezTo>
                        <a:pt x="1179780" y="1071012"/>
                        <a:pt x="1186561" y="1067971"/>
                        <a:pt x="1186561" y="1068985"/>
                      </a:cubicBezTo>
                      <a:cubicBezTo>
                        <a:pt x="1186561" y="1067971"/>
                        <a:pt x="1187691" y="1061891"/>
                        <a:pt x="1186561" y="1061891"/>
                      </a:cubicBezTo>
                      <a:cubicBezTo>
                        <a:pt x="1187691" y="1059865"/>
                        <a:pt x="1196732" y="1056825"/>
                        <a:pt x="1197862" y="1054798"/>
                      </a:cubicBezTo>
                      <a:cubicBezTo>
                        <a:pt x="1201252" y="1048718"/>
                        <a:pt x="1196732" y="1041624"/>
                        <a:pt x="1200122" y="1035544"/>
                      </a:cubicBezTo>
                      <a:cubicBezTo>
                        <a:pt x="1203513" y="1029464"/>
                        <a:pt x="1215944" y="1025411"/>
                        <a:pt x="1219334" y="1018317"/>
                      </a:cubicBezTo>
                      <a:cubicBezTo>
                        <a:pt x="1220464" y="1015277"/>
                        <a:pt x="1218204" y="1011224"/>
                        <a:pt x="1219334" y="1008183"/>
                      </a:cubicBezTo>
                      <a:cubicBezTo>
                        <a:pt x="1220464" y="1007170"/>
                        <a:pt x="1226115" y="1007170"/>
                        <a:pt x="1227245" y="1006157"/>
                      </a:cubicBezTo>
                      <a:cubicBezTo>
                        <a:pt x="1228375" y="1003117"/>
                        <a:pt x="1226115" y="1001090"/>
                        <a:pt x="1227245" y="999063"/>
                      </a:cubicBezTo>
                      <a:cubicBezTo>
                        <a:pt x="1229505" y="992983"/>
                        <a:pt x="1245327" y="985890"/>
                        <a:pt x="1248717" y="979809"/>
                      </a:cubicBezTo>
                      <a:cubicBezTo>
                        <a:pt x="1254368" y="968662"/>
                        <a:pt x="1247587" y="952449"/>
                        <a:pt x="1250977" y="938262"/>
                      </a:cubicBezTo>
                      <a:cubicBezTo>
                        <a:pt x="1253238" y="930155"/>
                        <a:pt x="1266799" y="924075"/>
                        <a:pt x="1272450" y="919008"/>
                      </a:cubicBezTo>
                      <a:cubicBezTo>
                        <a:pt x="1266799" y="908874"/>
                        <a:pt x="1258888" y="891647"/>
                        <a:pt x="1266799" y="877460"/>
                      </a:cubicBezTo>
                      <a:cubicBezTo>
                        <a:pt x="1267929" y="876447"/>
                        <a:pt x="1274710" y="873407"/>
                        <a:pt x="1274710" y="872394"/>
                      </a:cubicBezTo>
                      <a:cubicBezTo>
                        <a:pt x="1275840" y="869354"/>
                        <a:pt x="1276970" y="852126"/>
                        <a:pt x="1274710" y="850100"/>
                      </a:cubicBezTo>
                      <a:cubicBezTo>
                        <a:pt x="1275840" y="844020"/>
                        <a:pt x="1280361" y="837939"/>
                        <a:pt x="1280361" y="827806"/>
                      </a:cubicBezTo>
                      <a:lnTo>
                        <a:pt x="1274710" y="815646"/>
                      </a:lnTo>
                      <a:cubicBezTo>
                        <a:pt x="1271320" y="794365"/>
                        <a:pt x="1272450" y="781191"/>
                        <a:pt x="1274710" y="761938"/>
                      </a:cubicBezTo>
                      <a:cubicBezTo>
                        <a:pt x="1267929" y="760924"/>
                        <a:pt x="1267929" y="761938"/>
                        <a:pt x="1263409" y="759911"/>
                      </a:cubicBezTo>
                      <a:cubicBezTo>
                        <a:pt x="1264539" y="757884"/>
                        <a:pt x="1273580" y="751804"/>
                        <a:pt x="1274710" y="749777"/>
                      </a:cubicBezTo>
                      <a:cubicBezTo>
                        <a:pt x="1278100" y="740657"/>
                        <a:pt x="1271320" y="739644"/>
                        <a:pt x="1276970" y="730524"/>
                      </a:cubicBezTo>
                      <a:cubicBezTo>
                        <a:pt x="1279230" y="727484"/>
                        <a:pt x="1286011" y="725457"/>
                        <a:pt x="1288271" y="720390"/>
                      </a:cubicBezTo>
                      <a:cubicBezTo>
                        <a:pt x="1289401" y="717350"/>
                        <a:pt x="1288271" y="701136"/>
                        <a:pt x="1288271" y="701136"/>
                      </a:cubicBezTo>
                      <a:cubicBezTo>
                        <a:pt x="1304093" y="709243"/>
                        <a:pt x="1299573" y="701136"/>
                        <a:pt x="1309744" y="715323"/>
                      </a:cubicBezTo>
                      <a:cubicBezTo>
                        <a:pt x="1312004" y="710256"/>
                        <a:pt x="1319915" y="700123"/>
                        <a:pt x="1321045" y="698096"/>
                      </a:cubicBezTo>
                      <a:cubicBezTo>
                        <a:pt x="1322175" y="697083"/>
                        <a:pt x="1319915" y="692016"/>
                        <a:pt x="1321045" y="691003"/>
                      </a:cubicBezTo>
                      <a:cubicBezTo>
                        <a:pt x="1322175" y="688976"/>
                        <a:pt x="1328956" y="687963"/>
                        <a:pt x="1328956" y="685936"/>
                      </a:cubicBezTo>
                      <a:cubicBezTo>
                        <a:pt x="1332346" y="678842"/>
                        <a:pt x="1328956" y="674789"/>
                        <a:pt x="1331216" y="666682"/>
                      </a:cubicBezTo>
                      <a:cubicBezTo>
                        <a:pt x="1333476" y="659589"/>
                        <a:pt x="1341387" y="655535"/>
                        <a:pt x="1344777" y="649455"/>
                      </a:cubicBezTo>
                      <a:cubicBezTo>
                        <a:pt x="1348168" y="644388"/>
                        <a:pt x="1345907" y="637295"/>
                        <a:pt x="1350428" y="632228"/>
                      </a:cubicBezTo>
                      <a:cubicBezTo>
                        <a:pt x="1351558" y="631215"/>
                        <a:pt x="1373030" y="612974"/>
                        <a:pt x="1375290" y="612974"/>
                      </a:cubicBezTo>
                      <a:cubicBezTo>
                        <a:pt x="1379811" y="610948"/>
                        <a:pt x="1384332" y="612974"/>
                        <a:pt x="1388852" y="610948"/>
                      </a:cubicBezTo>
                      <a:cubicBezTo>
                        <a:pt x="1392242" y="608921"/>
                        <a:pt x="1391112" y="604867"/>
                        <a:pt x="1394503" y="600814"/>
                      </a:cubicBezTo>
                      <a:cubicBezTo>
                        <a:pt x="1396763" y="597774"/>
                        <a:pt x="1405804" y="594734"/>
                        <a:pt x="1408064" y="590681"/>
                      </a:cubicBezTo>
                      <a:cubicBezTo>
                        <a:pt x="1409194" y="588654"/>
                        <a:pt x="1408064" y="585614"/>
                        <a:pt x="1408064" y="583587"/>
                      </a:cubicBezTo>
                      <a:cubicBezTo>
                        <a:pt x="1409194" y="581560"/>
                        <a:pt x="1414845" y="578520"/>
                        <a:pt x="1415975" y="576493"/>
                      </a:cubicBezTo>
                      <a:cubicBezTo>
                        <a:pt x="1422756" y="563320"/>
                        <a:pt x="1423886" y="556226"/>
                        <a:pt x="1429536" y="542039"/>
                      </a:cubicBezTo>
                      <a:lnTo>
                        <a:pt x="1435187" y="536972"/>
                      </a:lnTo>
                      <a:cubicBezTo>
                        <a:pt x="1436317" y="528866"/>
                        <a:pt x="1431796" y="522785"/>
                        <a:pt x="1432927" y="517719"/>
                      </a:cubicBezTo>
                      <a:cubicBezTo>
                        <a:pt x="1432927" y="514679"/>
                        <a:pt x="1438577" y="500491"/>
                        <a:pt x="1435187" y="493398"/>
                      </a:cubicBezTo>
                      <a:lnTo>
                        <a:pt x="1427276" y="488331"/>
                      </a:lnTo>
                      <a:cubicBezTo>
                        <a:pt x="1426146" y="482251"/>
                        <a:pt x="1432927" y="471104"/>
                        <a:pt x="1429536" y="461984"/>
                      </a:cubicBezTo>
                      <a:cubicBezTo>
                        <a:pt x="1428406" y="456917"/>
                        <a:pt x="1418235" y="453877"/>
                        <a:pt x="1415975" y="449824"/>
                      </a:cubicBezTo>
                      <a:cubicBezTo>
                        <a:pt x="1414845" y="447797"/>
                        <a:pt x="1417105" y="444757"/>
                        <a:pt x="1415975" y="442730"/>
                      </a:cubicBezTo>
                      <a:cubicBezTo>
                        <a:pt x="1414845" y="441717"/>
                        <a:pt x="1411454" y="441717"/>
                        <a:pt x="1410324" y="440703"/>
                      </a:cubicBezTo>
                      <a:cubicBezTo>
                        <a:pt x="1404674" y="427530"/>
                        <a:pt x="1402413" y="409289"/>
                        <a:pt x="1385461" y="406249"/>
                      </a:cubicBezTo>
                      <a:cubicBezTo>
                        <a:pt x="1377551" y="405236"/>
                        <a:pt x="1371900" y="411316"/>
                        <a:pt x="1369640" y="411316"/>
                      </a:cubicBezTo>
                      <a:cubicBezTo>
                        <a:pt x="1369640" y="411316"/>
                        <a:pt x="1369640" y="404223"/>
                        <a:pt x="1369640" y="404223"/>
                      </a:cubicBezTo>
                      <a:cubicBezTo>
                        <a:pt x="1366250" y="403209"/>
                        <a:pt x="1365119" y="399156"/>
                        <a:pt x="1363989" y="399156"/>
                      </a:cubicBezTo>
                      <a:cubicBezTo>
                        <a:pt x="1351558" y="395102"/>
                        <a:pt x="1348168" y="404223"/>
                        <a:pt x="1342517" y="406249"/>
                      </a:cubicBezTo>
                      <a:cubicBezTo>
                        <a:pt x="1340257" y="404223"/>
                        <a:pt x="1344777" y="400169"/>
                        <a:pt x="1344777" y="399156"/>
                      </a:cubicBezTo>
                      <a:cubicBezTo>
                        <a:pt x="1342517" y="397129"/>
                        <a:pt x="1335736" y="397129"/>
                        <a:pt x="1333476" y="394089"/>
                      </a:cubicBezTo>
                      <a:cubicBezTo>
                        <a:pt x="1332346" y="392062"/>
                        <a:pt x="1334606" y="389022"/>
                        <a:pt x="1333476" y="386996"/>
                      </a:cubicBezTo>
                      <a:lnTo>
                        <a:pt x="1317654" y="369769"/>
                      </a:lnTo>
                      <a:cubicBezTo>
                        <a:pt x="1316524" y="368755"/>
                        <a:pt x="1313134" y="371795"/>
                        <a:pt x="1312004" y="371795"/>
                      </a:cubicBezTo>
                      <a:cubicBezTo>
                        <a:pt x="1300703" y="361662"/>
                        <a:pt x="1288271" y="347475"/>
                        <a:pt x="1273580" y="340381"/>
                      </a:cubicBezTo>
                      <a:cubicBezTo>
                        <a:pt x="1267929" y="337341"/>
                        <a:pt x="1261148" y="338354"/>
                        <a:pt x="1254368" y="335314"/>
                      </a:cubicBezTo>
                      <a:cubicBezTo>
                        <a:pt x="1252108" y="334301"/>
                        <a:pt x="1245327" y="326194"/>
                        <a:pt x="1243067" y="325181"/>
                      </a:cubicBezTo>
                      <a:cubicBezTo>
                        <a:pt x="1227245" y="322141"/>
                        <a:pt x="1220464" y="327208"/>
                        <a:pt x="1204642" y="325181"/>
                      </a:cubicBezTo>
                      <a:cubicBezTo>
                        <a:pt x="1177520" y="321128"/>
                        <a:pt x="1179780" y="313020"/>
                        <a:pt x="1158308" y="320114"/>
                      </a:cubicBezTo>
                      <a:cubicBezTo>
                        <a:pt x="1153787" y="315047"/>
                        <a:pt x="1149267" y="304914"/>
                        <a:pt x="1142486" y="302887"/>
                      </a:cubicBezTo>
                      <a:cubicBezTo>
                        <a:pt x="1136835" y="300860"/>
                        <a:pt x="1130055" y="304914"/>
                        <a:pt x="1128925" y="304914"/>
                      </a:cubicBezTo>
                      <a:cubicBezTo>
                        <a:pt x="1126664" y="304914"/>
                        <a:pt x="1122144" y="303900"/>
                        <a:pt x="1117623" y="302887"/>
                      </a:cubicBezTo>
                      <a:cubicBezTo>
                        <a:pt x="1113103" y="310994"/>
                        <a:pt x="1109712" y="327208"/>
                        <a:pt x="1092761" y="325181"/>
                      </a:cubicBezTo>
                      <a:cubicBezTo>
                        <a:pt x="1084850" y="324167"/>
                        <a:pt x="1091630" y="310994"/>
                        <a:pt x="1092761" y="305927"/>
                      </a:cubicBezTo>
                      <a:cubicBezTo>
                        <a:pt x="1091630" y="305927"/>
                        <a:pt x="1082590" y="303900"/>
                        <a:pt x="1081459" y="303900"/>
                      </a:cubicBezTo>
                      <a:cubicBezTo>
                        <a:pt x="1082590" y="299847"/>
                        <a:pt x="1087110" y="297820"/>
                        <a:pt x="1087110" y="296807"/>
                      </a:cubicBezTo>
                      <a:cubicBezTo>
                        <a:pt x="1088240" y="291740"/>
                        <a:pt x="1083720" y="289713"/>
                        <a:pt x="1084850" y="286673"/>
                      </a:cubicBezTo>
                      <a:cubicBezTo>
                        <a:pt x="1080329" y="285660"/>
                        <a:pt x="1081459" y="288700"/>
                        <a:pt x="1079199" y="284647"/>
                      </a:cubicBezTo>
                      <a:lnTo>
                        <a:pt x="1073549" y="284647"/>
                      </a:lnTo>
                      <a:cubicBezTo>
                        <a:pt x="1072419" y="282620"/>
                        <a:pt x="1074679" y="277553"/>
                        <a:pt x="1075809" y="274513"/>
                      </a:cubicBezTo>
                      <a:cubicBezTo>
                        <a:pt x="1072419" y="273500"/>
                        <a:pt x="1072419" y="270460"/>
                        <a:pt x="1070158" y="267419"/>
                      </a:cubicBezTo>
                      <a:cubicBezTo>
                        <a:pt x="1066768" y="268433"/>
                        <a:pt x="1059987" y="266406"/>
                        <a:pt x="1056597" y="267419"/>
                      </a:cubicBezTo>
                      <a:cubicBezTo>
                        <a:pt x="1054337" y="268433"/>
                        <a:pt x="1050946" y="275526"/>
                        <a:pt x="1048686" y="277553"/>
                      </a:cubicBezTo>
                      <a:cubicBezTo>
                        <a:pt x="1049816" y="271473"/>
                        <a:pt x="1052076" y="268433"/>
                        <a:pt x="1054337" y="263366"/>
                      </a:cubicBezTo>
                      <a:cubicBezTo>
                        <a:pt x="1045296" y="261340"/>
                        <a:pt x="1043035" y="259313"/>
                        <a:pt x="1032864" y="256273"/>
                      </a:cubicBezTo>
                      <a:cubicBezTo>
                        <a:pt x="1032864" y="256273"/>
                        <a:pt x="1032864" y="249179"/>
                        <a:pt x="1032864" y="249179"/>
                      </a:cubicBezTo>
                      <a:cubicBezTo>
                        <a:pt x="1027214" y="247152"/>
                        <a:pt x="1027214" y="253232"/>
                        <a:pt x="1019303" y="251206"/>
                      </a:cubicBezTo>
                      <a:cubicBezTo>
                        <a:pt x="1014782" y="250193"/>
                        <a:pt x="1006871" y="239046"/>
                        <a:pt x="1003481" y="237019"/>
                      </a:cubicBezTo>
                      <a:lnTo>
                        <a:pt x="995570" y="231952"/>
                      </a:lnTo>
                      <a:cubicBezTo>
                        <a:pt x="968447" y="225872"/>
                        <a:pt x="959407" y="245126"/>
                        <a:pt x="943585" y="251206"/>
                      </a:cubicBezTo>
                      <a:cubicBezTo>
                        <a:pt x="946975" y="254246"/>
                        <a:pt x="949236" y="259313"/>
                        <a:pt x="951496" y="263366"/>
                      </a:cubicBezTo>
                      <a:cubicBezTo>
                        <a:pt x="946975" y="265393"/>
                        <a:pt x="942455" y="261340"/>
                        <a:pt x="937934" y="263366"/>
                      </a:cubicBezTo>
                      <a:lnTo>
                        <a:pt x="924373" y="277553"/>
                      </a:lnTo>
                      <a:cubicBezTo>
                        <a:pt x="935674" y="277553"/>
                        <a:pt x="905161" y="284647"/>
                        <a:pt x="918722" y="277553"/>
                      </a:cubicBezTo>
                      <a:cubicBezTo>
                        <a:pt x="901770" y="277553"/>
                        <a:pt x="891599" y="277553"/>
                        <a:pt x="875778" y="282620"/>
                      </a:cubicBezTo>
                      <a:cubicBezTo>
                        <a:pt x="871257" y="277553"/>
                        <a:pt x="870127" y="273500"/>
                        <a:pt x="864477" y="268433"/>
                      </a:cubicBezTo>
                      <a:cubicBezTo>
                        <a:pt x="879168" y="278566"/>
                        <a:pt x="874648" y="278566"/>
                        <a:pt x="893859" y="273500"/>
                      </a:cubicBezTo>
                      <a:cubicBezTo>
                        <a:pt x="893859" y="273500"/>
                        <a:pt x="907421" y="275526"/>
                        <a:pt x="913072" y="275526"/>
                      </a:cubicBezTo>
                      <a:cubicBezTo>
                        <a:pt x="913072" y="274513"/>
                        <a:pt x="915332" y="270460"/>
                        <a:pt x="915332" y="270460"/>
                      </a:cubicBezTo>
                      <a:cubicBezTo>
                        <a:pt x="919852" y="268433"/>
                        <a:pt x="920983" y="269446"/>
                        <a:pt x="926633" y="268433"/>
                      </a:cubicBezTo>
                      <a:lnTo>
                        <a:pt x="926633" y="263366"/>
                      </a:lnTo>
                      <a:cubicBezTo>
                        <a:pt x="927763" y="262353"/>
                        <a:pt x="933414" y="262353"/>
                        <a:pt x="934544" y="261340"/>
                      </a:cubicBezTo>
                      <a:cubicBezTo>
                        <a:pt x="937934" y="257286"/>
                        <a:pt x="934544" y="254246"/>
                        <a:pt x="936804" y="249179"/>
                      </a:cubicBezTo>
                      <a:lnTo>
                        <a:pt x="942455" y="247152"/>
                      </a:lnTo>
                      <a:cubicBezTo>
                        <a:pt x="943585" y="239046"/>
                        <a:pt x="941325" y="234992"/>
                        <a:pt x="940194" y="227899"/>
                      </a:cubicBezTo>
                      <a:cubicBezTo>
                        <a:pt x="948105" y="227899"/>
                        <a:pt x="940194" y="214725"/>
                        <a:pt x="940194" y="215738"/>
                      </a:cubicBezTo>
                      <a:lnTo>
                        <a:pt x="940194" y="213712"/>
                      </a:lnTo>
                      <a:cubicBezTo>
                        <a:pt x="927763" y="214725"/>
                        <a:pt x="924373" y="214725"/>
                        <a:pt x="913072" y="213712"/>
                      </a:cubicBezTo>
                      <a:cubicBezTo>
                        <a:pt x="918722" y="213712"/>
                        <a:pt x="919852" y="199525"/>
                        <a:pt x="913072" y="199525"/>
                      </a:cubicBezTo>
                      <a:cubicBezTo>
                        <a:pt x="894990" y="197498"/>
                        <a:pt x="893859" y="212698"/>
                        <a:pt x="885949" y="216752"/>
                      </a:cubicBezTo>
                      <a:cubicBezTo>
                        <a:pt x="881428" y="218778"/>
                        <a:pt x="874648" y="217765"/>
                        <a:pt x="872387" y="221818"/>
                      </a:cubicBezTo>
                      <a:cubicBezTo>
                        <a:pt x="870127" y="224859"/>
                        <a:pt x="872387" y="229925"/>
                        <a:pt x="870127" y="233979"/>
                      </a:cubicBezTo>
                      <a:cubicBezTo>
                        <a:pt x="868997" y="236006"/>
                        <a:pt x="859956" y="236006"/>
                        <a:pt x="858826" y="239046"/>
                      </a:cubicBezTo>
                      <a:cubicBezTo>
                        <a:pt x="855435" y="249179"/>
                        <a:pt x="859956" y="258299"/>
                        <a:pt x="861086" y="265393"/>
                      </a:cubicBezTo>
                      <a:lnTo>
                        <a:pt x="855435" y="260326"/>
                      </a:lnTo>
                      <a:cubicBezTo>
                        <a:pt x="849785" y="241072"/>
                        <a:pt x="849785" y="252219"/>
                        <a:pt x="839614" y="258299"/>
                      </a:cubicBezTo>
                      <a:cubicBezTo>
                        <a:pt x="837353" y="259313"/>
                        <a:pt x="832833" y="258299"/>
                        <a:pt x="831703" y="260326"/>
                      </a:cubicBezTo>
                      <a:cubicBezTo>
                        <a:pt x="829443" y="263366"/>
                        <a:pt x="835093" y="279580"/>
                        <a:pt x="831703" y="289713"/>
                      </a:cubicBezTo>
                      <a:cubicBezTo>
                        <a:pt x="830573" y="291740"/>
                        <a:pt x="824922" y="296807"/>
                        <a:pt x="823792" y="299847"/>
                      </a:cubicBezTo>
                      <a:cubicBezTo>
                        <a:pt x="820402" y="307954"/>
                        <a:pt x="826052" y="289713"/>
                        <a:pt x="826052" y="289713"/>
                      </a:cubicBezTo>
                      <a:cubicBezTo>
                        <a:pt x="827182" y="280593"/>
                        <a:pt x="823792" y="267419"/>
                        <a:pt x="823792" y="263366"/>
                      </a:cubicBezTo>
                      <a:cubicBezTo>
                        <a:pt x="823792" y="263366"/>
                        <a:pt x="823792" y="256273"/>
                        <a:pt x="823792" y="256273"/>
                      </a:cubicBezTo>
                      <a:cubicBezTo>
                        <a:pt x="819272" y="257286"/>
                        <a:pt x="814751" y="255259"/>
                        <a:pt x="810231" y="256273"/>
                      </a:cubicBezTo>
                      <a:cubicBezTo>
                        <a:pt x="803450" y="257286"/>
                        <a:pt x="795539" y="266406"/>
                        <a:pt x="788758" y="268433"/>
                      </a:cubicBezTo>
                      <a:cubicBezTo>
                        <a:pt x="780847" y="270460"/>
                        <a:pt x="774067" y="269446"/>
                        <a:pt x="767286" y="270460"/>
                      </a:cubicBezTo>
                      <a:cubicBezTo>
                        <a:pt x="779718" y="267419"/>
                        <a:pt x="797799" y="256273"/>
                        <a:pt x="807971" y="253232"/>
                      </a:cubicBezTo>
                      <a:cubicBezTo>
                        <a:pt x="810231" y="252219"/>
                        <a:pt x="817011" y="254246"/>
                        <a:pt x="819272" y="253232"/>
                      </a:cubicBezTo>
                      <a:cubicBezTo>
                        <a:pt x="823792" y="250193"/>
                        <a:pt x="821532" y="239046"/>
                        <a:pt x="824922" y="233979"/>
                      </a:cubicBezTo>
                      <a:cubicBezTo>
                        <a:pt x="827182" y="229925"/>
                        <a:pt x="837353" y="222832"/>
                        <a:pt x="838484" y="216752"/>
                      </a:cubicBezTo>
                      <a:cubicBezTo>
                        <a:pt x="838484" y="214725"/>
                        <a:pt x="837353" y="210672"/>
                        <a:pt x="838484" y="209658"/>
                      </a:cubicBezTo>
                      <a:cubicBezTo>
                        <a:pt x="840744" y="205605"/>
                        <a:pt x="850915" y="203578"/>
                        <a:pt x="854305" y="199525"/>
                      </a:cubicBezTo>
                      <a:cubicBezTo>
                        <a:pt x="856566" y="196484"/>
                        <a:pt x="857696" y="188378"/>
                        <a:pt x="862216" y="187364"/>
                      </a:cubicBezTo>
                      <a:cubicBezTo>
                        <a:pt x="866737" y="186351"/>
                        <a:pt x="865606" y="193444"/>
                        <a:pt x="862216" y="194458"/>
                      </a:cubicBezTo>
                      <a:cubicBezTo>
                        <a:pt x="863346" y="195471"/>
                        <a:pt x="862216" y="200538"/>
                        <a:pt x="864477" y="206618"/>
                      </a:cubicBezTo>
                      <a:cubicBezTo>
                        <a:pt x="870127" y="206618"/>
                        <a:pt x="890469" y="210672"/>
                        <a:pt x="885949" y="201551"/>
                      </a:cubicBezTo>
                      <a:cubicBezTo>
                        <a:pt x="884819" y="198511"/>
                        <a:pt x="883688" y="197498"/>
                        <a:pt x="880298" y="196484"/>
                      </a:cubicBezTo>
                      <a:cubicBezTo>
                        <a:pt x="880298" y="193444"/>
                        <a:pt x="881428" y="187364"/>
                        <a:pt x="880298" y="184324"/>
                      </a:cubicBezTo>
                      <a:lnTo>
                        <a:pt x="888209" y="186351"/>
                      </a:lnTo>
                      <a:cubicBezTo>
                        <a:pt x="890469" y="179258"/>
                        <a:pt x="891599" y="172164"/>
                        <a:pt x="893859" y="164057"/>
                      </a:cubicBezTo>
                      <a:cubicBezTo>
                        <a:pt x="890469" y="165071"/>
                        <a:pt x="885949" y="163044"/>
                        <a:pt x="882558" y="164057"/>
                      </a:cubicBezTo>
                      <a:cubicBezTo>
                        <a:pt x="881428" y="164057"/>
                        <a:pt x="876908" y="170137"/>
                        <a:pt x="874648" y="171151"/>
                      </a:cubicBezTo>
                      <a:cubicBezTo>
                        <a:pt x="875778" y="174191"/>
                        <a:pt x="879168" y="174191"/>
                        <a:pt x="876908" y="178244"/>
                      </a:cubicBezTo>
                      <a:cubicBezTo>
                        <a:pt x="874648" y="178244"/>
                        <a:pt x="867867" y="177231"/>
                        <a:pt x="865606" y="178244"/>
                      </a:cubicBezTo>
                      <a:cubicBezTo>
                        <a:pt x="874648" y="162030"/>
                        <a:pt x="882558" y="163044"/>
                        <a:pt x="865606" y="151897"/>
                      </a:cubicBezTo>
                      <a:cubicBezTo>
                        <a:pt x="887079" y="143790"/>
                        <a:pt x="879168" y="148857"/>
                        <a:pt x="887079" y="129603"/>
                      </a:cubicBezTo>
                      <a:cubicBezTo>
                        <a:pt x="880298" y="129603"/>
                        <a:pt x="870127" y="128590"/>
                        <a:pt x="862216" y="129603"/>
                      </a:cubicBezTo>
                      <a:cubicBezTo>
                        <a:pt x="863346" y="122510"/>
                        <a:pt x="866737" y="111363"/>
                        <a:pt x="862216" y="103256"/>
                      </a:cubicBezTo>
                      <a:cubicBezTo>
                        <a:pt x="861086" y="101229"/>
                        <a:pt x="854305" y="98189"/>
                        <a:pt x="854305" y="96162"/>
                      </a:cubicBezTo>
                      <a:cubicBezTo>
                        <a:pt x="852045" y="87042"/>
                        <a:pt x="857696" y="81975"/>
                        <a:pt x="854305" y="71842"/>
                      </a:cubicBezTo>
                      <a:cubicBezTo>
                        <a:pt x="852045" y="65761"/>
                        <a:pt x="843004" y="56641"/>
                        <a:pt x="840744" y="49548"/>
                      </a:cubicBezTo>
                      <a:cubicBezTo>
                        <a:pt x="839614" y="46508"/>
                        <a:pt x="841874" y="42454"/>
                        <a:pt x="840744" y="39414"/>
                      </a:cubicBezTo>
                      <a:cubicBezTo>
                        <a:pt x="839614" y="37388"/>
                        <a:pt x="831703" y="36374"/>
                        <a:pt x="829443" y="34347"/>
                      </a:cubicBezTo>
                      <a:lnTo>
                        <a:pt x="814751" y="60695"/>
                      </a:lnTo>
                      <a:lnTo>
                        <a:pt x="807971" y="80962"/>
                      </a:lnTo>
                      <a:cubicBezTo>
                        <a:pt x="807971" y="80962"/>
                        <a:pt x="803450" y="110349"/>
                        <a:pt x="802320" y="116429"/>
                      </a:cubicBezTo>
                      <a:cubicBezTo>
                        <a:pt x="801190" y="122510"/>
                        <a:pt x="779718" y="142777"/>
                        <a:pt x="779718" y="142777"/>
                      </a:cubicBezTo>
                      <a:lnTo>
                        <a:pt x="766156" y="134670"/>
                      </a:lnTo>
                      <a:lnTo>
                        <a:pt x="746944" y="136696"/>
                      </a:lnTo>
                      <a:cubicBezTo>
                        <a:pt x="746944" y="136696"/>
                        <a:pt x="735643" y="147843"/>
                        <a:pt x="726602" y="142777"/>
                      </a:cubicBezTo>
                      <a:cubicBezTo>
                        <a:pt x="717561" y="137710"/>
                        <a:pt x="715301" y="124536"/>
                        <a:pt x="715301" y="124536"/>
                      </a:cubicBezTo>
                      <a:lnTo>
                        <a:pt x="698349" y="124536"/>
                      </a:lnTo>
                      <a:lnTo>
                        <a:pt x="692698" y="116429"/>
                      </a:lnTo>
                      <a:lnTo>
                        <a:pt x="682527" y="122510"/>
                      </a:lnTo>
                      <a:lnTo>
                        <a:pt x="658795" y="114403"/>
                      </a:lnTo>
                      <a:lnTo>
                        <a:pt x="653144" y="132643"/>
                      </a:lnTo>
                      <a:lnTo>
                        <a:pt x="665575" y="140750"/>
                      </a:lnTo>
                      <a:lnTo>
                        <a:pt x="655404" y="154937"/>
                      </a:lnTo>
                      <a:lnTo>
                        <a:pt x="632802" y="146830"/>
                      </a:lnTo>
                      <a:lnTo>
                        <a:pt x="616980" y="149870"/>
                      </a:lnTo>
                      <a:cubicBezTo>
                        <a:pt x="616980" y="149870"/>
                        <a:pt x="607939" y="153924"/>
                        <a:pt x="598899" y="148857"/>
                      </a:cubicBezTo>
                      <a:cubicBezTo>
                        <a:pt x="588727" y="143790"/>
                        <a:pt x="593248" y="156964"/>
                        <a:pt x="584207" y="154937"/>
                      </a:cubicBezTo>
                      <a:cubicBezTo>
                        <a:pt x="575166" y="153924"/>
                        <a:pt x="579686" y="168111"/>
                        <a:pt x="572906" y="165071"/>
                      </a:cubicBezTo>
                      <a:cubicBezTo>
                        <a:pt x="566125" y="162030"/>
                        <a:pt x="562735" y="176217"/>
                        <a:pt x="557084" y="176217"/>
                      </a:cubicBezTo>
                      <a:cubicBezTo>
                        <a:pt x="551433" y="176217"/>
                        <a:pt x="542393" y="172164"/>
                        <a:pt x="542393" y="166084"/>
                      </a:cubicBezTo>
                      <a:cubicBezTo>
                        <a:pt x="542393" y="160004"/>
                        <a:pt x="529961" y="157977"/>
                        <a:pt x="525441" y="152910"/>
                      </a:cubicBezTo>
                      <a:cubicBezTo>
                        <a:pt x="520920" y="147843"/>
                        <a:pt x="510749" y="142777"/>
                        <a:pt x="515269" y="132643"/>
                      </a:cubicBezTo>
                      <a:cubicBezTo>
                        <a:pt x="519790" y="122510"/>
                        <a:pt x="516400" y="82989"/>
                        <a:pt x="516400" y="82989"/>
                      </a:cubicBezTo>
                      <a:cubicBezTo>
                        <a:pt x="516400" y="82989"/>
                        <a:pt x="528831" y="76908"/>
                        <a:pt x="536742" y="69815"/>
                      </a:cubicBezTo>
                      <a:cubicBezTo>
                        <a:pt x="543522" y="63735"/>
                        <a:pt x="542393" y="61708"/>
                        <a:pt x="536742" y="55628"/>
                      </a:cubicBezTo>
                      <a:cubicBezTo>
                        <a:pt x="531091" y="49548"/>
                        <a:pt x="542393" y="42454"/>
                        <a:pt x="536742" y="41441"/>
                      </a:cubicBezTo>
                      <a:cubicBezTo>
                        <a:pt x="531091" y="40428"/>
                        <a:pt x="518660" y="33334"/>
                        <a:pt x="518660" y="33334"/>
                      </a:cubicBezTo>
                      <a:lnTo>
                        <a:pt x="529961" y="23201"/>
                      </a:lnTo>
                      <a:cubicBezTo>
                        <a:pt x="529961" y="23201"/>
                        <a:pt x="528831" y="12054"/>
                        <a:pt x="520920" y="14080"/>
                      </a:cubicBezTo>
                      <a:cubicBezTo>
                        <a:pt x="513009" y="16107"/>
                        <a:pt x="493797" y="9013"/>
                        <a:pt x="493797" y="9013"/>
                      </a:cubicBezTo>
                      <a:lnTo>
                        <a:pt x="494927" y="19147"/>
                      </a:lnTo>
                      <a:lnTo>
                        <a:pt x="490407" y="29281"/>
                      </a:lnTo>
                      <a:cubicBezTo>
                        <a:pt x="490407" y="29281"/>
                        <a:pt x="480236" y="32321"/>
                        <a:pt x="473455" y="32321"/>
                      </a:cubicBezTo>
                      <a:cubicBezTo>
                        <a:pt x="466674" y="32321"/>
                        <a:pt x="466674" y="45494"/>
                        <a:pt x="457634" y="46508"/>
                      </a:cubicBezTo>
                      <a:cubicBezTo>
                        <a:pt x="448592" y="47521"/>
                        <a:pt x="451983" y="55628"/>
                        <a:pt x="441812" y="55628"/>
                      </a:cubicBezTo>
                      <a:cubicBezTo>
                        <a:pt x="431641" y="55628"/>
                        <a:pt x="421470" y="52588"/>
                        <a:pt x="421470" y="52588"/>
                      </a:cubicBezTo>
                      <a:cubicBezTo>
                        <a:pt x="421470" y="52588"/>
                        <a:pt x="414689" y="51575"/>
                        <a:pt x="410168" y="57655"/>
                      </a:cubicBezTo>
                      <a:cubicBezTo>
                        <a:pt x="405648" y="63735"/>
                        <a:pt x="414689" y="66775"/>
                        <a:pt x="414689" y="66775"/>
                      </a:cubicBezTo>
                      <a:cubicBezTo>
                        <a:pt x="414689" y="66775"/>
                        <a:pt x="397737" y="66775"/>
                        <a:pt x="392086" y="61708"/>
                      </a:cubicBezTo>
                      <a:cubicBezTo>
                        <a:pt x="386436" y="56641"/>
                        <a:pt x="369484" y="56641"/>
                        <a:pt x="369484" y="56641"/>
                      </a:cubicBezTo>
                      <a:cubicBezTo>
                        <a:pt x="369484" y="56641"/>
                        <a:pt x="358183" y="50561"/>
                        <a:pt x="343491" y="48535"/>
                      </a:cubicBezTo>
                      <a:cubicBezTo>
                        <a:pt x="328800" y="47521"/>
                        <a:pt x="332190" y="51575"/>
                        <a:pt x="338971" y="53601"/>
                      </a:cubicBezTo>
                      <a:cubicBezTo>
                        <a:pt x="345751" y="56641"/>
                        <a:pt x="338971" y="62722"/>
                        <a:pt x="345751" y="71842"/>
                      </a:cubicBezTo>
                      <a:cubicBezTo>
                        <a:pt x="352532" y="80962"/>
                        <a:pt x="354793" y="82989"/>
                        <a:pt x="355923" y="88055"/>
                      </a:cubicBezTo>
                      <a:cubicBezTo>
                        <a:pt x="357053" y="93122"/>
                        <a:pt x="349142" y="107309"/>
                        <a:pt x="351402" y="114403"/>
                      </a:cubicBezTo>
                      <a:cubicBezTo>
                        <a:pt x="353662" y="121496"/>
                        <a:pt x="360443" y="123523"/>
                        <a:pt x="366094" y="127576"/>
                      </a:cubicBezTo>
                      <a:cubicBezTo>
                        <a:pt x="371744" y="131630"/>
                        <a:pt x="381915" y="126563"/>
                        <a:pt x="392086" y="123523"/>
                      </a:cubicBezTo>
                      <a:cubicBezTo>
                        <a:pt x="402257" y="120483"/>
                        <a:pt x="404518" y="133657"/>
                        <a:pt x="404518" y="133657"/>
                      </a:cubicBezTo>
                      <a:cubicBezTo>
                        <a:pt x="404518" y="133657"/>
                        <a:pt x="399997" y="138723"/>
                        <a:pt x="392086" y="138723"/>
                      </a:cubicBezTo>
                      <a:cubicBezTo>
                        <a:pt x="383046" y="138723"/>
                        <a:pt x="379655" y="158990"/>
                        <a:pt x="371744" y="158990"/>
                      </a:cubicBezTo>
                      <a:cubicBezTo>
                        <a:pt x="364964" y="158990"/>
                        <a:pt x="361573" y="167097"/>
                        <a:pt x="353662" y="167097"/>
                      </a:cubicBezTo>
                      <a:cubicBezTo>
                        <a:pt x="345751" y="167097"/>
                        <a:pt x="343491" y="182298"/>
                        <a:pt x="333320" y="182298"/>
                      </a:cubicBezTo>
                      <a:cubicBezTo>
                        <a:pt x="323149" y="182298"/>
                        <a:pt x="310718" y="192431"/>
                        <a:pt x="310718" y="192431"/>
                      </a:cubicBezTo>
                      <a:lnTo>
                        <a:pt x="292636" y="181284"/>
                      </a:lnTo>
                      <a:lnTo>
                        <a:pt x="281335" y="178244"/>
                      </a:lnTo>
                      <a:lnTo>
                        <a:pt x="277944" y="163044"/>
                      </a:lnTo>
                      <a:lnTo>
                        <a:pt x="265513" y="162030"/>
                      </a:lnTo>
                      <a:lnTo>
                        <a:pt x="260992" y="177231"/>
                      </a:lnTo>
                      <a:lnTo>
                        <a:pt x="248561" y="181284"/>
                      </a:lnTo>
                      <a:lnTo>
                        <a:pt x="237260" y="173177"/>
                      </a:lnTo>
                      <a:lnTo>
                        <a:pt x="236130" y="183311"/>
                      </a:lnTo>
                      <a:cubicBezTo>
                        <a:pt x="236130" y="183311"/>
                        <a:pt x="210137" y="184324"/>
                        <a:pt x="201096" y="184324"/>
                      </a:cubicBezTo>
                      <a:cubicBezTo>
                        <a:pt x="190925" y="184324"/>
                        <a:pt x="177364" y="178244"/>
                        <a:pt x="177364" y="178244"/>
                      </a:cubicBezTo>
                      <a:lnTo>
                        <a:pt x="176233" y="192431"/>
                      </a:lnTo>
                      <a:lnTo>
                        <a:pt x="194315" y="194458"/>
                      </a:lnTo>
                      <a:lnTo>
                        <a:pt x="190925" y="199525"/>
                      </a:lnTo>
                      <a:lnTo>
                        <a:pt x="170583" y="199525"/>
                      </a:lnTo>
                      <a:lnTo>
                        <a:pt x="167193" y="215738"/>
                      </a:lnTo>
                      <a:lnTo>
                        <a:pt x="177364" y="221818"/>
                      </a:lnTo>
                      <a:cubicBezTo>
                        <a:pt x="177364" y="221818"/>
                        <a:pt x="189795" y="246139"/>
                        <a:pt x="192055" y="250193"/>
                      </a:cubicBezTo>
                      <a:cubicBezTo>
                        <a:pt x="197706" y="260326"/>
                        <a:pt x="186405" y="273500"/>
                        <a:pt x="185275" y="280593"/>
                      </a:cubicBezTo>
                      <a:cubicBezTo>
                        <a:pt x="184144" y="287687"/>
                        <a:pt x="146851" y="370782"/>
                        <a:pt x="146851" y="370782"/>
                      </a:cubicBezTo>
                      <a:cubicBezTo>
                        <a:pt x="146851" y="370782"/>
                        <a:pt x="145720" y="381929"/>
                        <a:pt x="135549" y="381929"/>
                      </a:cubicBezTo>
                      <a:cubicBezTo>
                        <a:pt x="125378" y="381929"/>
                        <a:pt x="115207" y="381929"/>
                        <a:pt x="107296" y="384969"/>
                      </a:cubicBezTo>
                      <a:cubicBezTo>
                        <a:pt x="99385" y="388009"/>
                        <a:pt x="84694" y="389022"/>
                        <a:pt x="75653" y="396116"/>
                      </a:cubicBezTo>
                      <a:cubicBezTo>
                        <a:pt x="66612" y="403209"/>
                        <a:pt x="49660" y="409289"/>
                        <a:pt x="46270" y="416383"/>
                      </a:cubicBezTo>
                      <a:cubicBezTo>
                        <a:pt x="42879" y="423477"/>
                        <a:pt x="42879" y="435637"/>
                        <a:pt x="37229" y="444757"/>
                      </a:cubicBezTo>
                      <a:cubicBezTo>
                        <a:pt x="31578" y="453877"/>
                        <a:pt x="27058" y="457931"/>
                        <a:pt x="25928" y="466037"/>
                      </a:cubicBezTo>
                      <a:cubicBezTo>
                        <a:pt x="24798" y="474144"/>
                        <a:pt x="25928" y="482251"/>
                        <a:pt x="25928" y="482251"/>
                      </a:cubicBezTo>
                      <a:cubicBezTo>
                        <a:pt x="25928" y="482251"/>
                        <a:pt x="8976" y="476171"/>
                        <a:pt x="10106" y="482251"/>
                      </a:cubicBezTo>
                      <a:cubicBezTo>
                        <a:pt x="11236" y="488331"/>
                        <a:pt x="11236" y="503532"/>
                        <a:pt x="16887" y="505558"/>
                      </a:cubicBezTo>
                      <a:cubicBezTo>
                        <a:pt x="22537" y="506572"/>
                        <a:pt x="22537" y="521772"/>
                        <a:pt x="22537" y="521772"/>
                      </a:cubicBezTo>
                      <a:lnTo>
                        <a:pt x="16887" y="536972"/>
                      </a:lnTo>
                      <a:cubicBezTo>
                        <a:pt x="16887" y="536972"/>
                        <a:pt x="34969" y="543053"/>
                        <a:pt x="38359" y="552173"/>
                      </a:cubicBezTo>
                      <a:cubicBezTo>
                        <a:pt x="41749" y="561293"/>
                        <a:pt x="62092" y="566360"/>
                        <a:pt x="62092" y="573453"/>
                      </a:cubicBezTo>
                      <a:cubicBezTo>
                        <a:pt x="62092" y="580547"/>
                        <a:pt x="68872" y="587640"/>
                        <a:pt x="68872" y="587640"/>
                      </a:cubicBezTo>
                      <a:lnTo>
                        <a:pt x="101646" y="587640"/>
                      </a:lnTo>
                      <a:cubicBezTo>
                        <a:pt x="101646" y="587640"/>
                        <a:pt x="119727" y="578520"/>
                        <a:pt x="128769" y="572440"/>
                      </a:cubicBezTo>
                      <a:cubicBezTo>
                        <a:pt x="137809" y="566360"/>
                        <a:pt x="134419" y="580547"/>
                        <a:pt x="134419" y="580547"/>
                      </a:cubicBezTo>
                      <a:lnTo>
                        <a:pt x="144590" y="679856"/>
                      </a:lnTo>
                      <a:lnTo>
                        <a:pt x="184144" y="691003"/>
                      </a:lnTo>
                      <a:cubicBezTo>
                        <a:pt x="184144" y="691003"/>
                        <a:pt x="194315" y="687963"/>
                        <a:pt x="201096" y="694043"/>
                      </a:cubicBezTo>
                      <a:cubicBezTo>
                        <a:pt x="207877" y="700123"/>
                        <a:pt x="227089" y="691003"/>
                        <a:pt x="222568" y="685936"/>
                      </a:cubicBezTo>
                      <a:cubicBezTo>
                        <a:pt x="218048" y="680869"/>
                        <a:pt x="228219" y="676816"/>
                        <a:pt x="228219" y="676816"/>
                      </a:cubicBezTo>
                      <a:lnTo>
                        <a:pt x="239520" y="673776"/>
                      </a:lnTo>
                      <a:cubicBezTo>
                        <a:pt x="239520" y="673776"/>
                        <a:pt x="263253" y="638308"/>
                        <a:pt x="277944" y="636282"/>
                      </a:cubicBezTo>
                      <a:cubicBezTo>
                        <a:pt x="292636" y="633241"/>
                        <a:pt x="310718" y="626148"/>
                        <a:pt x="320889" y="626148"/>
                      </a:cubicBezTo>
                      <a:lnTo>
                        <a:pt x="336711" y="626148"/>
                      </a:lnTo>
                      <a:lnTo>
                        <a:pt x="343491" y="635268"/>
                      </a:lnTo>
                      <a:cubicBezTo>
                        <a:pt x="343491" y="635268"/>
                        <a:pt x="326540" y="659589"/>
                        <a:pt x="331060" y="667695"/>
                      </a:cubicBezTo>
                      <a:cubicBezTo>
                        <a:pt x="335580" y="675802"/>
                        <a:pt x="340101" y="683909"/>
                        <a:pt x="346882" y="686949"/>
                      </a:cubicBezTo>
                      <a:cubicBezTo>
                        <a:pt x="353662" y="689989"/>
                        <a:pt x="357053" y="691003"/>
                        <a:pt x="364964" y="692016"/>
                      </a:cubicBezTo>
                      <a:cubicBezTo>
                        <a:pt x="372875" y="693029"/>
                        <a:pt x="379655" y="680869"/>
                        <a:pt x="388696" y="691003"/>
                      </a:cubicBezTo>
                      <a:cubicBezTo>
                        <a:pt x="398867" y="701136"/>
                        <a:pt x="404518" y="706203"/>
                        <a:pt x="415819" y="711270"/>
                      </a:cubicBezTo>
                      <a:cubicBezTo>
                        <a:pt x="427120" y="716337"/>
                        <a:pt x="425990" y="720390"/>
                        <a:pt x="433901" y="725457"/>
                      </a:cubicBezTo>
                      <a:cubicBezTo>
                        <a:pt x="442942" y="730524"/>
                        <a:pt x="446332" y="739644"/>
                        <a:pt x="459894" y="739644"/>
                      </a:cubicBezTo>
                      <a:cubicBezTo>
                        <a:pt x="472325" y="739644"/>
                        <a:pt x="477976" y="745724"/>
                        <a:pt x="488147" y="745724"/>
                      </a:cubicBezTo>
                      <a:cubicBezTo>
                        <a:pt x="498318" y="745724"/>
                        <a:pt x="505098" y="739644"/>
                        <a:pt x="510749" y="745724"/>
                      </a:cubicBezTo>
                      <a:cubicBezTo>
                        <a:pt x="516400" y="751804"/>
                        <a:pt x="517530" y="764978"/>
                        <a:pt x="522050" y="774098"/>
                      </a:cubicBezTo>
                      <a:cubicBezTo>
                        <a:pt x="526571" y="783218"/>
                        <a:pt x="531091" y="794365"/>
                        <a:pt x="531091" y="794365"/>
                      </a:cubicBezTo>
                      <a:cubicBezTo>
                        <a:pt x="531091" y="794365"/>
                        <a:pt x="522050" y="803485"/>
                        <a:pt x="518660" y="810579"/>
                      </a:cubicBezTo>
                      <a:cubicBezTo>
                        <a:pt x="514140" y="818686"/>
                        <a:pt x="518660" y="825779"/>
                        <a:pt x="525441" y="835913"/>
                      </a:cubicBezTo>
                      <a:cubicBezTo>
                        <a:pt x="532221" y="846046"/>
                        <a:pt x="531091" y="854153"/>
                        <a:pt x="531091" y="854153"/>
                      </a:cubicBezTo>
                      <a:lnTo>
                        <a:pt x="585337" y="851113"/>
                      </a:lnTo>
                      <a:cubicBezTo>
                        <a:pt x="585337" y="851113"/>
                        <a:pt x="579686" y="861247"/>
                        <a:pt x="581947" y="871380"/>
                      </a:cubicBezTo>
                      <a:cubicBezTo>
                        <a:pt x="584207" y="881514"/>
                        <a:pt x="585337" y="887594"/>
                        <a:pt x="594378" y="894688"/>
                      </a:cubicBezTo>
                      <a:cubicBezTo>
                        <a:pt x="603419" y="901781"/>
                        <a:pt x="606809" y="905834"/>
                        <a:pt x="611330" y="913941"/>
                      </a:cubicBezTo>
                      <a:cubicBezTo>
                        <a:pt x="615850" y="922048"/>
                        <a:pt x="611330" y="923061"/>
                        <a:pt x="611330" y="933195"/>
                      </a:cubicBezTo>
                      <a:cubicBezTo>
                        <a:pt x="611330" y="943329"/>
                        <a:pt x="600028" y="974743"/>
                        <a:pt x="600028" y="974743"/>
                      </a:cubicBezTo>
                      <a:lnTo>
                        <a:pt x="609070" y="984876"/>
                      </a:lnTo>
                      <a:lnTo>
                        <a:pt x="597768" y="989943"/>
                      </a:lnTo>
                      <a:lnTo>
                        <a:pt x="603419" y="997036"/>
                      </a:lnTo>
                      <a:cubicBezTo>
                        <a:pt x="603419" y="997036"/>
                        <a:pt x="606809" y="1003117"/>
                        <a:pt x="612460" y="1010210"/>
                      </a:cubicBezTo>
                      <a:cubicBezTo>
                        <a:pt x="618110" y="1017303"/>
                        <a:pt x="616980" y="1028450"/>
                        <a:pt x="613590" y="1040611"/>
                      </a:cubicBezTo>
                      <a:cubicBezTo>
                        <a:pt x="610200" y="1052771"/>
                        <a:pt x="620371" y="1058851"/>
                        <a:pt x="619241" y="1066958"/>
                      </a:cubicBezTo>
                      <a:cubicBezTo>
                        <a:pt x="618110" y="1075065"/>
                        <a:pt x="658795" y="1076078"/>
                        <a:pt x="658795" y="1076078"/>
                      </a:cubicBezTo>
                      <a:lnTo>
                        <a:pt x="668966" y="1071012"/>
                      </a:lnTo>
                      <a:lnTo>
                        <a:pt x="674616" y="1079118"/>
                      </a:lnTo>
                      <a:cubicBezTo>
                        <a:pt x="674616" y="1079118"/>
                        <a:pt x="673486" y="1089252"/>
                        <a:pt x="684787" y="1090265"/>
                      </a:cubicBezTo>
                      <a:cubicBezTo>
                        <a:pt x="696089" y="1091279"/>
                        <a:pt x="702869" y="1095332"/>
                        <a:pt x="702869" y="1106479"/>
                      </a:cubicBezTo>
                      <a:cubicBezTo>
                        <a:pt x="702869" y="1117626"/>
                        <a:pt x="699479" y="1131813"/>
                        <a:pt x="701739" y="1141947"/>
                      </a:cubicBezTo>
                      <a:cubicBezTo>
                        <a:pt x="703999" y="1152080"/>
                        <a:pt x="705130" y="1162214"/>
                        <a:pt x="711910" y="1160187"/>
                      </a:cubicBezTo>
                      <a:cubicBezTo>
                        <a:pt x="718691" y="1157147"/>
                        <a:pt x="732252" y="1152080"/>
                        <a:pt x="732252" y="1157147"/>
                      </a:cubicBezTo>
                      <a:cubicBezTo>
                        <a:pt x="732252" y="1162214"/>
                        <a:pt x="732252" y="1181467"/>
                        <a:pt x="726602" y="1188561"/>
                      </a:cubicBezTo>
                      <a:cubicBezTo>
                        <a:pt x="720951" y="1195654"/>
                        <a:pt x="722081" y="1225042"/>
                        <a:pt x="722081" y="1225042"/>
                      </a:cubicBezTo>
                      <a:cubicBezTo>
                        <a:pt x="722081" y="1225042"/>
                        <a:pt x="743554" y="1236189"/>
                        <a:pt x="740163" y="1229095"/>
                      </a:cubicBezTo>
                      <a:cubicBezTo>
                        <a:pt x="736773" y="1222002"/>
                        <a:pt x="752594" y="1228082"/>
                        <a:pt x="752594" y="1228082"/>
                      </a:cubicBezTo>
                      <a:cubicBezTo>
                        <a:pt x="752594" y="1228082"/>
                        <a:pt x="752594" y="1244296"/>
                        <a:pt x="753725" y="1256456"/>
                      </a:cubicBezTo>
                      <a:cubicBezTo>
                        <a:pt x="754855" y="1268616"/>
                        <a:pt x="754855" y="1284830"/>
                        <a:pt x="757115" y="1289897"/>
                      </a:cubicBezTo>
                      <a:cubicBezTo>
                        <a:pt x="759375" y="1294963"/>
                        <a:pt x="748074" y="1294963"/>
                        <a:pt x="744684" y="1301043"/>
                      </a:cubicBezTo>
                      <a:cubicBezTo>
                        <a:pt x="740163" y="1307124"/>
                        <a:pt x="717561" y="1305097"/>
                        <a:pt x="715301" y="1314217"/>
                      </a:cubicBezTo>
                      <a:cubicBezTo>
                        <a:pt x="711910" y="1323337"/>
                        <a:pt x="705130" y="1329418"/>
                        <a:pt x="697219" y="1335498"/>
                      </a:cubicBezTo>
                      <a:cubicBezTo>
                        <a:pt x="688178" y="1341578"/>
                        <a:pt x="684787" y="1341578"/>
                        <a:pt x="681397" y="1349684"/>
                      </a:cubicBezTo>
                      <a:cubicBezTo>
                        <a:pt x="678007" y="1357792"/>
                        <a:pt x="657665" y="1355765"/>
                        <a:pt x="657665" y="1365898"/>
                      </a:cubicBezTo>
                      <a:cubicBezTo>
                        <a:pt x="657665" y="1376032"/>
                        <a:pt x="653144" y="1386166"/>
                        <a:pt x="646363" y="1391232"/>
                      </a:cubicBezTo>
                      <a:cubicBezTo>
                        <a:pt x="639583" y="1396299"/>
                        <a:pt x="628281" y="1400352"/>
                        <a:pt x="628281" y="1406433"/>
                      </a:cubicBezTo>
                      <a:cubicBezTo>
                        <a:pt x="628281" y="1412513"/>
                        <a:pt x="622631" y="1430753"/>
                        <a:pt x="622631" y="1430753"/>
                      </a:cubicBezTo>
                      <a:lnTo>
                        <a:pt x="648624" y="1422646"/>
                      </a:lnTo>
                      <a:lnTo>
                        <a:pt x="680267" y="1440887"/>
                      </a:lnTo>
                      <a:cubicBezTo>
                        <a:pt x="680267" y="1440887"/>
                        <a:pt x="683657" y="1448994"/>
                        <a:pt x="687048" y="1457101"/>
                      </a:cubicBezTo>
                      <a:cubicBezTo>
                        <a:pt x="690438" y="1465207"/>
                        <a:pt x="703999" y="1462167"/>
                        <a:pt x="710780" y="1470274"/>
                      </a:cubicBezTo>
                      <a:cubicBezTo>
                        <a:pt x="717561" y="1478381"/>
                        <a:pt x="719821" y="1480408"/>
                        <a:pt x="732252" y="1486488"/>
                      </a:cubicBezTo>
                      <a:cubicBezTo>
                        <a:pt x="744684" y="1492568"/>
                        <a:pt x="753725" y="1490541"/>
                        <a:pt x="755985" y="1500675"/>
                      </a:cubicBezTo>
                      <a:cubicBezTo>
                        <a:pt x="758245" y="1510808"/>
                        <a:pt x="761636" y="1518915"/>
                        <a:pt x="771807" y="1521955"/>
                      </a:cubicBezTo>
                      <a:cubicBezTo>
                        <a:pt x="781978" y="1526009"/>
                        <a:pt x="786498" y="1531076"/>
                        <a:pt x="786498" y="1531076"/>
                      </a:cubicBezTo>
                      <a:lnTo>
                        <a:pt x="770676" y="1553369"/>
                      </a:lnTo>
                      <a:lnTo>
                        <a:pt x="775197" y="1562489"/>
                      </a:lnTo>
                      <a:cubicBezTo>
                        <a:pt x="784238" y="1554383"/>
                        <a:pt x="795539" y="1546276"/>
                        <a:pt x="796669" y="1537155"/>
                      </a:cubicBezTo>
                      <a:cubicBezTo>
                        <a:pt x="798929" y="1526009"/>
                        <a:pt x="794409" y="1520942"/>
                        <a:pt x="791019" y="1512835"/>
                      </a:cubicBezTo>
                      <a:cubicBezTo>
                        <a:pt x="797799" y="1506755"/>
                        <a:pt x="812491" y="1495608"/>
                        <a:pt x="815881" y="1486488"/>
                      </a:cubicBezTo>
                      <a:cubicBezTo>
                        <a:pt x="817011" y="1484461"/>
                        <a:pt x="814751" y="1478381"/>
                        <a:pt x="815881" y="1476354"/>
                      </a:cubicBezTo>
                      <a:cubicBezTo>
                        <a:pt x="818142" y="1473314"/>
                        <a:pt x="824922" y="1474328"/>
                        <a:pt x="829443" y="1471287"/>
                      </a:cubicBezTo>
                      <a:lnTo>
                        <a:pt x="829443" y="1466220"/>
                      </a:lnTo>
                      <a:cubicBezTo>
                        <a:pt x="844134" y="1459127"/>
                        <a:pt x="841874" y="1452034"/>
                        <a:pt x="843004" y="1434807"/>
                      </a:cubicBezTo>
                      <a:cubicBezTo>
                        <a:pt x="846395" y="1436833"/>
                        <a:pt x="850915" y="1434807"/>
                        <a:pt x="854305" y="1436833"/>
                      </a:cubicBezTo>
                      <a:lnTo>
                        <a:pt x="854305" y="1441900"/>
                      </a:lnTo>
                      <a:cubicBezTo>
                        <a:pt x="855435" y="1441900"/>
                        <a:pt x="861086" y="1442913"/>
                        <a:pt x="862216" y="1443927"/>
                      </a:cubicBezTo>
                      <a:cubicBezTo>
                        <a:pt x="862216" y="1443927"/>
                        <a:pt x="866737" y="1436833"/>
                        <a:pt x="864477" y="1436833"/>
                      </a:cubicBezTo>
                      <a:lnTo>
                        <a:pt x="870127" y="1438860"/>
                      </a:lnTo>
                      <a:cubicBezTo>
                        <a:pt x="870127" y="1439873"/>
                        <a:pt x="867867" y="1452034"/>
                        <a:pt x="867867" y="1448994"/>
                      </a:cubicBezTo>
                      <a:cubicBezTo>
                        <a:pt x="865606" y="1464194"/>
                        <a:pt x="865606" y="1466220"/>
                        <a:pt x="859956" y="1475341"/>
                      </a:cubicBezTo>
                      <a:cubicBezTo>
                        <a:pt x="858826" y="1476354"/>
                        <a:pt x="852045" y="1481421"/>
                        <a:pt x="852045" y="1482435"/>
                      </a:cubicBezTo>
                      <a:cubicBezTo>
                        <a:pt x="846395" y="1500675"/>
                        <a:pt x="867867" y="1472301"/>
                        <a:pt x="867867" y="1472301"/>
                      </a:cubicBezTo>
                      <a:cubicBezTo>
                        <a:pt x="874648" y="1460141"/>
                        <a:pt x="879168" y="1442913"/>
                        <a:pt x="883688" y="1430753"/>
                      </a:cubicBezTo>
                      <a:cubicBezTo>
                        <a:pt x="888209" y="1417579"/>
                        <a:pt x="889339" y="1406433"/>
                        <a:pt x="897250" y="1396299"/>
                      </a:cubicBezTo>
                      <a:cubicBezTo>
                        <a:pt x="900640" y="1392246"/>
                        <a:pt x="917592" y="1374005"/>
                        <a:pt x="922112" y="1371978"/>
                      </a:cubicBezTo>
                      <a:cubicBezTo>
                        <a:pt x="925503" y="1369952"/>
                        <a:pt x="928893" y="1371978"/>
                        <a:pt x="930023" y="1369952"/>
                      </a:cubicBezTo>
                      <a:cubicBezTo>
                        <a:pt x="933414" y="1364885"/>
                        <a:pt x="930023" y="1361845"/>
                        <a:pt x="932284" y="1355765"/>
                      </a:cubicBezTo>
                      <a:cubicBezTo>
                        <a:pt x="932284" y="1354751"/>
                        <a:pt x="937934" y="1353738"/>
                        <a:pt x="937934" y="1353738"/>
                      </a:cubicBezTo>
                      <a:cubicBezTo>
                        <a:pt x="933414" y="1349684"/>
                        <a:pt x="936804" y="1317257"/>
                        <a:pt x="937934" y="1305097"/>
                      </a:cubicBezTo>
                      <a:cubicBezTo>
                        <a:pt x="934544" y="1304084"/>
                        <a:pt x="930023" y="1305097"/>
                        <a:pt x="930023" y="1303070"/>
                      </a:cubicBezTo>
                      <a:cubicBezTo>
                        <a:pt x="927763" y="1296990"/>
                        <a:pt x="933414" y="1293950"/>
                        <a:pt x="932284" y="1290910"/>
                      </a:cubicBezTo>
                      <a:lnTo>
                        <a:pt x="926633" y="1290910"/>
                      </a:lnTo>
                      <a:cubicBezTo>
                        <a:pt x="925503" y="1289897"/>
                        <a:pt x="926633" y="1284830"/>
                        <a:pt x="926633" y="1283817"/>
                      </a:cubicBezTo>
                      <a:cubicBezTo>
                        <a:pt x="931154" y="1285843"/>
                        <a:pt x="928893" y="1279763"/>
                        <a:pt x="928893" y="1278750"/>
                      </a:cubicBezTo>
                      <a:cubicBezTo>
                        <a:pt x="928893" y="1278750"/>
                        <a:pt x="930023" y="1265576"/>
                        <a:pt x="928893" y="1261523"/>
                      </a:cubicBezTo>
                      <a:cubicBezTo>
                        <a:pt x="928893" y="1259496"/>
                        <a:pt x="922112" y="1260509"/>
                        <a:pt x="923243" y="1254429"/>
                      </a:cubicBezTo>
                      <a:cubicBezTo>
                        <a:pt x="923243" y="1252402"/>
                        <a:pt x="930023" y="1249362"/>
                        <a:pt x="931154" y="1247336"/>
                      </a:cubicBezTo>
                      <a:cubicBezTo>
                        <a:pt x="932284" y="1238215"/>
                        <a:pt x="927763" y="1236189"/>
                        <a:pt x="927763" y="122909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9" name="Freeform: Shape 438">
                  <a:extLst>
                    <a:ext uri="{FF2B5EF4-FFF2-40B4-BE49-F238E27FC236}">
                      <a16:creationId xmlns:a16="http://schemas.microsoft.com/office/drawing/2014/main" id="{72CDBCA2-BEB4-4EE4-AAAF-BA81C306ADFD}"/>
                    </a:ext>
                  </a:extLst>
                </p:cNvPr>
                <p:cNvSpPr/>
                <p:nvPr/>
              </p:nvSpPr>
              <p:spPr>
                <a:xfrm>
                  <a:off x="6573626" y="4969662"/>
                  <a:ext cx="361638" cy="385076"/>
                </a:xfrm>
                <a:custGeom>
                  <a:avLst/>
                  <a:gdLst>
                    <a:gd name="connsiteX0" fmla="*/ 10052 w 361638"/>
                    <a:gd name="connsiteY0" fmla="*/ 310318 h 385075"/>
                    <a:gd name="connsiteX1" fmla="*/ 34915 w 361638"/>
                    <a:gd name="connsiteY1" fmla="*/ 330585 h 385075"/>
                    <a:gd name="connsiteX2" fmla="*/ 38305 w 361638"/>
                    <a:gd name="connsiteY2" fmla="*/ 358959 h 385075"/>
                    <a:gd name="connsiteX3" fmla="*/ 47346 w 361638"/>
                    <a:gd name="connsiteY3" fmla="*/ 379227 h 385075"/>
                    <a:gd name="connsiteX4" fmla="*/ 64298 w 361638"/>
                    <a:gd name="connsiteY4" fmla="*/ 371119 h 385075"/>
                    <a:gd name="connsiteX5" fmla="*/ 97071 w 361638"/>
                    <a:gd name="connsiteY5" fmla="*/ 357946 h 385075"/>
                    <a:gd name="connsiteX6" fmla="*/ 134365 w 361638"/>
                    <a:gd name="connsiteY6" fmla="*/ 333625 h 385075"/>
                    <a:gd name="connsiteX7" fmla="*/ 146796 w 361638"/>
                    <a:gd name="connsiteY7" fmla="*/ 314372 h 385075"/>
                    <a:gd name="connsiteX8" fmla="*/ 161488 w 361638"/>
                    <a:gd name="connsiteY8" fmla="*/ 322478 h 385075"/>
                    <a:gd name="connsiteX9" fmla="*/ 181830 w 361638"/>
                    <a:gd name="connsiteY9" fmla="*/ 322478 h 385075"/>
                    <a:gd name="connsiteX10" fmla="*/ 210083 w 361638"/>
                    <a:gd name="connsiteY10" fmla="*/ 325518 h 385075"/>
                    <a:gd name="connsiteX11" fmla="*/ 227035 w 361638"/>
                    <a:gd name="connsiteY11" fmla="*/ 325518 h 385075"/>
                    <a:gd name="connsiteX12" fmla="*/ 230425 w 361638"/>
                    <a:gd name="connsiteY12" fmla="*/ 279917 h 385075"/>
                    <a:gd name="connsiteX13" fmla="*/ 248507 w 361638"/>
                    <a:gd name="connsiteY13" fmla="*/ 271811 h 385075"/>
                    <a:gd name="connsiteX14" fmla="*/ 264329 w 361638"/>
                    <a:gd name="connsiteY14" fmla="*/ 240396 h 385075"/>
                    <a:gd name="connsiteX15" fmla="*/ 291452 w 361638"/>
                    <a:gd name="connsiteY15" fmla="*/ 217089 h 385075"/>
                    <a:gd name="connsiteX16" fmla="*/ 325356 w 361638"/>
                    <a:gd name="connsiteY16" fmla="*/ 202902 h 385075"/>
                    <a:gd name="connsiteX17" fmla="*/ 341177 w 361638"/>
                    <a:gd name="connsiteY17" fmla="*/ 194795 h 385075"/>
                    <a:gd name="connsiteX18" fmla="*/ 362649 w 361638"/>
                    <a:gd name="connsiteY18" fmla="*/ 179595 h 385075"/>
                    <a:gd name="connsiteX19" fmla="*/ 346828 w 361638"/>
                    <a:gd name="connsiteY19" fmla="*/ 170475 h 385075"/>
                    <a:gd name="connsiteX20" fmla="*/ 331006 w 361638"/>
                    <a:gd name="connsiteY20" fmla="*/ 166422 h 385075"/>
                    <a:gd name="connsiteX21" fmla="*/ 318575 w 361638"/>
                    <a:gd name="connsiteY21" fmla="*/ 156288 h 385075"/>
                    <a:gd name="connsiteX22" fmla="*/ 319705 w 361638"/>
                    <a:gd name="connsiteY22" fmla="*/ 132981 h 385075"/>
                    <a:gd name="connsiteX23" fmla="*/ 307273 w 361638"/>
                    <a:gd name="connsiteY23" fmla="*/ 122847 h 385075"/>
                    <a:gd name="connsiteX24" fmla="*/ 297103 w 361638"/>
                    <a:gd name="connsiteY24" fmla="*/ 111700 h 385075"/>
                    <a:gd name="connsiteX25" fmla="*/ 293712 w 361638"/>
                    <a:gd name="connsiteY25" fmla="*/ 95487 h 385075"/>
                    <a:gd name="connsiteX26" fmla="*/ 272240 w 361638"/>
                    <a:gd name="connsiteY26" fmla="*/ 81300 h 385075"/>
                    <a:gd name="connsiteX27" fmla="*/ 259808 w 361638"/>
                    <a:gd name="connsiteY27" fmla="*/ 82313 h 385075"/>
                    <a:gd name="connsiteX28" fmla="*/ 249637 w 361638"/>
                    <a:gd name="connsiteY28" fmla="*/ 71166 h 385075"/>
                    <a:gd name="connsiteX29" fmla="*/ 228165 w 361638"/>
                    <a:gd name="connsiteY29" fmla="*/ 46845 h 385075"/>
                    <a:gd name="connsiteX30" fmla="*/ 219124 w 361638"/>
                    <a:gd name="connsiteY30" fmla="*/ 30632 h 385075"/>
                    <a:gd name="connsiteX31" fmla="*/ 207823 w 361638"/>
                    <a:gd name="connsiteY31" fmla="*/ 9351 h 385075"/>
                    <a:gd name="connsiteX32" fmla="*/ 192001 w 361638"/>
                    <a:gd name="connsiteY32" fmla="*/ 18471 h 385075"/>
                    <a:gd name="connsiteX33" fmla="*/ 171659 w 361638"/>
                    <a:gd name="connsiteY33" fmla="*/ 21511 h 385075"/>
                    <a:gd name="connsiteX34" fmla="*/ 159228 w 361638"/>
                    <a:gd name="connsiteY34" fmla="*/ 26578 h 385075"/>
                    <a:gd name="connsiteX35" fmla="*/ 80120 w 361638"/>
                    <a:gd name="connsiteY35" fmla="*/ 32658 h 385075"/>
                    <a:gd name="connsiteX36" fmla="*/ 52996 w 361638"/>
                    <a:gd name="connsiteY36" fmla="*/ 32658 h 385075"/>
                    <a:gd name="connsiteX37" fmla="*/ 51867 w 361638"/>
                    <a:gd name="connsiteY37" fmla="*/ 165408 h 385075"/>
                    <a:gd name="connsiteX38" fmla="*/ 13442 w 361638"/>
                    <a:gd name="connsiteY38" fmla="*/ 165408 h 385075"/>
                    <a:gd name="connsiteX39" fmla="*/ 10052 w 361638"/>
                    <a:gd name="connsiteY39" fmla="*/ 310318 h 3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61638" h="385075">
                      <a:moveTo>
                        <a:pt x="10052" y="310318"/>
                      </a:moveTo>
                      <a:cubicBezTo>
                        <a:pt x="10052" y="310318"/>
                        <a:pt x="28134" y="314372"/>
                        <a:pt x="34915" y="330585"/>
                      </a:cubicBezTo>
                      <a:cubicBezTo>
                        <a:pt x="41695" y="346799"/>
                        <a:pt x="41695" y="349839"/>
                        <a:pt x="38305" y="358959"/>
                      </a:cubicBezTo>
                      <a:cubicBezTo>
                        <a:pt x="34915" y="368080"/>
                        <a:pt x="37175" y="379227"/>
                        <a:pt x="47346" y="379227"/>
                      </a:cubicBezTo>
                      <a:cubicBezTo>
                        <a:pt x="57517" y="379227"/>
                        <a:pt x="52996" y="371119"/>
                        <a:pt x="64298" y="371119"/>
                      </a:cubicBezTo>
                      <a:cubicBezTo>
                        <a:pt x="75599" y="371119"/>
                        <a:pt x="97071" y="357946"/>
                        <a:pt x="97071" y="357946"/>
                      </a:cubicBezTo>
                      <a:cubicBezTo>
                        <a:pt x="97071" y="357946"/>
                        <a:pt x="134365" y="341732"/>
                        <a:pt x="134365" y="333625"/>
                      </a:cubicBezTo>
                      <a:cubicBezTo>
                        <a:pt x="134365" y="325518"/>
                        <a:pt x="128715" y="322478"/>
                        <a:pt x="146796" y="314372"/>
                      </a:cubicBezTo>
                      <a:cubicBezTo>
                        <a:pt x="152447" y="312345"/>
                        <a:pt x="153577" y="318425"/>
                        <a:pt x="161488" y="322478"/>
                      </a:cubicBezTo>
                      <a:cubicBezTo>
                        <a:pt x="169399" y="326532"/>
                        <a:pt x="171659" y="316398"/>
                        <a:pt x="181830" y="322478"/>
                      </a:cubicBezTo>
                      <a:cubicBezTo>
                        <a:pt x="192001" y="328559"/>
                        <a:pt x="203302" y="321465"/>
                        <a:pt x="210083" y="325518"/>
                      </a:cubicBezTo>
                      <a:cubicBezTo>
                        <a:pt x="216864" y="329572"/>
                        <a:pt x="227035" y="333625"/>
                        <a:pt x="227035" y="325518"/>
                      </a:cubicBezTo>
                      <a:cubicBezTo>
                        <a:pt x="227035" y="317412"/>
                        <a:pt x="230425" y="279917"/>
                        <a:pt x="230425" y="279917"/>
                      </a:cubicBezTo>
                      <a:cubicBezTo>
                        <a:pt x="230425" y="279917"/>
                        <a:pt x="240597" y="271811"/>
                        <a:pt x="248507" y="271811"/>
                      </a:cubicBezTo>
                      <a:cubicBezTo>
                        <a:pt x="256418" y="271811"/>
                        <a:pt x="253028" y="243437"/>
                        <a:pt x="264329" y="240396"/>
                      </a:cubicBezTo>
                      <a:cubicBezTo>
                        <a:pt x="275630" y="237357"/>
                        <a:pt x="281281" y="217089"/>
                        <a:pt x="291452" y="217089"/>
                      </a:cubicBezTo>
                      <a:cubicBezTo>
                        <a:pt x="301623" y="217089"/>
                        <a:pt x="315184" y="202902"/>
                        <a:pt x="325356" y="202902"/>
                      </a:cubicBezTo>
                      <a:cubicBezTo>
                        <a:pt x="335526" y="202902"/>
                        <a:pt x="326485" y="192769"/>
                        <a:pt x="341177" y="194795"/>
                      </a:cubicBezTo>
                      <a:cubicBezTo>
                        <a:pt x="355868" y="196822"/>
                        <a:pt x="362649" y="179595"/>
                        <a:pt x="362649" y="179595"/>
                      </a:cubicBezTo>
                      <a:cubicBezTo>
                        <a:pt x="362649" y="179595"/>
                        <a:pt x="352478" y="178582"/>
                        <a:pt x="346828" y="170475"/>
                      </a:cubicBezTo>
                      <a:cubicBezTo>
                        <a:pt x="341177" y="162368"/>
                        <a:pt x="340047" y="174528"/>
                        <a:pt x="331006" y="166422"/>
                      </a:cubicBezTo>
                      <a:cubicBezTo>
                        <a:pt x="321965" y="158315"/>
                        <a:pt x="318575" y="166422"/>
                        <a:pt x="318575" y="156288"/>
                      </a:cubicBezTo>
                      <a:cubicBezTo>
                        <a:pt x="318575" y="146154"/>
                        <a:pt x="314054" y="140074"/>
                        <a:pt x="319705" y="132981"/>
                      </a:cubicBezTo>
                      <a:cubicBezTo>
                        <a:pt x="325356" y="125887"/>
                        <a:pt x="307273" y="128927"/>
                        <a:pt x="307273" y="122847"/>
                      </a:cubicBezTo>
                      <a:cubicBezTo>
                        <a:pt x="307273" y="116767"/>
                        <a:pt x="300493" y="117780"/>
                        <a:pt x="297103" y="111700"/>
                      </a:cubicBezTo>
                      <a:cubicBezTo>
                        <a:pt x="293712" y="105620"/>
                        <a:pt x="293712" y="95487"/>
                        <a:pt x="293712" y="95487"/>
                      </a:cubicBezTo>
                      <a:cubicBezTo>
                        <a:pt x="293712" y="95487"/>
                        <a:pt x="275630" y="89406"/>
                        <a:pt x="272240" y="81300"/>
                      </a:cubicBezTo>
                      <a:cubicBezTo>
                        <a:pt x="268850" y="73193"/>
                        <a:pt x="271109" y="85353"/>
                        <a:pt x="259808" y="82313"/>
                      </a:cubicBezTo>
                      <a:cubicBezTo>
                        <a:pt x="248507" y="79273"/>
                        <a:pt x="258678" y="73193"/>
                        <a:pt x="249637" y="71166"/>
                      </a:cubicBezTo>
                      <a:cubicBezTo>
                        <a:pt x="240597" y="69139"/>
                        <a:pt x="228165" y="46845"/>
                        <a:pt x="228165" y="46845"/>
                      </a:cubicBezTo>
                      <a:cubicBezTo>
                        <a:pt x="228165" y="46845"/>
                        <a:pt x="228165" y="30632"/>
                        <a:pt x="219124" y="30632"/>
                      </a:cubicBezTo>
                      <a:cubicBezTo>
                        <a:pt x="210083" y="30632"/>
                        <a:pt x="207823" y="9351"/>
                        <a:pt x="207823" y="9351"/>
                      </a:cubicBezTo>
                      <a:cubicBezTo>
                        <a:pt x="207823" y="9351"/>
                        <a:pt x="193132" y="6311"/>
                        <a:pt x="192001" y="18471"/>
                      </a:cubicBezTo>
                      <a:cubicBezTo>
                        <a:pt x="190871" y="30632"/>
                        <a:pt x="173919" y="10365"/>
                        <a:pt x="171659" y="21511"/>
                      </a:cubicBezTo>
                      <a:cubicBezTo>
                        <a:pt x="169399" y="32658"/>
                        <a:pt x="159228" y="26578"/>
                        <a:pt x="159228" y="26578"/>
                      </a:cubicBezTo>
                      <a:lnTo>
                        <a:pt x="80120" y="32658"/>
                      </a:lnTo>
                      <a:lnTo>
                        <a:pt x="52996" y="32658"/>
                      </a:lnTo>
                      <a:lnTo>
                        <a:pt x="51867" y="165408"/>
                      </a:lnTo>
                      <a:lnTo>
                        <a:pt x="13442" y="165408"/>
                      </a:lnTo>
                      <a:lnTo>
                        <a:pt x="10052" y="31031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0" name="Freeform: Shape 439">
                  <a:extLst>
                    <a:ext uri="{FF2B5EF4-FFF2-40B4-BE49-F238E27FC236}">
                      <a16:creationId xmlns:a16="http://schemas.microsoft.com/office/drawing/2014/main" id="{2E5BBF90-1A9B-4F00-B5E3-44B32377B039}"/>
                    </a:ext>
                  </a:extLst>
                </p:cNvPr>
                <p:cNvSpPr/>
                <p:nvPr/>
              </p:nvSpPr>
              <p:spPr>
                <a:xfrm>
                  <a:off x="6442532" y="2408536"/>
                  <a:ext cx="158217" cy="141870"/>
                </a:xfrm>
                <a:custGeom>
                  <a:avLst/>
                  <a:gdLst>
                    <a:gd name="connsiteX0" fmla="*/ 136625 w 158216"/>
                    <a:gd name="connsiteY0" fmla="*/ 34046 h 141869"/>
                    <a:gd name="connsiteX1" fmla="*/ 107242 w 158216"/>
                    <a:gd name="connsiteY1" fmla="*/ 31006 h 141869"/>
                    <a:gd name="connsiteX2" fmla="*/ 100462 w 158216"/>
                    <a:gd name="connsiteY2" fmla="*/ 24926 h 141869"/>
                    <a:gd name="connsiteX3" fmla="*/ 83510 w 158216"/>
                    <a:gd name="connsiteY3" fmla="*/ 18846 h 141869"/>
                    <a:gd name="connsiteX4" fmla="*/ 50736 w 158216"/>
                    <a:gd name="connsiteY4" fmla="*/ 24926 h 141869"/>
                    <a:gd name="connsiteX5" fmla="*/ 36045 w 158216"/>
                    <a:gd name="connsiteY5" fmla="*/ 19859 h 141869"/>
                    <a:gd name="connsiteX6" fmla="*/ 23613 w 158216"/>
                    <a:gd name="connsiteY6" fmla="*/ 11752 h 141869"/>
                    <a:gd name="connsiteX7" fmla="*/ 10052 w 158216"/>
                    <a:gd name="connsiteY7" fmla="*/ 14792 h 141869"/>
                    <a:gd name="connsiteX8" fmla="*/ 11182 w 158216"/>
                    <a:gd name="connsiteY8" fmla="*/ 26953 h 141869"/>
                    <a:gd name="connsiteX9" fmla="*/ 30394 w 158216"/>
                    <a:gd name="connsiteY9" fmla="*/ 53300 h 141869"/>
                    <a:gd name="connsiteX10" fmla="*/ 29263 w 158216"/>
                    <a:gd name="connsiteY10" fmla="*/ 63433 h 141869"/>
                    <a:gd name="connsiteX11" fmla="*/ 63167 w 158216"/>
                    <a:gd name="connsiteY11" fmla="*/ 96874 h 141869"/>
                    <a:gd name="connsiteX12" fmla="*/ 75599 w 158216"/>
                    <a:gd name="connsiteY12" fmla="*/ 109034 h 141869"/>
                    <a:gd name="connsiteX13" fmla="*/ 91420 w 158216"/>
                    <a:gd name="connsiteY13" fmla="*/ 118155 h 141869"/>
                    <a:gd name="connsiteX14" fmla="*/ 98201 w 158216"/>
                    <a:gd name="connsiteY14" fmla="*/ 127275 h 141869"/>
                    <a:gd name="connsiteX15" fmla="*/ 108372 w 158216"/>
                    <a:gd name="connsiteY15" fmla="*/ 137408 h 141869"/>
                    <a:gd name="connsiteX16" fmla="*/ 103852 w 158216"/>
                    <a:gd name="connsiteY16" fmla="*/ 119168 h 141869"/>
                    <a:gd name="connsiteX17" fmla="*/ 112893 w 158216"/>
                    <a:gd name="connsiteY17" fmla="*/ 100928 h 141869"/>
                    <a:gd name="connsiteX18" fmla="*/ 125324 w 158216"/>
                    <a:gd name="connsiteY18" fmla="*/ 95861 h 141869"/>
                    <a:gd name="connsiteX19" fmla="*/ 134365 w 158216"/>
                    <a:gd name="connsiteY19" fmla="*/ 84714 h 141869"/>
                    <a:gd name="connsiteX20" fmla="*/ 150186 w 158216"/>
                    <a:gd name="connsiteY20" fmla="*/ 78634 h 141869"/>
                    <a:gd name="connsiteX21" fmla="*/ 133235 w 158216"/>
                    <a:gd name="connsiteY21" fmla="*/ 64447 h 141869"/>
                    <a:gd name="connsiteX22" fmla="*/ 147926 w 158216"/>
                    <a:gd name="connsiteY22" fmla="*/ 58367 h 141869"/>
                    <a:gd name="connsiteX23" fmla="*/ 137755 w 158216"/>
                    <a:gd name="connsiteY23" fmla="*/ 44180 h 141869"/>
                    <a:gd name="connsiteX24" fmla="*/ 138885 w 158216"/>
                    <a:gd name="connsiteY24" fmla="*/ 33033 h 141869"/>
                    <a:gd name="connsiteX25" fmla="*/ 136625 w 158216"/>
                    <a:gd name="connsiteY25" fmla="*/ 34046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8216" h="141869">
                      <a:moveTo>
                        <a:pt x="136625" y="34046"/>
                      </a:moveTo>
                      <a:cubicBezTo>
                        <a:pt x="136625" y="34046"/>
                        <a:pt x="109502" y="40126"/>
                        <a:pt x="107242" y="31006"/>
                      </a:cubicBezTo>
                      <a:cubicBezTo>
                        <a:pt x="104982" y="21886"/>
                        <a:pt x="100462" y="24926"/>
                        <a:pt x="100462" y="24926"/>
                      </a:cubicBezTo>
                      <a:cubicBezTo>
                        <a:pt x="100462" y="24926"/>
                        <a:pt x="91420" y="22899"/>
                        <a:pt x="83510" y="18846"/>
                      </a:cubicBezTo>
                      <a:cubicBezTo>
                        <a:pt x="75599" y="14792"/>
                        <a:pt x="56387" y="28979"/>
                        <a:pt x="50736" y="24926"/>
                      </a:cubicBezTo>
                      <a:cubicBezTo>
                        <a:pt x="45085" y="19859"/>
                        <a:pt x="40565" y="13779"/>
                        <a:pt x="36045" y="19859"/>
                      </a:cubicBezTo>
                      <a:cubicBezTo>
                        <a:pt x="31524" y="25939"/>
                        <a:pt x="25873" y="16819"/>
                        <a:pt x="23613" y="11752"/>
                      </a:cubicBezTo>
                      <a:cubicBezTo>
                        <a:pt x="21353" y="7699"/>
                        <a:pt x="10052" y="7699"/>
                        <a:pt x="10052" y="14792"/>
                      </a:cubicBezTo>
                      <a:cubicBezTo>
                        <a:pt x="10052" y="21886"/>
                        <a:pt x="11182" y="26953"/>
                        <a:pt x="11182" y="26953"/>
                      </a:cubicBezTo>
                      <a:cubicBezTo>
                        <a:pt x="11182" y="26953"/>
                        <a:pt x="28134" y="42153"/>
                        <a:pt x="30394" y="53300"/>
                      </a:cubicBezTo>
                      <a:cubicBezTo>
                        <a:pt x="32654" y="65460"/>
                        <a:pt x="22483" y="53300"/>
                        <a:pt x="29263" y="63433"/>
                      </a:cubicBezTo>
                      <a:cubicBezTo>
                        <a:pt x="36045" y="73567"/>
                        <a:pt x="55257" y="86741"/>
                        <a:pt x="63167" y="96874"/>
                      </a:cubicBezTo>
                      <a:cubicBezTo>
                        <a:pt x="69948" y="105994"/>
                        <a:pt x="71078" y="103968"/>
                        <a:pt x="75599" y="109034"/>
                      </a:cubicBezTo>
                      <a:cubicBezTo>
                        <a:pt x="80119" y="114101"/>
                        <a:pt x="91420" y="118155"/>
                        <a:pt x="91420" y="118155"/>
                      </a:cubicBezTo>
                      <a:cubicBezTo>
                        <a:pt x="91420" y="118155"/>
                        <a:pt x="95941" y="123222"/>
                        <a:pt x="98201" y="127275"/>
                      </a:cubicBezTo>
                      <a:cubicBezTo>
                        <a:pt x="102721" y="132342"/>
                        <a:pt x="103852" y="133355"/>
                        <a:pt x="108372" y="137408"/>
                      </a:cubicBezTo>
                      <a:cubicBezTo>
                        <a:pt x="107242" y="130315"/>
                        <a:pt x="103852" y="126261"/>
                        <a:pt x="103852" y="119168"/>
                      </a:cubicBezTo>
                      <a:cubicBezTo>
                        <a:pt x="104982" y="112075"/>
                        <a:pt x="106112" y="105994"/>
                        <a:pt x="112893" y="100928"/>
                      </a:cubicBezTo>
                      <a:cubicBezTo>
                        <a:pt x="117413" y="97888"/>
                        <a:pt x="121933" y="98901"/>
                        <a:pt x="125324" y="95861"/>
                      </a:cubicBezTo>
                      <a:cubicBezTo>
                        <a:pt x="129844" y="92821"/>
                        <a:pt x="129844" y="87754"/>
                        <a:pt x="134365" y="84714"/>
                      </a:cubicBezTo>
                      <a:cubicBezTo>
                        <a:pt x="138885" y="80660"/>
                        <a:pt x="147926" y="83701"/>
                        <a:pt x="150186" y="78634"/>
                      </a:cubicBezTo>
                      <a:cubicBezTo>
                        <a:pt x="153577" y="71540"/>
                        <a:pt x="129844" y="72554"/>
                        <a:pt x="133235" y="64447"/>
                      </a:cubicBezTo>
                      <a:cubicBezTo>
                        <a:pt x="135495" y="59380"/>
                        <a:pt x="145666" y="63433"/>
                        <a:pt x="147926" y="58367"/>
                      </a:cubicBezTo>
                      <a:cubicBezTo>
                        <a:pt x="150186" y="52287"/>
                        <a:pt x="138885" y="51273"/>
                        <a:pt x="137755" y="44180"/>
                      </a:cubicBezTo>
                      <a:cubicBezTo>
                        <a:pt x="136625" y="40126"/>
                        <a:pt x="138885" y="37086"/>
                        <a:pt x="138885" y="33033"/>
                      </a:cubicBezTo>
                      <a:lnTo>
                        <a:pt x="136625" y="34046"/>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1" name="Freeform: Shape 440">
                  <a:extLst>
                    <a:ext uri="{FF2B5EF4-FFF2-40B4-BE49-F238E27FC236}">
                      <a16:creationId xmlns:a16="http://schemas.microsoft.com/office/drawing/2014/main" id="{7ACED742-4499-40C3-A746-FF5E8B2B2F6D}"/>
                    </a:ext>
                  </a:extLst>
                </p:cNvPr>
                <p:cNvSpPr/>
                <p:nvPr/>
              </p:nvSpPr>
              <p:spPr>
                <a:xfrm>
                  <a:off x="3416072" y="4678153"/>
                  <a:ext cx="440747" cy="486411"/>
                </a:xfrm>
                <a:custGeom>
                  <a:avLst/>
                  <a:gdLst>
                    <a:gd name="connsiteX0" fmla="*/ 33785 w 440746"/>
                    <a:gd name="connsiteY0" fmla="*/ 214725 h 486411"/>
                    <a:gd name="connsiteX1" fmla="*/ 40565 w 440746"/>
                    <a:gd name="connsiteY1" fmla="*/ 216752 h 486411"/>
                    <a:gd name="connsiteX2" fmla="*/ 46216 w 440746"/>
                    <a:gd name="connsiteY2" fmla="*/ 228912 h 486411"/>
                    <a:gd name="connsiteX3" fmla="*/ 43956 w 440746"/>
                    <a:gd name="connsiteY3" fmla="*/ 228912 h 486411"/>
                    <a:gd name="connsiteX4" fmla="*/ 36045 w 440746"/>
                    <a:gd name="connsiteY4" fmla="*/ 224859 h 486411"/>
                    <a:gd name="connsiteX5" fmla="*/ 36045 w 440746"/>
                    <a:gd name="connsiteY5" fmla="*/ 226885 h 486411"/>
                    <a:gd name="connsiteX6" fmla="*/ 37175 w 440746"/>
                    <a:gd name="connsiteY6" fmla="*/ 243099 h 486411"/>
                    <a:gd name="connsiteX7" fmla="*/ 16833 w 440746"/>
                    <a:gd name="connsiteY7" fmla="*/ 271473 h 486411"/>
                    <a:gd name="connsiteX8" fmla="*/ 23613 w 440746"/>
                    <a:gd name="connsiteY8" fmla="*/ 290727 h 486411"/>
                    <a:gd name="connsiteX9" fmla="*/ 40565 w 440746"/>
                    <a:gd name="connsiteY9" fmla="*/ 325181 h 486411"/>
                    <a:gd name="connsiteX10" fmla="*/ 58647 w 440746"/>
                    <a:gd name="connsiteY10" fmla="*/ 344435 h 486411"/>
                    <a:gd name="connsiteX11" fmla="*/ 65428 w 440746"/>
                    <a:gd name="connsiteY11" fmla="*/ 373822 h 486411"/>
                    <a:gd name="connsiteX12" fmla="*/ 76729 w 440746"/>
                    <a:gd name="connsiteY12" fmla="*/ 405236 h 486411"/>
                    <a:gd name="connsiteX13" fmla="*/ 80119 w 440746"/>
                    <a:gd name="connsiteY13" fmla="*/ 436650 h 486411"/>
                    <a:gd name="connsiteX14" fmla="*/ 84640 w 440746"/>
                    <a:gd name="connsiteY14" fmla="*/ 465024 h 486411"/>
                    <a:gd name="connsiteX15" fmla="*/ 104982 w 440746"/>
                    <a:gd name="connsiteY15" fmla="*/ 474144 h 486411"/>
                    <a:gd name="connsiteX16" fmla="*/ 132105 w 440746"/>
                    <a:gd name="connsiteY16" fmla="*/ 454890 h 486411"/>
                    <a:gd name="connsiteX17" fmla="*/ 163748 w 440746"/>
                    <a:gd name="connsiteY17" fmla="*/ 462997 h 486411"/>
                    <a:gd name="connsiteX18" fmla="*/ 187481 w 440746"/>
                    <a:gd name="connsiteY18" fmla="*/ 462997 h 486411"/>
                    <a:gd name="connsiteX19" fmla="*/ 198782 w 440746"/>
                    <a:gd name="connsiteY19" fmla="*/ 481238 h 486411"/>
                    <a:gd name="connsiteX20" fmla="*/ 202172 w 440746"/>
                    <a:gd name="connsiteY20" fmla="*/ 485291 h 486411"/>
                    <a:gd name="connsiteX21" fmla="*/ 211213 w 440746"/>
                    <a:gd name="connsiteY21" fmla="*/ 467051 h 486411"/>
                    <a:gd name="connsiteX22" fmla="*/ 224775 w 440746"/>
                    <a:gd name="connsiteY22" fmla="*/ 460971 h 486411"/>
                    <a:gd name="connsiteX23" fmla="*/ 276760 w 440746"/>
                    <a:gd name="connsiteY23" fmla="*/ 460971 h 486411"/>
                    <a:gd name="connsiteX24" fmla="*/ 298233 w 440746"/>
                    <a:gd name="connsiteY24" fmla="*/ 416383 h 486411"/>
                    <a:gd name="connsiteX25" fmla="*/ 298233 w 440746"/>
                    <a:gd name="connsiteY25" fmla="*/ 403209 h 486411"/>
                    <a:gd name="connsiteX26" fmla="*/ 310664 w 440746"/>
                    <a:gd name="connsiteY26" fmla="*/ 381929 h 486411"/>
                    <a:gd name="connsiteX27" fmla="*/ 331006 w 440746"/>
                    <a:gd name="connsiteY27" fmla="*/ 352542 h 486411"/>
                    <a:gd name="connsiteX28" fmla="*/ 372820 w 440746"/>
                    <a:gd name="connsiteY28" fmla="*/ 348488 h 486411"/>
                    <a:gd name="connsiteX29" fmla="*/ 405594 w 440746"/>
                    <a:gd name="connsiteY29" fmla="*/ 356595 h 486411"/>
                    <a:gd name="connsiteX30" fmla="*/ 424806 w 440746"/>
                    <a:gd name="connsiteY30" fmla="*/ 372809 h 486411"/>
                    <a:gd name="connsiteX31" fmla="*/ 434977 w 440746"/>
                    <a:gd name="connsiteY31" fmla="*/ 367742 h 486411"/>
                    <a:gd name="connsiteX32" fmla="*/ 425936 w 440746"/>
                    <a:gd name="connsiteY32" fmla="*/ 357608 h 486411"/>
                    <a:gd name="connsiteX33" fmla="*/ 437237 w 440746"/>
                    <a:gd name="connsiteY33" fmla="*/ 316061 h 486411"/>
                    <a:gd name="connsiteX34" fmla="*/ 437237 w 440746"/>
                    <a:gd name="connsiteY34" fmla="*/ 296807 h 486411"/>
                    <a:gd name="connsiteX35" fmla="*/ 420285 w 440746"/>
                    <a:gd name="connsiteY35" fmla="*/ 277553 h 486411"/>
                    <a:gd name="connsiteX36" fmla="*/ 407854 w 440746"/>
                    <a:gd name="connsiteY36" fmla="*/ 254246 h 486411"/>
                    <a:gd name="connsiteX37" fmla="*/ 411244 w 440746"/>
                    <a:gd name="connsiteY37" fmla="*/ 233979 h 486411"/>
                    <a:gd name="connsiteX38" fmla="*/ 356999 w 440746"/>
                    <a:gd name="connsiteY38" fmla="*/ 237019 h 486411"/>
                    <a:gd name="connsiteX39" fmla="*/ 351348 w 440746"/>
                    <a:gd name="connsiteY39" fmla="*/ 218778 h 486411"/>
                    <a:gd name="connsiteX40" fmla="*/ 344567 w 440746"/>
                    <a:gd name="connsiteY40" fmla="*/ 193444 h 486411"/>
                    <a:gd name="connsiteX41" fmla="*/ 356999 w 440746"/>
                    <a:gd name="connsiteY41" fmla="*/ 177231 h 486411"/>
                    <a:gd name="connsiteX42" fmla="*/ 347958 w 440746"/>
                    <a:gd name="connsiteY42" fmla="*/ 156964 h 486411"/>
                    <a:gd name="connsiteX43" fmla="*/ 336657 w 440746"/>
                    <a:gd name="connsiteY43" fmla="*/ 128590 h 486411"/>
                    <a:gd name="connsiteX44" fmla="*/ 314054 w 440746"/>
                    <a:gd name="connsiteY44" fmla="*/ 128590 h 486411"/>
                    <a:gd name="connsiteX45" fmla="*/ 285801 w 440746"/>
                    <a:gd name="connsiteY45" fmla="*/ 122510 h 486411"/>
                    <a:gd name="connsiteX46" fmla="*/ 259808 w 440746"/>
                    <a:gd name="connsiteY46" fmla="*/ 108323 h 486411"/>
                    <a:gd name="connsiteX47" fmla="*/ 241727 w 440746"/>
                    <a:gd name="connsiteY47" fmla="*/ 94136 h 486411"/>
                    <a:gd name="connsiteX48" fmla="*/ 214604 w 440746"/>
                    <a:gd name="connsiteY48" fmla="*/ 73869 h 486411"/>
                    <a:gd name="connsiteX49" fmla="*/ 190871 w 440746"/>
                    <a:gd name="connsiteY49" fmla="*/ 74882 h 486411"/>
                    <a:gd name="connsiteX50" fmla="*/ 172789 w 440746"/>
                    <a:gd name="connsiteY50" fmla="*/ 69815 h 486411"/>
                    <a:gd name="connsiteX51" fmla="*/ 156968 w 440746"/>
                    <a:gd name="connsiteY51" fmla="*/ 50561 h 486411"/>
                    <a:gd name="connsiteX52" fmla="*/ 169399 w 440746"/>
                    <a:gd name="connsiteY52" fmla="*/ 18134 h 486411"/>
                    <a:gd name="connsiteX53" fmla="*/ 162618 w 440746"/>
                    <a:gd name="connsiteY53" fmla="*/ 9013 h 486411"/>
                    <a:gd name="connsiteX54" fmla="*/ 146797 w 440746"/>
                    <a:gd name="connsiteY54" fmla="*/ 9013 h 486411"/>
                    <a:gd name="connsiteX55" fmla="*/ 103852 w 440746"/>
                    <a:gd name="connsiteY55" fmla="*/ 19147 h 486411"/>
                    <a:gd name="connsiteX56" fmla="*/ 65428 w 440746"/>
                    <a:gd name="connsiteY56" fmla="*/ 56641 h 486411"/>
                    <a:gd name="connsiteX57" fmla="*/ 54127 w 440746"/>
                    <a:gd name="connsiteY57" fmla="*/ 59681 h 486411"/>
                    <a:gd name="connsiteX58" fmla="*/ 48476 w 440746"/>
                    <a:gd name="connsiteY58" fmla="*/ 68802 h 486411"/>
                    <a:gd name="connsiteX59" fmla="*/ 27004 w 440746"/>
                    <a:gd name="connsiteY59" fmla="*/ 76908 h 486411"/>
                    <a:gd name="connsiteX60" fmla="*/ 10052 w 440746"/>
                    <a:gd name="connsiteY60" fmla="*/ 73869 h 486411"/>
                    <a:gd name="connsiteX61" fmla="*/ 32654 w 440746"/>
                    <a:gd name="connsiteY61" fmla="*/ 114403 h 486411"/>
                    <a:gd name="connsiteX62" fmla="*/ 22483 w 440746"/>
                    <a:gd name="connsiteY62" fmla="*/ 138723 h 486411"/>
                    <a:gd name="connsiteX63" fmla="*/ 19093 w 440746"/>
                    <a:gd name="connsiteY63" fmla="*/ 165071 h 486411"/>
                    <a:gd name="connsiteX64" fmla="*/ 29264 w 440746"/>
                    <a:gd name="connsiteY64" fmla="*/ 184324 h 486411"/>
                    <a:gd name="connsiteX65" fmla="*/ 25874 w 440746"/>
                    <a:gd name="connsiteY65" fmla="*/ 197498 h 486411"/>
                    <a:gd name="connsiteX66" fmla="*/ 30394 w 440746"/>
                    <a:gd name="connsiteY66" fmla="*/ 211685 h 486411"/>
                    <a:gd name="connsiteX67" fmla="*/ 33785 w 440746"/>
                    <a:gd name="connsiteY67" fmla="*/ 214725 h 486411"/>
                    <a:gd name="connsiteX68" fmla="*/ 99331 w 440746"/>
                    <a:gd name="connsiteY68" fmla="*/ 322141 h 486411"/>
                    <a:gd name="connsiteX69" fmla="*/ 107242 w 440746"/>
                    <a:gd name="connsiteY69" fmla="*/ 344435 h 486411"/>
                    <a:gd name="connsiteX70" fmla="*/ 99331 w 440746"/>
                    <a:gd name="connsiteY70" fmla="*/ 322141 h 48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0746" h="486411">
                      <a:moveTo>
                        <a:pt x="33785" y="214725"/>
                      </a:moveTo>
                      <a:cubicBezTo>
                        <a:pt x="36045" y="214725"/>
                        <a:pt x="38305" y="215738"/>
                        <a:pt x="40565" y="216752"/>
                      </a:cubicBezTo>
                      <a:cubicBezTo>
                        <a:pt x="46216" y="219792"/>
                        <a:pt x="47346" y="230939"/>
                        <a:pt x="46216" y="228912"/>
                      </a:cubicBezTo>
                      <a:cubicBezTo>
                        <a:pt x="46216" y="228912"/>
                        <a:pt x="46216" y="229925"/>
                        <a:pt x="43956" y="228912"/>
                      </a:cubicBezTo>
                      <a:cubicBezTo>
                        <a:pt x="39435" y="227899"/>
                        <a:pt x="38305" y="227899"/>
                        <a:pt x="36045" y="224859"/>
                      </a:cubicBezTo>
                      <a:lnTo>
                        <a:pt x="36045" y="226885"/>
                      </a:lnTo>
                      <a:cubicBezTo>
                        <a:pt x="36045" y="226885"/>
                        <a:pt x="42825" y="236006"/>
                        <a:pt x="37175" y="243099"/>
                      </a:cubicBezTo>
                      <a:cubicBezTo>
                        <a:pt x="31524" y="251206"/>
                        <a:pt x="16833" y="271473"/>
                        <a:pt x="16833" y="271473"/>
                      </a:cubicBezTo>
                      <a:lnTo>
                        <a:pt x="23613" y="290727"/>
                      </a:lnTo>
                      <a:cubicBezTo>
                        <a:pt x="24743" y="289713"/>
                        <a:pt x="32654" y="320114"/>
                        <a:pt x="40565" y="325181"/>
                      </a:cubicBezTo>
                      <a:cubicBezTo>
                        <a:pt x="49606" y="330248"/>
                        <a:pt x="58647" y="344435"/>
                        <a:pt x="58647" y="344435"/>
                      </a:cubicBezTo>
                      <a:cubicBezTo>
                        <a:pt x="58647" y="344435"/>
                        <a:pt x="62038" y="364702"/>
                        <a:pt x="65428" y="373822"/>
                      </a:cubicBezTo>
                      <a:cubicBezTo>
                        <a:pt x="68818" y="382942"/>
                        <a:pt x="71078" y="399156"/>
                        <a:pt x="76729" y="405236"/>
                      </a:cubicBezTo>
                      <a:cubicBezTo>
                        <a:pt x="82380" y="411316"/>
                        <a:pt x="80119" y="436650"/>
                        <a:pt x="80119" y="436650"/>
                      </a:cubicBezTo>
                      <a:lnTo>
                        <a:pt x="84640" y="465024"/>
                      </a:lnTo>
                      <a:lnTo>
                        <a:pt x="104982" y="474144"/>
                      </a:lnTo>
                      <a:lnTo>
                        <a:pt x="132105" y="454890"/>
                      </a:lnTo>
                      <a:cubicBezTo>
                        <a:pt x="132105" y="454890"/>
                        <a:pt x="150187" y="462997"/>
                        <a:pt x="163748" y="462997"/>
                      </a:cubicBezTo>
                      <a:lnTo>
                        <a:pt x="187481" y="462997"/>
                      </a:lnTo>
                      <a:cubicBezTo>
                        <a:pt x="187481" y="462997"/>
                        <a:pt x="196522" y="477184"/>
                        <a:pt x="198782" y="481238"/>
                      </a:cubicBezTo>
                      <a:cubicBezTo>
                        <a:pt x="199912" y="483265"/>
                        <a:pt x="201042" y="485291"/>
                        <a:pt x="202172" y="485291"/>
                      </a:cubicBezTo>
                      <a:cubicBezTo>
                        <a:pt x="203303" y="485291"/>
                        <a:pt x="205563" y="481238"/>
                        <a:pt x="211213" y="467051"/>
                      </a:cubicBezTo>
                      <a:cubicBezTo>
                        <a:pt x="219124" y="449824"/>
                        <a:pt x="224775" y="460971"/>
                        <a:pt x="224775" y="460971"/>
                      </a:cubicBezTo>
                      <a:lnTo>
                        <a:pt x="276760" y="460971"/>
                      </a:lnTo>
                      <a:lnTo>
                        <a:pt x="298233" y="416383"/>
                      </a:lnTo>
                      <a:lnTo>
                        <a:pt x="298233" y="403209"/>
                      </a:lnTo>
                      <a:cubicBezTo>
                        <a:pt x="298233" y="403209"/>
                        <a:pt x="310664" y="386996"/>
                        <a:pt x="310664" y="381929"/>
                      </a:cubicBezTo>
                      <a:cubicBezTo>
                        <a:pt x="310664" y="376862"/>
                        <a:pt x="331006" y="352542"/>
                        <a:pt x="331006" y="352542"/>
                      </a:cubicBezTo>
                      <a:lnTo>
                        <a:pt x="372820" y="348488"/>
                      </a:lnTo>
                      <a:lnTo>
                        <a:pt x="405594" y="356595"/>
                      </a:lnTo>
                      <a:lnTo>
                        <a:pt x="424806" y="372809"/>
                      </a:lnTo>
                      <a:lnTo>
                        <a:pt x="434977" y="367742"/>
                      </a:lnTo>
                      <a:lnTo>
                        <a:pt x="425936" y="357608"/>
                      </a:lnTo>
                      <a:cubicBezTo>
                        <a:pt x="425936" y="357608"/>
                        <a:pt x="437237" y="326194"/>
                        <a:pt x="437237" y="316061"/>
                      </a:cubicBezTo>
                      <a:cubicBezTo>
                        <a:pt x="437237" y="305927"/>
                        <a:pt x="441757" y="304914"/>
                        <a:pt x="437237" y="296807"/>
                      </a:cubicBezTo>
                      <a:cubicBezTo>
                        <a:pt x="432717" y="288700"/>
                        <a:pt x="430456" y="283633"/>
                        <a:pt x="420285" y="277553"/>
                      </a:cubicBezTo>
                      <a:cubicBezTo>
                        <a:pt x="410114" y="271473"/>
                        <a:pt x="410114" y="264379"/>
                        <a:pt x="407854" y="254246"/>
                      </a:cubicBezTo>
                      <a:cubicBezTo>
                        <a:pt x="405594" y="244112"/>
                        <a:pt x="411244" y="233979"/>
                        <a:pt x="411244" y="233979"/>
                      </a:cubicBezTo>
                      <a:lnTo>
                        <a:pt x="356999" y="237019"/>
                      </a:lnTo>
                      <a:cubicBezTo>
                        <a:pt x="356999" y="237019"/>
                        <a:pt x="358129" y="228912"/>
                        <a:pt x="351348" y="218778"/>
                      </a:cubicBezTo>
                      <a:cubicBezTo>
                        <a:pt x="344567" y="208645"/>
                        <a:pt x="340047" y="200538"/>
                        <a:pt x="344567" y="193444"/>
                      </a:cubicBezTo>
                      <a:cubicBezTo>
                        <a:pt x="349088" y="185338"/>
                        <a:pt x="356999" y="177231"/>
                        <a:pt x="356999" y="177231"/>
                      </a:cubicBezTo>
                      <a:cubicBezTo>
                        <a:pt x="356999" y="177231"/>
                        <a:pt x="352478" y="166084"/>
                        <a:pt x="347958" y="156964"/>
                      </a:cubicBezTo>
                      <a:cubicBezTo>
                        <a:pt x="343437" y="147843"/>
                        <a:pt x="342307" y="135683"/>
                        <a:pt x="336657" y="128590"/>
                      </a:cubicBezTo>
                      <a:cubicBezTo>
                        <a:pt x="331006" y="121496"/>
                        <a:pt x="324225" y="128590"/>
                        <a:pt x="314054" y="128590"/>
                      </a:cubicBezTo>
                      <a:cubicBezTo>
                        <a:pt x="303883" y="128590"/>
                        <a:pt x="298233" y="122510"/>
                        <a:pt x="285801" y="122510"/>
                      </a:cubicBezTo>
                      <a:cubicBezTo>
                        <a:pt x="273370" y="122510"/>
                        <a:pt x="268849" y="113389"/>
                        <a:pt x="259808" y="108323"/>
                      </a:cubicBezTo>
                      <a:cubicBezTo>
                        <a:pt x="250767" y="103256"/>
                        <a:pt x="253028" y="99202"/>
                        <a:pt x="241727" y="94136"/>
                      </a:cubicBezTo>
                      <a:cubicBezTo>
                        <a:pt x="230425" y="89069"/>
                        <a:pt x="224775" y="84002"/>
                        <a:pt x="214604" y="73869"/>
                      </a:cubicBezTo>
                      <a:cubicBezTo>
                        <a:pt x="204432" y="63735"/>
                        <a:pt x="198782" y="76908"/>
                        <a:pt x="190871" y="74882"/>
                      </a:cubicBezTo>
                      <a:cubicBezTo>
                        <a:pt x="182960" y="72855"/>
                        <a:pt x="179570" y="71842"/>
                        <a:pt x="172789" y="69815"/>
                      </a:cubicBezTo>
                      <a:cubicBezTo>
                        <a:pt x="166008" y="66775"/>
                        <a:pt x="161488" y="59681"/>
                        <a:pt x="156968" y="50561"/>
                      </a:cubicBezTo>
                      <a:cubicBezTo>
                        <a:pt x="152447" y="41441"/>
                        <a:pt x="169399" y="18134"/>
                        <a:pt x="169399" y="18134"/>
                      </a:cubicBezTo>
                      <a:lnTo>
                        <a:pt x="162618" y="9013"/>
                      </a:lnTo>
                      <a:lnTo>
                        <a:pt x="146797" y="9013"/>
                      </a:lnTo>
                      <a:cubicBezTo>
                        <a:pt x="136625" y="9013"/>
                        <a:pt x="118544" y="17120"/>
                        <a:pt x="103852" y="19147"/>
                      </a:cubicBezTo>
                      <a:cubicBezTo>
                        <a:pt x="89160" y="22187"/>
                        <a:pt x="65428" y="56641"/>
                        <a:pt x="65428" y="56641"/>
                      </a:cubicBezTo>
                      <a:lnTo>
                        <a:pt x="54127" y="59681"/>
                      </a:lnTo>
                      <a:cubicBezTo>
                        <a:pt x="54127" y="59681"/>
                        <a:pt x="43956" y="63735"/>
                        <a:pt x="48476" y="68802"/>
                      </a:cubicBezTo>
                      <a:cubicBezTo>
                        <a:pt x="52996" y="73869"/>
                        <a:pt x="33785" y="81975"/>
                        <a:pt x="27004" y="76908"/>
                      </a:cubicBezTo>
                      <a:cubicBezTo>
                        <a:pt x="20223" y="71842"/>
                        <a:pt x="10052" y="73869"/>
                        <a:pt x="10052" y="73869"/>
                      </a:cubicBezTo>
                      <a:lnTo>
                        <a:pt x="32654" y="114403"/>
                      </a:lnTo>
                      <a:lnTo>
                        <a:pt x="22483" y="138723"/>
                      </a:lnTo>
                      <a:cubicBezTo>
                        <a:pt x="22483" y="138723"/>
                        <a:pt x="15703" y="156964"/>
                        <a:pt x="19093" y="165071"/>
                      </a:cubicBezTo>
                      <a:cubicBezTo>
                        <a:pt x="23613" y="174191"/>
                        <a:pt x="29264" y="184324"/>
                        <a:pt x="29264" y="184324"/>
                      </a:cubicBezTo>
                      <a:cubicBezTo>
                        <a:pt x="29264" y="184324"/>
                        <a:pt x="22483" y="192431"/>
                        <a:pt x="25874" y="197498"/>
                      </a:cubicBezTo>
                      <a:cubicBezTo>
                        <a:pt x="29264" y="202565"/>
                        <a:pt x="30394" y="211685"/>
                        <a:pt x="30394" y="211685"/>
                      </a:cubicBezTo>
                      <a:lnTo>
                        <a:pt x="33785" y="214725"/>
                      </a:lnTo>
                      <a:close/>
                      <a:moveTo>
                        <a:pt x="99331" y="322141"/>
                      </a:moveTo>
                      <a:cubicBezTo>
                        <a:pt x="111763" y="327208"/>
                        <a:pt x="110633" y="345448"/>
                        <a:pt x="107242" y="344435"/>
                      </a:cubicBezTo>
                      <a:cubicBezTo>
                        <a:pt x="103852" y="341395"/>
                        <a:pt x="89160" y="318087"/>
                        <a:pt x="99331" y="32214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2" name="Freeform: Shape 441">
                  <a:extLst>
                    <a:ext uri="{FF2B5EF4-FFF2-40B4-BE49-F238E27FC236}">
                      <a16:creationId xmlns:a16="http://schemas.microsoft.com/office/drawing/2014/main" id="{4F47481D-CD15-49B9-AB74-69383143A802}"/>
                    </a:ext>
                  </a:extLst>
                </p:cNvPr>
                <p:cNvSpPr/>
                <p:nvPr/>
              </p:nvSpPr>
              <p:spPr>
                <a:xfrm>
                  <a:off x="9031636" y="3147985"/>
                  <a:ext cx="124313" cy="60801"/>
                </a:xfrm>
                <a:custGeom>
                  <a:avLst/>
                  <a:gdLst>
                    <a:gd name="connsiteX0" fmla="*/ 12312 w 124313"/>
                    <a:gd name="connsiteY0" fmla="*/ 35361 h 60801"/>
                    <a:gd name="connsiteX1" fmla="*/ 10052 w 124313"/>
                    <a:gd name="connsiteY1" fmla="*/ 48535 h 60801"/>
                    <a:gd name="connsiteX2" fmla="*/ 22483 w 124313"/>
                    <a:gd name="connsiteY2" fmla="*/ 61708 h 60801"/>
                    <a:gd name="connsiteX3" fmla="*/ 36045 w 124313"/>
                    <a:gd name="connsiteY3" fmla="*/ 58668 h 60801"/>
                    <a:gd name="connsiteX4" fmla="*/ 54127 w 124313"/>
                    <a:gd name="connsiteY4" fmla="*/ 55628 h 60801"/>
                    <a:gd name="connsiteX5" fmla="*/ 74469 w 124313"/>
                    <a:gd name="connsiteY5" fmla="*/ 61708 h 60801"/>
                    <a:gd name="connsiteX6" fmla="*/ 106112 w 124313"/>
                    <a:gd name="connsiteY6" fmla="*/ 60695 h 60801"/>
                    <a:gd name="connsiteX7" fmla="*/ 116284 w 124313"/>
                    <a:gd name="connsiteY7" fmla="*/ 55628 h 60801"/>
                    <a:gd name="connsiteX8" fmla="*/ 116284 w 124313"/>
                    <a:gd name="connsiteY8" fmla="*/ 41441 h 60801"/>
                    <a:gd name="connsiteX9" fmla="*/ 110633 w 124313"/>
                    <a:gd name="connsiteY9" fmla="*/ 17120 h 60801"/>
                    <a:gd name="connsiteX10" fmla="*/ 88031 w 124313"/>
                    <a:gd name="connsiteY10" fmla="*/ 15094 h 60801"/>
                    <a:gd name="connsiteX11" fmla="*/ 72209 w 124313"/>
                    <a:gd name="connsiteY11" fmla="*/ 15094 h 60801"/>
                    <a:gd name="connsiteX12" fmla="*/ 52996 w 124313"/>
                    <a:gd name="connsiteY12" fmla="*/ 9013 h 60801"/>
                    <a:gd name="connsiteX13" fmla="*/ 33784 w 124313"/>
                    <a:gd name="connsiteY13" fmla="*/ 11040 h 60801"/>
                    <a:gd name="connsiteX14" fmla="*/ 23614 w 124313"/>
                    <a:gd name="connsiteY14" fmla="*/ 17120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313" h="60801">
                      <a:moveTo>
                        <a:pt x="12312" y="35361"/>
                      </a:moveTo>
                      <a:lnTo>
                        <a:pt x="10052" y="48535"/>
                      </a:lnTo>
                      <a:lnTo>
                        <a:pt x="22483" y="61708"/>
                      </a:lnTo>
                      <a:lnTo>
                        <a:pt x="36045" y="58668"/>
                      </a:lnTo>
                      <a:lnTo>
                        <a:pt x="54127" y="55628"/>
                      </a:lnTo>
                      <a:lnTo>
                        <a:pt x="74469" y="61708"/>
                      </a:lnTo>
                      <a:lnTo>
                        <a:pt x="106112" y="60695"/>
                      </a:lnTo>
                      <a:lnTo>
                        <a:pt x="116284" y="55628"/>
                      </a:lnTo>
                      <a:lnTo>
                        <a:pt x="116284" y="41441"/>
                      </a:lnTo>
                      <a:lnTo>
                        <a:pt x="110633" y="17120"/>
                      </a:lnTo>
                      <a:lnTo>
                        <a:pt x="88031" y="15094"/>
                      </a:lnTo>
                      <a:lnTo>
                        <a:pt x="72209" y="15094"/>
                      </a:lnTo>
                      <a:lnTo>
                        <a:pt x="52996" y="9013"/>
                      </a:lnTo>
                      <a:lnTo>
                        <a:pt x="33784" y="11040"/>
                      </a:lnTo>
                      <a:lnTo>
                        <a:pt x="23614" y="1712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3" name="Freeform: Shape 442">
                  <a:extLst>
                    <a:ext uri="{FF2B5EF4-FFF2-40B4-BE49-F238E27FC236}">
                      <a16:creationId xmlns:a16="http://schemas.microsoft.com/office/drawing/2014/main" id="{2585D104-9241-4A6D-A213-132D3C4AF044}"/>
                    </a:ext>
                  </a:extLst>
                </p:cNvPr>
                <p:cNvSpPr/>
                <p:nvPr/>
              </p:nvSpPr>
              <p:spPr>
                <a:xfrm>
                  <a:off x="5909116" y="3759652"/>
                  <a:ext cx="113012" cy="283740"/>
                </a:xfrm>
                <a:custGeom>
                  <a:avLst/>
                  <a:gdLst>
                    <a:gd name="connsiteX0" fmla="*/ 78989 w 113011"/>
                    <a:gd name="connsiteY0" fmla="*/ 261740 h 283739"/>
                    <a:gd name="connsiteX1" fmla="*/ 83510 w 113011"/>
                    <a:gd name="connsiteY1" fmla="*/ 235392 h 283739"/>
                    <a:gd name="connsiteX2" fmla="*/ 78989 w 113011"/>
                    <a:gd name="connsiteY2" fmla="*/ 212085 h 283739"/>
                    <a:gd name="connsiteX3" fmla="*/ 82379 w 113011"/>
                    <a:gd name="connsiteY3" fmla="*/ 168511 h 283739"/>
                    <a:gd name="connsiteX4" fmla="*/ 85770 w 113011"/>
                    <a:gd name="connsiteY4" fmla="*/ 157364 h 283739"/>
                    <a:gd name="connsiteX5" fmla="*/ 91421 w 113011"/>
                    <a:gd name="connsiteY5" fmla="*/ 146217 h 283739"/>
                    <a:gd name="connsiteX6" fmla="*/ 97071 w 113011"/>
                    <a:gd name="connsiteY6" fmla="*/ 132030 h 283739"/>
                    <a:gd name="connsiteX7" fmla="*/ 100462 w 113011"/>
                    <a:gd name="connsiteY7" fmla="*/ 111763 h 283739"/>
                    <a:gd name="connsiteX8" fmla="*/ 109502 w 113011"/>
                    <a:gd name="connsiteY8" fmla="*/ 100616 h 283739"/>
                    <a:gd name="connsiteX9" fmla="*/ 109502 w 113011"/>
                    <a:gd name="connsiteY9" fmla="*/ 81362 h 283739"/>
                    <a:gd name="connsiteX10" fmla="*/ 106112 w 113011"/>
                    <a:gd name="connsiteY10" fmla="*/ 62108 h 283739"/>
                    <a:gd name="connsiteX11" fmla="*/ 100462 w 113011"/>
                    <a:gd name="connsiteY11" fmla="*/ 50961 h 283739"/>
                    <a:gd name="connsiteX12" fmla="*/ 101591 w 113011"/>
                    <a:gd name="connsiteY12" fmla="*/ 31707 h 283739"/>
                    <a:gd name="connsiteX13" fmla="*/ 80120 w 113011"/>
                    <a:gd name="connsiteY13" fmla="*/ 23601 h 283739"/>
                    <a:gd name="connsiteX14" fmla="*/ 75599 w 113011"/>
                    <a:gd name="connsiteY14" fmla="*/ 12454 h 283739"/>
                    <a:gd name="connsiteX15" fmla="*/ 59777 w 113011"/>
                    <a:gd name="connsiteY15" fmla="*/ 9414 h 283739"/>
                    <a:gd name="connsiteX16" fmla="*/ 45085 w 113011"/>
                    <a:gd name="connsiteY16" fmla="*/ 25627 h 283739"/>
                    <a:gd name="connsiteX17" fmla="*/ 40565 w 113011"/>
                    <a:gd name="connsiteY17" fmla="*/ 35761 h 283739"/>
                    <a:gd name="connsiteX18" fmla="*/ 28134 w 113011"/>
                    <a:gd name="connsiteY18" fmla="*/ 41841 h 283739"/>
                    <a:gd name="connsiteX19" fmla="*/ 22483 w 113011"/>
                    <a:gd name="connsiteY19" fmla="*/ 51975 h 283739"/>
                    <a:gd name="connsiteX20" fmla="*/ 13442 w 113011"/>
                    <a:gd name="connsiteY20" fmla="*/ 51975 h 283739"/>
                    <a:gd name="connsiteX21" fmla="*/ 10052 w 113011"/>
                    <a:gd name="connsiteY21" fmla="*/ 85416 h 283739"/>
                    <a:gd name="connsiteX22" fmla="*/ 37174 w 113011"/>
                    <a:gd name="connsiteY22" fmla="*/ 91495 h 283739"/>
                    <a:gd name="connsiteX23" fmla="*/ 38305 w 113011"/>
                    <a:gd name="connsiteY23" fmla="*/ 112776 h 283739"/>
                    <a:gd name="connsiteX24" fmla="*/ 41695 w 113011"/>
                    <a:gd name="connsiteY24" fmla="*/ 131017 h 283739"/>
                    <a:gd name="connsiteX25" fmla="*/ 41695 w 113011"/>
                    <a:gd name="connsiteY25" fmla="*/ 154324 h 283739"/>
                    <a:gd name="connsiteX26" fmla="*/ 41695 w 113011"/>
                    <a:gd name="connsiteY26" fmla="*/ 183711 h 283739"/>
                    <a:gd name="connsiteX27" fmla="*/ 40565 w 113011"/>
                    <a:gd name="connsiteY27" fmla="*/ 209045 h 283739"/>
                    <a:gd name="connsiteX28" fmla="*/ 39435 w 113011"/>
                    <a:gd name="connsiteY28" fmla="*/ 230325 h 283739"/>
                    <a:gd name="connsiteX29" fmla="*/ 40565 w 113011"/>
                    <a:gd name="connsiteY29" fmla="*/ 251606 h 283739"/>
                    <a:gd name="connsiteX30" fmla="*/ 45085 w 113011"/>
                    <a:gd name="connsiteY30" fmla="*/ 259713 h 283739"/>
                    <a:gd name="connsiteX31" fmla="*/ 50736 w 113011"/>
                    <a:gd name="connsiteY31" fmla="*/ 278966 h 283739"/>
                    <a:gd name="connsiteX32" fmla="*/ 51867 w 113011"/>
                    <a:gd name="connsiteY32" fmla="*/ 278966 h 283739"/>
                    <a:gd name="connsiteX33" fmla="*/ 59777 w 113011"/>
                    <a:gd name="connsiteY33" fmla="*/ 266806 h 283739"/>
                    <a:gd name="connsiteX34" fmla="*/ 78989 w 113011"/>
                    <a:gd name="connsiteY34" fmla="*/ 261740 h 28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3011" h="283739">
                      <a:moveTo>
                        <a:pt x="78989" y="261740"/>
                      </a:moveTo>
                      <a:cubicBezTo>
                        <a:pt x="78989" y="261740"/>
                        <a:pt x="83510" y="242486"/>
                        <a:pt x="83510" y="235392"/>
                      </a:cubicBezTo>
                      <a:cubicBezTo>
                        <a:pt x="83510" y="228299"/>
                        <a:pt x="86900" y="220192"/>
                        <a:pt x="78989" y="212085"/>
                      </a:cubicBezTo>
                      <a:cubicBezTo>
                        <a:pt x="72209" y="203978"/>
                        <a:pt x="85770" y="176618"/>
                        <a:pt x="82379" y="168511"/>
                      </a:cubicBezTo>
                      <a:cubicBezTo>
                        <a:pt x="77859" y="160404"/>
                        <a:pt x="77859" y="153310"/>
                        <a:pt x="85770" y="157364"/>
                      </a:cubicBezTo>
                      <a:cubicBezTo>
                        <a:pt x="92551" y="161417"/>
                        <a:pt x="95941" y="152297"/>
                        <a:pt x="91421" y="146217"/>
                      </a:cubicBezTo>
                      <a:cubicBezTo>
                        <a:pt x="86900" y="140137"/>
                        <a:pt x="92551" y="140137"/>
                        <a:pt x="97071" y="132030"/>
                      </a:cubicBezTo>
                      <a:cubicBezTo>
                        <a:pt x="101591" y="123923"/>
                        <a:pt x="100462" y="121896"/>
                        <a:pt x="100462" y="111763"/>
                      </a:cubicBezTo>
                      <a:cubicBezTo>
                        <a:pt x="100462" y="101629"/>
                        <a:pt x="101591" y="100616"/>
                        <a:pt x="109502" y="100616"/>
                      </a:cubicBezTo>
                      <a:cubicBezTo>
                        <a:pt x="117413" y="100616"/>
                        <a:pt x="104982" y="92509"/>
                        <a:pt x="109502" y="81362"/>
                      </a:cubicBezTo>
                      <a:cubicBezTo>
                        <a:pt x="114023" y="70215"/>
                        <a:pt x="114023" y="66162"/>
                        <a:pt x="106112" y="62108"/>
                      </a:cubicBezTo>
                      <a:cubicBezTo>
                        <a:pt x="98201" y="58055"/>
                        <a:pt x="94811" y="56028"/>
                        <a:pt x="100462" y="50961"/>
                      </a:cubicBezTo>
                      <a:cubicBezTo>
                        <a:pt x="106112" y="45894"/>
                        <a:pt x="101591" y="31707"/>
                        <a:pt x="101591" y="31707"/>
                      </a:cubicBezTo>
                      <a:lnTo>
                        <a:pt x="80120" y="23601"/>
                      </a:lnTo>
                      <a:cubicBezTo>
                        <a:pt x="80120" y="23601"/>
                        <a:pt x="84640" y="17521"/>
                        <a:pt x="75599" y="12454"/>
                      </a:cubicBezTo>
                      <a:cubicBezTo>
                        <a:pt x="66558" y="7387"/>
                        <a:pt x="59777" y="9414"/>
                        <a:pt x="59777" y="9414"/>
                      </a:cubicBezTo>
                      <a:lnTo>
                        <a:pt x="45085" y="25627"/>
                      </a:lnTo>
                      <a:cubicBezTo>
                        <a:pt x="45085" y="25627"/>
                        <a:pt x="48476" y="30694"/>
                        <a:pt x="40565" y="35761"/>
                      </a:cubicBezTo>
                      <a:cubicBezTo>
                        <a:pt x="32654" y="40828"/>
                        <a:pt x="28134" y="41841"/>
                        <a:pt x="28134" y="41841"/>
                      </a:cubicBezTo>
                      <a:cubicBezTo>
                        <a:pt x="28134" y="41841"/>
                        <a:pt x="28134" y="51975"/>
                        <a:pt x="22483" y="51975"/>
                      </a:cubicBezTo>
                      <a:cubicBezTo>
                        <a:pt x="16832" y="51975"/>
                        <a:pt x="13442" y="51975"/>
                        <a:pt x="13442" y="51975"/>
                      </a:cubicBezTo>
                      <a:lnTo>
                        <a:pt x="10052" y="85416"/>
                      </a:lnTo>
                      <a:lnTo>
                        <a:pt x="37174" y="91495"/>
                      </a:lnTo>
                      <a:cubicBezTo>
                        <a:pt x="37174" y="91495"/>
                        <a:pt x="41695" y="105683"/>
                        <a:pt x="38305" y="112776"/>
                      </a:cubicBezTo>
                      <a:cubicBezTo>
                        <a:pt x="34915" y="119870"/>
                        <a:pt x="41695" y="131017"/>
                        <a:pt x="41695" y="131017"/>
                      </a:cubicBezTo>
                      <a:cubicBezTo>
                        <a:pt x="41695" y="131017"/>
                        <a:pt x="47346" y="139123"/>
                        <a:pt x="41695" y="154324"/>
                      </a:cubicBezTo>
                      <a:cubicBezTo>
                        <a:pt x="36045" y="169524"/>
                        <a:pt x="41695" y="170537"/>
                        <a:pt x="41695" y="183711"/>
                      </a:cubicBezTo>
                      <a:cubicBezTo>
                        <a:pt x="41695" y="196885"/>
                        <a:pt x="45085" y="197898"/>
                        <a:pt x="40565" y="209045"/>
                      </a:cubicBezTo>
                      <a:cubicBezTo>
                        <a:pt x="36045" y="220192"/>
                        <a:pt x="36045" y="222219"/>
                        <a:pt x="39435" y="230325"/>
                      </a:cubicBezTo>
                      <a:cubicBezTo>
                        <a:pt x="42825" y="238432"/>
                        <a:pt x="40565" y="251606"/>
                        <a:pt x="40565" y="251606"/>
                      </a:cubicBezTo>
                      <a:cubicBezTo>
                        <a:pt x="40565" y="251606"/>
                        <a:pt x="39435" y="251606"/>
                        <a:pt x="45085" y="259713"/>
                      </a:cubicBezTo>
                      <a:cubicBezTo>
                        <a:pt x="50736" y="267820"/>
                        <a:pt x="50736" y="278966"/>
                        <a:pt x="50736" y="278966"/>
                      </a:cubicBezTo>
                      <a:lnTo>
                        <a:pt x="51867" y="278966"/>
                      </a:lnTo>
                      <a:cubicBezTo>
                        <a:pt x="51867" y="278966"/>
                        <a:pt x="58647" y="267820"/>
                        <a:pt x="59777" y="266806"/>
                      </a:cubicBezTo>
                      <a:cubicBezTo>
                        <a:pt x="63168" y="265793"/>
                        <a:pt x="69948" y="263766"/>
                        <a:pt x="78989" y="26174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4" name="Freeform: Shape 443">
                  <a:extLst>
                    <a:ext uri="{FF2B5EF4-FFF2-40B4-BE49-F238E27FC236}">
                      <a16:creationId xmlns:a16="http://schemas.microsoft.com/office/drawing/2014/main" id="{F4F33229-5EE7-4639-9B44-8D15E69DFBC3}"/>
                    </a:ext>
                  </a:extLst>
                </p:cNvPr>
                <p:cNvSpPr/>
                <p:nvPr/>
              </p:nvSpPr>
              <p:spPr>
                <a:xfrm>
                  <a:off x="2739130" y="3535581"/>
                  <a:ext cx="56506" cy="121603"/>
                </a:xfrm>
                <a:custGeom>
                  <a:avLst/>
                  <a:gdLst>
                    <a:gd name="connsiteX0" fmla="*/ 24743 w 56505"/>
                    <a:gd name="connsiteY0" fmla="*/ 111882 h 121602"/>
                    <a:gd name="connsiteX1" fmla="*/ 43956 w 56505"/>
                    <a:gd name="connsiteY1" fmla="*/ 61214 h 121602"/>
                    <a:gd name="connsiteX2" fmla="*/ 51866 w 56505"/>
                    <a:gd name="connsiteY2" fmla="*/ 51080 h 121602"/>
                    <a:gd name="connsiteX3" fmla="*/ 51866 w 56505"/>
                    <a:gd name="connsiteY3" fmla="*/ 16626 h 121602"/>
                    <a:gd name="connsiteX4" fmla="*/ 40565 w 56505"/>
                    <a:gd name="connsiteY4" fmla="*/ 11559 h 121602"/>
                    <a:gd name="connsiteX5" fmla="*/ 40565 w 56505"/>
                    <a:gd name="connsiteY5" fmla="*/ 10546 h 121602"/>
                    <a:gd name="connsiteX6" fmla="*/ 25874 w 56505"/>
                    <a:gd name="connsiteY6" fmla="*/ 14599 h 121602"/>
                    <a:gd name="connsiteX7" fmla="*/ 13442 w 56505"/>
                    <a:gd name="connsiteY7" fmla="*/ 23719 h 121602"/>
                    <a:gd name="connsiteX8" fmla="*/ 10052 w 56505"/>
                    <a:gd name="connsiteY8" fmla="*/ 112895 h 121602"/>
                    <a:gd name="connsiteX9" fmla="*/ 24743 w 56505"/>
                    <a:gd name="connsiteY9" fmla="*/ 111882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505" h="121602">
                      <a:moveTo>
                        <a:pt x="24743" y="111882"/>
                      </a:moveTo>
                      <a:cubicBezTo>
                        <a:pt x="33784" y="101748"/>
                        <a:pt x="57517" y="68307"/>
                        <a:pt x="43956" y="61214"/>
                      </a:cubicBezTo>
                      <a:cubicBezTo>
                        <a:pt x="43956" y="60200"/>
                        <a:pt x="51866" y="51080"/>
                        <a:pt x="51866" y="51080"/>
                      </a:cubicBezTo>
                      <a:cubicBezTo>
                        <a:pt x="56387" y="36893"/>
                        <a:pt x="51866" y="28786"/>
                        <a:pt x="51866" y="16626"/>
                      </a:cubicBezTo>
                      <a:cubicBezTo>
                        <a:pt x="48476" y="15613"/>
                        <a:pt x="43956" y="13586"/>
                        <a:pt x="40565" y="11559"/>
                      </a:cubicBezTo>
                      <a:lnTo>
                        <a:pt x="40565" y="10546"/>
                      </a:lnTo>
                      <a:cubicBezTo>
                        <a:pt x="31524" y="5479"/>
                        <a:pt x="25874" y="14599"/>
                        <a:pt x="25874" y="14599"/>
                      </a:cubicBezTo>
                      <a:lnTo>
                        <a:pt x="13442" y="23719"/>
                      </a:lnTo>
                      <a:lnTo>
                        <a:pt x="10052" y="112895"/>
                      </a:lnTo>
                      <a:lnTo>
                        <a:pt x="24743" y="11188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5" name="Freeform: Shape 444">
                  <a:extLst>
                    <a:ext uri="{FF2B5EF4-FFF2-40B4-BE49-F238E27FC236}">
                      <a16:creationId xmlns:a16="http://schemas.microsoft.com/office/drawing/2014/main" id="{30A6B482-D4BD-42B6-9866-27E00EE34D19}"/>
                    </a:ext>
                  </a:extLst>
                </p:cNvPr>
                <p:cNvSpPr/>
                <p:nvPr/>
              </p:nvSpPr>
              <p:spPr>
                <a:xfrm>
                  <a:off x="5963361" y="2109294"/>
                  <a:ext cx="158217" cy="101336"/>
                </a:xfrm>
                <a:custGeom>
                  <a:avLst/>
                  <a:gdLst>
                    <a:gd name="connsiteX0" fmla="*/ 50736 w 158216"/>
                    <a:gd name="connsiteY0" fmla="*/ 9013 h 101335"/>
                    <a:gd name="connsiteX1" fmla="*/ 36045 w 158216"/>
                    <a:gd name="connsiteY1" fmla="*/ 16107 h 101335"/>
                    <a:gd name="connsiteX2" fmla="*/ 10052 w 158216"/>
                    <a:gd name="connsiteY2" fmla="*/ 22187 h 101335"/>
                    <a:gd name="connsiteX3" fmla="*/ 19093 w 158216"/>
                    <a:gd name="connsiteY3" fmla="*/ 32321 h 101335"/>
                    <a:gd name="connsiteX4" fmla="*/ 28134 w 158216"/>
                    <a:gd name="connsiteY4" fmla="*/ 37387 h 101335"/>
                    <a:gd name="connsiteX5" fmla="*/ 32654 w 158216"/>
                    <a:gd name="connsiteY5" fmla="*/ 50561 h 101335"/>
                    <a:gd name="connsiteX6" fmla="*/ 48476 w 158216"/>
                    <a:gd name="connsiteY6" fmla="*/ 60695 h 101335"/>
                    <a:gd name="connsiteX7" fmla="*/ 64298 w 158216"/>
                    <a:gd name="connsiteY7" fmla="*/ 61708 h 101335"/>
                    <a:gd name="connsiteX8" fmla="*/ 71079 w 158216"/>
                    <a:gd name="connsiteY8" fmla="*/ 75895 h 101335"/>
                    <a:gd name="connsiteX9" fmla="*/ 89160 w 158216"/>
                    <a:gd name="connsiteY9" fmla="*/ 85015 h 101335"/>
                    <a:gd name="connsiteX10" fmla="*/ 104982 w 158216"/>
                    <a:gd name="connsiteY10" fmla="*/ 85015 h 101335"/>
                    <a:gd name="connsiteX11" fmla="*/ 111763 w 158216"/>
                    <a:gd name="connsiteY11" fmla="*/ 98189 h 101335"/>
                    <a:gd name="connsiteX12" fmla="*/ 121934 w 158216"/>
                    <a:gd name="connsiteY12" fmla="*/ 99202 h 101335"/>
                    <a:gd name="connsiteX13" fmla="*/ 137755 w 158216"/>
                    <a:gd name="connsiteY13" fmla="*/ 96162 h 101335"/>
                    <a:gd name="connsiteX14" fmla="*/ 140016 w 158216"/>
                    <a:gd name="connsiteY14" fmla="*/ 90082 h 101335"/>
                    <a:gd name="connsiteX15" fmla="*/ 147927 w 158216"/>
                    <a:gd name="connsiteY15" fmla="*/ 77922 h 101335"/>
                    <a:gd name="connsiteX16" fmla="*/ 144537 w 158216"/>
                    <a:gd name="connsiteY16" fmla="*/ 54614 h 101335"/>
                    <a:gd name="connsiteX17" fmla="*/ 147927 w 158216"/>
                    <a:gd name="connsiteY17" fmla="*/ 44481 h 101335"/>
                    <a:gd name="connsiteX18" fmla="*/ 132105 w 158216"/>
                    <a:gd name="connsiteY18" fmla="*/ 36374 h 101335"/>
                    <a:gd name="connsiteX19" fmla="*/ 117413 w 158216"/>
                    <a:gd name="connsiteY19" fmla="*/ 28267 h 101335"/>
                    <a:gd name="connsiteX20" fmla="*/ 101591 w 158216"/>
                    <a:gd name="connsiteY20" fmla="*/ 24214 h 101335"/>
                    <a:gd name="connsiteX21" fmla="*/ 78989 w 158216"/>
                    <a:gd name="connsiteY21" fmla="*/ 30294 h 101335"/>
                    <a:gd name="connsiteX22" fmla="*/ 50736 w 158216"/>
                    <a:gd name="connsiteY22" fmla="*/ 9013 h 10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8216" h="101335">
                      <a:moveTo>
                        <a:pt x="50736" y="9013"/>
                      </a:moveTo>
                      <a:cubicBezTo>
                        <a:pt x="46216" y="10027"/>
                        <a:pt x="39435" y="15093"/>
                        <a:pt x="36045" y="16107"/>
                      </a:cubicBezTo>
                      <a:cubicBezTo>
                        <a:pt x="25874" y="18134"/>
                        <a:pt x="17963" y="20160"/>
                        <a:pt x="10052" y="22187"/>
                      </a:cubicBezTo>
                      <a:lnTo>
                        <a:pt x="19093" y="32321"/>
                      </a:lnTo>
                      <a:cubicBezTo>
                        <a:pt x="19093" y="32321"/>
                        <a:pt x="24743" y="29281"/>
                        <a:pt x="28134" y="37387"/>
                      </a:cubicBezTo>
                      <a:cubicBezTo>
                        <a:pt x="31525" y="45494"/>
                        <a:pt x="32654" y="50561"/>
                        <a:pt x="32654" y="50561"/>
                      </a:cubicBezTo>
                      <a:cubicBezTo>
                        <a:pt x="32654" y="50561"/>
                        <a:pt x="38305" y="50561"/>
                        <a:pt x="48476" y="60695"/>
                      </a:cubicBezTo>
                      <a:cubicBezTo>
                        <a:pt x="58647" y="70828"/>
                        <a:pt x="64298" y="61708"/>
                        <a:pt x="64298" y="61708"/>
                      </a:cubicBezTo>
                      <a:cubicBezTo>
                        <a:pt x="64298" y="61708"/>
                        <a:pt x="63168" y="67788"/>
                        <a:pt x="71079" y="75895"/>
                      </a:cubicBezTo>
                      <a:cubicBezTo>
                        <a:pt x="78989" y="84002"/>
                        <a:pt x="82380" y="80962"/>
                        <a:pt x="89160" y="85015"/>
                      </a:cubicBezTo>
                      <a:cubicBezTo>
                        <a:pt x="95941" y="89069"/>
                        <a:pt x="104982" y="74882"/>
                        <a:pt x="104982" y="85015"/>
                      </a:cubicBezTo>
                      <a:cubicBezTo>
                        <a:pt x="104982" y="95149"/>
                        <a:pt x="103852" y="98189"/>
                        <a:pt x="111763" y="98189"/>
                      </a:cubicBezTo>
                      <a:cubicBezTo>
                        <a:pt x="119674" y="98189"/>
                        <a:pt x="121934" y="99202"/>
                        <a:pt x="121934" y="99202"/>
                      </a:cubicBezTo>
                      <a:lnTo>
                        <a:pt x="137755" y="96162"/>
                      </a:lnTo>
                      <a:cubicBezTo>
                        <a:pt x="137755" y="94135"/>
                        <a:pt x="137755" y="93122"/>
                        <a:pt x="140016" y="90082"/>
                      </a:cubicBezTo>
                      <a:cubicBezTo>
                        <a:pt x="143406" y="85015"/>
                        <a:pt x="134365" y="77922"/>
                        <a:pt x="147927" y="77922"/>
                      </a:cubicBezTo>
                      <a:cubicBezTo>
                        <a:pt x="147927" y="77922"/>
                        <a:pt x="156968" y="59681"/>
                        <a:pt x="144537" y="54614"/>
                      </a:cubicBezTo>
                      <a:cubicBezTo>
                        <a:pt x="132105" y="49548"/>
                        <a:pt x="154707" y="44481"/>
                        <a:pt x="147927" y="44481"/>
                      </a:cubicBezTo>
                      <a:cubicBezTo>
                        <a:pt x="141146" y="44481"/>
                        <a:pt x="132105" y="36374"/>
                        <a:pt x="132105" y="36374"/>
                      </a:cubicBezTo>
                      <a:cubicBezTo>
                        <a:pt x="132105" y="36374"/>
                        <a:pt x="117413" y="36374"/>
                        <a:pt x="117413" y="28267"/>
                      </a:cubicBezTo>
                      <a:cubicBezTo>
                        <a:pt x="117413" y="20160"/>
                        <a:pt x="110633" y="24214"/>
                        <a:pt x="101591" y="24214"/>
                      </a:cubicBezTo>
                      <a:cubicBezTo>
                        <a:pt x="92551" y="24214"/>
                        <a:pt x="90290" y="32321"/>
                        <a:pt x="78989" y="30294"/>
                      </a:cubicBezTo>
                      <a:cubicBezTo>
                        <a:pt x="59778" y="28267"/>
                        <a:pt x="50736" y="9013"/>
                        <a:pt x="50736"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6" name="Freeform: Shape 445">
                  <a:extLst>
                    <a:ext uri="{FF2B5EF4-FFF2-40B4-BE49-F238E27FC236}">
                      <a16:creationId xmlns:a16="http://schemas.microsoft.com/office/drawing/2014/main" id="{4D750172-E6AC-4D17-B024-62113412C121}"/>
                    </a:ext>
                  </a:extLst>
                </p:cNvPr>
                <p:cNvSpPr/>
                <p:nvPr/>
              </p:nvSpPr>
              <p:spPr>
                <a:xfrm>
                  <a:off x="6756705" y="1874219"/>
                  <a:ext cx="282530" cy="233072"/>
                </a:xfrm>
                <a:custGeom>
                  <a:avLst/>
                  <a:gdLst>
                    <a:gd name="connsiteX0" fmla="*/ 82379 w 282529"/>
                    <a:gd name="connsiteY0" fmla="*/ 55604 h 233072"/>
                    <a:gd name="connsiteX1" fmla="*/ 108373 w 282529"/>
                    <a:gd name="connsiteY1" fmla="*/ 41417 h 233072"/>
                    <a:gd name="connsiteX2" fmla="*/ 120804 w 282529"/>
                    <a:gd name="connsiteY2" fmla="*/ 31284 h 233072"/>
                    <a:gd name="connsiteX3" fmla="*/ 129844 w 282529"/>
                    <a:gd name="connsiteY3" fmla="*/ 11016 h 233072"/>
                    <a:gd name="connsiteX4" fmla="*/ 153577 w 282529"/>
                    <a:gd name="connsiteY4" fmla="*/ 11016 h 233072"/>
                    <a:gd name="connsiteX5" fmla="*/ 164879 w 282529"/>
                    <a:gd name="connsiteY5" fmla="*/ 21150 h 233072"/>
                    <a:gd name="connsiteX6" fmla="*/ 180700 w 282529"/>
                    <a:gd name="connsiteY6" fmla="*/ 16083 h 233072"/>
                    <a:gd name="connsiteX7" fmla="*/ 197652 w 282529"/>
                    <a:gd name="connsiteY7" fmla="*/ 20137 h 233072"/>
                    <a:gd name="connsiteX8" fmla="*/ 217994 w 282529"/>
                    <a:gd name="connsiteY8" fmla="*/ 33310 h 233072"/>
                    <a:gd name="connsiteX9" fmla="*/ 230425 w 282529"/>
                    <a:gd name="connsiteY9" fmla="*/ 48511 h 233072"/>
                    <a:gd name="connsiteX10" fmla="*/ 239466 w 282529"/>
                    <a:gd name="connsiteY10" fmla="*/ 74858 h 233072"/>
                    <a:gd name="connsiteX11" fmla="*/ 243987 w 282529"/>
                    <a:gd name="connsiteY11" fmla="*/ 101205 h 233072"/>
                    <a:gd name="connsiteX12" fmla="*/ 266589 w 282529"/>
                    <a:gd name="connsiteY12" fmla="*/ 119446 h 233072"/>
                    <a:gd name="connsiteX13" fmla="*/ 266589 w 282529"/>
                    <a:gd name="connsiteY13" fmla="*/ 143766 h 233072"/>
                    <a:gd name="connsiteX14" fmla="*/ 242856 w 282529"/>
                    <a:gd name="connsiteY14" fmla="*/ 146806 h 233072"/>
                    <a:gd name="connsiteX15" fmla="*/ 257548 w 282529"/>
                    <a:gd name="connsiteY15" fmla="*/ 165047 h 233072"/>
                    <a:gd name="connsiteX16" fmla="*/ 257548 w 282529"/>
                    <a:gd name="connsiteY16" fmla="*/ 203554 h 233072"/>
                    <a:gd name="connsiteX17" fmla="*/ 243987 w 282529"/>
                    <a:gd name="connsiteY17" fmla="*/ 204567 h 233072"/>
                    <a:gd name="connsiteX18" fmla="*/ 233816 w 282529"/>
                    <a:gd name="connsiteY18" fmla="*/ 214701 h 233072"/>
                    <a:gd name="connsiteX19" fmla="*/ 223644 w 282529"/>
                    <a:gd name="connsiteY19" fmla="*/ 227875 h 233072"/>
                    <a:gd name="connsiteX20" fmla="*/ 194261 w 282529"/>
                    <a:gd name="connsiteY20" fmla="*/ 224835 h 233072"/>
                    <a:gd name="connsiteX21" fmla="*/ 178439 w 282529"/>
                    <a:gd name="connsiteY21" fmla="*/ 224835 h 233072"/>
                    <a:gd name="connsiteX22" fmla="*/ 162618 w 282529"/>
                    <a:gd name="connsiteY22" fmla="*/ 220781 h 233072"/>
                    <a:gd name="connsiteX23" fmla="*/ 156968 w 282529"/>
                    <a:gd name="connsiteY23" fmla="*/ 230915 h 233072"/>
                    <a:gd name="connsiteX24" fmla="*/ 152447 w 282529"/>
                    <a:gd name="connsiteY24" fmla="*/ 221795 h 233072"/>
                    <a:gd name="connsiteX25" fmla="*/ 140016 w 282529"/>
                    <a:gd name="connsiteY25" fmla="*/ 222808 h 233072"/>
                    <a:gd name="connsiteX26" fmla="*/ 110632 w 282529"/>
                    <a:gd name="connsiteY26" fmla="*/ 221795 h 233072"/>
                    <a:gd name="connsiteX27" fmla="*/ 72209 w 282529"/>
                    <a:gd name="connsiteY27" fmla="*/ 216728 h 233072"/>
                    <a:gd name="connsiteX28" fmla="*/ 45085 w 282529"/>
                    <a:gd name="connsiteY28" fmla="*/ 217741 h 233072"/>
                    <a:gd name="connsiteX29" fmla="*/ 30394 w 282529"/>
                    <a:gd name="connsiteY29" fmla="*/ 223821 h 233072"/>
                    <a:gd name="connsiteX30" fmla="*/ 12312 w 282529"/>
                    <a:gd name="connsiteY30" fmla="*/ 220781 h 233072"/>
                    <a:gd name="connsiteX31" fmla="*/ 11182 w 282529"/>
                    <a:gd name="connsiteY31" fmla="*/ 195447 h 233072"/>
                    <a:gd name="connsiteX32" fmla="*/ 20223 w 282529"/>
                    <a:gd name="connsiteY32" fmla="*/ 167073 h 233072"/>
                    <a:gd name="connsiteX33" fmla="*/ 10052 w 282529"/>
                    <a:gd name="connsiteY33" fmla="*/ 140726 h 233072"/>
                    <a:gd name="connsiteX34" fmla="*/ 27004 w 282529"/>
                    <a:gd name="connsiteY34" fmla="*/ 134646 h 233072"/>
                    <a:gd name="connsiteX35" fmla="*/ 45085 w 282529"/>
                    <a:gd name="connsiteY35" fmla="*/ 134646 h 233072"/>
                    <a:gd name="connsiteX36" fmla="*/ 51867 w 282529"/>
                    <a:gd name="connsiteY36" fmla="*/ 123499 h 233072"/>
                    <a:gd name="connsiteX37" fmla="*/ 66558 w 282529"/>
                    <a:gd name="connsiteY37" fmla="*/ 122486 h 233072"/>
                    <a:gd name="connsiteX38" fmla="*/ 66558 w 282529"/>
                    <a:gd name="connsiteY38" fmla="*/ 103232 h 233072"/>
                    <a:gd name="connsiteX39" fmla="*/ 81249 w 282529"/>
                    <a:gd name="connsiteY39" fmla="*/ 73844 h 233072"/>
                    <a:gd name="connsiteX40" fmla="*/ 82379 w 282529"/>
                    <a:gd name="connsiteY40" fmla="*/ 55604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2529" h="233072">
                      <a:moveTo>
                        <a:pt x="82379" y="55604"/>
                      </a:moveTo>
                      <a:cubicBezTo>
                        <a:pt x="82379" y="55604"/>
                        <a:pt x="94811" y="35337"/>
                        <a:pt x="108373" y="41417"/>
                      </a:cubicBezTo>
                      <a:cubicBezTo>
                        <a:pt x="121933" y="47497"/>
                        <a:pt x="120804" y="45470"/>
                        <a:pt x="120804" y="31284"/>
                      </a:cubicBezTo>
                      <a:cubicBezTo>
                        <a:pt x="120804" y="17096"/>
                        <a:pt x="129844" y="11016"/>
                        <a:pt x="129844" y="11016"/>
                      </a:cubicBezTo>
                      <a:cubicBezTo>
                        <a:pt x="129844" y="11016"/>
                        <a:pt x="147927" y="20137"/>
                        <a:pt x="153577" y="11016"/>
                      </a:cubicBezTo>
                      <a:cubicBezTo>
                        <a:pt x="159228" y="1896"/>
                        <a:pt x="156968" y="27230"/>
                        <a:pt x="164879" y="21150"/>
                      </a:cubicBezTo>
                      <a:cubicBezTo>
                        <a:pt x="172789" y="15070"/>
                        <a:pt x="180700" y="16083"/>
                        <a:pt x="180700" y="16083"/>
                      </a:cubicBezTo>
                      <a:cubicBezTo>
                        <a:pt x="180700" y="16083"/>
                        <a:pt x="189741" y="17096"/>
                        <a:pt x="197652" y="20137"/>
                      </a:cubicBezTo>
                      <a:cubicBezTo>
                        <a:pt x="205563" y="23177"/>
                        <a:pt x="215734" y="24190"/>
                        <a:pt x="217994" y="33310"/>
                      </a:cubicBezTo>
                      <a:cubicBezTo>
                        <a:pt x="220254" y="42430"/>
                        <a:pt x="230425" y="36350"/>
                        <a:pt x="230425" y="48511"/>
                      </a:cubicBezTo>
                      <a:cubicBezTo>
                        <a:pt x="230425" y="60671"/>
                        <a:pt x="239466" y="61684"/>
                        <a:pt x="239466" y="74858"/>
                      </a:cubicBezTo>
                      <a:cubicBezTo>
                        <a:pt x="239466" y="88031"/>
                        <a:pt x="234945" y="95125"/>
                        <a:pt x="243987" y="101205"/>
                      </a:cubicBezTo>
                      <a:cubicBezTo>
                        <a:pt x="253028" y="107285"/>
                        <a:pt x="260939" y="109312"/>
                        <a:pt x="266589" y="119446"/>
                      </a:cubicBezTo>
                      <a:cubicBezTo>
                        <a:pt x="272240" y="129579"/>
                        <a:pt x="276760" y="140726"/>
                        <a:pt x="266589" y="143766"/>
                      </a:cubicBezTo>
                      <a:cubicBezTo>
                        <a:pt x="256418" y="146806"/>
                        <a:pt x="249637" y="132619"/>
                        <a:pt x="242856" y="146806"/>
                      </a:cubicBezTo>
                      <a:cubicBezTo>
                        <a:pt x="238336" y="155926"/>
                        <a:pt x="257548" y="156940"/>
                        <a:pt x="257548" y="165047"/>
                      </a:cubicBezTo>
                      <a:cubicBezTo>
                        <a:pt x="257548" y="173153"/>
                        <a:pt x="257548" y="203554"/>
                        <a:pt x="257548" y="203554"/>
                      </a:cubicBezTo>
                      <a:cubicBezTo>
                        <a:pt x="257548" y="203554"/>
                        <a:pt x="250767" y="203554"/>
                        <a:pt x="243987" y="204567"/>
                      </a:cubicBezTo>
                      <a:cubicBezTo>
                        <a:pt x="237206" y="205581"/>
                        <a:pt x="234945" y="203554"/>
                        <a:pt x="233816" y="214701"/>
                      </a:cubicBezTo>
                      <a:cubicBezTo>
                        <a:pt x="232686" y="226861"/>
                        <a:pt x="233816" y="229901"/>
                        <a:pt x="223644" y="227875"/>
                      </a:cubicBezTo>
                      <a:cubicBezTo>
                        <a:pt x="213474" y="225848"/>
                        <a:pt x="202172" y="223821"/>
                        <a:pt x="194261" y="224835"/>
                      </a:cubicBezTo>
                      <a:cubicBezTo>
                        <a:pt x="186350" y="225848"/>
                        <a:pt x="187481" y="219768"/>
                        <a:pt x="178439" y="224835"/>
                      </a:cubicBezTo>
                      <a:cubicBezTo>
                        <a:pt x="169399" y="229901"/>
                        <a:pt x="166008" y="219768"/>
                        <a:pt x="162618" y="220781"/>
                      </a:cubicBezTo>
                      <a:cubicBezTo>
                        <a:pt x="159228" y="221795"/>
                        <a:pt x="156968" y="230915"/>
                        <a:pt x="156968" y="230915"/>
                      </a:cubicBezTo>
                      <a:lnTo>
                        <a:pt x="152447" y="221795"/>
                      </a:lnTo>
                      <a:cubicBezTo>
                        <a:pt x="152447" y="221795"/>
                        <a:pt x="149057" y="222808"/>
                        <a:pt x="140016" y="222808"/>
                      </a:cubicBezTo>
                      <a:cubicBezTo>
                        <a:pt x="130975" y="222808"/>
                        <a:pt x="118543" y="223821"/>
                        <a:pt x="110632" y="221795"/>
                      </a:cubicBezTo>
                      <a:cubicBezTo>
                        <a:pt x="102722" y="219768"/>
                        <a:pt x="82379" y="217741"/>
                        <a:pt x="72209" y="216728"/>
                      </a:cubicBezTo>
                      <a:cubicBezTo>
                        <a:pt x="62037" y="215714"/>
                        <a:pt x="45085" y="217741"/>
                        <a:pt x="45085" y="217741"/>
                      </a:cubicBezTo>
                      <a:cubicBezTo>
                        <a:pt x="45085" y="217741"/>
                        <a:pt x="36045" y="236995"/>
                        <a:pt x="30394" y="223821"/>
                      </a:cubicBezTo>
                      <a:cubicBezTo>
                        <a:pt x="24743" y="210648"/>
                        <a:pt x="12312" y="220781"/>
                        <a:pt x="12312" y="220781"/>
                      </a:cubicBezTo>
                      <a:cubicBezTo>
                        <a:pt x="12312" y="220781"/>
                        <a:pt x="11182" y="202541"/>
                        <a:pt x="11182" y="195447"/>
                      </a:cubicBezTo>
                      <a:cubicBezTo>
                        <a:pt x="11182" y="188354"/>
                        <a:pt x="28134" y="175180"/>
                        <a:pt x="20223" y="167073"/>
                      </a:cubicBezTo>
                      <a:cubicBezTo>
                        <a:pt x="12312" y="158966"/>
                        <a:pt x="10052" y="140726"/>
                        <a:pt x="10052" y="140726"/>
                      </a:cubicBezTo>
                      <a:lnTo>
                        <a:pt x="27004" y="134646"/>
                      </a:lnTo>
                      <a:cubicBezTo>
                        <a:pt x="27004" y="134646"/>
                        <a:pt x="39435" y="134646"/>
                        <a:pt x="45085" y="134646"/>
                      </a:cubicBezTo>
                      <a:cubicBezTo>
                        <a:pt x="50736" y="134646"/>
                        <a:pt x="51867" y="123499"/>
                        <a:pt x="51867" y="123499"/>
                      </a:cubicBezTo>
                      <a:lnTo>
                        <a:pt x="66558" y="122486"/>
                      </a:lnTo>
                      <a:cubicBezTo>
                        <a:pt x="66558" y="122486"/>
                        <a:pt x="67688" y="114379"/>
                        <a:pt x="66558" y="103232"/>
                      </a:cubicBezTo>
                      <a:cubicBezTo>
                        <a:pt x="65427" y="92085"/>
                        <a:pt x="72209" y="81951"/>
                        <a:pt x="81249" y="73844"/>
                      </a:cubicBezTo>
                      <a:cubicBezTo>
                        <a:pt x="90290" y="65738"/>
                        <a:pt x="82379" y="55604"/>
                        <a:pt x="82379" y="5560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8" name="Freeform: Shape 447">
                  <a:extLst>
                    <a:ext uri="{FF2B5EF4-FFF2-40B4-BE49-F238E27FC236}">
                      <a16:creationId xmlns:a16="http://schemas.microsoft.com/office/drawing/2014/main" id="{00FC91FD-C5CE-4382-A976-2F88AC42BEB3}"/>
                    </a:ext>
                  </a:extLst>
                </p:cNvPr>
                <p:cNvSpPr/>
                <p:nvPr/>
              </p:nvSpPr>
              <p:spPr>
                <a:xfrm>
                  <a:off x="3123371" y="3271614"/>
                  <a:ext cx="33904" cy="30401"/>
                </a:xfrm>
                <a:custGeom>
                  <a:avLst/>
                  <a:gdLst>
                    <a:gd name="connsiteX0" fmla="*/ 15703 w 33903"/>
                    <a:gd name="connsiteY0" fmla="*/ 9013 h 30400"/>
                    <a:gd name="connsiteX1" fmla="*/ 10052 w 33903"/>
                    <a:gd name="connsiteY1" fmla="*/ 23200 h 30400"/>
                    <a:gd name="connsiteX2" fmla="*/ 25874 w 33903"/>
                    <a:gd name="connsiteY2" fmla="*/ 9013 h 30400"/>
                    <a:gd name="connsiteX3" fmla="*/ 15703 w 33903"/>
                    <a:gd name="connsiteY3" fmla="*/ 9013 h 30400"/>
                  </a:gdLst>
                  <a:ahLst/>
                  <a:cxnLst>
                    <a:cxn ang="0">
                      <a:pos x="connsiteX0" y="connsiteY0"/>
                    </a:cxn>
                    <a:cxn ang="0">
                      <a:pos x="connsiteX1" y="connsiteY1"/>
                    </a:cxn>
                    <a:cxn ang="0">
                      <a:pos x="connsiteX2" y="connsiteY2"/>
                    </a:cxn>
                    <a:cxn ang="0">
                      <a:pos x="connsiteX3" y="connsiteY3"/>
                    </a:cxn>
                  </a:cxnLst>
                  <a:rect l="l" t="t" r="r" b="b"/>
                  <a:pathLst>
                    <a:path w="33903" h="30400">
                      <a:moveTo>
                        <a:pt x="15703" y="9013"/>
                      </a:moveTo>
                      <a:cubicBezTo>
                        <a:pt x="13442" y="16107"/>
                        <a:pt x="12312" y="18134"/>
                        <a:pt x="10052" y="23200"/>
                      </a:cubicBezTo>
                      <a:cubicBezTo>
                        <a:pt x="36045" y="29281"/>
                        <a:pt x="38305" y="32321"/>
                        <a:pt x="25874" y="9013"/>
                      </a:cubicBezTo>
                      <a:cubicBezTo>
                        <a:pt x="23613" y="9013"/>
                        <a:pt x="16832" y="10027"/>
                        <a:pt x="15703"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9" name="Freeform: Shape 448">
                  <a:extLst>
                    <a:ext uri="{FF2B5EF4-FFF2-40B4-BE49-F238E27FC236}">
                      <a16:creationId xmlns:a16="http://schemas.microsoft.com/office/drawing/2014/main" id="{BFD859F6-8986-4835-B252-36E23527288F}"/>
                    </a:ext>
                  </a:extLst>
                </p:cNvPr>
                <p:cNvSpPr/>
                <p:nvPr/>
              </p:nvSpPr>
              <p:spPr>
                <a:xfrm>
                  <a:off x="8971740" y="3223986"/>
                  <a:ext cx="214723" cy="263473"/>
                </a:xfrm>
                <a:custGeom>
                  <a:avLst/>
                  <a:gdLst>
                    <a:gd name="connsiteX0" fmla="*/ 46216 w 214722"/>
                    <a:gd name="connsiteY0" fmla="*/ 204591 h 263472"/>
                    <a:gd name="connsiteX1" fmla="*/ 46216 w 214722"/>
                    <a:gd name="connsiteY1" fmla="*/ 214725 h 263472"/>
                    <a:gd name="connsiteX2" fmla="*/ 67688 w 214722"/>
                    <a:gd name="connsiteY2" fmla="*/ 204591 h 263472"/>
                    <a:gd name="connsiteX3" fmla="*/ 78989 w 214722"/>
                    <a:gd name="connsiteY3" fmla="*/ 204591 h 263472"/>
                    <a:gd name="connsiteX4" fmla="*/ 78989 w 214722"/>
                    <a:gd name="connsiteY4" fmla="*/ 199525 h 263472"/>
                    <a:gd name="connsiteX5" fmla="*/ 90290 w 214722"/>
                    <a:gd name="connsiteY5" fmla="*/ 199525 h 263472"/>
                    <a:gd name="connsiteX6" fmla="*/ 90290 w 214722"/>
                    <a:gd name="connsiteY6" fmla="*/ 194458 h 263472"/>
                    <a:gd name="connsiteX7" fmla="*/ 98201 w 214722"/>
                    <a:gd name="connsiteY7" fmla="*/ 201551 h 263472"/>
                    <a:gd name="connsiteX8" fmla="*/ 111763 w 214722"/>
                    <a:gd name="connsiteY8" fmla="*/ 196484 h 263472"/>
                    <a:gd name="connsiteX9" fmla="*/ 114023 w 214722"/>
                    <a:gd name="connsiteY9" fmla="*/ 184324 h 263472"/>
                    <a:gd name="connsiteX10" fmla="*/ 111763 w 214722"/>
                    <a:gd name="connsiteY10" fmla="*/ 177231 h 263472"/>
                    <a:gd name="connsiteX11" fmla="*/ 109502 w 214722"/>
                    <a:gd name="connsiteY11" fmla="*/ 172164 h 263472"/>
                    <a:gd name="connsiteX12" fmla="*/ 107242 w 214722"/>
                    <a:gd name="connsiteY12" fmla="*/ 167097 h 263472"/>
                    <a:gd name="connsiteX13" fmla="*/ 120804 w 214722"/>
                    <a:gd name="connsiteY13" fmla="*/ 162030 h 263472"/>
                    <a:gd name="connsiteX14" fmla="*/ 112893 w 214722"/>
                    <a:gd name="connsiteY14" fmla="*/ 144803 h 263472"/>
                    <a:gd name="connsiteX15" fmla="*/ 112893 w 214722"/>
                    <a:gd name="connsiteY15" fmla="*/ 139737 h 263472"/>
                    <a:gd name="connsiteX16" fmla="*/ 132105 w 214722"/>
                    <a:gd name="connsiteY16" fmla="*/ 158990 h 263472"/>
                    <a:gd name="connsiteX17" fmla="*/ 145666 w 214722"/>
                    <a:gd name="connsiteY17" fmla="*/ 158990 h 263472"/>
                    <a:gd name="connsiteX18" fmla="*/ 147927 w 214722"/>
                    <a:gd name="connsiteY18" fmla="*/ 166084 h 263472"/>
                    <a:gd name="connsiteX19" fmla="*/ 163748 w 214722"/>
                    <a:gd name="connsiteY19" fmla="*/ 180271 h 263472"/>
                    <a:gd name="connsiteX20" fmla="*/ 163748 w 214722"/>
                    <a:gd name="connsiteY20" fmla="*/ 190405 h 263472"/>
                    <a:gd name="connsiteX21" fmla="*/ 169399 w 214722"/>
                    <a:gd name="connsiteY21" fmla="*/ 192431 h 263472"/>
                    <a:gd name="connsiteX22" fmla="*/ 171659 w 214722"/>
                    <a:gd name="connsiteY22" fmla="*/ 230939 h 263472"/>
                    <a:gd name="connsiteX23" fmla="*/ 179570 w 214722"/>
                    <a:gd name="connsiteY23" fmla="*/ 238032 h 263472"/>
                    <a:gd name="connsiteX24" fmla="*/ 189741 w 214722"/>
                    <a:gd name="connsiteY24" fmla="*/ 257286 h 263472"/>
                    <a:gd name="connsiteX25" fmla="*/ 188611 w 214722"/>
                    <a:gd name="connsiteY25" fmla="*/ 243099 h 263472"/>
                    <a:gd name="connsiteX26" fmla="*/ 193132 w 214722"/>
                    <a:gd name="connsiteY26" fmla="*/ 232965 h 263472"/>
                    <a:gd name="connsiteX27" fmla="*/ 206692 w 214722"/>
                    <a:gd name="connsiteY27" fmla="*/ 239046 h 263472"/>
                    <a:gd name="connsiteX28" fmla="*/ 206692 w 214722"/>
                    <a:gd name="connsiteY28" fmla="*/ 239046 h 263472"/>
                    <a:gd name="connsiteX29" fmla="*/ 204433 w 214722"/>
                    <a:gd name="connsiteY29" fmla="*/ 223845 h 263472"/>
                    <a:gd name="connsiteX30" fmla="*/ 201042 w 214722"/>
                    <a:gd name="connsiteY30" fmla="*/ 214725 h 263472"/>
                    <a:gd name="connsiteX31" fmla="*/ 196522 w 214722"/>
                    <a:gd name="connsiteY31" fmla="*/ 198511 h 263472"/>
                    <a:gd name="connsiteX32" fmla="*/ 194261 w 214722"/>
                    <a:gd name="connsiteY32" fmla="*/ 185338 h 263472"/>
                    <a:gd name="connsiteX33" fmla="*/ 194261 w 214722"/>
                    <a:gd name="connsiteY33" fmla="*/ 167097 h 263472"/>
                    <a:gd name="connsiteX34" fmla="*/ 178439 w 214722"/>
                    <a:gd name="connsiteY34" fmla="*/ 143790 h 263472"/>
                    <a:gd name="connsiteX35" fmla="*/ 173919 w 214722"/>
                    <a:gd name="connsiteY35" fmla="*/ 160004 h 263472"/>
                    <a:gd name="connsiteX36" fmla="*/ 156968 w 214722"/>
                    <a:gd name="connsiteY36" fmla="*/ 160004 h 263472"/>
                    <a:gd name="connsiteX37" fmla="*/ 153577 w 214722"/>
                    <a:gd name="connsiteY37" fmla="*/ 148857 h 263472"/>
                    <a:gd name="connsiteX38" fmla="*/ 159228 w 214722"/>
                    <a:gd name="connsiteY38" fmla="*/ 124536 h 263472"/>
                    <a:gd name="connsiteX39" fmla="*/ 169399 w 214722"/>
                    <a:gd name="connsiteY39" fmla="*/ 109336 h 263472"/>
                    <a:gd name="connsiteX40" fmla="*/ 178439 w 214722"/>
                    <a:gd name="connsiteY40" fmla="*/ 93122 h 263472"/>
                    <a:gd name="connsiteX41" fmla="*/ 172789 w 214722"/>
                    <a:gd name="connsiteY41" fmla="*/ 78935 h 263472"/>
                    <a:gd name="connsiteX42" fmla="*/ 193132 w 214722"/>
                    <a:gd name="connsiteY42" fmla="*/ 65761 h 263472"/>
                    <a:gd name="connsiteX43" fmla="*/ 166008 w 214722"/>
                    <a:gd name="connsiteY43" fmla="*/ 65761 h 263472"/>
                    <a:gd name="connsiteX44" fmla="*/ 145666 w 214722"/>
                    <a:gd name="connsiteY44" fmla="*/ 70828 h 263472"/>
                    <a:gd name="connsiteX45" fmla="*/ 125324 w 214722"/>
                    <a:gd name="connsiteY45" fmla="*/ 71842 h 263472"/>
                    <a:gd name="connsiteX46" fmla="*/ 101591 w 214722"/>
                    <a:gd name="connsiteY46" fmla="*/ 71842 h 263472"/>
                    <a:gd name="connsiteX47" fmla="*/ 90290 w 214722"/>
                    <a:gd name="connsiteY47" fmla="*/ 71842 h 263472"/>
                    <a:gd name="connsiteX48" fmla="*/ 86900 w 214722"/>
                    <a:gd name="connsiteY48" fmla="*/ 46508 h 263472"/>
                    <a:gd name="connsiteX49" fmla="*/ 91421 w 214722"/>
                    <a:gd name="connsiteY49" fmla="*/ 25227 h 263472"/>
                    <a:gd name="connsiteX50" fmla="*/ 78989 w 214722"/>
                    <a:gd name="connsiteY50" fmla="*/ 20160 h 263472"/>
                    <a:gd name="connsiteX51" fmla="*/ 60907 w 214722"/>
                    <a:gd name="connsiteY51" fmla="*/ 24214 h 263472"/>
                    <a:gd name="connsiteX52" fmla="*/ 42825 w 214722"/>
                    <a:gd name="connsiteY52" fmla="*/ 9013 h 263472"/>
                    <a:gd name="connsiteX53" fmla="*/ 31524 w 214722"/>
                    <a:gd name="connsiteY53" fmla="*/ 22187 h 263472"/>
                    <a:gd name="connsiteX54" fmla="*/ 47346 w 214722"/>
                    <a:gd name="connsiteY54" fmla="*/ 40428 h 263472"/>
                    <a:gd name="connsiteX55" fmla="*/ 41695 w 214722"/>
                    <a:gd name="connsiteY55" fmla="*/ 54614 h 263472"/>
                    <a:gd name="connsiteX56" fmla="*/ 24743 w 214722"/>
                    <a:gd name="connsiteY56" fmla="*/ 60695 h 263472"/>
                    <a:gd name="connsiteX57" fmla="*/ 10052 w 214722"/>
                    <a:gd name="connsiteY57" fmla="*/ 68802 h 263472"/>
                    <a:gd name="connsiteX58" fmla="*/ 14572 w 214722"/>
                    <a:gd name="connsiteY58" fmla="*/ 92109 h 263472"/>
                    <a:gd name="connsiteX59" fmla="*/ 17963 w 214722"/>
                    <a:gd name="connsiteY59" fmla="*/ 101229 h 263472"/>
                    <a:gd name="connsiteX60" fmla="*/ 39435 w 214722"/>
                    <a:gd name="connsiteY60" fmla="*/ 110349 h 263472"/>
                    <a:gd name="connsiteX61" fmla="*/ 46216 w 214722"/>
                    <a:gd name="connsiteY61" fmla="*/ 122510 h 263472"/>
                    <a:gd name="connsiteX62" fmla="*/ 40565 w 214722"/>
                    <a:gd name="connsiteY62" fmla="*/ 146830 h 263472"/>
                    <a:gd name="connsiteX63" fmla="*/ 51867 w 214722"/>
                    <a:gd name="connsiteY63" fmla="*/ 158990 h 263472"/>
                    <a:gd name="connsiteX64" fmla="*/ 51867 w 214722"/>
                    <a:gd name="connsiteY64" fmla="*/ 181284 h 263472"/>
                    <a:gd name="connsiteX65" fmla="*/ 45085 w 214722"/>
                    <a:gd name="connsiteY65" fmla="*/ 193444 h 263472"/>
                    <a:gd name="connsiteX66" fmla="*/ 46216 w 214722"/>
                    <a:gd name="connsiteY66" fmla="*/ 204591 h 263472"/>
                    <a:gd name="connsiteX67" fmla="*/ 46216 w 214722"/>
                    <a:gd name="connsiteY67" fmla="*/ 204591 h 26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14722" h="263472">
                      <a:moveTo>
                        <a:pt x="46216" y="204591"/>
                      </a:moveTo>
                      <a:cubicBezTo>
                        <a:pt x="46216" y="205605"/>
                        <a:pt x="46216" y="213712"/>
                        <a:pt x="46216" y="214725"/>
                      </a:cubicBezTo>
                      <a:cubicBezTo>
                        <a:pt x="65427" y="218778"/>
                        <a:pt x="62037" y="206618"/>
                        <a:pt x="67688" y="204591"/>
                      </a:cubicBezTo>
                      <a:cubicBezTo>
                        <a:pt x="71078" y="203578"/>
                        <a:pt x="75599" y="205605"/>
                        <a:pt x="78989" y="204591"/>
                      </a:cubicBezTo>
                      <a:lnTo>
                        <a:pt x="78989" y="199525"/>
                      </a:lnTo>
                      <a:cubicBezTo>
                        <a:pt x="82379" y="198511"/>
                        <a:pt x="83510" y="201551"/>
                        <a:pt x="90290" y="199525"/>
                      </a:cubicBezTo>
                      <a:lnTo>
                        <a:pt x="90290" y="194458"/>
                      </a:lnTo>
                      <a:cubicBezTo>
                        <a:pt x="99331" y="194458"/>
                        <a:pt x="93680" y="198511"/>
                        <a:pt x="98201" y="201551"/>
                      </a:cubicBezTo>
                      <a:cubicBezTo>
                        <a:pt x="102722" y="199525"/>
                        <a:pt x="109502" y="196484"/>
                        <a:pt x="111763" y="196484"/>
                      </a:cubicBezTo>
                      <a:cubicBezTo>
                        <a:pt x="111763" y="194458"/>
                        <a:pt x="117413" y="186351"/>
                        <a:pt x="114023" y="184324"/>
                      </a:cubicBezTo>
                      <a:cubicBezTo>
                        <a:pt x="110632" y="181284"/>
                        <a:pt x="112893" y="182298"/>
                        <a:pt x="111763" y="177231"/>
                      </a:cubicBezTo>
                      <a:cubicBezTo>
                        <a:pt x="107242" y="179258"/>
                        <a:pt x="109502" y="174191"/>
                        <a:pt x="109502" y="172164"/>
                      </a:cubicBezTo>
                      <a:cubicBezTo>
                        <a:pt x="104982" y="175204"/>
                        <a:pt x="107242" y="168111"/>
                        <a:pt x="107242" y="167097"/>
                      </a:cubicBezTo>
                      <a:cubicBezTo>
                        <a:pt x="110632" y="166084"/>
                        <a:pt x="117413" y="164057"/>
                        <a:pt x="120804" y="162030"/>
                      </a:cubicBezTo>
                      <a:cubicBezTo>
                        <a:pt x="116283" y="154937"/>
                        <a:pt x="116283" y="150883"/>
                        <a:pt x="112893" y="144803"/>
                      </a:cubicBezTo>
                      <a:cubicBezTo>
                        <a:pt x="107242" y="144803"/>
                        <a:pt x="109502" y="138723"/>
                        <a:pt x="112893" y="139737"/>
                      </a:cubicBezTo>
                      <a:cubicBezTo>
                        <a:pt x="121933" y="143790"/>
                        <a:pt x="125324" y="155950"/>
                        <a:pt x="132105" y="158990"/>
                      </a:cubicBezTo>
                      <a:cubicBezTo>
                        <a:pt x="135495" y="161017"/>
                        <a:pt x="142276" y="157977"/>
                        <a:pt x="145666" y="158990"/>
                      </a:cubicBezTo>
                      <a:cubicBezTo>
                        <a:pt x="147927" y="160004"/>
                        <a:pt x="146796" y="165071"/>
                        <a:pt x="147927" y="166084"/>
                      </a:cubicBezTo>
                      <a:cubicBezTo>
                        <a:pt x="151317" y="169124"/>
                        <a:pt x="162618" y="177231"/>
                        <a:pt x="163748" y="180271"/>
                      </a:cubicBezTo>
                      <a:cubicBezTo>
                        <a:pt x="164879" y="183311"/>
                        <a:pt x="162618" y="187364"/>
                        <a:pt x="163748" y="190405"/>
                      </a:cubicBezTo>
                      <a:lnTo>
                        <a:pt x="169399" y="192431"/>
                      </a:lnTo>
                      <a:cubicBezTo>
                        <a:pt x="172789" y="206618"/>
                        <a:pt x="167138" y="219792"/>
                        <a:pt x="171659" y="230939"/>
                      </a:cubicBezTo>
                      <a:cubicBezTo>
                        <a:pt x="172789" y="232965"/>
                        <a:pt x="178439" y="237019"/>
                        <a:pt x="179570" y="238032"/>
                      </a:cubicBezTo>
                      <a:cubicBezTo>
                        <a:pt x="182960" y="244112"/>
                        <a:pt x="186350" y="252219"/>
                        <a:pt x="189741" y="257286"/>
                      </a:cubicBezTo>
                      <a:lnTo>
                        <a:pt x="188611" y="243099"/>
                      </a:lnTo>
                      <a:lnTo>
                        <a:pt x="193132" y="232965"/>
                      </a:lnTo>
                      <a:lnTo>
                        <a:pt x="206692" y="239046"/>
                      </a:lnTo>
                      <a:lnTo>
                        <a:pt x="206692" y="239046"/>
                      </a:lnTo>
                      <a:lnTo>
                        <a:pt x="204433" y="223845"/>
                      </a:lnTo>
                      <a:lnTo>
                        <a:pt x="201042" y="214725"/>
                      </a:lnTo>
                      <a:lnTo>
                        <a:pt x="196522" y="198511"/>
                      </a:lnTo>
                      <a:lnTo>
                        <a:pt x="194261" y="185338"/>
                      </a:lnTo>
                      <a:lnTo>
                        <a:pt x="194261" y="167097"/>
                      </a:lnTo>
                      <a:lnTo>
                        <a:pt x="178439" y="143790"/>
                      </a:lnTo>
                      <a:lnTo>
                        <a:pt x="173919" y="160004"/>
                      </a:lnTo>
                      <a:lnTo>
                        <a:pt x="156968" y="160004"/>
                      </a:lnTo>
                      <a:lnTo>
                        <a:pt x="153577" y="148857"/>
                      </a:lnTo>
                      <a:lnTo>
                        <a:pt x="159228" y="124536"/>
                      </a:lnTo>
                      <a:lnTo>
                        <a:pt x="169399" y="109336"/>
                      </a:lnTo>
                      <a:cubicBezTo>
                        <a:pt x="169399" y="109336"/>
                        <a:pt x="170529" y="97176"/>
                        <a:pt x="178439" y="93122"/>
                      </a:cubicBezTo>
                      <a:lnTo>
                        <a:pt x="172789" y="78935"/>
                      </a:lnTo>
                      <a:lnTo>
                        <a:pt x="193132" y="65761"/>
                      </a:lnTo>
                      <a:lnTo>
                        <a:pt x="166008" y="65761"/>
                      </a:lnTo>
                      <a:lnTo>
                        <a:pt x="145666" y="70828"/>
                      </a:lnTo>
                      <a:lnTo>
                        <a:pt x="125324" y="71842"/>
                      </a:lnTo>
                      <a:lnTo>
                        <a:pt x="101591" y="71842"/>
                      </a:lnTo>
                      <a:lnTo>
                        <a:pt x="90290" y="71842"/>
                      </a:lnTo>
                      <a:lnTo>
                        <a:pt x="86900" y="46508"/>
                      </a:lnTo>
                      <a:lnTo>
                        <a:pt x="91421" y="25227"/>
                      </a:lnTo>
                      <a:lnTo>
                        <a:pt x="78989" y="20160"/>
                      </a:lnTo>
                      <a:lnTo>
                        <a:pt x="60907" y="24214"/>
                      </a:lnTo>
                      <a:lnTo>
                        <a:pt x="42825" y="9013"/>
                      </a:lnTo>
                      <a:lnTo>
                        <a:pt x="31524" y="22187"/>
                      </a:lnTo>
                      <a:lnTo>
                        <a:pt x="47346" y="40428"/>
                      </a:lnTo>
                      <a:lnTo>
                        <a:pt x="41695" y="54614"/>
                      </a:lnTo>
                      <a:lnTo>
                        <a:pt x="24743" y="60695"/>
                      </a:lnTo>
                      <a:lnTo>
                        <a:pt x="10052" y="68802"/>
                      </a:lnTo>
                      <a:lnTo>
                        <a:pt x="14572" y="92109"/>
                      </a:lnTo>
                      <a:lnTo>
                        <a:pt x="17963" y="101229"/>
                      </a:lnTo>
                      <a:lnTo>
                        <a:pt x="39435" y="110349"/>
                      </a:lnTo>
                      <a:lnTo>
                        <a:pt x="46216" y="122510"/>
                      </a:lnTo>
                      <a:lnTo>
                        <a:pt x="40565" y="146830"/>
                      </a:lnTo>
                      <a:lnTo>
                        <a:pt x="51867" y="158990"/>
                      </a:lnTo>
                      <a:lnTo>
                        <a:pt x="51867" y="181284"/>
                      </a:lnTo>
                      <a:lnTo>
                        <a:pt x="45085" y="193444"/>
                      </a:lnTo>
                      <a:lnTo>
                        <a:pt x="46216" y="204591"/>
                      </a:lnTo>
                      <a:lnTo>
                        <a:pt x="46216" y="20459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0" name="Freeform: Shape 449">
                  <a:extLst>
                    <a:ext uri="{FF2B5EF4-FFF2-40B4-BE49-F238E27FC236}">
                      <a16:creationId xmlns:a16="http://schemas.microsoft.com/office/drawing/2014/main" id="{AAEA10D4-1434-4ABD-BF47-2CDD8765D0F7}"/>
                    </a:ext>
                  </a:extLst>
                </p:cNvPr>
                <p:cNvSpPr/>
                <p:nvPr/>
              </p:nvSpPr>
              <p:spPr>
                <a:xfrm>
                  <a:off x="7478806" y="2551118"/>
                  <a:ext cx="192120" cy="152004"/>
                </a:xfrm>
                <a:custGeom>
                  <a:avLst/>
                  <a:gdLst>
                    <a:gd name="connsiteX0" fmla="*/ 143452 w 192120"/>
                    <a:gd name="connsiteY0" fmla="*/ 30294 h 152003"/>
                    <a:gd name="connsiteX1" fmla="*/ 124240 w 192120"/>
                    <a:gd name="connsiteY1" fmla="*/ 50561 h 152003"/>
                    <a:gd name="connsiteX2" fmla="*/ 109548 w 192120"/>
                    <a:gd name="connsiteY2" fmla="*/ 37387 h 152003"/>
                    <a:gd name="connsiteX3" fmla="*/ 93726 w 192120"/>
                    <a:gd name="connsiteY3" fmla="*/ 23201 h 152003"/>
                    <a:gd name="connsiteX4" fmla="*/ 77904 w 192120"/>
                    <a:gd name="connsiteY4" fmla="*/ 9013 h 152003"/>
                    <a:gd name="connsiteX5" fmla="*/ 68864 w 192120"/>
                    <a:gd name="connsiteY5" fmla="*/ 20160 h 152003"/>
                    <a:gd name="connsiteX6" fmla="*/ 74514 w 192120"/>
                    <a:gd name="connsiteY6" fmla="*/ 36374 h 152003"/>
                    <a:gd name="connsiteX7" fmla="*/ 56432 w 192120"/>
                    <a:gd name="connsiteY7" fmla="*/ 28267 h 152003"/>
                    <a:gd name="connsiteX8" fmla="*/ 40611 w 192120"/>
                    <a:gd name="connsiteY8" fmla="*/ 17120 h 152003"/>
                    <a:gd name="connsiteX9" fmla="*/ 25919 w 192120"/>
                    <a:gd name="connsiteY9" fmla="*/ 21174 h 152003"/>
                    <a:gd name="connsiteX10" fmla="*/ 11228 w 192120"/>
                    <a:gd name="connsiteY10" fmla="*/ 35361 h 152003"/>
                    <a:gd name="connsiteX11" fmla="*/ 12358 w 192120"/>
                    <a:gd name="connsiteY11" fmla="*/ 45494 h 152003"/>
                    <a:gd name="connsiteX12" fmla="*/ 25919 w 192120"/>
                    <a:gd name="connsiteY12" fmla="*/ 47521 h 152003"/>
                    <a:gd name="connsiteX13" fmla="*/ 39481 w 192120"/>
                    <a:gd name="connsiteY13" fmla="*/ 56641 h 152003"/>
                    <a:gd name="connsiteX14" fmla="*/ 32700 w 192120"/>
                    <a:gd name="connsiteY14" fmla="*/ 70828 h 152003"/>
                    <a:gd name="connsiteX15" fmla="*/ 49651 w 192120"/>
                    <a:gd name="connsiteY15" fmla="*/ 78935 h 152003"/>
                    <a:gd name="connsiteX16" fmla="*/ 58693 w 192120"/>
                    <a:gd name="connsiteY16" fmla="*/ 87042 h 152003"/>
                    <a:gd name="connsiteX17" fmla="*/ 49651 w 192120"/>
                    <a:gd name="connsiteY17" fmla="*/ 96162 h 152003"/>
                    <a:gd name="connsiteX18" fmla="*/ 62083 w 192120"/>
                    <a:gd name="connsiteY18" fmla="*/ 107309 h 152003"/>
                    <a:gd name="connsiteX19" fmla="*/ 74514 w 192120"/>
                    <a:gd name="connsiteY19" fmla="*/ 108322 h 152003"/>
                    <a:gd name="connsiteX20" fmla="*/ 76775 w 192120"/>
                    <a:gd name="connsiteY20" fmla="*/ 128590 h 152003"/>
                    <a:gd name="connsiteX21" fmla="*/ 94856 w 192120"/>
                    <a:gd name="connsiteY21" fmla="*/ 113389 h 152003"/>
                    <a:gd name="connsiteX22" fmla="*/ 105027 w 192120"/>
                    <a:gd name="connsiteY22" fmla="*/ 109336 h 152003"/>
                    <a:gd name="connsiteX23" fmla="*/ 112938 w 192120"/>
                    <a:gd name="connsiteY23" fmla="*/ 123523 h 152003"/>
                    <a:gd name="connsiteX24" fmla="*/ 109548 w 192120"/>
                    <a:gd name="connsiteY24" fmla="*/ 135683 h 152003"/>
                    <a:gd name="connsiteX25" fmla="*/ 118589 w 192120"/>
                    <a:gd name="connsiteY25" fmla="*/ 145817 h 152003"/>
                    <a:gd name="connsiteX26" fmla="*/ 131020 w 192120"/>
                    <a:gd name="connsiteY26" fmla="*/ 152910 h 152003"/>
                    <a:gd name="connsiteX27" fmla="*/ 131020 w 192120"/>
                    <a:gd name="connsiteY27" fmla="*/ 133656 h 152003"/>
                    <a:gd name="connsiteX28" fmla="*/ 144582 w 192120"/>
                    <a:gd name="connsiteY28" fmla="*/ 128590 h 152003"/>
                    <a:gd name="connsiteX29" fmla="*/ 138931 w 192120"/>
                    <a:gd name="connsiteY29" fmla="*/ 118456 h 152003"/>
                    <a:gd name="connsiteX30" fmla="*/ 150232 w 192120"/>
                    <a:gd name="connsiteY30" fmla="*/ 104269 h 152003"/>
                    <a:gd name="connsiteX31" fmla="*/ 150232 w 192120"/>
                    <a:gd name="connsiteY31" fmla="*/ 85015 h 152003"/>
                    <a:gd name="connsiteX32" fmla="*/ 183006 w 192120"/>
                    <a:gd name="connsiteY32" fmla="*/ 67788 h 152003"/>
                    <a:gd name="connsiteX33" fmla="*/ 177355 w 192120"/>
                    <a:gd name="connsiteY33" fmla="*/ 60695 h 152003"/>
                    <a:gd name="connsiteX34" fmla="*/ 169444 w 192120"/>
                    <a:gd name="connsiteY34" fmla="*/ 60695 h 152003"/>
                    <a:gd name="connsiteX35" fmla="*/ 147972 w 192120"/>
                    <a:gd name="connsiteY35" fmla="*/ 43468 h 152003"/>
                    <a:gd name="connsiteX36" fmla="*/ 143452 w 192120"/>
                    <a:gd name="connsiteY36" fmla="*/ 30294 h 152003"/>
                    <a:gd name="connsiteX37" fmla="*/ 10097 w 192120"/>
                    <a:gd name="connsiteY37" fmla="*/ 113389 h 152003"/>
                    <a:gd name="connsiteX38" fmla="*/ 18008 w 192120"/>
                    <a:gd name="connsiteY38" fmla="*/ 124536 h 152003"/>
                    <a:gd name="connsiteX39" fmla="*/ 31570 w 192120"/>
                    <a:gd name="connsiteY39" fmla="*/ 138723 h 152003"/>
                    <a:gd name="connsiteX40" fmla="*/ 44001 w 192120"/>
                    <a:gd name="connsiteY40" fmla="*/ 144803 h 152003"/>
                    <a:gd name="connsiteX41" fmla="*/ 59823 w 192120"/>
                    <a:gd name="connsiteY41" fmla="*/ 141763 h 152003"/>
                    <a:gd name="connsiteX42" fmla="*/ 49651 w 192120"/>
                    <a:gd name="connsiteY42" fmla="*/ 125549 h 152003"/>
                    <a:gd name="connsiteX43" fmla="*/ 36090 w 192120"/>
                    <a:gd name="connsiteY43" fmla="*/ 115416 h 152003"/>
                    <a:gd name="connsiteX44" fmla="*/ 21398 w 192120"/>
                    <a:gd name="connsiteY44" fmla="*/ 111363 h 152003"/>
                    <a:gd name="connsiteX45" fmla="*/ 10097 w 192120"/>
                    <a:gd name="connsiteY45" fmla="*/ 113389 h 152003"/>
                    <a:gd name="connsiteX46" fmla="*/ 93726 w 192120"/>
                    <a:gd name="connsiteY46" fmla="*/ 110349 h 152003"/>
                    <a:gd name="connsiteX47" fmla="*/ 71124 w 192120"/>
                    <a:gd name="connsiteY47" fmla="*/ 80962 h 152003"/>
                    <a:gd name="connsiteX48" fmla="*/ 84685 w 192120"/>
                    <a:gd name="connsiteY48" fmla="*/ 77922 h 152003"/>
                    <a:gd name="connsiteX49" fmla="*/ 90336 w 192120"/>
                    <a:gd name="connsiteY49" fmla="*/ 86029 h 152003"/>
                    <a:gd name="connsiteX50" fmla="*/ 85815 w 192120"/>
                    <a:gd name="connsiteY50" fmla="*/ 86029 h 152003"/>
                    <a:gd name="connsiteX51" fmla="*/ 88076 w 192120"/>
                    <a:gd name="connsiteY51" fmla="*/ 95149 h 152003"/>
                    <a:gd name="connsiteX52" fmla="*/ 100507 w 192120"/>
                    <a:gd name="connsiteY52" fmla="*/ 103256 h 152003"/>
                    <a:gd name="connsiteX53" fmla="*/ 93726 w 192120"/>
                    <a:gd name="connsiteY53" fmla="*/ 110349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2120" h="152003">
                      <a:moveTo>
                        <a:pt x="143452" y="30294"/>
                      </a:moveTo>
                      <a:cubicBezTo>
                        <a:pt x="143452" y="30294"/>
                        <a:pt x="129890" y="50561"/>
                        <a:pt x="124240" y="50561"/>
                      </a:cubicBezTo>
                      <a:cubicBezTo>
                        <a:pt x="118589" y="50561"/>
                        <a:pt x="112938" y="46508"/>
                        <a:pt x="109548" y="37387"/>
                      </a:cubicBezTo>
                      <a:cubicBezTo>
                        <a:pt x="106157" y="28267"/>
                        <a:pt x="100507" y="31307"/>
                        <a:pt x="93726" y="23201"/>
                      </a:cubicBezTo>
                      <a:cubicBezTo>
                        <a:pt x="86946" y="15094"/>
                        <a:pt x="77904" y="9013"/>
                        <a:pt x="77904" y="9013"/>
                      </a:cubicBezTo>
                      <a:cubicBezTo>
                        <a:pt x="77904" y="9013"/>
                        <a:pt x="62083" y="15094"/>
                        <a:pt x="68864" y="20160"/>
                      </a:cubicBezTo>
                      <a:cubicBezTo>
                        <a:pt x="75645" y="25227"/>
                        <a:pt x="79035" y="31307"/>
                        <a:pt x="74514" y="36374"/>
                      </a:cubicBezTo>
                      <a:cubicBezTo>
                        <a:pt x="69994" y="41441"/>
                        <a:pt x="56432" y="28267"/>
                        <a:pt x="56432" y="28267"/>
                      </a:cubicBezTo>
                      <a:cubicBezTo>
                        <a:pt x="56432" y="28267"/>
                        <a:pt x="49651" y="17120"/>
                        <a:pt x="40611" y="17120"/>
                      </a:cubicBezTo>
                      <a:cubicBezTo>
                        <a:pt x="30440" y="17120"/>
                        <a:pt x="29309" y="14080"/>
                        <a:pt x="25919" y="21174"/>
                      </a:cubicBezTo>
                      <a:cubicBezTo>
                        <a:pt x="22529" y="28267"/>
                        <a:pt x="11228" y="35361"/>
                        <a:pt x="11228" y="35361"/>
                      </a:cubicBezTo>
                      <a:lnTo>
                        <a:pt x="12358" y="45494"/>
                      </a:lnTo>
                      <a:cubicBezTo>
                        <a:pt x="12358" y="45494"/>
                        <a:pt x="21398" y="53601"/>
                        <a:pt x="25919" y="47521"/>
                      </a:cubicBezTo>
                      <a:cubicBezTo>
                        <a:pt x="30440" y="41441"/>
                        <a:pt x="32700" y="54614"/>
                        <a:pt x="39481" y="56641"/>
                      </a:cubicBezTo>
                      <a:cubicBezTo>
                        <a:pt x="48522" y="59681"/>
                        <a:pt x="32700" y="70828"/>
                        <a:pt x="32700" y="70828"/>
                      </a:cubicBezTo>
                      <a:cubicBezTo>
                        <a:pt x="32700" y="70828"/>
                        <a:pt x="42871" y="74882"/>
                        <a:pt x="49651" y="78935"/>
                      </a:cubicBezTo>
                      <a:cubicBezTo>
                        <a:pt x="56432" y="82989"/>
                        <a:pt x="58693" y="87042"/>
                        <a:pt x="58693" y="87042"/>
                      </a:cubicBezTo>
                      <a:lnTo>
                        <a:pt x="49651" y="96162"/>
                      </a:lnTo>
                      <a:cubicBezTo>
                        <a:pt x="49651" y="96162"/>
                        <a:pt x="55302" y="105282"/>
                        <a:pt x="62083" y="107309"/>
                      </a:cubicBezTo>
                      <a:cubicBezTo>
                        <a:pt x="68864" y="109336"/>
                        <a:pt x="75645" y="105282"/>
                        <a:pt x="74514" y="108322"/>
                      </a:cubicBezTo>
                      <a:cubicBezTo>
                        <a:pt x="71124" y="116429"/>
                        <a:pt x="76775" y="128590"/>
                        <a:pt x="76775" y="128590"/>
                      </a:cubicBezTo>
                      <a:cubicBezTo>
                        <a:pt x="77904" y="126563"/>
                        <a:pt x="85815" y="115416"/>
                        <a:pt x="94856" y="113389"/>
                      </a:cubicBezTo>
                      <a:cubicBezTo>
                        <a:pt x="103898" y="111363"/>
                        <a:pt x="100507" y="103256"/>
                        <a:pt x="105027" y="109336"/>
                      </a:cubicBezTo>
                      <a:cubicBezTo>
                        <a:pt x="109548" y="115416"/>
                        <a:pt x="116329" y="123523"/>
                        <a:pt x="112938" y="123523"/>
                      </a:cubicBezTo>
                      <a:cubicBezTo>
                        <a:pt x="98247" y="124536"/>
                        <a:pt x="114068" y="126563"/>
                        <a:pt x="109548" y="135683"/>
                      </a:cubicBezTo>
                      <a:cubicBezTo>
                        <a:pt x="112938" y="141763"/>
                        <a:pt x="110678" y="141763"/>
                        <a:pt x="118589" y="145817"/>
                      </a:cubicBezTo>
                      <a:cubicBezTo>
                        <a:pt x="125370" y="149870"/>
                        <a:pt x="131020" y="152910"/>
                        <a:pt x="131020" y="152910"/>
                      </a:cubicBezTo>
                      <a:cubicBezTo>
                        <a:pt x="131020" y="146830"/>
                        <a:pt x="131020" y="139737"/>
                        <a:pt x="131020" y="133656"/>
                      </a:cubicBezTo>
                      <a:cubicBezTo>
                        <a:pt x="137801" y="130616"/>
                        <a:pt x="140061" y="131630"/>
                        <a:pt x="144582" y="128590"/>
                      </a:cubicBezTo>
                      <a:cubicBezTo>
                        <a:pt x="143452" y="123523"/>
                        <a:pt x="145712" y="119469"/>
                        <a:pt x="138931" y="118456"/>
                      </a:cubicBezTo>
                      <a:cubicBezTo>
                        <a:pt x="138931" y="118456"/>
                        <a:pt x="149102" y="106296"/>
                        <a:pt x="150232" y="104269"/>
                      </a:cubicBezTo>
                      <a:cubicBezTo>
                        <a:pt x="152493" y="98189"/>
                        <a:pt x="147972" y="91095"/>
                        <a:pt x="150232" y="85015"/>
                      </a:cubicBezTo>
                      <a:cubicBezTo>
                        <a:pt x="153623" y="76908"/>
                        <a:pt x="171705" y="69815"/>
                        <a:pt x="183006" y="67788"/>
                      </a:cubicBezTo>
                      <a:cubicBezTo>
                        <a:pt x="178485" y="65761"/>
                        <a:pt x="180746" y="62721"/>
                        <a:pt x="177355" y="60695"/>
                      </a:cubicBezTo>
                      <a:cubicBezTo>
                        <a:pt x="175095" y="59681"/>
                        <a:pt x="171705" y="60695"/>
                        <a:pt x="169444" y="60695"/>
                      </a:cubicBezTo>
                      <a:cubicBezTo>
                        <a:pt x="162663" y="59681"/>
                        <a:pt x="151362" y="48534"/>
                        <a:pt x="147972" y="43468"/>
                      </a:cubicBezTo>
                      <a:cubicBezTo>
                        <a:pt x="146842" y="40428"/>
                        <a:pt x="145712" y="35361"/>
                        <a:pt x="143452" y="30294"/>
                      </a:cubicBezTo>
                      <a:close/>
                      <a:moveTo>
                        <a:pt x="10097" y="113389"/>
                      </a:moveTo>
                      <a:cubicBezTo>
                        <a:pt x="10097" y="113389"/>
                        <a:pt x="8967" y="118456"/>
                        <a:pt x="18008" y="124536"/>
                      </a:cubicBezTo>
                      <a:cubicBezTo>
                        <a:pt x="27049" y="130616"/>
                        <a:pt x="23659" y="134670"/>
                        <a:pt x="31570" y="138723"/>
                      </a:cubicBezTo>
                      <a:cubicBezTo>
                        <a:pt x="39481" y="142777"/>
                        <a:pt x="38350" y="144803"/>
                        <a:pt x="44001" y="144803"/>
                      </a:cubicBezTo>
                      <a:cubicBezTo>
                        <a:pt x="49651" y="144803"/>
                        <a:pt x="59823" y="141763"/>
                        <a:pt x="59823" y="141763"/>
                      </a:cubicBezTo>
                      <a:cubicBezTo>
                        <a:pt x="59823" y="141763"/>
                        <a:pt x="59823" y="133656"/>
                        <a:pt x="49651" y="125549"/>
                      </a:cubicBezTo>
                      <a:cubicBezTo>
                        <a:pt x="39481" y="117443"/>
                        <a:pt x="36090" y="115416"/>
                        <a:pt x="36090" y="115416"/>
                      </a:cubicBezTo>
                      <a:cubicBezTo>
                        <a:pt x="36090" y="115416"/>
                        <a:pt x="30440" y="111363"/>
                        <a:pt x="21398" y="111363"/>
                      </a:cubicBezTo>
                      <a:cubicBezTo>
                        <a:pt x="12358" y="111363"/>
                        <a:pt x="10097" y="113389"/>
                        <a:pt x="10097" y="113389"/>
                      </a:cubicBezTo>
                      <a:close/>
                      <a:moveTo>
                        <a:pt x="93726" y="110349"/>
                      </a:moveTo>
                      <a:cubicBezTo>
                        <a:pt x="86946" y="102242"/>
                        <a:pt x="72254" y="91095"/>
                        <a:pt x="71124" y="80962"/>
                      </a:cubicBezTo>
                      <a:lnTo>
                        <a:pt x="84685" y="77922"/>
                      </a:lnTo>
                      <a:lnTo>
                        <a:pt x="90336" y="86029"/>
                      </a:lnTo>
                      <a:lnTo>
                        <a:pt x="85815" y="86029"/>
                      </a:lnTo>
                      <a:lnTo>
                        <a:pt x="88076" y="95149"/>
                      </a:lnTo>
                      <a:cubicBezTo>
                        <a:pt x="97117" y="96162"/>
                        <a:pt x="100507" y="98189"/>
                        <a:pt x="100507" y="103256"/>
                      </a:cubicBezTo>
                      <a:cubicBezTo>
                        <a:pt x="101637" y="107309"/>
                        <a:pt x="97117" y="110349"/>
                        <a:pt x="93726" y="11034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2" name="Freeform: Shape 451">
                  <a:extLst>
                    <a:ext uri="{FF2B5EF4-FFF2-40B4-BE49-F238E27FC236}">
                      <a16:creationId xmlns:a16="http://schemas.microsoft.com/office/drawing/2014/main" id="{F31EBDFE-845D-44FF-9837-D8050C4C754E}"/>
                    </a:ext>
                  </a:extLst>
                </p:cNvPr>
                <p:cNvSpPr/>
                <p:nvPr/>
              </p:nvSpPr>
              <p:spPr>
                <a:xfrm>
                  <a:off x="6245891" y="2219199"/>
                  <a:ext cx="259928" cy="131736"/>
                </a:xfrm>
                <a:custGeom>
                  <a:avLst/>
                  <a:gdLst>
                    <a:gd name="connsiteX0" fmla="*/ 10052 w 259927"/>
                    <a:gd name="connsiteY0" fmla="*/ 98739 h 131736"/>
                    <a:gd name="connsiteX1" fmla="*/ 17963 w 259927"/>
                    <a:gd name="connsiteY1" fmla="*/ 113940 h 131736"/>
                    <a:gd name="connsiteX2" fmla="*/ 40565 w 259927"/>
                    <a:gd name="connsiteY2" fmla="*/ 119006 h 131736"/>
                    <a:gd name="connsiteX3" fmla="*/ 49606 w 259927"/>
                    <a:gd name="connsiteY3" fmla="*/ 117993 h 131736"/>
                    <a:gd name="connsiteX4" fmla="*/ 65428 w 259927"/>
                    <a:gd name="connsiteY4" fmla="*/ 122046 h 131736"/>
                    <a:gd name="connsiteX5" fmla="*/ 80120 w 259927"/>
                    <a:gd name="connsiteY5" fmla="*/ 130153 h 131736"/>
                    <a:gd name="connsiteX6" fmla="*/ 95941 w 259927"/>
                    <a:gd name="connsiteY6" fmla="*/ 127113 h 131736"/>
                    <a:gd name="connsiteX7" fmla="*/ 121934 w 259927"/>
                    <a:gd name="connsiteY7" fmla="*/ 127113 h 131736"/>
                    <a:gd name="connsiteX8" fmla="*/ 134365 w 259927"/>
                    <a:gd name="connsiteY8" fmla="*/ 122046 h 131736"/>
                    <a:gd name="connsiteX9" fmla="*/ 149057 w 259927"/>
                    <a:gd name="connsiteY9" fmla="*/ 117993 h 131736"/>
                    <a:gd name="connsiteX10" fmla="*/ 175049 w 259927"/>
                    <a:gd name="connsiteY10" fmla="*/ 111913 h 131736"/>
                    <a:gd name="connsiteX11" fmla="*/ 192001 w 259927"/>
                    <a:gd name="connsiteY11" fmla="*/ 103806 h 131736"/>
                    <a:gd name="connsiteX12" fmla="*/ 215734 w 259927"/>
                    <a:gd name="connsiteY12" fmla="*/ 104819 h 131736"/>
                    <a:gd name="connsiteX13" fmla="*/ 228165 w 259927"/>
                    <a:gd name="connsiteY13" fmla="*/ 98739 h 131736"/>
                    <a:gd name="connsiteX14" fmla="*/ 240597 w 259927"/>
                    <a:gd name="connsiteY14" fmla="*/ 88606 h 131736"/>
                    <a:gd name="connsiteX15" fmla="*/ 249637 w 259927"/>
                    <a:gd name="connsiteY15" fmla="*/ 68339 h 131736"/>
                    <a:gd name="connsiteX16" fmla="*/ 258678 w 259927"/>
                    <a:gd name="connsiteY16" fmla="*/ 54152 h 131736"/>
                    <a:gd name="connsiteX17" fmla="*/ 249637 w 259927"/>
                    <a:gd name="connsiteY17" fmla="*/ 40978 h 131736"/>
                    <a:gd name="connsiteX18" fmla="*/ 249637 w 259927"/>
                    <a:gd name="connsiteY18" fmla="*/ 21724 h 131736"/>
                    <a:gd name="connsiteX19" fmla="*/ 223645 w 259927"/>
                    <a:gd name="connsiteY19" fmla="*/ 22738 h 131736"/>
                    <a:gd name="connsiteX20" fmla="*/ 197652 w 259927"/>
                    <a:gd name="connsiteY20" fmla="*/ 13617 h 131736"/>
                    <a:gd name="connsiteX21" fmla="*/ 176180 w 259927"/>
                    <a:gd name="connsiteY21" fmla="*/ 10577 h 131736"/>
                    <a:gd name="connsiteX22" fmla="*/ 163748 w 259927"/>
                    <a:gd name="connsiteY22" fmla="*/ 26791 h 131736"/>
                    <a:gd name="connsiteX23" fmla="*/ 135495 w 259927"/>
                    <a:gd name="connsiteY23" fmla="*/ 18684 h 131736"/>
                    <a:gd name="connsiteX24" fmla="*/ 121934 w 259927"/>
                    <a:gd name="connsiteY24" fmla="*/ 34898 h 131736"/>
                    <a:gd name="connsiteX25" fmla="*/ 109502 w 259927"/>
                    <a:gd name="connsiteY25" fmla="*/ 46045 h 131736"/>
                    <a:gd name="connsiteX26" fmla="*/ 95941 w 259927"/>
                    <a:gd name="connsiteY26" fmla="*/ 54152 h 131736"/>
                    <a:gd name="connsiteX27" fmla="*/ 107242 w 259927"/>
                    <a:gd name="connsiteY27" fmla="*/ 68339 h 131736"/>
                    <a:gd name="connsiteX28" fmla="*/ 99332 w 259927"/>
                    <a:gd name="connsiteY28" fmla="*/ 78472 h 131736"/>
                    <a:gd name="connsiteX29" fmla="*/ 83510 w 259927"/>
                    <a:gd name="connsiteY29" fmla="*/ 69352 h 131736"/>
                    <a:gd name="connsiteX30" fmla="*/ 59778 w 259927"/>
                    <a:gd name="connsiteY30" fmla="*/ 68339 h 131736"/>
                    <a:gd name="connsiteX31" fmla="*/ 47346 w 259927"/>
                    <a:gd name="connsiteY31" fmla="*/ 78472 h 131736"/>
                    <a:gd name="connsiteX32" fmla="*/ 28134 w 259927"/>
                    <a:gd name="connsiteY32" fmla="*/ 82525 h 131736"/>
                    <a:gd name="connsiteX33" fmla="*/ 10052 w 259927"/>
                    <a:gd name="connsiteY33" fmla="*/ 98739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9927" h="131736">
                      <a:moveTo>
                        <a:pt x="10052" y="98739"/>
                      </a:moveTo>
                      <a:cubicBezTo>
                        <a:pt x="20223" y="96713"/>
                        <a:pt x="21353" y="101779"/>
                        <a:pt x="17963" y="113940"/>
                      </a:cubicBezTo>
                      <a:cubicBezTo>
                        <a:pt x="17963" y="113940"/>
                        <a:pt x="40565" y="125087"/>
                        <a:pt x="40565" y="119006"/>
                      </a:cubicBezTo>
                      <a:cubicBezTo>
                        <a:pt x="40565" y="112926"/>
                        <a:pt x="37175" y="112926"/>
                        <a:pt x="49606" y="117993"/>
                      </a:cubicBezTo>
                      <a:cubicBezTo>
                        <a:pt x="60907" y="123060"/>
                        <a:pt x="50736" y="122046"/>
                        <a:pt x="65428" y="122046"/>
                      </a:cubicBezTo>
                      <a:cubicBezTo>
                        <a:pt x="80120" y="122046"/>
                        <a:pt x="72209" y="128127"/>
                        <a:pt x="80120" y="130153"/>
                      </a:cubicBezTo>
                      <a:cubicBezTo>
                        <a:pt x="88031" y="132180"/>
                        <a:pt x="86900" y="129140"/>
                        <a:pt x="95941" y="127113"/>
                      </a:cubicBezTo>
                      <a:cubicBezTo>
                        <a:pt x="104982" y="126100"/>
                        <a:pt x="121934" y="127113"/>
                        <a:pt x="121934" y="127113"/>
                      </a:cubicBezTo>
                      <a:cubicBezTo>
                        <a:pt x="121934" y="127113"/>
                        <a:pt x="134365" y="130153"/>
                        <a:pt x="134365" y="122046"/>
                      </a:cubicBezTo>
                      <a:cubicBezTo>
                        <a:pt x="134365" y="113940"/>
                        <a:pt x="135495" y="115966"/>
                        <a:pt x="149057" y="117993"/>
                      </a:cubicBezTo>
                      <a:cubicBezTo>
                        <a:pt x="161488" y="121033"/>
                        <a:pt x="170529" y="119006"/>
                        <a:pt x="175049" y="111913"/>
                      </a:cubicBezTo>
                      <a:cubicBezTo>
                        <a:pt x="179570" y="104819"/>
                        <a:pt x="184091" y="103806"/>
                        <a:pt x="192001" y="103806"/>
                      </a:cubicBezTo>
                      <a:cubicBezTo>
                        <a:pt x="201042" y="103806"/>
                        <a:pt x="207823" y="108873"/>
                        <a:pt x="215734" y="104819"/>
                      </a:cubicBezTo>
                      <a:cubicBezTo>
                        <a:pt x="223645" y="100766"/>
                        <a:pt x="228165" y="98739"/>
                        <a:pt x="228165" y="98739"/>
                      </a:cubicBezTo>
                      <a:cubicBezTo>
                        <a:pt x="228165" y="98739"/>
                        <a:pt x="232686" y="84552"/>
                        <a:pt x="240597" y="88606"/>
                      </a:cubicBezTo>
                      <a:cubicBezTo>
                        <a:pt x="248507" y="92659"/>
                        <a:pt x="249637" y="68339"/>
                        <a:pt x="249637" y="68339"/>
                      </a:cubicBezTo>
                      <a:cubicBezTo>
                        <a:pt x="249637" y="68339"/>
                        <a:pt x="242856" y="50098"/>
                        <a:pt x="258678" y="54152"/>
                      </a:cubicBezTo>
                      <a:lnTo>
                        <a:pt x="249637" y="40978"/>
                      </a:lnTo>
                      <a:cubicBezTo>
                        <a:pt x="233816" y="36924"/>
                        <a:pt x="249637" y="21724"/>
                        <a:pt x="249637" y="21724"/>
                      </a:cubicBezTo>
                      <a:cubicBezTo>
                        <a:pt x="249637" y="21724"/>
                        <a:pt x="233816" y="21724"/>
                        <a:pt x="223645" y="22738"/>
                      </a:cubicBezTo>
                      <a:cubicBezTo>
                        <a:pt x="213474" y="23751"/>
                        <a:pt x="206693" y="21724"/>
                        <a:pt x="197652" y="13617"/>
                      </a:cubicBezTo>
                      <a:cubicBezTo>
                        <a:pt x="188611" y="5510"/>
                        <a:pt x="176180" y="10577"/>
                        <a:pt x="176180" y="10577"/>
                      </a:cubicBezTo>
                      <a:cubicBezTo>
                        <a:pt x="176180" y="10577"/>
                        <a:pt x="169399" y="14631"/>
                        <a:pt x="163748" y="26791"/>
                      </a:cubicBezTo>
                      <a:cubicBezTo>
                        <a:pt x="158097" y="39965"/>
                        <a:pt x="135495" y="18684"/>
                        <a:pt x="135495" y="18684"/>
                      </a:cubicBezTo>
                      <a:cubicBezTo>
                        <a:pt x="135495" y="18684"/>
                        <a:pt x="120804" y="23751"/>
                        <a:pt x="121934" y="34898"/>
                      </a:cubicBezTo>
                      <a:cubicBezTo>
                        <a:pt x="123064" y="46045"/>
                        <a:pt x="118543" y="44018"/>
                        <a:pt x="109502" y="46045"/>
                      </a:cubicBezTo>
                      <a:cubicBezTo>
                        <a:pt x="100462" y="48071"/>
                        <a:pt x="95941" y="54152"/>
                        <a:pt x="95941" y="54152"/>
                      </a:cubicBezTo>
                      <a:cubicBezTo>
                        <a:pt x="95941" y="54152"/>
                        <a:pt x="107242" y="58205"/>
                        <a:pt x="107242" y="68339"/>
                      </a:cubicBezTo>
                      <a:cubicBezTo>
                        <a:pt x="107242" y="78472"/>
                        <a:pt x="107242" y="82525"/>
                        <a:pt x="99332" y="78472"/>
                      </a:cubicBezTo>
                      <a:cubicBezTo>
                        <a:pt x="91421" y="74419"/>
                        <a:pt x="90290" y="67325"/>
                        <a:pt x="83510" y="69352"/>
                      </a:cubicBezTo>
                      <a:cubicBezTo>
                        <a:pt x="76729" y="71379"/>
                        <a:pt x="65428" y="64285"/>
                        <a:pt x="59778" y="68339"/>
                      </a:cubicBezTo>
                      <a:cubicBezTo>
                        <a:pt x="54127" y="72392"/>
                        <a:pt x="55257" y="77459"/>
                        <a:pt x="47346" y="78472"/>
                      </a:cubicBezTo>
                      <a:cubicBezTo>
                        <a:pt x="38305" y="79486"/>
                        <a:pt x="38305" y="82525"/>
                        <a:pt x="28134" y="82525"/>
                      </a:cubicBezTo>
                      <a:cubicBezTo>
                        <a:pt x="17963" y="84552"/>
                        <a:pt x="12312" y="93672"/>
                        <a:pt x="10052" y="9873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3" name="Freeform: Shape 452">
                  <a:extLst>
                    <a:ext uri="{FF2B5EF4-FFF2-40B4-BE49-F238E27FC236}">
                      <a16:creationId xmlns:a16="http://schemas.microsoft.com/office/drawing/2014/main" id="{0AE55CB4-2C08-4F68-9BEA-8BB129347F79}"/>
                    </a:ext>
                  </a:extLst>
                </p:cNvPr>
                <p:cNvSpPr/>
                <p:nvPr/>
              </p:nvSpPr>
              <p:spPr>
                <a:xfrm>
                  <a:off x="9862274" y="4723754"/>
                  <a:ext cx="1423951" cy="1357898"/>
                </a:xfrm>
                <a:custGeom>
                  <a:avLst/>
                  <a:gdLst>
                    <a:gd name="connsiteX0" fmla="*/ 1013599 w 1423950"/>
                    <a:gd name="connsiteY0" fmla="*/ 1115599 h 1357898"/>
                    <a:gd name="connsiteX1" fmla="*/ 1019249 w 1423950"/>
                    <a:gd name="connsiteY1" fmla="*/ 1122693 h 1357898"/>
                    <a:gd name="connsiteX2" fmla="*/ 1030551 w 1423950"/>
                    <a:gd name="connsiteY2" fmla="*/ 1122693 h 1357898"/>
                    <a:gd name="connsiteX3" fmla="*/ 1036201 w 1423950"/>
                    <a:gd name="connsiteY3" fmla="*/ 1139920 h 1357898"/>
                    <a:gd name="connsiteX4" fmla="*/ 1044111 w 1423950"/>
                    <a:gd name="connsiteY4" fmla="*/ 1137893 h 1357898"/>
                    <a:gd name="connsiteX5" fmla="*/ 1057672 w 1423950"/>
                    <a:gd name="connsiteY5" fmla="*/ 1150054 h 1357898"/>
                    <a:gd name="connsiteX6" fmla="*/ 1073494 w 1423950"/>
                    <a:gd name="connsiteY6" fmla="*/ 1142960 h 1357898"/>
                    <a:gd name="connsiteX7" fmla="*/ 1079145 w 1423950"/>
                    <a:gd name="connsiteY7" fmla="*/ 1132826 h 1357898"/>
                    <a:gd name="connsiteX8" fmla="*/ 1084796 w 1423950"/>
                    <a:gd name="connsiteY8" fmla="*/ 1132826 h 1357898"/>
                    <a:gd name="connsiteX9" fmla="*/ 1090446 w 1423950"/>
                    <a:gd name="connsiteY9" fmla="*/ 1120666 h 1357898"/>
                    <a:gd name="connsiteX10" fmla="*/ 1101747 w 1423950"/>
                    <a:gd name="connsiteY10" fmla="*/ 1115599 h 1357898"/>
                    <a:gd name="connsiteX11" fmla="*/ 1101747 w 1423950"/>
                    <a:gd name="connsiteY11" fmla="*/ 1105466 h 1357898"/>
                    <a:gd name="connsiteX12" fmla="*/ 1113048 w 1423950"/>
                    <a:gd name="connsiteY12" fmla="*/ 1100399 h 1357898"/>
                    <a:gd name="connsiteX13" fmla="*/ 1113048 w 1423950"/>
                    <a:gd name="connsiteY13" fmla="*/ 1095332 h 1357898"/>
                    <a:gd name="connsiteX14" fmla="*/ 1124350 w 1423950"/>
                    <a:gd name="connsiteY14" fmla="*/ 1097359 h 1357898"/>
                    <a:gd name="connsiteX15" fmla="*/ 1126611 w 1423950"/>
                    <a:gd name="connsiteY15" fmla="*/ 1107492 h 1357898"/>
                    <a:gd name="connsiteX16" fmla="*/ 1113048 w 1423950"/>
                    <a:gd name="connsiteY16" fmla="*/ 1114586 h 1357898"/>
                    <a:gd name="connsiteX17" fmla="*/ 1113048 w 1423950"/>
                    <a:gd name="connsiteY17" fmla="*/ 1121679 h 1357898"/>
                    <a:gd name="connsiteX18" fmla="*/ 1124350 w 1423950"/>
                    <a:gd name="connsiteY18" fmla="*/ 1121679 h 1357898"/>
                    <a:gd name="connsiteX19" fmla="*/ 1135651 w 1423950"/>
                    <a:gd name="connsiteY19" fmla="*/ 1114586 h 1357898"/>
                    <a:gd name="connsiteX20" fmla="*/ 1137912 w 1423950"/>
                    <a:gd name="connsiteY20" fmla="*/ 1121679 h 1357898"/>
                    <a:gd name="connsiteX21" fmla="*/ 1126611 w 1423950"/>
                    <a:gd name="connsiteY21" fmla="*/ 1123706 h 1357898"/>
                    <a:gd name="connsiteX22" fmla="*/ 1126611 w 1423950"/>
                    <a:gd name="connsiteY22" fmla="*/ 1128773 h 1357898"/>
                    <a:gd name="connsiteX23" fmla="*/ 1145822 w 1423950"/>
                    <a:gd name="connsiteY23" fmla="*/ 1135866 h 1357898"/>
                    <a:gd name="connsiteX24" fmla="*/ 1151473 w 1423950"/>
                    <a:gd name="connsiteY24" fmla="*/ 1148027 h 1357898"/>
                    <a:gd name="connsiteX25" fmla="*/ 1159383 w 1423950"/>
                    <a:gd name="connsiteY25" fmla="*/ 1146000 h 1357898"/>
                    <a:gd name="connsiteX26" fmla="*/ 1161644 w 1423950"/>
                    <a:gd name="connsiteY26" fmla="*/ 1158160 h 1357898"/>
                    <a:gd name="connsiteX27" fmla="*/ 1169554 w 1423950"/>
                    <a:gd name="connsiteY27" fmla="*/ 1160187 h 1357898"/>
                    <a:gd name="connsiteX28" fmla="*/ 1177466 w 1423950"/>
                    <a:gd name="connsiteY28" fmla="*/ 1146000 h 1357898"/>
                    <a:gd name="connsiteX29" fmla="*/ 1188767 w 1423950"/>
                    <a:gd name="connsiteY29" fmla="*/ 1143973 h 1357898"/>
                    <a:gd name="connsiteX30" fmla="*/ 1191027 w 1423950"/>
                    <a:gd name="connsiteY30" fmla="*/ 1133840 h 1357898"/>
                    <a:gd name="connsiteX31" fmla="*/ 1210239 w 1423950"/>
                    <a:gd name="connsiteY31" fmla="*/ 1114586 h 1357898"/>
                    <a:gd name="connsiteX32" fmla="*/ 1207979 w 1423950"/>
                    <a:gd name="connsiteY32" fmla="*/ 1104453 h 1357898"/>
                    <a:gd name="connsiteX33" fmla="*/ 1215889 w 1423950"/>
                    <a:gd name="connsiteY33" fmla="*/ 1094319 h 1357898"/>
                    <a:gd name="connsiteX34" fmla="*/ 1275786 w 1423950"/>
                    <a:gd name="connsiteY34" fmla="*/ 1096345 h 1357898"/>
                    <a:gd name="connsiteX35" fmla="*/ 1278046 w 1423950"/>
                    <a:gd name="connsiteY35" fmla="*/ 1086212 h 1357898"/>
                    <a:gd name="connsiteX36" fmla="*/ 1289347 w 1423950"/>
                    <a:gd name="connsiteY36" fmla="*/ 1086212 h 1357898"/>
                    <a:gd name="connsiteX37" fmla="*/ 1287087 w 1423950"/>
                    <a:gd name="connsiteY37" fmla="*/ 1074052 h 1357898"/>
                    <a:gd name="connsiteX38" fmla="*/ 1294997 w 1423950"/>
                    <a:gd name="connsiteY38" fmla="*/ 1066958 h 1357898"/>
                    <a:gd name="connsiteX39" fmla="*/ 1283696 w 1423950"/>
                    <a:gd name="connsiteY39" fmla="*/ 1064931 h 1357898"/>
                    <a:gd name="connsiteX40" fmla="*/ 1278046 w 1423950"/>
                    <a:gd name="connsiteY40" fmla="*/ 1054798 h 1357898"/>
                    <a:gd name="connsiteX41" fmla="*/ 1299518 w 1423950"/>
                    <a:gd name="connsiteY41" fmla="*/ 1016290 h 1357898"/>
                    <a:gd name="connsiteX42" fmla="*/ 1299518 w 1423950"/>
                    <a:gd name="connsiteY42" fmla="*/ 991970 h 1357898"/>
                    <a:gd name="connsiteX43" fmla="*/ 1301779 w 1423950"/>
                    <a:gd name="connsiteY43" fmla="*/ 991970 h 1357898"/>
                    <a:gd name="connsiteX44" fmla="*/ 1309690 w 1423950"/>
                    <a:gd name="connsiteY44" fmla="*/ 974742 h 1357898"/>
                    <a:gd name="connsiteX45" fmla="*/ 1315340 w 1423950"/>
                    <a:gd name="connsiteY45" fmla="*/ 974742 h 1357898"/>
                    <a:gd name="connsiteX46" fmla="*/ 1315340 w 1423950"/>
                    <a:gd name="connsiteY46" fmla="*/ 960556 h 1357898"/>
                    <a:gd name="connsiteX47" fmla="*/ 1320991 w 1423950"/>
                    <a:gd name="connsiteY47" fmla="*/ 958529 h 1357898"/>
                    <a:gd name="connsiteX48" fmla="*/ 1320991 w 1423950"/>
                    <a:gd name="connsiteY48" fmla="*/ 946368 h 1357898"/>
                    <a:gd name="connsiteX49" fmla="*/ 1326641 w 1423950"/>
                    <a:gd name="connsiteY49" fmla="*/ 941302 h 1357898"/>
                    <a:gd name="connsiteX50" fmla="*/ 1326641 w 1423950"/>
                    <a:gd name="connsiteY50" fmla="*/ 906848 h 1357898"/>
                    <a:gd name="connsiteX51" fmla="*/ 1340202 w 1423950"/>
                    <a:gd name="connsiteY51" fmla="*/ 901781 h 1357898"/>
                    <a:gd name="connsiteX52" fmla="*/ 1340202 w 1423950"/>
                    <a:gd name="connsiteY52" fmla="*/ 889621 h 1357898"/>
                    <a:gd name="connsiteX53" fmla="*/ 1356024 w 1423950"/>
                    <a:gd name="connsiteY53" fmla="*/ 882527 h 1357898"/>
                    <a:gd name="connsiteX54" fmla="*/ 1363936 w 1423950"/>
                    <a:gd name="connsiteY54" fmla="*/ 872394 h 1357898"/>
                    <a:gd name="connsiteX55" fmla="*/ 1363936 w 1423950"/>
                    <a:gd name="connsiteY55" fmla="*/ 872394 h 1357898"/>
                    <a:gd name="connsiteX56" fmla="*/ 1377497 w 1423950"/>
                    <a:gd name="connsiteY56" fmla="*/ 870367 h 1357898"/>
                    <a:gd name="connsiteX57" fmla="*/ 1377497 w 1423950"/>
                    <a:gd name="connsiteY57" fmla="*/ 851113 h 1357898"/>
                    <a:gd name="connsiteX58" fmla="*/ 1385407 w 1423950"/>
                    <a:gd name="connsiteY58" fmla="*/ 844020 h 1357898"/>
                    <a:gd name="connsiteX59" fmla="*/ 1391058 w 1423950"/>
                    <a:gd name="connsiteY59" fmla="*/ 844020 h 1357898"/>
                    <a:gd name="connsiteX60" fmla="*/ 1391058 w 1423950"/>
                    <a:gd name="connsiteY60" fmla="*/ 831859 h 1357898"/>
                    <a:gd name="connsiteX61" fmla="*/ 1398969 w 1423950"/>
                    <a:gd name="connsiteY61" fmla="*/ 814632 h 1357898"/>
                    <a:gd name="connsiteX62" fmla="*/ 1396708 w 1423950"/>
                    <a:gd name="connsiteY62" fmla="*/ 795379 h 1357898"/>
                    <a:gd name="connsiteX63" fmla="*/ 1402359 w 1423950"/>
                    <a:gd name="connsiteY63" fmla="*/ 790312 h 1357898"/>
                    <a:gd name="connsiteX64" fmla="*/ 1404620 w 1423950"/>
                    <a:gd name="connsiteY64" fmla="*/ 748764 h 1357898"/>
                    <a:gd name="connsiteX65" fmla="*/ 1396708 w 1423950"/>
                    <a:gd name="connsiteY65" fmla="*/ 741670 h 1357898"/>
                    <a:gd name="connsiteX66" fmla="*/ 1402359 w 1423950"/>
                    <a:gd name="connsiteY66" fmla="*/ 724444 h 1357898"/>
                    <a:gd name="connsiteX67" fmla="*/ 1413660 w 1423950"/>
                    <a:gd name="connsiteY67" fmla="*/ 693029 h 1357898"/>
                    <a:gd name="connsiteX68" fmla="*/ 1400099 w 1423950"/>
                    <a:gd name="connsiteY68" fmla="*/ 680869 h 1357898"/>
                    <a:gd name="connsiteX69" fmla="*/ 1392189 w 1423950"/>
                    <a:gd name="connsiteY69" fmla="*/ 656549 h 1357898"/>
                    <a:gd name="connsiteX70" fmla="*/ 1394449 w 1423950"/>
                    <a:gd name="connsiteY70" fmla="*/ 612974 h 1357898"/>
                    <a:gd name="connsiteX71" fmla="*/ 1396708 w 1423950"/>
                    <a:gd name="connsiteY71" fmla="*/ 605881 h 1357898"/>
                    <a:gd name="connsiteX72" fmla="*/ 1394449 w 1423950"/>
                    <a:gd name="connsiteY72" fmla="*/ 591694 h 1357898"/>
                    <a:gd name="connsiteX73" fmla="*/ 1388798 w 1423950"/>
                    <a:gd name="connsiteY73" fmla="*/ 589667 h 1357898"/>
                    <a:gd name="connsiteX74" fmla="*/ 1388798 w 1423950"/>
                    <a:gd name="connsiteY74" fmla="*/ 577507 h 1357898"/>
                    <a:gd name="connsiteX75" fmla="*/ 1380888 w 1423950"/>
                    <a:gd name="connsiteY75" fmla="*/ 575480 h 1357898"/>
                    <a:gd name="connsiteX76" fmla="*/ 1372976 w 1423950"/>
                    <a:gd name="connsiteY76" fmla="*/ 561293 h 1357898"/>
                    <a:gd name="connsiteX77" fmla="*/ 1359415 w 1423950"/>
                    <a:gd name="connsiteY77" fmla="*/ 554200 h 1357898"/>
                    <a:gd name="connsiteX78" fmla="*/ 1359415 w 1423950"/>
                    <a:gd name="connsiteY78" fmla="*/ 542039 h 1357898"/>
                    <a:gd name="connsiteX79" fmla="*/ 1345853 w 1423950"/>
                    <a:gd name="connsiteY79" fmla="*/ 527852 h 1357898"/>
                    <a:gd name="connsiteX80" fmla="*/ 1324382 w 1423950"/>
                    <a:gd name="connsiteY80" fmla="*/ 513665 h 1357898"/>
                    <a:gd name="connsiteX81" fmla="*/ 1318731 w 1423950"/>
                    <a:gd name="connsiteY81" fmla="*/ 470091 h 1357898"/>
                    <a:gd name="connsiteX82" fmla="*/ 1313080 w 1423950"/>
                    <a:gd name="connsiteY82" fmla="*/ 470091 h 1357898"/>
                    <a:gd name="connsiteX83" fmla="*/ 1301779 w 1423950"/>
                    <a:gd name="connsiteY83" fmla="*/ 457931 h 1357898"/>
                    <a:gd name="connsiteX84" fmla="*/ 1280307 w 1423950"/>
                    <a:gd name="connsiteY84" fmla="*/ 455904 h 1357898"/>
                    <a:gd name="connsiteX85" fmla="*/ 1282566 w 1423950"/>
                    <a:gd name="connsiteY85" fmla="*/ 424490 h 1357898"/>
                    <a:gd name="connsiteX86" fmla="*/ 1276916 w 1423950"/>
                    <a:gd name="connsiteY86" fmla="*/ 422463 h 1357898"/>
                    <a:gd name="connsiteX87" fmla="*/ 1274656 w 1423950"/>
                    <a:gd name="connsiteY87" fmla="*/ 408276 h 1357898"/>
                    <a:gd name="connsiteX88" fmla="*/ 1258834 w 1423950"/>
                    <a:gd name="connsiteY88" fmla="*/ 371795 h 1357898"/>
                    <a:gd name="connsiteX89" fmla="*/ 1237362 w 1423950"/>
                    <a:gd name="connsiteY89" fmla="*/ 359635 h 1357898"/>
                    <a:gd name="connsiteX90" fmla="*/ 1237362 w 1423950"/>
                    <a:gd name="connsiteY90" fmla="*/ 349501 h 1357898"/>
                    <a:gd name="connsiteX91" fmla="*/ 1218150 w 1423950"/>
                    <a:gd name="connsiteY91" fmla="*/ 344435 h 1357898"/>
                    <a:gd name="connsiteX92" fmla="*/ 1212500 w 1423950"/>
                    <a:gd name="connsiteY92" fmla="*/ 349501 h 1357898"/>
                    <a:gd name="connsiteX93" fmla="*/ 1204588 w 1423950"/>
                    <a:gd name="connsiteY93" fmla="*/ 344435 h 1357898"/>
                    <a:gd name="connsiteX94" fmla="*/ 1204588 w 1423950"/>
                    <a:gd name="connsiteY94" fmla="*/ 334301 h 1357898"/>
                    <a:gd name="connsiteX95" fmla="*/ 1188767 w 1423950"/>
                    <a:gd name="connsiteY95" fmla="*/ 334301 h 1357898"/>
                    <a:gd name="connsiteX96" fmla="*/ 1175205 w 1423950"/>
                    <a:gd name="connsiteY96" fmla="*/ 327208 h 1357898"/>
                    <a:gd name="connsiteX97" fmla="*/ 1169554 w 1423950"/>
                    <a:gd name="connsiteY97" fmla="*/ 325181 h 1357898"/>
                    <a:gd name="connsiteX98" fmla="*/ 1169554 w 1423950"/>
                    <a:gd name="connsiteY98" fmla="*/ 305927 h 1357898"/>
                    <a:gd name="connsiteX99" fmla="*/ 1163904 w 1423950"/>
                    <a:gd name="connsiteY99" fmla="*/ 257286 h 1357898"/>
                    <a:gd name="connsiteX100" fmla="*/ 1155994 w 1423950"/>
                    <a:gd name="connsiteY100" fmla="*/ 247152 h 1357898"/>
                    <a:gd name="connsiteX101" fmla="*/ 1155994 w 1423950"/>
                    <a:gd name="connsiteY101" fmla="*/ 234992 h 1357898"/>
                    <a:gd name="connsiteX102" fmla="*/ 1134521 w 1423950"/>
                    <a:gd name="connsiteY102" fmla="*/ 210672 h 1357898"/>
                    <a:gd name="connsiteX103" fmla="*/ 1136781 w 1423950"/>
                    <a:gd name="connsiteY103" fmla="*/ 162030 h 1357898"/>
                    <a:gd name="connsiteX104" fmla="*/ 1134521 w 1423950"/>
                    <a:gd name="connsiteY104" fmla="*/ 156964 h 1357898"/>
                    <a:gd name="connsiteX105" fmla="*/ 1126611 w 1423950"/>
                    <a:gd name="connsiteY105" fmla="*/ 158990 h 1357898"/>
                    <a:gd name="connsiteX106" fmla="*/ 1107398 w 1423950"/>
                    <a:gd name="connsiteY106" fmla="*/ 132643 h 1357898"/>
                    <a:gd name="connsiteX107" fmla="*/ 1085925 w 1423950"/>
                    <a:gd name="connsiteY107" fmla="*/ 149870 h 1357898"/>
                    <a:gd name="connsiteX108" fmla="*/ 1074624 w 1423950"/>
                    <a:gd name="connsiteY108" fmla="*/ 142777 h 1357898"/>
                    <a:gd name="connsiteX109" fmla="*/ 1080275 w 1423950"/>
                    <a:gd name="connsiteY109" fmla="*/ 108323 h 1357898"/>
                    <a:gd name="connsiteX110" fmla="*/ 1080275 w 1423950"/>
                    <a:gd name="connsiteY110" fmla="*/ 103256 h 1357898"/>
                    <a:gd name="connsiteX111" fmla="*/ 1072364 w 1423950"/>
                    <a:gd name="connsiteY111" fmla="*/ 76908 h 1357898"/>
                    <a:gd name="connsiteX112" fmla="*/ 1058804 w 1423950"/>
                    <a:gd name="connsiteY112" fmla="*/ 64748 h 1357898"/>
                    <a:gd name="connsiteX113" fmla="*/ 1058804 w 1423950"/>
                    <a:gd name="connsiteY113" fmla="*/ 50561 h 1357898"/>
                    <a:gd name="connsiteX114" fmla="*/ 1047502 w 1423950"/>
                    <a:gd name="connsiteY114" fmla="*/ 45494 h 1357898"/>
                    <a:gd name="connsiteX115" fmla="*/ 1047502 w 1423950"/>
                    <a:gd name="connsiteY115" fmla="*/ 33334 h 1357898"/>
                    <a:gd name="connsiteX116" fmla="*/ 1036201 w 1423950"/>
                    <a:gd name="connsiteY116" fmla="*/ 26241 h 1357898"/>
                    <a:gd name="connsiteX117" fmla="*/ 1030551 w 1423950"/>
                    <a:gd name="connsiteY117" fmla="*/ 9013 h 1357898"/>
                    <a:gd name="connsiteX118" fmla="*/ 1024900 w 1423950"/>
                    <a:gd name="connsiteY118" fmla="*/ 9013 h 1357898"/>
                    <a:gd name="connsiteX119" fmla="*/ 1016988 w 1423950"/>
                    <a:gd name="connsiteY119" fmla="*/ 11040 h 1357898"/>
                    <a:gd name="connsiteX120" fmla="*/ 1014729 w 1423950"/>
                    <a:gd name="connsiteY120" fmla="*/ 47521 h 1357898"/>
                    <a:gd name="connsiteX121" fmla="*/ 1003427 w 1423950"/>
                    <a:gd name="connsiteY121" fmla="*/ 61708 h 1357898"/>
                    <a:gd name="connsiteX122" fmla="*/ 1009078 w 1423950"/>
                    <a:gd name="connsiteY122" fmla="*/ 66775 h 1357898"/>
                    <a:gd name="connsiteX123" fmla="*/ 1009078 w 1423950"/>
                    <a:gd name="connsiteY123" fmla="*/ 103256 h 1357898"/>
                    <a:gd name="connsiteX124" fmla="*/ 997777 w 1423950"/>
                    <a:gd name="connsiteY124" fmla="*/ 122510 h 1357898"/>
                    <a:gd name="connsiteX125" fmla="*/ 1003427 w 1423950"/>
                    <a:gd name="connsiteY125" fmla="*/ 164057 h 1357898"/>
                    <a:gd name="connsiteX126" fmla="*/ 1009078 w 1423950"/>
                    <a:gd name="connsiteY126" fmla="*/ 174191 h 1357898"/>
                    <a:gd name="connsiteX127" fmla="*/ 1001166 w 1423950"/>
                    <a:gd name="connsiteY127" fmla="*/ 181284 h 1357898"/>
                    <a:gd name="connsiteX128" fmla="*/ 1001166 w 1423950"/>
                    <a:gd name="connsiteY128" fmla="*/ 203578 h 1357898"/>
                    <a:gd name="connsiteX129" fmla="*/ 987605 w 1423950"/>
                    <a:gd name="connsiteY129" fmla="*/ 220805 h 1357898"/>
                    <a:gd name="connsiteX130" fmla="*/ 979695 w 1423950"/>
                    <a:gd name="connsiteY130" fmla="*/ 250193 h 1357898"/>
                    <a:gd name="connsiteX131" fmla="*/ 979695 w 1423950"/>
                    <a:gd name="connsiteY131" fmla="*/ 269446 h 1357898"/>
                    <a:gd name="connsiteX132" fmla="*/ 939010 w 1423950"/>
                    <a:gd name="connsiteY132" fmla="*/ 274513 h 1357898"/>
                    <a:gd name="connsiteX133" fmla="*/ 939010 w 1423950"/>
                    <a:gd name="connsiteY133" fmla="*/ 264379 h 1357898"/>
                    <a:gd name="connsiteX134" fmla="*/ 936750 w 1423950"/>
                    <a:gd name="connsiteY134" fmla="*/ 264379 h 1357898"/>
                    <a:gd name="connsiteX135" fmla="*/ 923189 w 1423950"/>
                    <a:gd name="connsiteY135" fmla="*/ 240059 h 1357898"/>
                    <a:gd name="connsiteX136" fmla="*/ 903976 w 1423950"/>
                    <a:gd name="connsiteY136" fmla="*/ 234992 h 1357898"/>
                    <a:gd name="connsiteX137" fmla="*/ 876854 w 1423950"/>
                    <a:gd name="connsiteY137" fmla="*/ 205605 h 1357898"/>
                    <a:gd name="connsiteX138" fmla="*/ 861032 w 1423950"/>
                    <a:gd name="connsiteY138" fmla="*/ 203578 h 1357898"/>
                    <a:gd name="connsiteX139" fmla="*/ 845211 w 1423950"/>
                    <a:gd name="connsiteY139" fmla="*/ 191418 h 1357898"/>
                    <a:gd name="connsiteX140" fmla="*/ 831649 w 1423950"/>
                    <a:gd name="connsiteY140" fmla="*/ 191418 h 1357898"/>
                    <a:gd name="connsiteX141" fmla="*/ 820348 w 1423950"/>
                    <a:gd name="connsiteY141" fmla="*/ 177231 h 1357898"/>
                    <a:gd name="connsiteX142" fmla="*/ 809047 w 1423950"/>
                    <a:gd name="connsiteY142" fmla="*/ 175204 h 1357898"/>
                    <a:gd name="connsiteX143" fmla="*/ 793225 w 1423950"/>
                    <a:gd name="connsiteY143" fmla="*/ 163044 h 1357898"/>
                    <a:gd name="connsiteX144" fmla="*/ 798875 w 1423950"/>
                    <a:gd name="connsiteY144" fmla="*/ 128590 h 1357898"/>
                    <a:gd name="connsiteX145" fmla="*/ 806786 w 1423950"/>
                    <a:gd name="connsiteY145" fmla="*/ 123523 h 1357898"/>
                    <a:gd name="connsiteX146" fmla="*/ 804526 w 1423950"/>
                    <a:gd name="connsiteY146" fmla="*/ 94136 h 1357898"/>
                    <a:gd name="connsiteX147" fmla="*/ 823738 w 1423950"/>
                    <a:gd name="connsiteY147" fmla="*/ 74882 h 1357898"/>
                    <a:gd name="connsiteX148" fmla="*/ 845211 w 1423950"/>
                    <a:gd name="connsiteY148" fmla="*/ 64748 h 1357898"/>
                    <a:gd name="connsiteX149" fmla="*/ 845211 w 1423950"/>
                    <a:gd name="connsiteY149" fmla="*/ 54614 h 1357898"/>
                    <a:gd name="connsiteX150" fmla="*/ 837300 w 1423950"/>
                    <a:gd name="connsiteY150" fmla="*/ 56641 h 1357898"/>
                    <a:gd name="connsiteX151" fmla="*/ 835039 w 1423950"/>
                    <a:gd name="connsiteY151" fmla="*/ 51575 h 1357898"/>
                    <a:gd name="connsiteX152" fmla="*/ 837300 w 1423950"/>
                    <a:gd name="connsiteY152" fmla="*/ 39414 h 1357898"/>
                    <a:gd name="connsiteX153" fmla="*/ 815827 w 1423950"/>
                    <a:gd name="connsiteY153" fmla="*/ 49548 h 1357898"/>
                    <a:gd name="connsiteX154" fmla="*/ 815827 w 1423950"/>
                    <a:gd name="connsiteY154" fmla="*/ 56641 h 1357898"/>
                    <a:gd name="connsiteX155" fmla="*/ 800006 w 1423950"/>
                    <a:gd name="connsiteY155" fmla="*/ 42454 h 1357898"/>
                    <a:gd name="connsiteX156" fmla="*/ 784184 w 1423950"/>
                    <a:gd name="connsiteY156" fmla="*/ 47521 h 1357898"/>
                    <a:gd name="connsiteX157" fmla="*/ 770622 w 1423950"/>
                    <a:gd name="connsiteY157" fmla="*/ 42454 h 1357898"/>
                    <a:gd name="connsiteX158" fmla="*/ 751410 w 1423950"/>
                    <a:gd name="connsiteY158" fmla="*/ 44481 h 1357898"/>
                    <a:gd name="connsiteX159" fmla="*/ 745760 w 1423950"/>
                    <a:gd name="connsiteY159" fmla="*/ 37388 h 1357898"/>
                    <a:gd name="connsiteX160" fmla="*/ 729938 w 1423950"/>
                    <a:gd name="connsiteY160" fmla="*/ 39414 h 1357898"/>
                    <a:gd name="connsiteX161" fmla="*/ 722027 w 1423950"/>
                    <a:gd name="connsiteY161" fmla="*/ 27254 h 1357898"/>
                    <a:gd name="connsiteX162" fmla="*/ 700555 w 1423950"/>
                    <a:gd name="connsiteY162" fmla="*/ 34347 h 1357898"/>
                    <a:gd name="connsiteX163" fmla="*/ 667782 w 1423950"/>
                    <a:gd name="connsiteY163" fmla="*/ 15094 h 1357898"/>
                    <a:gd name="connsiteX164" fmla="*/ 665521 w 1423950"/>
                    <a:gd name="connsiteY164" fmla="*/ 20160 h 1357898"/>
                    <a:gd name="connsiteX165" fmla="*/ 679083 w 1423950"/>
                    <a:gd name="connsiteY165" fmla="*/ 32321 h 1357898"/>
                    <a:gd name="connsiteX166" fmla="*/ 690384 w 1423950"/>
                    <a:gd name="connsiteY166" fmla="*/ 32321 h 1357898"/>
                    <a:gd name="connsiteX167" fmla="*/ 703946 w 1423950"/>
                    <a:gd name="connsiteY167" fmla="*/ 54614 h 1357898"/>
                    <a:gd name="connsiteX168" fmla="*/ 698295 w 1423950"/>
                    <a:gd name="connsiteY168" fmla="*/ 54614 h 1357898"/>
                    <a:gd name="connsiteX169" fmla="*/ 692645 w 1423950"/>
                    <a:gd name="connsiteY169" fmla="*/ 64748 h 1357898"/>
                    <a:gd name="connsiteX170" fmla="*/ 654220 w 1423950"/>
                    <a:gd name="connsiteY170" fmla="*/ 54614 h 1357898"/>
                    <a:gd name="connsiteX171" fmla="*/ 648570 w 1423950"/>
                    <a:gd name="connsiteY171" fmla="*/ 59681 h 1357898"/>
                    <a:gd name="connsiteX172" fmla="*/ 642919 w 1423950"/>
                    <a:gd name="connsiteY172" fmla="*/ 49548 h 1357898"/>
                    <a:gd name="connsiteX173" fmla="*/ 618056 w 1423950"/>
                    <a:gd name="connsiteY173" fmla="*/ 56641 h 1357898"/>
                    <a:gd name="connsiteX174" fmla="*/ 620317 w 1423950"/>
                    <a:gd name="connsiteY174" fmla="*/ 68802 h 1357898"/>
                    <a:gd name="connsiteX175" fmla="*/ 604495 w 1423950"/>
                    <a:gd name="connsiteY175" fmla="*/ 75895 h 1357898"/>
                    <a:gd name="connsiteX176" fmla="*/ 606755 w 1423950"/>
                    <a:gd name="connsiteY176" fmla="*/ 80962 h 1357898"/>
                    <a:gd name="connsiteX177" fmla="*/ 618056 w 1423950"/>
                    <a:gd name="connsiteY177" fmla="*/ 98189 h 1357898"/>
                    <a:gd name="connsiteX178" fmla="*/ 593193 w 1423950"/>
                    <a:gd name="connsiteY178" fmla="*/ 122510 h 1357898"/>
                    <a:gd name="connsiteX179" fmla="*/ 579633 w 1423950"/>
                    <a:gd name="connsiteY179" fmla="*/ 122510 h 1357898"/>
                    <a:gd name="connsiteX180" fmla="*/ 585283 w 1423950"/>
                    <a:gd name="connsiteY180" fmla="*/ 151897 h 1357898"/>
                    <a:gd name="connsiteX181" fmla="*/ 593193 w 1423950"/>
                    <a:gd name="connsiteY181" fmla="*/ 153924 h 1357898"/>
                    <a:gd name="connsiteX182" fmla="*/ 593193 w 1423950"/>
                    <a:gd name="connsiteY182" fmla="*/ 164057 h 1357898"/>
                    <a:gd name="connsiteX183" fmla="*/ 571722 w 1423950"/>
                    <a:gd name="connsiteY183" fmla="*/ 162030 h 1357898"/>
                    <a:gd name="connsiteX184" fmla="*/ 569461 w 1423950"/>
                    <a:gd name="connsiteY184" fmla="*/ 156964 h 1357898"/>
                    <a:gd name="connsiteX185" fmla="*/ 540078 w 1423950"/>
                    <a:gd name="connsiteY185" fmla="*/ 174191 h 1357898"/>
                    <a:gd name="connsiteX186" fmla="*/ 534428 w 1423950"/>
                    <a:gd name="connsiteY186" fmla="*/ 176217 h 1357898"/>
                    <a:gd name="connsiteX187" fmla="*/ 532167 w 1423950"/>
                    <a:gd name="connsiteY187" fmla="*/ 158990 h 1357898"/>
                    <a:gd name="connsiteX188" fmla="*/ 534428 w 1423950"/>
                    <a:gd name="connsiteY188" fmla="*/ 141763 h 1357898"/>
                    <a:gd name="connsiteX189" fmla="*/ 528777 w 1423950"/>
                    <a:gd name="connsiteY189" fmla="*/ 141763 h 1357898"/>
                    <a:gd name="connsiteX190" fmla="*/ 523127 w 1423950"/>
                    <a:gd name="connsiteY190" fmla="*/ 129603 h 1357898"/>
                    <a:gd name="connsiteX191" fmla="*/ 517476 w 1423950"/>
                    <a:gd name="connsiteY191" fmla="*/ 129603 h 1357898"/>
                    <a:gd name="connsiteX192" fmla="*/ 515216 w 1423950"/>
                    <a:gd name="connsiteY192" fmla="*/ 119470 h 1357898"/>
                    <a:gd name="connsiteX193" fmla="*/ 472271 w 1423950"/>
                    <a:gd name="connsiteY193" fmla="*/ 121496 h 1357898"/>
                    <a:gd name="connsiteX194" fmla="*/ 470011 w 1423950"/>
                    <a:gd name="connsiteY194" fmla="*/ 114403 h 1357898"/>
                    <a:gd name="connsiteX195" fmla="*/ 467750 w 1423950"/>
                    <a:gd name="connsiteY195" fmla="*/ 138723 h 1357898"/>
                    <a:gd name="connsiteX196" fmla="*/ 459839 w 1423950"/>
                    <a:gd name="connsiteY196" fmla="*/ 136696 h 1357898"/>
                    <a:gd name="connsiteX197" fmla="*/ 459839 w 1423950"/>
                    <a:gd name="connsiteY197" fmla="*/ 129603 h 1357898"/>
                    <a:gd name="connsiteX198" fmla="*/ 454189 w 1423950"/>
                    <a:gd name="connsiteY198" fmla="*/ 139737 h 1357898"/>
                    <a:gd name="connsiteX199" fmla="*/ 442888 w 1423950"/>
                    <a:gd name="connsiteY199" fmla="*/ 141763 h 1357898"/>
                    <a:gd name="connsiteX200" fmla="*/ 442888 w 1423950"/>
                    <a:gd name="connsiteY200" fmla="*/ 148857 h 1357898"/>
                    <a:gd name="connsiteX201" fmla="*/ 448538 w 1423950"/>
                    <a:gd name="connsiteY201" fmla="*/ 150883 h 1357898"/>
                    <a:gd name="connsiteX202" fmla="*/ 448538 w 1423950"/>
                    <a:gd name="connsiteY202" fmla="*/ 157977 h 1357898"/>
                    <a:gd name="connsiteX203" fmla="*/ 434977 w 1423950"/>
                    <a:gd name="connsiteY203" fmla="*/ 160004 h 1357898"/>
                    <a:gd name="connsiteX204" fmla="*/ 440627 w 1423950"/>
                    <a:gd name="connsiteY204" fmla="*/ 172164 h 1357898"/>
                    <a:gd name="connsiteX205" fmla="*/ 413505 w 1423950"/>
                    <a:gd name="connsiteY205" fmla="*/ 172164 h 1357898"/>
                    <a:gd name="connsiteX206" fmla="*/ 407854 w 1423950"/>
                    <a:gd name="connsiteY206" fmla="*/ 206618 h 1357898"/>
                    <a:gd name="connsiteX207" fmla="*/ 394293 w 1423950"/>
                    <a:gd name="connsiteY207" fmla="*/ 201551 h 1357898"/>
                    <a:gd name="connsiteX208" fmla="*/ 394293 w 1423950"/>
                    <a:gd name="connsiteY208" fmla="*/ 194458 h 1357898"/>
                    <a:gd name="connsiteX209" fmla="*/ 388642 w 1423950"/>
                    <a:gd name="connsiteY209" fmla="*/ 194458 h 1357898"/>
                    <a:gd name="connsiteX210" fmla="*/ 380731 w 1423950"/>
                    <a:gd name="connsiteY210" fmla="*/ 199525 h 1357898"/>
                    <a:gd name="connsiteX211" fmla="*/ 380731 w 1423950"/>
                    <a:gd name="connsiteY211" fmla="*/ 228912 h 1357898"/>
                    <a:gd name="connsiteX212" fmla="*/ 388642 w 1423950"/>
                    <a:gd name="connsiteY212" fmla="*/ 236006 h 1357898"/>
                    <a:gd name="connsiteX213" fmla="*/ 377341 w 1423950"/>
                    <a:gd name="connsiteY213" fmla="*/ 238032 h 1357898"/>
                    <a:gd name="connsiteX214" fmla="*/ 377341 w 1423950"/>
                    <a:gd name="connsiteY214" fmla="*/ 248166 h 1357898"/>
                    <a:gd name="connsiteX215" fmla="*/ 363779 w 1423950"/>
                    <a:gd name="connsiteY215" fmla="*/ 233979 h 1357898"/>
                    <a:gd name="connsiteX216" fmla="*/ 361519 w 1423950"/>
                    <a:gd name="connsiteY216" fmla="*/ 214725 h 1357898"/>
                    <a:gd name="connsiteX217" fmla="*/ 353609 w 1423950"/>
                    <a:gd name="connsiteY217" fmla="*/ 212698 h 1357898"/>
                    <a:gd name="connsiteX218" fmla="*/ 353609 w 1423950"/>
                    <a:gd name="connsiteY218" fmla="*/ 222832 h 1357898"/>
                    <a:gd name="connsiteX219" fmla="*/ 337787 w 1423950"/>
                    <a:gd name="connsiteY219" fmla="*/ 229925 h 1357898"/>
                    <a:gd name="connsiteX220" fmla="*/ 335526 w 1423950"/>
                    <a:gd name="connsiteY220" fmla="*/ 266406 h 1357898"/>
                    <a:gd name="connsiteX221" fmla="*/ 329876 w 1423950"/>
                    <a:gd name="connsiteY221" fmla="*/ 266406 h 1357898"/>
                    <a:gd name="connsiteX222" fmla="*/ 327615 w 1423950"/>
                    <a:gd name="connsiteY222" fmla="*/ 276540 h 1357898"/>
                    <a:gd name="connsiteX223" fmla="*/ 333266 w 1423950"/>
                    <a:gd name="connsiteY223" fmla="*/ 276540 h 1357898"/>
                    <a:gd name="connsiteX224" fmla="*/ 335526 w 1423950"/>
                    <a:gd name="connsiteY224" fmla="*/ 286673 h 1357898"/>
                    <a:gd name="connsiteX225" fmla="*/ 314054 w 1423950"/>
                    <a:gd name="connsiteY225" fmla="*/ 298834 h 1357898"/>
                    <a:gd name="connsiteX226" fmla="*/ 314054 w 1423950"/>
                    <a:gd name="connsiteY226" fmla="*/ 305927 h 1357898"/>
                    <a:gd name="connsiteX227" fmla="*/ 289192 w 1423950"/>
                    <a:gd name="connsiteY227" fmla="*/ 332275 h 1357898"/>
                    <a:gd name="connsiteX228" fmla="*/ 250767 w 1423950"/>
                    <a:gd name="connsiteY228" fmla="*/ 339368 h 1357898"/>
                    <a:gd name="connsiteX229" fmla="*/ 234946 w 1423950"/>
                    <a:gd name="connsiteY229" fmla="*/ 349501 h 1357898"/>
                    <a:gd name="connsiteX230" fmla="*/ 219124 w 1423950"/>
                    <a:gd name="connsiteY230" fmla="*/ 347475 h 1357898"/>
                    <a:gd name="connsiteX231" fmla="*/ 203302 w 1423950"/>
                    <a:gd name="connsiteY231" fmla="*/ 369769 h 1357898"/>
                    <a:gd name="connsiteX232" fmla="*/ 184091 w 1423950"/>
                    <a:gd name="connsiteY232" fmla="*/ 371795 h 1357898"/>
                    <a:gd name="connsiteX233" fmla="*/ 178440 w 1423950"/>
                    <a:gd name="connsiteY233" fmla="*/ 378889 h 1357898"/>
                    <a:gd name="connsiteX234" fmla="*/ 143406 w 1423950"/>
                    <a:gd name="connsiteY234" fmla="*/ 376862 h 1357898"/>
                    <a:gd name="connsiteX235" fmla="*/ 137755 w 1423950"/>
                    <a:gd name="connsiteY235" fmla="*/ 389022 h 1357898"/>
                    <a:gd name="connsiteX236" fmla="*/ 118543 w 1423950"/>
                    <a:gd name="connsiteY236" fmla="*/ 389022 h 1357898"/>
                    <a:gd name="connsiteX237" fmla="*/ 99332 w 1423950"/>
                    <a:gd name="connsiteY237" fmla="*/ 411316 h 1357898"/>
                    <a:gd name="connsiteX238" fmla="*/ 93681 w 1423950"/>
                    <a:gd name="connsiteY238" fmla="*/ 411316 h 1357898"/>
                    <a:gd name="connsiteX239" fmla="*/ 91421 w 1423950"/>
                    <a:gd name="connsiteY239" fmla="*/ 421450 h 1357898"/>
                    <a:gd name="connsiteX240" fmla="*/ 83510 w 1423950"/>
                    <a:gd name="connsiteY240" fmla="*/ 421450 h 1357898"/>
                    <a:gd name="connsiteX241" fmla="*/ 64298 w 1423950"/>
                    <a:gd name="connsiteY241" fmla="*/ 443744 h 1357898"/>
                    <a:gd name="connsiteX242" fmla="*/ 42826 w 1423950"/>
                    <a:gd name="connsiteY242" fmla="*/ 453877 h 1357898"/>
                    <a:gd name="connsiteX243" fmla="*/ 40565 w 1423950"/>
                    <a:gd name="connsiteY243" fmla="*/ 446784 h 1357898"/>
                    <a:gd name="connsiteX244" fmla="*/ 42826 w 1423950"/>
                    <a:gd name="connsiteY244" fmla="*/ 436650 h 1357898"/>
                    <a:gd name="connsiteX245" fmla="*/ 40565 w 1423950"/>
                    <a:gd name="connsiteY245" fmla="*/ 434623 h 1357898"/>
                    <a:gd name="connsiteX246" fmla="*/ 27004 w 1423950"/>
                    <a:gd name="connsiteY246" fmla="*/ 458944 h 1357898"/>
                    <a:gd name="connsiteX247" fmla="*/ 34915 w 1423950"/>
                    <a:gd name="connsiteY247" fmla="*/ 473131 h 1357898"/>
                    <a:gd name="connsiteX248" fmla="*/ 32654 w 1423950"/>
                    <a:gd name="connsiteY248" fmla="*/ 490358 h 1357898"/>
                    <a:gd name="connsiteX249" fmla="*/ 34915 w 1423950"/>
                    <a:gd name="connsiteY249" fmla="*/ 495425 h 1357898"/>
                    <a:gd name="connsiteX250" fmla="*/ 23614 w 1423950"/>
                    <a:gd name="connsiteY250" fmla="*/ 519746 h 1357898"/>
                    <a:gd name="connsiteX251" fmla="*/ 15703 w 1423950"/>
                    <a:gd name="connsiteY251" fmla="*/ 519746 h 1357898"/>
                    <a:gd name="connsiteX252" fmla="*/ 13442 w 1423950"/>
                    <a:gd name="connsiteY252" fmla="*/ 526839 h 1357898"/>
                    <a:gd name="connsiteX253" fmla="*/ 19093 w 1423950"/>
                    <a:gd name="connsiteY253" fmla="*/ 528866 h 1357898"/>
                    <a:gd name="connsiteX254" fmla="*/ 38305 w 1423950"/>
                    <a:gd name="connsiteY254" fmla="*/ 546093 h 1357898"/>
                    <a:gd name="connsiteX255" fmla="*/ 38305 w 1423950"/>
                    <a:gd name="connsiteY255" fmla="*/ 570413 h 1357898"/>
                    <a:gd name="connsiteX256" fmla="*/ 46216 w 1423950"/>
                    <a:gd name="connsiteY256" fmla="*/ 604867 h 1357898"/>
                    <a:gd name="connsiteX257" fmla="*/ 30394 w 1423950"/>
                    <a:gd name="connsiteY257" fmla="*/ 599801 h 1357898"/>
                    <a:gd name="connsiteX258" fmla="*/ 30394 w 1423950"/>
                    <a:gd name="connsiteY258" fmla="*/ 587640 h 1357898"/>
                    <a:gd name="connsiteX259" fmla="*/ 24743 w 1423950"/>
                    <a:gd name="connsiteY259" fmla="*/ 587640 h 1357898"/>
                    <a:gd name="connsiteX260" fmla="*/ 38305 w 1423950"/>
                    <a:gd name="connsiteY260" fmla="*/ 624121 h 1357898"/>
                    <a:gd name="connsiteX261" fmla="*/ 30394 w 1423950"/>
                    <a:gd name="connsiteY261" fmla="*/ 624121 h 1357898"/>
                    <a:gd name="connsiteX262" fmla="*/ 16832 w 1423950"/>
                    <a:gd name="connsiteY262" fmla="*/ 589667 h 1357898"/>
                    <a:gd name="connsiteX263" fmla="*/ 11182 w 1423950"/>
                    <a:gd name="connsiteY263" fmla="*/ 587640 h 1357898"/>
                    <a:gd name="connsiteX264" fmla="*/ 16832 w 1423950"/>
                    <a:gd name="connsiteY264" fmla="*/ 619054 h 1357898"/>
                    <a:gd name="connsiteX265" fmla="*/ 22483 w 1423950"/>
                    <a:gd name="connsiteY265" fmla="*/ 621081 h 1357898"/>
                    <a:gd name="connsiteX266" fmla="*/ 47346 w 1423950"/>
                    <a:gd name="connsiteY266" fmla="*/ 647428 h 1357898"/>
                    <a:gd name="connsiteX267" fmla="*/ 49606 w 1423950"/>
                    <a:gd name="connsiteY267" fmla="*/ 661615 h 1357898"/>
                    <a:gd name="connsiteX268" fmla="*/ 55257 w 1423950"/>
                    <a:gd name="connsiteY268" fmla="*/ 663642 h 1357898"/>
                    <a:gd name="connsiteX269" fmla="*/ 55257 w 1423950"/>
                    <a:gd name="connsiteY269" fmla="*/ 668709 h 1357898"/>
                    <a:gd name="connsiteX270" fmla="*/ 52996 w 1423950"/>
                    <a:gd name="connsiteY270" fmla="*/ 680869 h 1357898"/>
                    <a:gd name="connsiteX271" fmla="*/ 74469 w 1423950"/>
                    <a:gd name="connsiteY271" fmla="*/ 695056 h 1357898"/>
                    <a:gd name="connsiteX272" fmla="*/ 68818 w 1423950"/>
                    <a:gd name="connsiteY272" fmla="*/ 712283 h 1357898"/>
                    <a:gd name="connsiteX273" fmla="*/ 88031 w 1423950"/>
                    <a:gd name="connsiteY273" fmla="*/ 736604 h 1357898"/>
                    <a:gd name="connsiteX274" fmla="*/ 82380 w 1423950"/>
                    <a:gd name="connsiteY274" fmla="*/ 743697 h 1357898"/>
                    <a:gd name="connsiteX275" fmla="*/ 84640 w 1423950"/>
                    <a:gd name="connsiteY275" fmla="*/ 775112 h 1357898"/>
                    <a:gd name="connsiteX276" fmla="*/ 95941 w 1423950"/>
                    <a:gd name="connsiteY276" fmla="*/ 797405 h 1357898"/>
                    <a:gd name="connsiteX277" fmla="*/ 98201 w 1423950"/>
                    <a:gd name="connsiteY277" fmla="*/ 821726 h 1357898"/>
                    <a:gd name="connsiteX278" fmla="*/ 106112 w 1423950"/>
                    <a:gd name="connsiteY278" fmla="*/ 833886 h 1357898"/>
                    <a:gd name="connsiteX279" fmla="*/ 100462 w 1423950"/>
                    <a:gd name="connsiteY279" fmla="*/ 846047 h 1357898"/>
                    <a:gd name="connsiteX280" fmla="*/ 106112 w 1423950"/>
                    <a:gd name="connsiteY280" fmla="*/ 863273 h 1357898"/>
                    <a:gd name="connsiteX281" fmla="*/ 98201 w 1423950"/>
                    <a:gd name="connsiteY281" fmla="*/ 870367 h 1357898"/>
                    <a:gd name="connsiteX282" fmla="*/ 98201 w 1423950"/>
                    <a:gd name="connsiteY282" fmla="*/ 913941 h 1357898"/>
                    <a:gd name="connsiteX283" fmla="*/ 92551 w 1423950"/>
                    <a:gd name="connsiteY283" fmla="*/ 915968 h 1357898"/>
                    <a:gd name="connsiteX284" fmla="*/ 81249 w 1423950"/>
                    <a:gd name="connsiteY284" fmla="*/ 905834 h 1357898"/>
                    <a:gd name="connsiteX285" fmla="*/ 75599 w 1423950"/>
                    <a:gd name="connsiteY285" fmla="*/ 907861 h 1357898"/>
                    <a:gd name="connsiteX286" fmla="*/ 77859 w 1423950"/>
                    <a:gd name="connsiteY286" fmla="*/ 922048 h 1357898"/>
                    <a:gd name="connsiteX287" fmla="*/ 107242 w 1423950"/>
                    <a:gd name="connsiteY287" fmla="*/ 941302 h 1357898"/>
                    <a:gd name="connsiteX288" fmla="*/ 118543 w 1423950"/>
                    <a:gd name="connsiteY288" fmla="*/ 958529 h 1357898"/>
                    <a:gd name="connsiteX289" fmla="*/ 140016 w 1423950"/>
                    <a:gd name="connsiteY289" fmla="*/ 960556 h 1357898"/>
                    <a:gd name="connsiteX290" fmla="*/ 142276 w 1423950"/>
                    <a:gd name="connsiteY290" fmla="*/ 958529 h 1357898"/>
                    <a:gd name="connsiteX291" fmla="*/ 158097 w 1423950"/>
                    <a:gd name="connsiteY291" fmla="*/ 958529 h 1357898"/>
                    <a:gd name="connsiteX292" fmla="*/ 173919 w 1423950"/>
                    <a:gd name="connsiteY292" fmla="*/ 965623 h 1357898"/>
                    <a:gd name="connsiteX293" fmla="*/ 176180 w 1423950"/>
                    <a:gd name="connsiteY293" fmla="*/ 958529 h 1357898"/>
                    <a:gd name="connsiteX294" fmla="*/ 184091 w 1423950"/>
                    <a:gd name="connsiteY294" fmla="*/ 960556 h 1357898"/>
                    <a:gd name="connsiteX295" fmla="*/ 205563 w 1423950"/>
                    <a:gd name="connsiteY295" fmla="*/ 934208 h 1357898"/>
                    <a:gd name="connsiteX296" fmla="*/ 211213 w 1423950"/>
                    <a:gd name="connsiteY296" fmla="*/ 934208 h 1357898"/>
                    <a:gd name="connsiteX297" fmla="*/ 213474 w 1423950"/>
                    <a:gd name="connsiteY297" fmla="*/ 944342 h 1357898"/>
                    <a:gd name="connsiteX298" fmla="*/ 224775 w 1423950"/>
                    <a:gd name="connsiteY298" fmla="*/ 946368 h 1357898"/>
                    <a:gd name="connsiteX299" fmla="*/ 227035 w 1423950"/>
                    <a:gd name="connsiteY299" fmla="*/ 929141 h 1357898"/>
                    <a:gd name="connsiteX300" fmla="*/ 227035 w 1423950"/>
                    <a:gd name="connsiteY300" fmla="*/ 924075 h 1357898"/>
                    <a:gd name="connsiteX301" fmla="*/ 248507 w 1423950"/>
                    <a:gd name="connsiteY301" fmla="*/ 924075 h 1357898"/>
                    <a:gd name="connsiteX302" fmla="*/ 254158 w 1423950"/>
                    <a:gd name="connsiteY302" fmla="*/ 919008 h 1357898"/>
                    <a:gd name="connsiteX303" fmla="*/ 267719 w 1423950"/>
                    <a:gd name="connsiteY303" fmla="*/ 921035 h 1357898"/>
                    <a:gd name="connsiteX304" fmla="*/ 269980 w 1423950"/>
                    <a:gd name="connsiteY304" fmla="*/ 913941 h 1357898"/>
                    <a:gd name="connsiteX305" fmla="*/ 308404 w 1423950"/>
                    <a:gd name="connsiteY305" fmla="*/ 919008 h 1357898"/>
                    <a:gd name="connsiteX306" fmla="*/ 319705 w 1423950"/>
                    <a:gd name="connsiteY306" fmla="*/ 913941 h 1357898"/>
                    <a:gd name="connsiteX307" fmla="*/ 325356 w 1423950"/>
                    <a:gd name="connsiteY307" fmla="*/ 921035 h 1357898"/>
                    <a:gd name="connsiteX308" fmla="*/ 327615 w 1423950"/>
                    <a:gd name="connsiteY308" fmla="*/ 915968 h 1357898"/>
                    <a:gd name="connsiteX309" fmla="*/ 343437 w 1423950"/>
                    <a:gd name="connsiteY309" fmla="*/ 915968 h 1357898"/>
                    <a:gd name="connsiteX310" fmla="*/ 343437 w 1423950"/>
                    <a:gd name="connsiteY310" fmla="*/ 913941 h 1357898"/>
                    <a:gd name="connsiteX311" fmla="*/ 356999 w 1423950"/>
                    <a:gd name="connsiteY311" fmla="*/ 919008 h 1357898"/>
                    <a:gd name="connsiteX312" fmla="*/ 364910 w 1423950"/>
                    <a:gd name="connsiteY312" fmla="*/ 913941 h 1357898"/>
                    <a:gd name="connsiteX313" fmla="*/ 370560 w 1423950"/>
                    <a:gd name="connsiteY313" fmla="*/ 915968 h 1357898"/>
                    <a:gd name="connsiteX314" fmla="*/ 372820 w 1423950"/>
                    <a:gd name="connsiteY314" fmla="*/ 915968 h 1357898"/>
                    <a:gd name="connsiteX315" fmla="*/ 397683 w 1423950"/>
                    <a:gd name="connsiteY315" fmla="*/ 881514 h 1357898"/>
                    <a:gd name="connsiteX316" fmla="*/ 422546 w 1423950"/>
                    <a:gd name="connsiteY316" fmla="*/ 879487 h 1357898"/>
                    <a:gd name="connsiteX317" fmla="*/ 430457 w 1423950"/>
                    <a:gd name="connsiteY317" fmla="*/ 865300 h 1357898"/>
                    <a:gd name="connsiteX318" fmla="*/ 438368 w 1423950"/>
                    <a:gd name="connsiteY318" fmla="*/ 867327 h 1357898"/>
                    <a:gd name="connsiteX319" fmla="*/ 451928 w 1423950"/>
                    <a:gd name="connsiteY319" fmla="*/ 850100 h 1357898"/>
                    <a:gd name="connsiteX320" fmla="*/ 533297 w 1423950"/>
                    <a:gd name="connsiteY320" fmla="*/ 843006 h 1357898"/>
                    <a:gd name="connsiteX321" fmla="*/ 533297 w 1423950"/>
                    <a:gd name="connsiteY321" fmla="*/ 837939 h 1357898"/>
                    <a:gd name="connsiteX322" fmla="*/ 549119 w 1423950"/>
                    <a:gd name="connsiteY322" fmla="*/ 832872 h 1357898"/>
                    <a:gd name="connsiteX323" fmla="*/ 562681 w 1423950"/>
                    <a:gd name="connsiteY323" fmla="*/ 834899 h 1357898"/>
                    <a:gd name="connsiteX324" fmla="*/ 568331 w 1423950"/>
                    <a:gd name="connsiteY324" fmla="*/ 829832 h 1357898"/>
                    <a:gd name="connsiteX325" fmla="*/ 595454 w 1423950"/>
                    <a:gd name="connsiteY325" fmla="*/ 827806 h 1357898"/>
                    <a:gd name="connsiteX326" fmla="*/ 601104 w 1423950"/>
                    <a:gd name="connsiteY326" fmla="*/ 822739 h 1357898"/>
                    <a:gd name="connsiteX327" fmla="*/ 622577 w 1423950"/>
                    <a:gd name="connsiteY327" fmla="*/ 824766 h 1357898"/>
                    <a:gd name="connsiteX328" fmla="*/ 638398 w 1423950"/>
                    <a:gd name="connsiteY328" fmla="*/ 814632 h 1357898"/>
                    <a:gd name="connsiteX329" fmla="*/ 659871 w 1423950"/>
                    <a:gd name="connsiteY329" fmla="*/ 826793 h 1357898"/>
                    <a:gd name="connsiteX330" fmla="*/ 665521 w 1423950"/>
                    <a:gd name="connsiteY330" fmla="*/ 826793 h 1357898"/>
                    <a:gd name="connsiteX331" fmla="*/ 667782 w 1423950"/>
                    <a:gd name="connsiteY331" fmla="*/ 838953 h 1357898"/>
                    <a:gd name="connsiteX332" fmla="*/ 702815 w 1423950"/>
                    <a:gd name="connsiteY332" fmla="*/ 838953 h 1357898"/>
                    <a:gd name="connsiteX333" fmla="*/ 705076 w 1423950"/>
                    <a:gd name="connsiteY333" fmla="*/ 844020 h 1357898"/>
                    <a:gd name="connsiteX334" fmla="*/ 720898 w 1423950"/>
                    <a:gd name="connsiteY334" fmla="*/ 838953 h 1357898"/>
                    <a:gd name="connsiteX335" fmla="*/ 726548 w 1423950"/>
                    <a:gd name="connsiteY335" fmla="*/ 846047 h 1357898"/>
                    <a:gd name="connsiteX336" fmla="*/ 726548 w 1423950"/>
                    <a:gd name="connsiteY336" fmla="*/ 860233 h 1357898"/>
                    <a:gd name="connsiteX337" fmla="*/ 742369 w 1423950"/>
                    <a:gd name="connsiteY337" fmla="*/ 860233 h 1357898"/>
                    <a:gd name="connsiteX338" fmla="*/ 742369 w 1423950"/>
                    <a:gd name="connsiteY338" fmla="*/ 867327 h 1357898"/>
                    <a:gd name="connsiteX339" fmla="*/ 734458 w 1423950"/>
                    <a:gd name="connsiteY339" fmla="*/ 879487 h 1357898"/>
                    <a:gd name="connsiteX340" fmla="*/ 763842 w 1423950"/>
                    <a:gd name="connsiteY340" fmla="*/ 889621 h 1357898"/>
                    <a:gd name="connsiteX341" fmla="*/ 766102 w 1423950"/>
                    <a:gd name="connsiteY341" fmla="*/ 921035 h 1357898"/>
                    <a:gd name="connsiteX342" fmla="*/ 777404 w 1423950"/>
                    <a:gd name="connsiteY342" fmla="*/ 926101 h 1357898"/>
                    <a:gd name="connsiteX343" fmla="*/ 775143 w 1423950"/>
                    <a:gd name="connsiteY343" fmla="*/ 933195 h 1357898"/>
                    <a:gd name="connsiteX344" fmla="*/ 786444 w 1423950"/>
                    <a:gd name="connsiteY344" fmla="*/ 943329 h 1357898"/>
                    <a:gd name="connsiteX345" fmla="*/ 800006 w 1423950"/>
                    <a:gd name="connsiteY345" fmla="*/ 941302 h 1357898"/>
                    <a:gd name="connsiteX346" fmla="*/ 819217 w 1423950"/>
                    <a:gd name="connsiteY346" fmla="*/ 919008 h 1357898"/>
                    <a:gd name="connsiteX347" fmla="*/ 819217 w 1423950"/>
                    <a:gd name="connsiteY347" fmla="*/ 913941 h 1357898"/>
                    <a:gd name="connsiteX348" fmla="*/ 851991 w 1423950"/>
                    <a:gd name="connsiteY348" fmla="*/ 896714 h 1357898"/>
                    <a:gd name="connsiteX349" fmla="*/ 854251 w 1423950"/>
                    <a:gd name="connsiteY349" fmla="*/ 884554 h 1357898"/>
                    <a:gd name="connsiteX350" fmla="*/ 865553 w 1423950"/>
                    <a:gd name="connsiteY350" fmla="*/ 879487 h 1357898"/>
                    <a:gd name="connsiteX351" fmla="*/ 863292 w 1423950"/>
                    <a:gd name="connsiteY351" fmla="*/ 908874 h 1357898"/>
                    <a:gd name="connsiteX352" fmla="*/ 855381 w 1423950"/>
                    <a:gd name="connsiteY352" fmla="*/ 919008 h 1357898"/>
                    <a:gd name="connsiteX353" fmla="*/ 853121 w 1423950"/>
                    <a:gd name="connsiteY353" fmla="*/ 955489 h 1357898"/>
                    <a:gd name="connsiteX354" fmla="*/ 841820 w 1423950"/>
                    <a:gd name="connsiteY354" fmla="*/ 962583 h 1357898"/>
                    <a:gd name="connsiteX355" fmla="*/ 830519 w 1423950"/>
                    <a:gd name="connsiteY355" fmla="*/ 962583 h 1357898"/>
                    <a:gd name="connsiteX356" fmla="*/ 830519 w 1423950"/>
                    <a:gd name="connsiteY356" fmla="*/ 972716 h 1357898"/>
                    <a:gd name="connsiteX357" fmla="*/ 838430 w 1423950"/>
                    <a:gd name="connsiteY357" fmla="*/ 974742 h 1357898"/>
                    <a:gd name="connsiteX358" fmla="*/ 844080 w 1423950"/>
                    <a:gd name="connsiteY358" fmla="*/ 967649 h 1357898"/>
                    <a:gd name="connsiteX359" fmla="*/ 857642 w 1423950"/>
                    <a:gd name="connsiteY359" fmla="*/ 967649 h 1357898"/>
                    <a:gd name="connsiteX360" fmla="*/ 865553 w 1423950"/>
                    <a:gd name="connsiteY360" fmla="*/ 936235 h 1357898"/>
                    <a:gd name="connsiteX361" fmla="*/ 879114 w 1423950"/>
                    <a:gd name="connsiteY361" fmla="*/ 931168 h 1357898"/>
                    <a:gd name="connsiteX362" fmla="*/ 879114 w 1423950"/>
                    <a:gd name="connsiteY362" fmla="*/ 945355 h 1357898"/>
                    <a:gd name="connsiteX363" fmla="*/ 890415 w 1423950"/>
                    <a:gd name="connsiteY363" fmla="*/ 955489 h 1357898"/>
                    <a:gd name="connsiteX364" fmla="*/ 888155 w 1423950"/>
                    <a:gd name="connsiteY364" fmla="*/ 997036 h 1357898"/>
                    <a:gd name="connsiteX365" fmla="*/ 907367 w 1423950"/>
                    <a:gd name="connsiteY365" fmla="*/ 991970 h 1357898"/>
                    <a:gd name="connsiteX366" fmla="*/ 909627 w 1423950"/>
                    <a:gd name="connsiteY366" fmla="*/ 986903 h 1357898"/>
                    <a:gd name="connsiteX367" fmla="*/ 920928 w 1423950"/>
                    <a:gd name="connsiteY367" fmla="*/ 986903 h 1357898"/>
                    <a:gd name="connsiteX368" fmla="*/ 932229 w 1423950"/>
                    <a:gd name="connsiteY368" fmla="*/ 1023384 h 1357898"/>
                    <a:gd name="connsiteX369" fmla="*/ 937880 w 1423950"/>
                    <a:gd name="connsiteY369" fmla="*/ 1025410 h 1357898"/>
                    <a:gd name="connsiteX370" fmla="*/ 935620 w 1423950"/>
                    <a:gd name="connsiteY370" fmla="*/ 1068985 h 1357898"/>
                    <a:gd name="connsiteX371" fmla="*/ 960482 w 1423950"/>
                    <a:gd name="connsiteY371" fmla="*/ 1088238 h 1357898"/>
                    <a:gd name="connsiteX372" fmla="*/ 966133 w 1423950"/>
                    <a:gd name="connsiteY372" fmla="*/ 1100399 h 1357898"/>
                    <a:gd name="connsiteX373" fmla="*/ 977434 w 1423950"/>
                    <a:gd name="connsiteY373" fmla="*/ 1100399 h 1357898"/>
                    <a:gd name="connsiteX374" fmla="*/ 1004557 w 1423950"/>
                    <a:gd name="connsiteY374" fmla="*/ 1114586 h 1357898"/>
                    <a:gd name="connsiteX375" fmla="*/ 1013599 w 1423950"/>
                    <a:gd name="connsiteY375" fmla="*/ 1115599 h 1357898"/>
                    <a:gd name="connsiteX376" fmla="*/ 1097227 w 1423950"/>
                    <a:gd name="connsiteY376" fmla="*/ 1225042 h 1357898"/>
                    <a:gd name="connsiteX377" fmla="*/ 1094967 w 1423950"/>
                    <a:gd name="connsiteY377" fmla="*/ 1242269 h 1357898"/>
                    <a:gd name="connsiteX378" fmla="*/ 1100617 w 1423950"/>
                    <a:gd name="connsiteY378" fmla="*/ 1254429 h 1357898"/>
                    <a:gd name="connsiteX379" fmla="*/ 1125480 w 1423950"/>
                    <a:gd name="connsiteY379" fmla="*/ 1290910 h 1357898"/>
                    <a:gd name="connsiteX380" fmla="*/ 1125480 w 1423950"/>
                    <a:gd name="connsiteY380" fmla="*/ 1292937 h 1357898"/>
                    <a:gd name="connsiteX381" fmla="*/ 1136781 w 1423950"/>
                    <a:gd name="connsiteY381" fmla="*/ 1294963 h 1357898"/>
                    <a:gd name="connsiteX382" fmla="*/ 1125480 w 1423950"/>
                    <a:gd name="connsiteY382" fmla="*/ 1296990 h 1357898"/>
                    <a:gd name="connsiteX383" fmla="*/ 1125480 w 1423950"/>
                    <a:gd name="connsiteY383" fmla="*/ 1314217 h 1357898"/>
                    <a:gd name="connsiteX384" fmla="*/ 1141301 w 1423950"/>
                    <a:gd name="connsiteY384" fmla="*/ 1328404 h 1357898"/>
                    <a:gd name="connsiteX385" fmla="*/ 1143563 w 1423950"/>
                    <a:gd name="connsiteY385" fmla="*/ 1338538 h 1357898"/>
                    <a:gd name="connsiteX386" fmla="*/ 1154864 w 1423950"/>
                    <a:gd name="connsiteY386" fmla="*/ 1340565 h 1357898"/>
                    <a:gd name="connsiteX387" fmla="*/ 1157123 w 1423950"/>
                    <a:gd name="connsiteY387" fmla="*/ 1350698 h 1357898"/>
                    <a:gd name="connsiteX388" fmla="*/ 1157123 w 1423950"/>
                    <a:gd name="connsiteY388" fmla="*/ 1352725 h 1357898"/>
                    <a:gd name="connsiteX389" fmla="*/ 1181986 w 1423950"/>
                    <a:gd name="connsiteY389" fmla="*/ 1354751 h 1357898"/>
                    <a:gd name="connsiteX390" fmla="*/ 1184247 w 1423950"/>
                    <a:gd name="connsiteY390" fmla="*/ 1347658 h 1357898"/>
                    <a:gd name="connsiteX391" fmla="*/ 1192157 w 1423950"/>
                    <a:gd name="connsiteY391" fmla="*/ 1349684 h 1357898"/>
                    <a:gd name="connsiteX392" fmla="*/ 1192157 w 1423950"/>
                    <a:gd name="connsiteY392" fmla="*/ 1339551 h 1357898"/>
                    <a:gd name="connsiteX393" fmla="*/ 1192157 w 1423950"/>
                    <a:gd name="connsiteY393" fmla="*/ 1341578 h 1357898"/>
                    <a:gd name="connsiteX394" fmla="*/ 1186506 w 1423950"/>
                    <a:gd name="connsiteY394" fmla="*/ 1343605 h 1357898"/>
                    <a:gd name="connsiteX395" fmla="*/ 1184247 w 1423950"/>
                    <a:gd name="connsiteY395" fmla="*/ 1331444 h 1357898"/>
                    <a:gd name="connsiteX396" fmla="*/ 1192157 w 1423950"/>
                    <a:gd name="connsiteY396" fmla="*/ 1329417 h 1357898"/>
                    <a:gd name="connsiteX397" fmla="*/ 1192157 w 1423950"/>
                    <a:gd name="connsiteY397" fmla="*/ 1324350 h 1357898"/>
                    <a:gd name="connsiteX398" fmla="*/ 1194418 w 1423950"/>
                    <a:gd name="connsiteY398" fmla="*/ 1324350 h 1357898"/>
                    <a:gd name="connsiteX399" fmla="*/ 1200069 w 1423950"/>
                    <a:gd name="connsiteY399" fmla="*/ 1326377 h 1357898"/>
                    <a:gd name="connsiteX400" fmla="*/ 1205719 w 1423950"/>
                    <a:gd name="connsiteY400" fmla="*/ 1336511 h 1357898"/>
                    <a:gd name="connsiteX401" fmla="*/ 1213629 w 1423950"/>
                    <a:gd name="connsiteY401" fmla="*/ 1331444 h 1357898"/>
                    <a:gd name="connsiteX402" fmla="*/ 1215889 w 1423950"/>
                    <a:gd name="connsiteY402" fmla="*/ 1284830 h 1357898"/>
                    <a:gd name="connsiteX403" fmla="*/ 1223801 w 1423950"/>
                    <a:gd name="connsiteY403" fmla="*/ 1284830 h 1357898"/>
                    <a:gd name="connsiteX404" fmla="*/ 1215889 w 1423950"/>
                    <a:gd name="connsiteY404" fmla="*/ 1226055 h 1357898"/>
                    <a:gd name="connsiteX405" fmla="*/ 1191027 w 1423950"/>
                    <a:gd name="connsiteY405" fmla="*/ 1238215 h 1357898"/>
                    <a:gd name="connsiteX406" fmla="*/ 1185376 w 1423950"/>
                    <a:gd name="connsiteY406" fmla="*/ 1245309 h 1357898"/>
                    <a:gd name="connsiteX407" fmla="*/ 1123220 w 1423950"/>
                    <a:gd name="connsiteY407" fmla="*/ 1226055 h 1357898"/>
                    <a:gd name="connsiteX408" fmla="*/ 1111919 w 1423950"/>
                    <a:gd name="connsiteY408" fmla="*/ 1228082 h 1357898"/>
                    <a:gd name="connsiteX409" fmla="*/ 1104008 w 1423950"/>
                    <a:gd name="connsiteY409" fmla="*/ 1220989 h 1357898"/>
                    <a:gd name="connsiteX410" fmla="*/ 1097227 w 1423950"/>
                    <a:gd name="connsiteY410" fmla="*/ 1225042 h 1357898"/>
                    <a:gd name="connsiteX411" fmla="*/ 1213629 w 1423950"/>
                    <a:gd name="connsiteY411" fmla="*/ 1188561 h 1357898"/>
                    <a:gd name="connsiteX412" fmla="*/ 1211370 w 1423950"/>
                    <a:gd name="connsiteY412" fmla="*/ 1195655 h 1357898"/>
                    <a:gd name="connsiteX413" fmla="*/ 1222671 w 1423950"/>
                    <a:gd name="connsiteY413" fmla="*/ 1209841 h 1357898"/>
                    <a:gd name="connsiteX414" fmla="*/ 1222671 w 1423950"/>
                    <a:gd name="connsiteY414" fmla="*/ 1211868 h 1357898"/>
                    <a:gd name="connsiteX415" fmla="*/ 1230581 w 1423950"/>
                    <a:gd name="connsiteY415" fmla="*/ 1206801 h 1357898"/>
                    <a:gd name="connsiteX416" fmla="*/ 1213629 w 1423950"/>
                    <a:gd name="connsiteY416" fmla="*/ 1188561 h 1357898"/>
                    <a:gd name="connsiteX417" fmla="*/ 1067844 w 1423950"/>
                    <a:gd name="connsiteY417" fmla="*/ 1180454 h 1357898"/>
                    <a:gd name="connsiteX418" fmla="*/ 1070105 w 1423950"/>
                    <a:gd name="connsiteY418" fmla="*/ 1197681 h 1357898"/>
                    <a:gd name="connsiteX419" fmla="*/ 1067844 w 1423950"/>
                    <a:gd name="connsiteY419" fmla="*/ 1180454 h 1357898"/>
                    <a:gd name="connsiteX420" fmla="*/ 850861 w 1423950"/>
                    <a:gd name="connsiteY420" fmla="*/ 1001090 h 1357898"/>
                    <a:gd name="connsiteX421" fmla="*/ 862162 w 1423950"/>
                    <a:gd name="connsiteY421" fmla="*/ 1015277 h 1357898"/>
                    <a:gd name="connsiteX422" fmla="*/ 850861 w 1423950"/>
                    <a:gd name="connsiteY422" fmla="*/ 1001090 h 1357898"/>
                    <a:gd name="connsiteX423" fmla="*/ 779663 w 1423950"/>
                    <a:gd name="connsiteY423" fmla="*/ 813619 h 1357898"/>
                    <a:gd name="connsiteX424" fmla="*/ 774013 w 1423950"/>
                    <a:gd name="connsiteY424" fmla="*/ 818686 h 1357898"/>
                    <a:gd name="connsiteX425" fmla="*/ 779663 w 1423950"/>
                    <a:gd name="connsiteY425" fmla="*/ 813619 h 1357898"/>
                    <a:gd name="connsiteX426" fmla="*/ 793225 w 1423950"/>
                    <a:gd name="connsiteY426" fmla="*/ 808552 h 1357898"/>
                    <a:gd name="connsiteX427" fmla="*/ 806786 w 1423950"/>
                    <a:gd name="connsiteY427" fmla="*/ 827806 h 1357898"/>
                    <a:gd name="connsiteX428" fmla="*/ 812437 w 1423950"/>
                    <a:gd name="connsiteY428" fmla="*/ 829832 h 1357898"/>
                    <a:gd name="connsiteX429" fmla="*/ 810177 w 1423950"/>
                    <a:gd name="connsiteY429" fmla="*/ 841993 h 1357898"/>
                    <a:gd name="connsiteX430" fmla="*/ 798875 w 1423950"/>
                    <a:gd name="connsiteY430" fmla="*/ 839966 h 1357898"/>
                    <a:gd name="connsiteX431" fmla="*/ 793225 w 1423950"/>
                    <a:gd name="connsiteY431" fmla="*/ 808552 h 1357898"/>
                    <a:gd name="connsiteX432" fmla="*/ 850861 w 1423950"/>
                    <a:gd name="connsiteY432" fmla="*/ 789298 h 1357898"/>
                    <a:gd name="connsiteX433" fmla="*/ 864422 w 1423950"/>
                    <a:gd name="connsiteY433" fmla="*/ 818686 h 1357898"/>
                    <a:gd name="connsiteX434" fmla="*/ 850861 w 1423950"/>
                    <a:gd name="connsiteY434" fmla="*/ 789298 h 1357898"/>
                    <a:gd name="connsiteX435" fmla="*/ 10052 w 1423950"/>
                    <a:gd name="connsiteY435" fmla="*/ 556226 h 1357898"/>
                    <a:gd name="connsiteX436" fmla="*/ 12312 w 1423950"/>
                    <a:gd name="connsiteY436" fmla="*/ 561293 h 1357898"/>
                    <a:gd name="connsiteX437" fmla="*/ 10052 w 1423950"/>
                    <a:gd name="connsiteY437" fmla="*/ 556226 h 1357898"/>
                    <a:gd name="connsiteX438" fmla="*/ 926579 w 1423950"/>
                    <a:gd name="connsiteY438" fmla="*/ 217765 h 1357898"/>
                    <a:gd name="connsiteX439" fmla="*/ 926579 w 1423950"/>
                    <a:gd name="connsiteY439" fmla="*/ 231952 h 1357898"/>
                    <a:gd name="connsiteX440" fmla="*/ 926579 w 1423950"/>
                    <a:gd name="connsiteY440" fmla="*/ 217765 h 1357898"/>
                    <a:gd name="connsiteX441" fmla="*/ 829389 w 1423950"/>
                    <a:gd name="connsiteY441" fmla="*/ 110349 h 1357898"/>
                    <a:gd name="connsiteX442" fmla="*/ 823738 w 1423950"/>
                    <a:gd name="connsiteY442" fmla="*/ 112376 h 1357898"/>
                    <a:gd name="connsiteX443" fmla="*/ 842950 w 1423950"/>
                    <a:gd name="connsiteY443" fmla="*/ 131630 h 1357898"/>
                    <a:gd name="connsiteX444" fmla="*/ 837300 w 1423950"/>
                    <a:gd name="connsiteY444" fmla="*/ 126563 h 1357898"/>
                    <a:gd name="connsiteX445" fmla="*/ 837300 w 1423950"/>
                    <a:gd name="connsiteY445" fmla="*/ 119470 h 1357898"/>
                    <a:gd name="connsiteX446" fmla="*/ 839560 w 1423950"/>
                    <a:gd name="connsiteY446" fmla="*/ 112376 h 1357898"/>
                    <a:gd name="connsiteX447" fmla="*/ 829389 w 1423950"/>
                    <a:gd name="connsiteY447" fmla="*/ 110349 h 1357898"/>
                    <a:gd name="connsiteX448" fmla="*/ 606755 w 1423950"/>
                    <a:gd name="connsiteY448" fmla="*/ 25227 h 1357898"/>
                    <a:gd name="connsiteX449" fmla="*/ 601104 w 1423950"/>
                    <a:gd name="connsiteY449" fmla="*/ 37388 h 1357898"/>
                    <a:gd name="connsiteX450" fmla="*/ 614666 w 1423950"/>
                    <a:gd name="connsiteY450" fmla="*/ 39414 h 1357898"/>
                    <a:gd name="connsiteX451" fmla="*/ 614666 w 1423950"/>
                    <a:gd name="connsiteY451" fmla="*/ 32321 h 1357898"/>
                    <a:gd name="connsiteX452" fmla="*/ 606755 w 1423950"/>
                    <a:gd name="connsiteY452" fmla="*/ 25227 h 1357898"/>
                    <a:gd name="connsiteX453" fmla="*/ 636139 w 1423950"/>
                    <a:gd name="connsiteY453" fmla="*/ 21174 h 1357898"/>
                    <a:gd name="connsiteX454" fmla="*/ 633878 w 1423950"/>
                    <a:gd name="connsiteY454" fmla="*/ 28267 h 1357898"/>
                    <a:gd name="connsiteX455" fmla="*/ 622577 w 1423950"/>
                    <a:gd name="connsiteY455" fmla="*/ 28267 h 1357898"/>
                    <a:gd name="connsiteX456" fmla="*/ 622577 w 1423950"/>
                    <a:gd name="connsiteY456" fmla="*/ 35361 h 1357898"/>
                    <a:gd name="connsiteX457" fmla="*/ 630488 w 1423950"/>
                    <a:gd name="connsiteY457" fmla="*/ 35361 h 1357898"/>
                    <a:gd name="connsiteX458" fmla="*/ 632748 w 1423950"/>
                    <a:gd name="connsiteY458" fmla="*/ 28267 h 1357898"/>
                    <a:gd name="connsiteX459" fmla="*/ 644049 w 1423950"/>
                    <a:gd name="connsiteY459" fmla="*/ 26241 h 1357898"/>
                    <a:gd name="connsiteX460" fmla="*/ 636139 w 1423950"/>
                    <a:gd name="connsiteY460" fmla="*/ 21174 h 135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1423950" h="1357898">
                      <a:moveTo>
                        <a:pt x="1013599" y="1115599"/>
                      </a:moveTo>
                      <a:cubicBezTo>
                        <a:pt x="1015858" y="1115599"/>
                        <a:pt x="1018118" y="1122693"/>
                        <a:pt x="1019249" y="1122693"/>
                      </a:cubicBezTo>
                      <a:cubicBezTo>
                        <a:pt x="1021509" y="1123706"/>
                        <a:pt x="1027160" y="1122693"/>
                        <a:pt x="1030551" y="1122693"/>
                      </a:cubicBezTo>
                      <a:cubicBezTo>
                        <a:pt x="1032810" y="1129786"/>
                        <a:pt x="1030551" y="1135866"/>
                        <a:pt x="1036201" y="1139920"/>
                      </a:cubicBezTo>
                      <a:cubicBezTo>
                        <a:pt x="1037331" y="1140933"/>
                        <a:pt x="1039591" y="1136879"/>
                        <a:pt x="1044111" y="1137893"/>
                      </a:cubicBezTo>
                      <a:cubicBezTo>
                        <a:pt x="1049762" y="1138906"/>
                        <a:pt x="1053153" y="1147013"/>
                        <a:pt x="1057672" y="1150054"/>
                      </a:cubicBezTo>
                      <a:cubicBezTo>
                        <a:pt x="1062193" y="1147013"/>
                        <a:pt x="1068974" y="1146000"/>
                        <a:pt x="1073494" y="1142960"/>
                      </a:cubicBezTo>
                      <a:cubicBezTo>
                        <a:pt x="1074624" y="1141946"/>
                        <a:pt x="1078015" y="1133840"/>
                        <a:pt x="1079145" y="1132826"/>
                      </a:cubicBezTo>
                      <a:lnTo>
                        <a:pt x="1084796" y="1132826"/>
                      </a:lnTo>
                      <a:cubicBezTo>
                        <a:pt x="1087057" y="1128773"/>
                        <a:pt x="1087057" y="1123706"/>
                        <a:pt x="1090446" y="1120666"/>
                      </a:cubicBezTo>
                      <a:cubicBezTo>
                        <a:pt x="1093837" y="1118639"/>
                        <a:pt x="1099488" y="1118639"/>
                        <a:pt x="1101747" y="1115599"/>
                      </a:cubicBezTo>
                      <a:cubicBezTo>
                        <a:pt x="1106268" y="1107492"/>
                        <a:pt x="1090446" y="1112559"/>
                        <a:pt x="1101747" y="1105466"/>
                      </a:cubicBezTo>
                      <a:cubicBezTo>
                        <a:pt x="1105138" y="1103439"/>
                        <a:pt x="1108528" y="1102426"/>
                        <a:pt x="1113048" y="1100399"/>
                      </a:cubicBezTo>
                      <a:lnTo>
                        <a:pt x="1113048" y="1095332"/>
                      </a:lnTo>
                      <a:cubicBezTo>
                        <a:pt x="1114178" y="1096345"/>
                        <a:pt x="1123220" y="1097359"/>
                        <a:pt x="1124350" y="1097359"/>
                      </a:cubicBezTo>
                      <a:cubicBezTo>
                        <a:pt x="1123220" y="1101412"/>
                        <a:pt x="1125480" y="1103439"/>
                        <a:pt x="1126611" y="1107492"/>
                      </a:cubicBezTo>
                      <a:cubicBezTo>
                        <a:pt x="1124350" y="1108506"/>
                        <a:pt x="1113048" y="1114586"/>
                        <a:pt x="1113048" y="1114586"/>
                      </a:cubicBezTo>
                      <a:cubicBezTo>
                        <a:pt x="1111919" y="1116612"/>
                        <a:pt x="1114178" y="1120666"/>
                        <a:pt x="1113048" y="1121679"/>
                      </a:cubicBezTo>
                      <a:cubicBezTo>
                        <a:pt x="1115310" y="1120666"/>
                        <a:pt x="1120960" y="1122693"/>
                        <a:pt x="1124350" y="1121679"/>
                      </a:cubicBezTo>
                      <a:cubicBezTo>
                        <a:pt x="1126611" y="1120666"/>
                        <a:pt x="1131130" y="1116612"/>
                        <a:pt x="1135651" y="1114586"/>
                      </a:cubicBezTo>
                      <a:cubicBezTo>
                        <a:pt x="1135651" y="1114586"/>
                        <a:pt x="1137912" y="1120666"/>
                        <a:pt x="1137912" y="1121679"/>
                      </a:cubicBezTo>
                      <a:cubicBezTo>
                        <a:pt x="1133391" y="1122693"/>
                        <a:pt x="1130000" y="1123706"/>
                        <a:pt x="1126611" y="1123706"/>
                      </a:cubicBezTo>
                      <a:lnTo>
                        <a:pt x="1126611" y="1128773"/>
                      </a:lnTo>
                      <a:cubicBezTo>
                        <a:pt x="1128870" y="1129786"/>
                        <a:pt x="1144692" y="1134853"/>
                        <a:pt x="1145822" y="1135866"/>
                      </a:cubicBezTo>
                      <a:lnTo>
                        <a:pt x="1151473" y="1148027"/>
                      </a:lnTo>
                      <a:cubicBezTo>
                        <a:pt x="1153733" y="1147013"/>
                        <a:pt x="1155994" y="1143973"/>
                        <a:pt x="1159383" y="1146000"/>
                      </a:cubicBezTo>
                      <a:cubicBezTo>
                        <a:pt x="1161644" y="1148027"/>
                        <a:pt x="1160514" y="1155120"/>
                        <a:pt x="1161644" y="1158160"/>
                      </a:cubicBezTo>
                      <a:cubicBezTo>
                        <a:pt x="1162774" y="1159173"/>
                        <a:pt x="1169554" y="1159173"/>
                        <a:pt x="1169554" y="1160187"/>
                      </a:cubicBezTo>
                      <a:cubicBezTo>
                        <a:pt x="1176335" y="1147013"/>
                        <a:pt x="1166165" y="1155120"/>
                        <a:pt x="1177466" y="1146000"/>
                      </a:cubicBezTo>
                      <a:cubicBezTo>
                        <a:pt x="1180856" y="1143973"/>
                        <a:pt x="1185376" y="1146000"/>
                        <a:pt x="1188767" y="1143973"/>
                      </a:cubicBezTo>
                      <a:cubicBezTo>
                        <a:pt x="1189897" y="1142960"/>
                        <a:pt x="1191027" y="1135866"/>
                        <a:pt x="1191027" y="1133840"/>
                      </a:cubicBezTo>
                      <a:cubicBezTo>
                        <a:pt x="1194418" y="1127760"/>
                        <a:pt x="1206849" y="1120666"/>
                        <a:pt x="1210239" y="1114586"/>
                      </a:cubicBezTo>
                      <a:cubicBezTo>
                        <a:pt x="1212500" y="1108506"/>
                        <a:pt x="1206849" y="1110532"/>
                        <a:pt x="1207979" y="1104453"/>
                      </a:cubicBezTo>
                      <a:cubicBezTo>
                        <a:pt x="1207979" y="1102426"/>
                        <a:pt x="1214759" y="1097359"/>
                        <a:pt x="1215889" y="1094319"/>
                      </a:cubicBezTo>
                      <a:cubicBezTo>
                        <a:pt x="1243012" y="1094319"/>
                        <a:pt x="1255443" y="1091278"/>
                        <a:pt x="1275786" y="1096345"/>
                      </a:cubicBezTo>
                      <a:lnTo>
                        <a:pt x="1278046" y="1086212"/>
                      </a:lnTo>
                      <a:cubicBezTo>
                        <a:pt x="1279177" y="1085199"/>
                        <a:pt x="1288217" y="1087225"/>
                        <a:pt x="1289347" y="1086212"/>
                      </a:cubicBezTo>
                      <a:cubicBezTo>
                        <a:pt x="1291608" y="1082159"/>
                        <a:pt x="1287087" y="1077092"/>
                        <a:pt x="1287087" y="1074052"/>
                      </a:cubicBezTo>
                      <a:cubicBezTo>
                        <a:pt x="1292738" y="1069998"/>
                        <a:pt x="1291608" y="1073038"/>
                        <a:pt x="1294997" y="1066958"/>
                      </a:cubicBezTo>
                      <a:cubicBezTo>
                        <a:pt x="1292738" y="1064931"/>
                        <a:pt x="1287087" y="1065944"/>
                        <a:pt x="1283696" y="1064931"/>
                      </a:cubicBezTo>
                      <a:cubicBezTo>
                        <a:pt x="1280307" y="1062905"/>
                        <a:pt x="1281437" y="1057838"/>
                        <a:pt x="1278046" y="1054798"/>
                      </a:cubicBezTo>
                      <a:cubicBezTo>
                        <a:pt x="1285957" y="1042637"/>
                        <a:pt x="1296129" y="1030477"/>
                        <a:pt x="1299518" y="1016290"/>
                      </a:cubicBezTo>
                      <a:cubicBezTo>
                        <a:pt x="1299518" y="1016290"/>
                        <a:pt x="1297259" y="999063"/>
                        <a:pt x="1299518" y="991970"/>
                      </a:cubicBezTo>
                      <a:lnTo>
                        <a:pt x="1301779" y="991970"/>
                      </a:lnTo>
                      <a:cubicBezTo>
                        <a:pt x="1304039" y="986903"/>
                        <a:pt x="1307430" y="980823"/>
                        <a:pt x="1309690" y="974742"/>
                      </a:cubicBezTo>
                      <a:lnTo>
                        <a:pt x="1315340" y="974742"/>
                      </a:lnTo>
                      <a:cubicBezTo>
                        <a:pt x="1316470" y="972716"/>
                        <a:pt x="1318731" y="961569"/>
                        <a:pt x="1315340" y="960556"/>
                      </a:cubicBezTo>
                      <a:lnTo>
                        <a:pt x="1320991" y="958529"/>
                      </a:lnTo>
                      <a:cubicBezTo>
                        <a:pt x="1322121" y="954475"/>
                        <a:pt x="1319861" y="950422"/>
                        <a:pt x="1320991" y="946368"/>
                      </a:cubicBezTo>
                      <a:lnTo>
                        <a:pt x="1326641" y="941302"/>
                      </a:lnTo>
                      <a:cubicBezTo>
                        <a:pt x="1332292" y="927115"/>
                        <a:pt x="1330032" y="919008"/>
                        <a:pt x="1326641" y="906848"/>
                      </a:cubicBezTo>
                      <a:cubicBezTo>
                        <a:pt x="1331162" y="903807"/>
                        <a:pt x="1333422" y="904821"/>
                        <a:pt x="1340202" y="901781"/>
                      </a:cubicBezTo>
                      <a:cubicBezTo>
                        <a:pt x="1340202" y="899754"/>
                        <a:pt x="1339072" y="891648"/>
                        <a:pt x="1340202" y="889621"/>
                      </a:cubicBezTo>
                      <a:cubicBezTo>
                        <a:pt x="1344723" y="884554"/>
                        <a:pt x="1350374" y="885567"/>
                        <a:pt x="1356024" y="882527"/>
                      </a:cubicBezTo>
                      <a:cubicBezTo>
                        <a:pt x="1359415" y="880500"/>
                        <a:pt x="1360545" y="874420"/>
                        <a:pt x="1363936" y="872394"/>
                      </a:cubicBezTo>
                      <a:lnTo>
                        <a:pt x="1363936" y="872394"/>
                      </a:lnTo>
                      <a:cubicBezTo>
                        <a:pt x="1368455" y="869354"/>
                        <a:pt x="1372976" y="872394"/>
                        <a:pt x="1377497" y="870367"/>
                      </a:cubicBezTo>
                      <a:cubicBezTo>
                        <a:pt x="1377497" y="867327"/>
                        <a:pt x="1376367" y="854153"/>
                        <a:pt x="1377497" y="851113"/>
                      </a:cubicBezTo>
                      <a:cubicBezTo>
                        <a:pt x="1377497" y="850100"/>
                        <a:pt x="1384277" y="846047"/>
                        <a:pt x="1385407" y="844020"/>
                      </a:cubicBezTo>
                      <a:lnTo>
                        <a:pt x="1391058" y="844020"/>
                      </a:lnTo>
                      <a:cubicBezTo>
                        <a:pt x="1393319" y="840980"/>
                        <a:pt x="1389928" y="834899"/>
                        <a:pt x="1391058" y="831859"/>
                      </a:cubicBezTo>
                      <a:cubicBezTo>
                        <a:pt x="1392189" y="827806"/>
                        <a:pt x="1398969" y="817672"/>
                        <a:pt x="1398969" y="814632"/>
                      </a:cubicBezTo>
                      <a:cubicBezTo>
                        <a:pt x="1400099" y="806525"/>
                        <a:pt x="1395578" y="800445"/>
                        <a:pt x="1396708" y="795379"/>
                      </a:cubicBezTo>
                      <a:cubicBezTo>
                        <a:pt x="1396708" y="795379"/>
                        <a:pt x="1401229" y="790312"/>
                        <a:pt x="1402359" y="790312"/>
                      </a:cubicBezTo>
                      <a:cubicBezTo>
                        <a:pt x="1397839" y="772071"/>
                        <a:pt x="1398969" y="765991"/>
                        <a:pt x="1404620" y="748764"/>
                      </a:cubicBezTo>
                      <a:cubicBezTo>
                        <a:pt x="1398969" y="745724"/>
                        <a:pt x="1400099" y="747751"/>
                        <a:pt x="1396708" y="741670"/>
                      </a:cubicBezTo>
                      <a:cubicBezTo>
                        <a:pt x="1402359" y="735590"/>
                        <a:pt x="1420442" y="735590"/>
                        <a:pt x="1402359" y="724444"/>
                      </a:cubicBezTo>
                      <a:cubicBezTo>
                        <a:pt x="1408009" y="716336"/>
                        <a:pt x="1419311" y="713296"/>
                        <a:pt x="1413660" y="693029"/>
                      </a:cubicBezTo>
                      <a:cubicBezTo>
                        <a:pt x="1412530" y="687963"/>
                        <a:pt x="1402359" y="684923"/>
                        <a:pt x="1400099" y="680869"/>
                      </a:cubicBezTo>
                      <a:cubicBezTo>
                        <a:pt x="1397839" y="677829"/>
                        <a:pt x="1392189" y="659589"/>
                        <a:pt x="1392189" y="656549"/>
                      </a:cubicBezTo>
                      <a:cubicBezTo>
                        <a:pt x="1391058" y="644388"/>
                        <a:pt x="1391058" y="622094"/>
                        <a:pt x="1394449" y="612974"/>
                      </a:cubicBezTo>
                      <a:lnTo>
                        <a:pt x="1396708" y="605881"/>
                      </a:lnTo>
                      <a:cubicBezTo>
                        <a:pt x="1392189" y="607907"/>
                        <a:pt x="1394449" y="593720"/>
                        <a:pt x="1394449" y="591694"/>
                      </a:cubicBezTo>
                      <a:lnTo>
                        <a:pt x="1388798" y="589667"/>
                      </a:lnTo>
                      <a:cubicBezTo>
                        <a:pt x="1387668" y="585614"/>
                        <a:pt x="1391058" y="580547"/>
                        <a:pt x="1388798" y="577507"/>
                      </a:cubicBezTo>
                      <a:cubicBezTo>
                        <a:pt x="1387668" y="575480"/>
                        <a:pt x="1383147" y="576493"/>
                        <a:pt x="1380888" y="575480"/>
                      </a:cubicBezTo>
                      <a:cubicBezTo>
                        <a:pt x="1376367" y="572440"/>
                        <a:pt x="1376367" y="564333"/>
                        <a:pt x="1372976" y="561293"/>
                      </a:cubicBezTo>
                      <a:cubicBezTo>
                        <a:pt x="1369586" y="558253"/>
                        <a:pt x="1361675" y="557240"/>
                        <a:pt x="1359415" y="554200"/>
                      </a:cubicBezTo>
                      <a:cubicBezTo>
                        <a:pt x="1357154" y="551159"/>
                        <a:pt x="1360545" y="546093"/>
                        <a:pt x="1359415" y="542039"/>
                      </a:cubicBezTo>
                      <a:cubicBezTo>
                        <a:pt x="1358285" y="537986"/>
                        <a:pt x="1349244" y="530892"/>
                        <a:pt x="1345853" y="527852"/>
                      </a:cubicBezTo>
                      <a:cubicBezTo>
                        <a:pt x="1341333" y="523799"/>
                        <a:pt x="1326641" y="517719"/>
                        <a:pt x="1324382" y="513665"/>
                      </a:cubicBezTo>
                      <a:cubicBezTo>
                        <a:pt x="1317600" y="502518"/>
                        <a:pt x="1325512" y="481238"/>
                        <a:pt x="1318731" y="470091"/>
                      </a:cubicBezTo>
                      <a:lnTo>
                        <a:pt x="1313080" y="470091"/>
                      </a:lnTo>
                      <a:lnTo>
                        <a:pt x="1301779" y="457931"/>
                      </a:lnTo>
                      <a:cubicBezTo>
                        <a:pt x="1297259" y="456917"/>
                        <a:pt x="1287087" y="468064"/>
                        <a:pt x="1280307" y="455904"/>
                      </a:cubicBezTo>
                      <a:cubicBezTo>
                        <a:pt x="1272395" y="442730"/>
                        <a:pt x="1284828" y="437664"/>
                        <a:pt x="1282566" y="424490"/>
                      </a:cubicBezTo>
                      <a:lnTo>
                        <a:pt x="1276916" y="422463"/>
                      </a:lnTo>
                      <a:cubicBezTo>
                        <a:pt x="1274656" y="416383"/>
                        <a:pt x="1276916" y="412330"/>
                        <a:pt x="1274656" y="408276"/>
                      </a:cubicBezTo>
                      <a:cubicBezTo>
                        <a:pt x="1264485" y="391049"/>
                        <a:pt x="1244142" y="409289"/>
                        <a:pt x="1258834" y="371795"/>
                      </a:cubicBezTo>
                      <a:cubicBezTo>
                        <a:pt x="1252054" y="368755"/>
                        <a:pt x="1243012" y="362675"/>
                        <a:pt x="1237362" y="359635"/>
                      </a:cubicBezTo>
                      <a:cubicBezTo>
                        <a:pt x="1237362" y="358622"/>
                        <a:pt x="1238491" y="350515"/>
                        <a:pt x="1237362" y="349501"/>
                      </a:cubicBezTo>
                      <a:lnTo>
                        <a:pt x="1218150" y="344435"/>
                      </a:lnTo>
                      <a:cubicBezTo>
                        <a:pt x="1215889" y="344435"/>
                        <a:pt x="1219280" y="349501"/>
                        <a:pt x="1212500" y="349501"/>
                      </a:cubicBezTo>
                      <a:cubicBezTo>
                        <a:pt x="1210239" y="346461"/>
                        <a:pt x="1207979" y="346461"/>
                        <a:pt x="1204588" y="344435"/>
                      </a:cubicBezTo>
                      <a:cubicBezTo>
                        <a:pt x="1204588" y="343421"/>
                        <a:pt x="1205719" y="335314"/>
                        <a:pt x="1204588" y="334301"/>
                      </a:cubicBezTo>
                      <a:cubicBezTo>
                        <a:pt x="1201198" y="332275"/>
                        <a:pt x="1192157" y="335314"/>
                        <a:pt x="1188767" y="334301"/>
                      </a:cubicBezTo>
                      <a:cubicBezTo>
                        <a:pt x="1184247" y="333288"/>
                        <a:pt x="1178596" y="329234"/>
                        <a:pt x="1175205" y="327208"/>
                      </a:cubicBezTo>
                      <a:lnTo>
                        <a:pt x="1169554" y="325181"/>
                      </a:lnTo>
                      <a:cubicBezTo>
                        <a:pt x="1165034" y="319101"/>
                        <a:pt x="1169554" y="305927"/>
                        <a:pt x="1169554" y="305927"/>
                      </a:cubicBezTo>
                      <a:cubicBezTo>
                        <a:pt x="1163904" y="290727"/>
                        <a:pt x="1168425" y="276540"/>
                        <a:pt x="1163904" y="257286"/>
                      </a:cubicBezTo>
                      <a:cubicBezTo>
                        <a:pt x="1163904" y="255259"/>
                        <a:pt x="1155994" y="249179"/>
                        <a:pt x="1155994" y="247152"/>
                      </a:cubicBezTo>
                      <a:cubicBezTo>
                        <a:pt x="1154864" y="244112"/>
                        <a:pt x="1157123" y="238032"/>
                        <a:pt x="1155994" y="234992"/>
                      </a:cubicBezTo>
                      <a:cubicBezTo>
                        <a:pt x="1153733" y="229925"/>
                        <a:pt x="1136781" y="218778"/>
                        <a:pt x="1134521" y="210672"/>
                      </a:cubicBezTo>
                      <a:cubicBezTo>
                        <a:pt x="1132261" y="202565"/>
                        <a:pt x="1136781" y="173177"/>
                        <a:pt x="1136781" y="162030"/>
                      </a:cubicBezTo>
                      <a:cubicBezTo>
                        <a:pt x="1132261" y="161017"/>
                        <a:pt x="1135651" y="157977"/>
                        <a:pt x="1134521" y="156964"/>
                      </a:cubicBezTo>
                      <a:cubicBezTo>
                        <a:pt x="1130000" y="154937"/>
                        <a:pt x="1128870" y="158990"/>
                        <a:pt x="1126611" y="158990"/>
                      </a:cubicBezTo>
                      <a:cubicBezTo>
                        <a:pt x="1118699" y="150883"/>
                        <a:pt x="1113048" y="143790"/>
                        <a:pt x="1107398" y="132643"/>
                      </a:cubicBezTo>
                      <a:cubicBezTo>
                        <a:pt x="1099488" y="138723"/>
                        <a:pt x="1091576" y="142777"/>
                        <a:pt x="1085925" y="149870"/>
                      </a:cubicBezTo>
                      <a:cubicBezTo>
                        <a:pt x="1082536" y="147843"/>
                        <a:pt x="1079145" y="143790"/>
                        <a:pt x="1074624" y="142777"/>
                      </a:cubicBezTo>
                      <a:cubicBezTo>
                        <a:pt x="1074624" y="128590"/>
                        <a:pt x="1076885" y="117443"/>
                        <a:pt x="1080275" y="108323"/>
                      </a:cubicBezTo>
                      <a:lnTo>
                        <a:pt x="1080275" y="103256"/>
                      </a:lnTo>
                      <a:cubicBezTo>
                        <a:pt x="1073494" y="98189"/>
                        <a:pt x="1075755" y="84002"/>
                        <a:pt x="1072364" y="76908"/>
                      </a:cubicBezTo>
                      <a:cubicBezTo>
                        <a:pt x="1070105" y="72855"/>
                        <a:pt x="1059933" y="68802"/>
                        <a:pt x="1058804" y="64748"/>
                      </a:cubicBezTo>
                      <a:cubicBezTo>
                        <a:pt x="1057672" y="60695"/>
                        <a:pt x="1061063" y="53601"/>
                        <a:pt x="1058804" y="50561"/>
                      </a:cubicBezTo>
                      <a:cubicBezTo>
                        <a:pt x="1057672" y="48535"/>
                        <a:pt x="1048632" y="47521"/>
                        <a:pt x="1047502" y="45494"/>
                      </a:cubicBezTo>
                      <a:cubicBezTo>
                        <a:pt x="1045241" y="42454"/>
                        <a:pt x="1048632" y="36374"/>
                        <a:pt x="1047502" y="33334"/>
                      </a:cubicBezTo>
                      <a:cubicBezTo>
                        <a:pt x="1046371" y="30294"/>
                        <a:pt x="1038461" y="28267"/>
                        <a:pt x="1036201" y="26241"/>
                      </a:cubicBezTo>
                      <a:cubicBezTo>
                        <a:pt x="1032810" y="21174"/>
                        <a:pt x="1032810" y="14080"/>
                        <a:pt x="1030551" y="9013"/>
                      </a:cubicBezTo>
                      <a:lnTo>
                        <a:pt x="1024900" y="9013"/>
                      </a:lnTo>
                      <a:cubicBezTo>
                        <a:pt x="1022639" y="13067"/>
                        <a:pt x="1021509" y="11040"/>
                        <a:pt x="1016988" y="11040"/>
                      </a:cubicBezTo>
                      <a:cubicBezTo>
                        <a:pt x="1014729" y="24214"/>
                        <a:pt x="1018118" y="34347"/>
                        <a:pt x="1014729" y="47521"/>
                      </a:cubicBezTo>
                      <a:cubicBezTo>
                        <a:pt x="1013599" y="50561"/>
                        <a:pt x="1004557" y="57655"/>
                        <a:pt x="1003427" y="61708"/>
                      </a:cubicBezTo>
                      <a:cubicBezTo>
                        <a:pt x="1003427" y="64748"/>
                        <a:pt x="1007948" y="64748"/>
                        <a:pt x="1009078" y="66775"/>
                      </a:cubicBezTo>
                      <a:lnTo>
                        <a:pt x="1009078" y="103256"/>
                      </a:lnTo>
                      <a:cubicBezTo>
                        <a:pt x="1007948" y="108323"/>
                        <a:pt x="998907" y="111363"/>
                        <a:pt x="997777" y="122510"/>
                      </a:cubicBezTo>
                      <a:cubicBezTo>
                        <a:pt x="996647" y="132643"/>
                        <a:pt x="1000037" y="151897"/>
                        <a:pt x="1003427" y="164057"/>
                      </a:cubicBezTo>
                      <a:cubicBezTo>
                        <a:pt x="1003427" y="165071"/>
                        <a:pt x="1009078" y="172164"/>
                        <a:pt x="1009078" y="174191"/>
                      </a:cubicBezTo>
                      <a:cubicBezTo>
                        <a:pt x="1009078" y="175204"/>
                        <a:pt x="1001166" y="180271"/>
                        <a:pt x="1001166" y="181284"/>
                      </a:cubicBezTo>
                      <a:cubicBezTo>
                        <a:pt x="998907" y="188378"/>
                        <a:pt x="1003427" y="196484"/>
                        <a:pt x="1001166" y="203578"/>
                      </a:cubicBezTo>
                      <a:cubicBezTo>
                        <a:pt x="1000037" y="208645"/>
                        <a:pt x="990996" y="215738"/>
                        <a:pt x="987605" y="220805"/>
                      </a:cubicBezTo>
                      <a:cubicBezTo>
                        <a:pt x="998907" y="229925"/>
                        <a:pt x="980825" y="245126"/>
                        <a:pt x="979695" y="250193"/>
                      </a:cubicBezTo>
                      <a:cubicBezTo>
                        <a:pt x="978564" y="256273"/>
                        <a:pt x="979695" y="263366"/>
                        <a:pt x="979695" y="269446"/>
                      </a:cubicBezTo>
                      <a:cubicBezTo>
                        <a:pt x="971784" y="271473"/>
                        <a:pt x="952572" y="279580"/>
                        <a:pt x="939010" y="274513"/>
                      </a:cubicBezTo>
                      <a:lnTo>
                        <a:pt x="939010" y="264379"/>
                      </a:lnTo>
                      <a:lnTo>
                        <a:pt x="936750" y="264379"/>
                      </a:lnTo>
                      <a:cubicBezTo>
                        <a:pt x="934490" y="260326"/>
                        <a:pt x="926579" y="242085"/>
                        <a:pt x="923189" y="240059"/>
                      </a:cubicBezTo>
                      <a:cubicBezTo>
                        <a:pt x="918668" y="237019"/>
                        <a:pt x="909627" y="238032"/>
                        <a:pt x="903976" y="234992"/>
                      </a:cubicBezTo>
                      <a:cubicBezTo>
                        <a:pt x="893806" y="228912"/>
                        <a:pt x="885895" y="211685"/>
                        <a:pt x="876854" y="205605"/>
                      </a:cubicBezTo>
                      <a:cubicBezTo>
                        <a:pt x="871203" y="202565"/>
                        <a:pt x="866683" y="205605"/>
                        <a:pt x="861032" y="203578"/>
                      </a:cubicBezTo>
                      <a:cubicBezTo>
                        <a:pt x="855381" y="201551"/>
                        <a:pt x="851991" y="192431"/>
                        <a:pt x="845211" y="191418"/>
                      </a:cubicBezTo>
                      <a:cubicBezTo>
                        <a:pt x="841820" y="190405"/>
                        <a:pt x="835039" y="193444"/>
                        <a:pt x="831649" y="191418"/>
                      </a:cubicBezTo>
                      <a:cubicBezTo>
                        <a:pt x="828259" y="189391"/>
                        <a:pt x="823738" y="179258"/>
                        <a:pt x="820348" y="177231"/>
                      </a:cubicBezTo>
                      <a:cubicBezTo>
                        <a:pt x="816958" y="175204"/>
                        <a:pt x="812437" y="176217"/>
                        <a:pt x="809047" y="175204"/>
                      </a:cubicBezTo>
                      <a:cubicBezTo>
                        <a:pt x="804526" y="172164"/>
                        <a:pt x="797746" y="166084"/>
                        <a:pt x="793225" y="163044"/>
                      </a:cubicBezTo>
                      <a:cubicBezTo>
                        <a:pt x="795485" y="150883"/>
                        <a:pt x="794355" y="140750"/>
                        <a:pt x="798875" y="128590"/>
                      </a:cubicBezTo>
                      <a:cubicBezTo>
                        <a:pt x="798875" y="128590"/>
                        <a:pt x="806786" y="124536"/>
                        <a:pt x="806786" y="123523"/>
                      </a:cubicBezTo>
                      <a:cubicBezTo>
                        <a:pt x="810177" y="115416"/>
                        <a:pt x="806786" y="103256"/>
                        <a:pt x="804526" y="94136"/>
                      </a:cubicBezTo>
                      <a:cubicBezTo>
                        <a:pt x="833909" y="102242"/>
                        <a:pt x="831649" y="98189"/>
                        <a:pt x="823738" y="74882"/>
                      </a:cubicBezTo>
                      <a:cubicBezTo>
                        <a:pt x="831649" y="70828"/>
                        <a:pt x="837300" y="68802"/>
                        <a:pt x="845211" y="64748"/>
                      </a:cubicBezTo>
                      <a:cubicBezTo>
                        <a:pt x="845211" y="62722"/>
                        <a:pt x="844080" y="56641"/>
                        <a:pt x="845211" y="54614"/>
                      </a:cubicBezTo>
                      <a:cubicBezTo>
                        <a:pt x="844080" y="54614"/>
                        <a:pt x="839560" y="55628"/>
                        <a:pt x="837300" y="56641"/>
                      </a:cubicBezTo>
                      <a:cubicBezTo>
                        <a:pt x="836169" y="51575"/>
                        <a:pt x="838430" y="53601"/>
                        <a:pt x="835039" y="51575"/>
                      </a:cubicBezTo>
                      <a:cubicBezTo>
                        <a:pt x="836169" y="46508"/>
                        <a:pt x="838430" y="44481"/>
                        <a:pt x="837300" y="39414"/>
                      </a:cubicBezTo>
                      <a:cubicBezTo>
                        <a:pt x="829389" y="44481"/>
                        <a:pt x="824868" y="44481"/>
                        <a:pt x="815827" y="49548"/>
                      </a:cubicBezTo>
                      <a:cubicBezTo>
                        <a:pt x="815827" y="50561"/>
                        <a:pt x="815827" y="56641"/>
                        <a:pt x="815827" y="56641"/>
                      </a:cubicBezTo>
                      <a:cubicBezTo>
                        <a:pt x="813567" y="54614"/>
                        <a:pt x="802266" y="42454"/>
                        <a:pt x="800006" y="42454"/>
                      </a:cubicBezTo>
                      <a:cubicBezTo>
                        <a:pt x="790964" y="40428"/>
                        <a:pt x="786444" y="47521"/>
                        <a:pt x="784184" y="47521"/>
                      </a:cubicBezTo>
                      <a:cubicBezTo>
                        <a:pt x="775143" y="48535"/>
                        <a:pt x="772883" y="43468"/>
                        <a:pt x="770622" y="42454"/>
                      </a:cubicBezTo>
                      <a:cubicBezTo>
                        <a:pt x="761582" y="41441"/>
                        <a:pt x="757061" y="46508"/>
                        <a:pt x="751410" y="44481"/>
                      </a:cubicBezTo>
                      <a:lnTo>
                        <a:pt x="745760" y="37388"/>
                      </a:lnTo>
                      <a:cubicBezTo>
                        <a:pt x="737849" y="35361"/>
                        <a:pt x="734458" y="41441"/>
                        <a:pt x="729938" y="39414"/>
                      </a:cubicBezTo>
                      <a:cubicBezTo>
                        <a:pt x="726548" y="38401"/>
                        <a:pt x="724288" y="29281"/>
                        <a:pt x="722027" y="27254"/>
                      </a:cubicBezTo>
                      <a:cubicBezTo>
                        <a:pt x="715247" y="30294"/>
                        <a:pt x="708466" y="31307"/>
                        <a:pt x="700555" y="34347"/>
                      </a:cubicBezTo>
                      <a:cubicBezTo>
                        <a:pt x="689254" y="9013"/>
                        <a:pt x="691514" y="26241"/>
                        <a:pt x="667782" y="15094"/>
                      </a:cubicBezTo>
                      <a:cubicBezTo>
                        <a:pt x="668912" y="16107"/>
                        <a:pt x="665521" y="19147"/>
                        <a:pt x="665521" y="20160"/>
                      </a:cubicBezTo>
                      <a:cubicBezTo>
                        <a:pt x="668912" y="23201"/>
                        <a:pt x="675693" y="30294"/>
                        <a:pt x="679083" y="32321"/>
                      </a:cubicBezTo>
                      <a:cubicBezTo>
                        <a:pt x="681343" y="33334"/>
                        <a:pt x="686994" y="31307"/>
                        <a:pt x="690384" y="32321"/>
                      </a:cubicBezTo>
                      <a:cubicBezTo>
                        <a:pt x="699425" y="34347"/>
                        <a:pt x="699425" y="46508"/>
                        <a:pt x="703946" y="54614"/>
                      </a:cubicBezTo>
                      <a:lnTo>
                        <a:pt x="698295" y="54614"/>
                      </a:lnTo>
                      <a:cubicBezTo>
                        <a:pt x="696035" y="57655"/>
                        <a:pt x="694904" y="61708"/>
                        <a:pt x="692645" y="64748"/>
                      </a:cubicBezTo>
                      <a:cubicBezTo>
                        <a:pt x="684734" y="61708"/>
                        <a:pt x="667782" y="50561"/>
                        <a:pt x="654220" y="54614"/>
                      </a:cubicBezTo>
                      <a:cubicBezTo>
                        <a:pt x="653090" y="54614"/>
                        <a:pt x="651960" y="58668"/>
                        <a:pt x="648570" y="59681"/>
                      </a:cubicBezTo>
                      <a:cubicBezTo>
                        <a:pt x="646309" y="50561"/>
                        <a:pt x="649699" y="54614"/>
                        <a:pt x="642919" y="49548"/>
                      </a:cubicBezTo>
                      <a:cubicBezTo>
                        <a:pt x="628228" y="65761"/>
                        <a:pt x="636139" y="64748"/>
                        <a:pt x="618056" y="56641"/>
                      </a:cubicBezTo>
                      <a:cubicBezTo>
                        <a:pt x="619187" y="59681"/>
                        <a:pt x="622577" y="66775"/>
                        <a:pt x="620317" y="68802"/>
                      </a:cubicBezTo>
                      <a:cubicBezTo>
                        <a:pt x="618056" y="71842"/>
                        <a:pt x="607886" y="74882"/>
                        <a:pt x="604495" y="75895"/>
                      </a:cubicBezTo>
                      <a:cubicBezTo>
                        <a:pt x="604495" y="76908"/>
                        <a:pt x="603365" y="82989"/>
                        <a:pt x="606755" y="80962"/>
                      </a:cubicBezTo>
                      <a:cubicBezTo>
                        <a:pt x="611276" y="87042"/>
                        <a:pt x="613536" y="92109"/>
                        <a:pt x="618056" y="98189"/>
                      </a:cubicBezTo>
                      <a:cubicBezTo>
                        <a:pt x="595454" y="98189"/>
                        <a:pt x="596584" y="100216"/>
                        <a:pt x="593193" y="122510"/>
                      </a:cubicBezTo>
                      <a:cubicBezTo>
                        <a:pt x="587543" y="123523"/>
                        <a:pt x="588673" y="123523"/>
                        <a:pt x="579633" y="122510"/>
                      </a:cubicBezTo>
                      <a:cubicBezTo>
                        <a:pt x="579633" y="122510"/>
                        <a:pt x="577372" y="147843"/>
                        <a:pt x="585283" y="151897"/>
                      </a:cubicBezTo>
                      <a:cubicBezTo>
                        <a:pt x="587543" y="152910"/>
                        <a:pt x="592064" y="151897"/>
                        <a:pt x="593193" y="153924"/>
                      </a:cubicBezTo>
                      <a:cubicBezTo>
                        <a:pt x="594324" y="155950"/>
                        <a:pt x="592064" y="161017"/>
                        <a:pt x="593193" y="164057"/>
                      </a:cubicBezTo>
                      <a:cubicBezTo>
                        <a:pt x="585283" y="162030"/>
                        <a:pt x="572851" y="162030"/>
                        <a:pt x="571722" y="162030"/>
                      </a:cubicBezTo>
                      <a:lnTo>
                        <a:pt x="569461" y="156964"/>
                      </a:lnTo>
                      <a:cubicBezTo>
                        <a:pt x="543469" y="147843"/>
                        <a:pt x="542338" y="144803"/>
                        <a:pt x="540078" y="174191"/>
                      </a:cubicBezTo>
                      <a:cubicBezTo>
                        <a:pt x="535558" y="175204"/>
                        <a:pt x="535558" y="172164"/>
                        <a:pt x="534428" y="176217"/>
                      </a:cubicBezTo>
                      <a:cubicBezTo>
                        <a:pt x="521996" y="176217"/>
                        <a:pt x="533297" y="158990"/>
                        <a:pt x="532167" y="158990"/>
                      </a:cubicBezTo>
                      <a:cubicBezTo>
                        <a:pt x="532167" y="158990"/>
                        <a:pt x="534428" y="145817"/>
                        <a:pt x="534428" y="141763"/>
                      </a:cubicBezTo>
                      <a:lnTo>
                        <a:pt x="528777" y="141763"/>
                      </a:lnTo>
                      <a:cubicBezTo>
                        <a:pt x="525386" y="135683"/>
                        <a:pt x="525386" y="133657"/>
                        <a:pt x="523127" y="129603"/>
                      </a:cubicBezTo>
                      <a:lnTo>
                        <a:pt x="517476" y="129603"/>
                      </a:lnTo>
                      <a:cubicBezTo>
                        <a:pt x="515216" y="126563"/>
                        <a:pt x="516345" y="122510"/>
                        <a:pt x="515216" y="119470"/>
                      </a:cubicBezTo>
                      <a:cubicBezTo>
                        <a:pt x="503914" y="103256"/>
                        <a:pt x="483572" y="114403"/>
                        <a:pt x="472271" y="121496"/>
                      </a:cubicBezTo>
                      <a:cubicBezTo>
                        <a:pt x="471141" y="117443"/>
                        <a:pt x="474531" y="114403"/>
                        <a:pt x="470011" y="114403"/>
                      </a:cubicBezTo>
                      <a:cubicBezTo>
                        <a:pt x="467750" y="124536"/>
                        <a:pt x="468880" y="128590"/>
                        <a:pt x="467750" y="138723"/>
                      </a:cubicBezTo>
                      <a:cubicBezTo>
                        <a:pt x="466621" y="137710"/>
                        <a:pt x="459839" y="136696"/>
                        <a:pt x="459839" y="136696"/>
                      </a:cubicBezTo>
                      <a:cubicBezTo>
                        <a:pt x="459839" y="135683"/>
                        <a:pt x="459839" y="129603"/>
                        <a:pt x="459839" y="129603"/>
                      </a:cubicBezTo>
                      <a:cubicBezTo>
                        <a:pt x="458710" y="130616"/>
                        <a:pt x="454189" y="139737"/>
                        <a:pt x="454189" y="139737"/>
                      </a:cubicBezTo>
                      <a:cubicBezTo>
                        <a:pt x="451928" y="142777"/>
                        <a:pt x="448538" y="140750"/>
                        <a:pt x="442888" y="141763"/>
                      </a:cubicBezTo>
                      <a:cubicBezTo>
                        <a:pt x="441758" y="143790"/>
                        <a:pt x="439497" y="150883"/>
                        <a:pt x="442888" y="148857"/>
                      </a:cubicBezTo>
                      <a:cubicBezTo>
                        <a:pt x="445148" y="153924"/>
                        <a:pt x="442888" y="149870"/>
                        <a:pt x="448538" y="150883"/>
                      </a:cubicBezTo>
                      <a:cubicBezTo>
                        <a:pt x="448538" y="151897"/>
                        <a:pt x="447408" y="156964"/>
                        <a:pt x="448538" y="157977"/>
                      </a:cubicBezTo>
                      <a:cubicBezTo>
                        <a:pt x="438368" y="162030"/>
                        <a:pt x="434977" y="160004"/>
                        <a:pt x="434977" y="160004"/>
                      </a:cubicBezTo>
                      <a:cubicBezTo>
                        <a:pt x="434977" y="160004"/>
                        <a:pt x="438368" y="162030"/>
                        <a:pt x="440627" y="172164"/>
                      </a:cubicBezTo>
                      <a:cubicBezTo>
                        <a:pt x="424806" y="169124"/>
                        <a:pt x="430457" y="167097"/>
                        <a:pt x="413505" y="172164"/>
                      </a:cubicBezTo>
                      <a:cubicBezTo>
                        <a:pt x="418025" y="191418"/>
                        <a:pt x="416895" y="193444"/>
                        <a:pt x="407854" y="206618"/>
                      </a:cubicBezTo>
                      <a:cubicBezTo>
                        <a:pt x="403333" y="203578"/>
                        <a:pt x="398813" y="203578"/>
                        <a:pt x="394293" y="201551"/>
                      </a:cubicBezTo>
                      <a:cubicBezTo>
                        <a:pt x="394293" y="200538"/>
                        <a:pt x="394293" y="194458"/>
                        <a:pt x="394293" y="194458"/>
                      </a:cubicBezTo>
                      <a:lnTo>
                        <a:pt x="388642" y="194458"/>
                      </a:lnTo>
                      <a:cubicBezTo>
                        <a:pt x="384121" y="196484"/>
                        <a:pt x="387512" y="198511"/>
                        <a:pt x="380731" y="199525"/>
                      </a:cubicBezTo>
                      <a:cubicBezTo>
                        <a:pt x="379601" y="209658"/>
                        <a:pt x="375080" y="218778"/>
                        <a:pt x="380731" y="228912"/>
                      </a:cubicBezTo>
                      <a:cubicBezTo>
                        <a:pt x="381862" y="230939"/>
                        <a:pt x="387512" y="233979"/>
                        <a:pt x="388642" y="236006"/>
                      </a:cubicBezTo>
                      <a:cubicBezTo>
                        <a:pt x="385252" y="237019"/>
                        <a:pt x="382991" y="237019"/>
                        <a:pt x="377341" y="238032"/>
                      </a:cubicBezTo>
                      <a:cubicBezTo>
                        <a:pt x="377341" y="239046"/>
                        <a:pt x="378471" y="247152"/>
                        <a:pt x="377341" y="248166"/>
                      </a:cubicBezTo>
                      <a:cubicBezTo>
                        <a:pt x="373951" y="244112"/>
                        <a:pt x="366040" y="239046"/>
                        <a:pt x="363779" y="233979"/>
                      </a:cubicBezTo>
                      <a:cubicBezTo>
                        <a:pt x="361519" y="226885"/>
                        <a:pt x="364910" y="219792"/>
                        <a:pt x="361519" y="214725"/>
                      </a:cubicBezTo>
                      <a:cubicBezTo>
                        <a:pt x="360389" y="212698"/>
                        <a:pt x="353609" y="213712"/>
                        <a:pt x="353609" y="212698"/>
                      </a:cubicBezTo>
                      <a:cubicBezTo>
                        <a:pt x="351348" y="214725"/>
                        <a:pt x="354738" y="219792"/>
                        <a:pt x="353609" y="222832"/>
                      </a:cubicBezTo>
                      <a:cubicBezTo>
                        <a:pt x="353609" y="222832"/>
                        <a:pt x="337787" y="228912"/>
                        <a:pt x="337787" y="229925"/>
                      </a:cubicBezTo>
                      <a:cubicBezTo>
                        <a:pt x="328746" y="242085"/>
                        <a:pt x="337787" y="255259"/>
                        <a:pt x="335526" y="266406"/>
                      </a:cubicBezTo>
                      <a:lnTo>
                        <a:pt x="329876" y="266406"/>
                      </a:lnTo>
                      <a:cubicBezTo>
                        <a:pt x="328746" y="270460"/>
                        <a:pt x="329876" y="272486"/>
                        <a:pt x="327615" y="276540"/>
                      </a:cubicBezTo>
                      <a:lnTo>
                        <a:pt x="333266" y="276540"/>
                      </a:lnTo>
                      <a:cubicBezTo>
                        <a:pt x="333266" y="277553"/>
                        <a:pt x="334396" y="283633"/>
                        <a:pt x="335526" y="286673"/>
                      </a:cubicBezTo>
                      <a:cubicBezTo>
                        <a:pt x="328746" y="290727"/>
                        <a:pt x="318575" y="293767"/>
                        <a:pt x="314054" y="298834"/>
                      </a:cubicBezTo>
                      <a:cubicBezTo>
                        <a:pt x="312924" y="299847"/>
                        <a:pt x="315184" y="303900"/>
                        <a:pt x="314054" y="305927"/>
                      </a:cubicBezTo>
                      <a:cubicBezTo>
                        <a:pt x="312924" y="307954"/>
                        <a:pt x="291452" y="331261"/>
                        <a:pt x="289192" y="332275"/>
                      </a:cubicBezTo>
                      <a:cubicBezTo>
                        <a:pt x="277890" y="339368"/>
                        <a:pt x="267719" y="335314"/>
                        <a:pt x="250767" y="339368"/>
                      </a:cubicBezTo>
                      <a:cubicBezTo>
                        <a:pt x="245117" y="340381"/>
                        <a:pt x="238336" y="348488"/>
                        <a:pt x="234946" y="349501"/>
                      </a:cubicBezTo>
                      <a:cubicBezTo>
                        <a:pt x="229295" y="350515"/>
                        <a:pt x="220254" y="346461"/>
                        <a:pt x="219124" y="347475"/>
                      </a:cubicBezTo>
                      <a:cubicBezTo>
                        <a:pt x="207823" y="350515"/>
                        <a:pt x="211213" y="364702"/>
                        <a:pt x="203302" y="369769"/>
                      </a:cubicBezTo>
                      <a:cubicBezTo>
                        <a:pt x="197652" y="372809"/>
                        <a:pt x="190871" y="369769"/>
                        <a:pt x="184091" y="371795"/>
                      </a:cubicBezTo>
                      <a:cubicBezTo>
                        <a:pt x="181830" y="372809"/>
                        <a:pt x="180700" y="377876"/>
                        <a:pt x="178440" y="378889"/>
                      </a:cubicBezTo>
                      <a:cubicBezTo>
                        <a:pt x="167139" y="384969"/>
                        <a:pt x="153577" y="378889"/>
                        <a:pt x="143406" y="376862"/>
                      </a:cubicBezTo>
                      <a:cubicBezTo>
                        <a:pt x="141146" y="380916"/>
                        <a:pt x="140016" y="383955"/>
                        <a:pt x="137755" y="389022"/>
                      </a:cubicBezTo>
                      <a:cubicBezTo>
                        <a:pt x="136626" y="389022"/>
                        <a:pt x="119674" y="389022"/>
                        <a:pt x="118543" y="389022"/>
                      </a:cubicBezTo>
                      <a:cubicBezTo>
                        <a:pt x="109502" y="392062"/>
                        <a:pt x="108373" y="408276"/>
                        <a:pt x="99332" y="411316"/>
                      </a:cubicBezTo>
                      <a:lnTo>
                        <a:pt x="93681" y="411316"/>
                      </a:lnTo>
                      <a:cubicBezTo>
                        <a:pt x="91421" y="413343"/>
                        <a:pt x="92551" y="419423"/>
                        <a:pt x="91421" y="421450"/>
                      </a:cubicBezTo>
                      <a:cubicBezTo>
                        <a:pt x="90290" y="422463"/>
                        <a:pt x="85770" y="420436"/>
                        <a:pt x="83510" y="421450"/>
                      </a:cubicBezTo>
                      <a:cubicBezTo>
                        <a:pt x="75599" y="424490"/>
                        <a:pt x="71079" y="438677"/>
                        <a:pt x="64298" y="443744"/>
                      </a:cubicBezTo>
                      <a:cubicBezTo>
                        <a:pt x="58647" y="447797"/>
                        <a:pt x="49606" y="450837"/>
                        <a:pt x="42826" y="453877"/>
                      </a:cubicBezTo>
                      <a:cubicBezTo>
                        <a:pt x="43956" y="450837"/>
                        <a:pt x="39435" y="447797"/>
                        <a:pt x="40565" y="446784"/>
                      </a:cubicBezTo>
                      <a:cubicBezTo>
                        <a:pt x="46216" y="442730"/>
                        <a:pt x="42826" y="436650"/>
                        <a:pt x="42826" y="436650"/>
                      </a:cubicBezTo>
                      <a:cubicBezTo>
                        <a:pt x="41695" y="435637"/>
                        <a:pt x="45085" y="431583"/>
                        <a:pt x="40565" y="434623"/>
                      </a:cubicBezTo>
                      <a:cubicBezTo>
                        <a:pt x="33784" y="438677"/>
                        <a:pt x="36045" y="456917"/>
                        <a:pt x="27004" y="458944"/>
                      </a:cubicBezTo>
                      <a:cubicBezTo>
                        <a:pt x="24743" y="459957"/>
                        <a:pt x="34915" y="472118"/>
                        <a:pt x="34915" y="473131"/>
                      </a:cubicBezTo>
                      <a:cubicBezTo>
                        <a:pt x="36045" y="469078"/>
                        <a:pt x="33784" y="485291"/>
                        <a:pt x="32654" y="490358"/>
                      </a:cubicBezTo>
                      <a:cubicBezTo>
                        <a:pt x="32654" y="487318"/>
                        <a:pt x="34915" y="494412"/>
                        <a:pt x="34915" y="495425"/>
                      </a:cubicBezTo>
                      <a:cubicBezTo>
                        <a:pt x="36045" y="505558"/>
                        <a:pt x="29264" y="513665"/>
                        <a:pt x="23614" y="519746"/>
                      </a:cubicBezTo>
                      <a:cubicBezTo>
                        <a:pt x="23614" y="519746"/>
                        <a:pt x="15703" y="519746"/>
                        <a:pt x="15703" y="519746"/>
                      </a:cubicBezTo>
                      <a:lnTo>
                        <a:pt x="13442" y="526839"/>
                      </a:lnTo>
                      <a:cubicBezTo>
                        <a:pt x="14573" y="527852"/>
                        <a:pt x="17963" y="528866"/>
                        <a:pt x="19093" y="528866"/>
                      </a:cubicBezTo>
                      <a:cubicBezTo>
                        <a:pt x="25874" y="533932"/>
                        <a:pt x="34915" y="537986"/>
                        <a:pt x="38305" y="546093"/>
                      </a:cubicBezTo>
                      <a:cubicBezTo>
                        <a:pt x="42826" y="557240"/>
                        <a:pt x="37175" y="561293"/>
                        <a:pt x="38305" y="570413"/>
                      </a:cubicBezTo>
                      <a:cubicBezTo>
                        <a:pt x="39435" y="580547"/>
                        <a:pt x="43956" y="590681"/>
                        <a:pt x="46216" y="604867"/>
                      </a:cubicBezTo>
                      <a:cubicBezTo>
                        <a:pt x="39435" y="601827"/>
                        <a:pt x="38305" y="602841"/>
                        <a:pt x="30394" y="599801"/>
                      </a:cubicBezTo>
                      <a:cubicBezTo>
                        <a:pt x="30394" y="598787"/>
                        <a:pt x="31525" y="587640"/>
                        <a:pt x="30394" y="587640"/>
                      </a:cubicBezTo>
                      <a:lnTo>
                        <a:pt x="24743" y="587640"/>
                      </a:lnTo>
                      <a:cubicBezTo>
                        <a:pt x="30394" y="602841"/>
                        <a:pt x="33784" y="608921"/>
                        <a:pt x="38305" y="624121"/>
                      </a:cubicBezTo>
                      <a:cubicBezTo>
                        <a:pt x="37175" y="623108"/>
                        <a:pt x="32654" y="625135"/>
                        <a:pt x="30394" y="624121"/>
                      </a:cubicBezTo>
                      <a:cubicBezTo>
                        <a:pt x="21353" y="621081"/>
                        <a:pt x="21353" y="599801"/>
                        <a:pt x="16832" y="589667"/>
                      </a:cubicBezTo>
                      <a:lnTo>
                        <a:pt x="11182" y="587640"/>
                      </a:lnTo>
                      <a:cubicBezTo>
                        <a:pt x="12312" y="597774"/>
                        <a:pt x="12312" y="609934"/>
                        <a:pt x="16832" y="619054"/>
                      </a:cubicBezTo>
                      <a:cubicBezTo>
                        <a:pt x="16832" y="620068"/>
                        <a:pt x="21353" y="620068"/>
                        <a:pt x="22483" y="621081"/>
                      </a:cubicBezTo>
                      <a:cubicBezTo>
                        <a:pt x="29264" y="631215"/>
                        <a:pt x="40565" y="638308"/>
                        <a:pt x="47346" y="647428"/>
                      </a:cubicBezTo>
                      <a:cubicBezTo>
                        <a:pt x="50736" y="652495"/>
                        <a:pt x="47346" y="655535"/>
                        <a:pt x="49606" y="661615"/>
                      </a:cubicBezTo>
                      <a:lnTo>
                        <a:pt x="55257" y="663642"/>
                      </a:lnTo>
                      <a:lnTo>
                        <a:pt x="55257" y="668709"/>
                      </a:lnTo>
                      <a:cubicBezTo>
                        <a:pt x="51867" y="666682"/>
                        <a:pt x="51867" y="678842"/>
                        <a:pt x="52996" y="680869"/>
                      </a:cubicBezTo>
                      <a:cubicBezTo>
                        <a:pt x="55257" y="686949"/>
                        <a:pt x="68818" y="692016"/>
                        <a:pt x="74469" y="695056"/>
                      </a:cubicBezTo>
                      <a:cubicBezTo>
                        <a:pt x="72209" y="700123"/>
                        <a:pt x="67688" y="708230"/>
                        <a:pt x="68818" y="712283"/>
                      </a:cubicBezTo>
                      <a:cubicBezTo>
                        <a:pt x="69948" y="717350"/>
                        <a:pt x="86900" y="725457"/>
                        <a:pt x="88031" y="736604"/>
                      </a:cubicBezTo>
                      <a:cubicBezTo>
                        <a:pt x="88031" y="739644"/>
                        <a:pt x="83510" y="742684"/>
                        <a:pt x="82380" y="743697"/>
                      </a:cubicBezTo>
                      <a:cubicBezTo>
                        <a:pt x="78989" y="753831"/>
                        <a:pt x="82380" y="767004"/>
                        <a:pt x="84640" y="775112"/>
                      </a:cubicBezTo>
                      <a:cubicBezTo>
                        <a:pt x="86900" y="781191"/>
                        <a:pt x="93681" y="790312"/>
                        <a:pt x="95941" y="797405"/>
                      </a:cubicBezTo>
                      <a:cubicBezTo>
                        <a:pt x="99332" y="810579"/>
                        <a:pt x="94811" y="809565"/>
                        <a:pt x="98201" y="821726"/>
                      </a:cubicBezTo>
                      <a:cubicBezTo>
                        <a:pt x="98201" y="823753"/>
                        <a:pt x="106112" y="832872"/>
                        <a:pt x="106112" y="833886"/>
                      </a:cubicBezTo>
                      <a:cubicBezTo>
                        <a:pt x="106112" y="837939"/>
                        <a:pt x="100462" y="844020"/>
                        <a:pt x="100462" y="846047"/>
                      </a:cubicBezTo>
                      <a:cubicBezTo>
                        <a:pt x="99332" y="855166"/>
                        <a:pt x="107242" y="853140"/>
                        <a:pt x="106112" y="863273"/>
                      </a:cubicBezTo>
                      <a:cubicBezTo>
                        <a:pt x="106112" y="865300"/>
                        <a:pt x="98201" y="869354"/>
                        <a:pt x="98201" y="870367"/>
                      </a:cubicBezTo>
                      <a:cubicBezTo>
                        <a:pt x="94811" y="887594"/>
                        <a:pt x="100462" y="896714"/>
                        <a:pt x="98201" y="913941"/>
                      </a:cubicBezTo>
                      <a:cubicBezTo>
                        <a:pt x="95941" y="912928"/>
                        <a:pt x="93681" y="915968"/>
                        <a:pt x="92551" y="915968"/>
                      </a:cubicBezTo>
                      <a:cubicBezTo>
                        <a:pt x="90290" y="913941"/>
                        <a:pt x="83510" y="906848"/>
                        <a:pt x="81249" y="905834"/>
                      </a:cubicBezTo>
                      <a:cubicBezTo>
                        <a:pt x="81249" y="905834"/>
                        <a:pt x="71079" y="905834"/>
                        <a:pt x="75599" y="907861"/>
                      </a:cubicBezTo>
                      <a:cubicBezTo>
                        <a:pt x="74469" y="904821"/>
                        <a:pt x="76729" y="917995"/>
                        <a:pt x="77859" y="922048"/>
                      </a:cubicBezTo>
                      <a:cubicBezTo>
                        <a:pt x="85770" y="937249"/>
                        <a:pt x="95941" y="932182"/>
                        <a:pt x="107242" y="941302"/>
                      </a:cubicBezTo>
                      <a:cubicBezTo>
                        <a:pt x="111763" y="945355"/>
                        <a:pt x="112893" y="955489"/>
                        <a:pt x="118543" y="958529"/>
                      </a:cubicBezTo>
                      <a:cubicBezTo>
                        <a:pt x="124194" y="961569"/>
                        <a:pt x="140016" y="960556"/>
                        <a:pt x="140016" y="960556"/>
                      </a:cubicBezTo>
                      <a:lnTo>
                        <a:pt x="142276" y="958529"/>
                      </a:lnTo>
                      <a:cubicBezTo>
                        <a:pt x="147927" y="959542"/>
                        <a:pt x="153577" y="957516"/>
                        <a:pt x="158097" y="958529"/>
                      </a:cubicBezTo>
                      <a:cubicBezTo>
                        <a:pt x="160358" y="958529"/>
                        <a:pt x="169399" y="965623"/>
                        <a:pt x="173919" y="965623"/>
                      </a:cubicBezTo>
                      <a:cubicBezTo>
                        <a:pt x="175049" y="965623"/>
                        <a:pt x="176180" y="958529"/>
                        <a:pt x="176180" y="958529"/>
                      </a:cubicBezTo>
                      <a:cubicBezTo>
                        <a:pt x="177310" y="958529"/>
                        <a:pt x="181830" y="960556"/>
                        <a:pt x="184091" y="960556"/>
                      </a:cubicBezTo>
                      <a:cubicBezTo>
                        <a:pt x="186350" y="957516"/>
                        <a:pt x="204433" y="934208"/>
                        <a:pt x="205563" y="934208"/>
                      </a:cubicBezTo>
                      <a:lnTo>
                        <a:pt x="211213" y="934208"/>
                      </a:lnTo>
                      <a:cubicBezTo>
                        <a:pt x="211213" y="934208"/>
                        <a:pt x="213474" y="943329"/>
                        <a:pt x="213474" y="944342"/>
                      </a:cubicBezTo>
                      <a:cubicBezTo>
                        <a:pt x="215734" y="945355"/>
                        <a:pt x="222514" y="945355"/>
                        <a:pt x="224775" y="946368"/>
                      </a:cubicBezTo>
                      <a:cubicBezTo>
                        <a:pt x="225905" y="939275"/>
                        <a:pt x="229295" y="936235"/>
                        <a:pt x="227035" y="929141"/>
                      </a:cubicBezTo>
                      <a:lnTo>
                        <a:pt x="227035" y="924075"/>
                      </a:lnTo>
                      <a:cubicBezTo>
                        <a:pt x="234946" y="924075"/>
                        <a:pt x="238336" y="927115"/>
                        <a:pt x="248507" y="924075"/>
                      </a:cubicBezTo>
                      <a:lnTo>
                        <a:pt x="254158" y="919008"/>
                      </a:lnTo>
                      <a:cubicBezTo>
                        <a:pt x="263199" y="917995"/>
                        <a:pt x="260939" y="922048"/>
                        <a:pt x="267719" y="921035"/>
                      </a:cubicBezTo>
                      <a:cubicBezTo>
                        <a:pt x="268850" y="919008"/>
                        <a:pt x="267719" y="913941"/>
                        <a:pt x="269980" y="913941"/>
                      </a:cubicBezTo>
                      <a:cubicBezTo>
                        <a:pt x="281281" y="911915"/>
                        <a:pt x="297103" y="920021"/>
                        <a:pt x="308404" y="919008"/>
                      </a:cubicBezTo>
                      <a:cubicBezTo>
                        <a:pt x="309534" y="919008"/>
                        <a:pt x="314054" y="914955"/>
                        <a:pt x="319705" y="913941"/>
                      </a:cubicBezTo>
                      <a:cubicBezTo>
                        <a:pt x="319705" y="914955"/>
                        <a:pt x="324225" y="921035"/>
                        <a:pt x="325356" y="921035"/>
                      </a:cubicBezTo>
                      <a:cubicBezTo>
                        <a:pt x="331006" y="921035"/>
                        <a:pt x="327615" y="919008"/>
                        <a:pt x="327615" y="915968"/>
                      </a:cubicBezTo>
                      <a:cubicBezTo>
                        <a:pt x="332136" y="915968"/>
                        <a:pt x="338917" y="916982"/>
                        <a:pt x="343437" y="915968"/>
                      </a:cubicBezTo>
                      <a:lnTo>
                        <a:pt x="343437" y="913941"/>
                      </a:lnTo>
                      <a:cubicBezTo>
                        <a:pt x="360389" y="911915"/>
                        <a:pt x="352478" y="917995"/>
                        <a:pt x="356999" y="919008"/>
                      </a:cubicBezTo>
                      <a:cubicBezTo>
                        <a:pt x="363779" y="920021"/>
                        <a:pt x="362649" y="914955"/>
                        <a:pt x="364910" y="913941"/>
                      </a:cubicBezTo>
                      <a:cubicBezTo>
                        <a:pt x="368300" y="912928"/>
                        <a:pt x="371690" y="915968"/>
                        <a:pt x="370560" y="915968"/>
                      </a:cubicBezTo>
                      <a:lnTo>
                        <a:pt x="372820" y="915968"/>
                      </a:lnTo>
                      <a:cubicBezTo>
                        <a:pt x="381862" y="910901"/>
                        <a:pt x="387512" y="886581"/>
                        <a:pt x="397683" y="881514"/>
                      </a:cubicBezTo>
                      <a:cubicBezTo>
                        <a:pt x="403333" y="878473"/>
                        <a:pt x="414635" y="882527"/>
                        <a:pt x="422546" y="879487"/>
                      </a:cubicBezTo>
                      <a:lnTo>
                        <a:pt x="430457" y="865300"/>
                      </a:lnTo>
                      <a:cubicBezTo>
                        <a:pt x="433847" y="863273"/>
                        <a:pt x="437237" y="867327"/>
                        <a:pt x="438368" y="867327"/>
                      </a:cubicBezTo>
                      <a:cubicBezTo>
                        <a:pt x="442888" y="862260"/>
                        <a:pt x="447408" y="856180"/>
                        <a:pt x="451928" y="850100"/>
                      </a:cubicBezTo>
                      <a:cubicBezTo>
                        <a:pt x="479052" y="853140"/>
                        <a:pt x="514085" y="850100"/>
                        <a:pt x="533297" y="843006"/>
                      </a:cubicBezTo>
                      <a:lnTo>
                        <a:pt x="533297" y="837939"/>
                      </a:lnTo>
                      <a:cubicBezTo>
                        <a:pt x="540078" y="835913"/>
                        <a:pt x="545729" y="833886"/>
                        <a:pt x="549119" y="832872"/>
                      </a:cubicBezTo>
                      <a:cubicBezTo>
                        <a:pt x="557030" y="830846"/>
                        <a:pt x="555900" y="835913"/>
                        <a:pt x="562681" y="834899"/>
                      </a:cubicBezTo>
                      <a:lnTo>
                        <a:pt x="568331" y="829832"/>
                      </a:lnTo>
                      <a:cubicBezTo>
                        <a:pt x="579633" y="826793"/>
                        <a:pt x="584153" y="829832"/>
                        <a:pt x="595454" y="827806"/>
                      </a:cubicBezTo>
                      <a:lnTo>
                        <a:pt x="601104" y="822739"/>
                      </a:lnTo>
                      <a:cubicBezTo>
                        <a:pt x="611276" y="821726"/>
                        <a:pt x="614666" y="826793"/>
                        <a:pt x="622577" y="824766"/>
                      </a:cubicBezTo>
                      <a:cubicBezTo>
                        <a:pt x="629357" y="823753"/>
                        <a:pt x="629357" y="814632"/>
                        <a:pt x="638398" y="814632"/>
                      </a:cubicBezTo>
                      <a:cubicBezTo>
                        <a:pt x="638398" y="814632"/>
                        <a:pt x="658741" y="825779"/>
                        <a:pt x="659871" y="826793"/>
                      </a:cubicBezTo>
                      <a:lnTo>
                        <a:pt x="665521" y="826793"/>
                      </a:lnTo>
                      <a:cubicBezTo>
                        <a:pt x="667782" y="830846"/>
                        <a:pt x="666651" y="835913"/>
                        <a:pt x="667782" y="838953"/>
                      </a:cubicBezTo>
                      <a:cubicBezTo>
                        <a:pt x="683603" y="835913"/>
                        <a:pt x="692645" y="832872"/>
                        <a:pt x="702815" y="838953"/>
                      </a:cubicBezTo>
                      <a:lnTo>
                        <a:pt x="705076" y="844020"/>
                      </a:lnTo>
                      <a:cubicBezTo>
                        <a:pt x="709596" y="845033"/>
                        <a:pt x="716377" y="840980"/>
                        <a:pt x="720898" y="838953"/>
                      </a:cubicBezTo>
                      <a:cubicBezTo>
                        <a:pt x="722027" y="841993"/>
                        <a:pt x="722027" y="845033"/>
                        <a:pt x="726548" y="846047"/>
                      </a:cubicBezTo>
                      <a:cubicBezTo>
                        <a:pt x="726548" y="846047"/>
                        <a:pt x="726548" y="860233"/>
                        <a:pt x="726548" y="860233"/>
                      </a:cubicBezTo>
                      <a:cubicBezTo>
                        <a:pt x="732199" y="861247"/>
                        <a:pt x="737849" y="858206"/>
                        <a:pt x="742369" y="860233"/>
                      </a:cubicBezTo>
                      <a:cubicBezTo>
                        <a:pt x="743500" y="860233"/>
                        <a:pt x="748020" y="869354"/>
                        <a:pt x="742369" y="867327"/>
                      </a:cubicBezTo>
                      <a:cubicBezTo>
                        <a:pt x="740109" y="870367"/>
                        <a:pt x="737849" y="875434"/>
                        <a:pt x="734458" y="879487"/>
                      </a:cubicBezTo>
                      <a:cubicBezTo>
                        <a:pt x="743500" y="882527"/>
                        <a:pt x="753671" y="886581"/>
                        <a:pt x="763842" y="889621"/>
                      </a:cubicBezTo>
                      <a:cubicBezTo>
                        <a:pt x="762711" y="902794"/>
                        <a:pt x="759321" y="911915"/>
                        <a:pt x="766102" y="921035"/>
                      </a:cubicBezTo>
                      <a:cubicBezTo>
                        <a:pt x="767232" y="923061"/>
                        <a:pt x="776273" y="924075"/>
                        <a:pt x="777404" y="926101"/>
                      </a:cubicBezTo>
                      <a:cubicBezTo>
                        <a:pt x="779663" y="929141"/>
                        <a:pt x="775143" y="931168"/>
                        <a:pt x="775143" y="933195"/>
                      </a:cubicBezTo>
                      <a:cubicBezTo>
                        <a:pt x="778533" y="936235"/>
                        <a:pt x="783054" y="939275"/>
                        <a:pt x="786444" y="943329"/>
                      </a:cubicBezTo>
                      <a:cubicBezTo>
                        <a:pt x="789835" y="942315"/>
                        <a:pt x="793225" y="940289"/>
                        <a:pt x="800006" y="941302"/>
                      </a:cubicBezTo>
                      <a:cubicBezTo>
                        <a:pt x="804526" y="933195"/>
                        <a:pt x="810177" y="924075"/>
                        <a:pt x="819217" y="919008"/>
                      </a:cubicBezTo>
                      <a:lnTo>
                        <a:pt x="819217" y="913941"/>
                      </a:lnTo>
                      <a:cubicBezTo>
                        <a:pt x="825999" y="908874"/>
                        <a:pt x="847470" y="901781"/>
                        <a:pt x="851991" y="896714"/>
                      </a:cubicBezTo>
                      <a:cubicBezTo>
                        <a:pt x="854251" y="892661"/>
                        <a:pt x="851991" y="888607"/>
                        <a:pt x="854251" y="884554"/>
                      </a:cubicBezTo>
                      <a:cubicBezTo>
                        <a:pt x="855381" y="882527"/>
                        <a:pt x="863292" y="881514"/>
                        <a:pt x="865553" y="879487"/>
                      </a:cubicBezTo>
                      <a:cubicBezTo>
                        <a:pt x="863292" y="890634"/>
                        <a:pt x="866683" y="897727"/>
                        <a:pt x="863292" y="908874"/>
                      </a:cubicBezTo>
                      <a:cubicBezTo>
                        <a:pt x="862162" y="910901"/>
                        <a:pt x="855381" y="916982"/>
                        <a:pt x="855381" y="919008"/>
                      </a:cubicBezTo>
                      <a:cubicBezTo>
                        <a:pt x="849731" y="932182"/>
                        <a:pt x="850861" y="941302"/>
                        <a:pt x="853121" y="955489"/>
                      </a:cubicBezTo>
                      <a:cubicBezTo>
                        <a:pt x="849731" y="956502"/>
                        <a:pt x="845211" y="962583"/>
                        <a:pt x="841820" y="962583"/>
                      </a:cubicBezTo>
                      <a:cubicBezTo>
                        <a:pt x="838430" y="963596"/>
                        <a:pt x="833909" y="961569"/>
                        <a:pt x="830519" y="962583"/>
                      </a:cubicBezTo>
                      <a:cubicBezTo>
                        <a:pt x="830519" y="963596"/>
                        <a:pt x="831649" y="971702"/>
                        <a:pt x="830519" y="972716"/>
                      </a:cubicBezTo>
                      <a:cubicBezTo>
                        <a:pt x="837300" y="970689"/>
                        <a:pt x="833909" y="975756"/>
                        <a:pt x="838430" y="974742"/>
                      </a:cubicBezTo>
                      <a:cubicBezTo>
                        <a:pt x="840690" y="974742"/>
                        <a:pt x="844080" y="967649"/>
                        <a:pt x="844080" y="967649"/>
                      </a:cubicBezTo>
                      <a:cubicBezTo>
                        <a:pt x="847470" y="966636"/>
                        <a:pt x="855381" y="969676"/>
                        <a:pt x="857642" y="967649"/>
                      </a:cubicBezTo>
                      <a:cubicBezTo>
                        <a:pt x="866683" y="961569"/>
                        <a:pt x="857642" y="946368"/>
                        <a:pt x="865553" y="936235"/>
                      </a:cubicBezTo>
                      <a:cubicBezTo>
                        <a:pt x="867813" y="933195"/>
                        <a:pt x="875723" y="934208"/>
                        <a:pt x="879114" y="931168"/>
                      </a:cubicBezTo>
                      <a:cubicBezTo>
                        <a:pt x="880244" y="936235"/>
                        <a:pt x="876854" y="941302"/>
                        <a:pt x="879114" y="945355"/>
                      </a:cubicBezTo>
                      <a:cubicBezTo>
                        <a:pt x="880244" y="947382"/>
                        <a:pt x="889285" y="951435"/>
                        <a:pt x="890415" y="955489"/>
                      </a:cubicBezTo>
                      <a:cubicBezTo>
                        <a:pt x="892675" y="961569"/>
                        <a:pt x="889285" y="985890"/>
                        <a:pt x="888155" y="997036"/>
                      </a:cubicBezTo>
                      <a:cubicBezTo>
                        <a:pt x="896066" y="993996"/>
                        <a:pt x="900586" y="996023"/>
                        <a:pt x="907367" y="991970"/>
                      </a:cubicBezTo>
                      <a:lnTo>
                        <a:pt x="909627" y="986903"/>
                      </a:lnTo>
                      <a:cubicBezTo>
                        <a:pt x="913018" y="985890"/>
                        <a:pt x="917538" y="987916"/>
                        <a:pt x="920928" y="986903"/>
                      </a:cubicBezTo>
                      <a:cubicBezTo>
                        <a:pt x="923189" y="1004130"/>
                        <a:pt x="923189" y="1012237"/>
                        <a:pt x="932229" y="1023384"/>
                      </a:cubicBezTo>
                      <a:lnTo>
                        <a:pt x="937880" y="1025410"/>
                      </a:lnTo>
                      <a:cubicBezTo>
                        <a:pt x="941271" y="1039597"/>
                        <a:pt x="929970" y="1053785"/>
                        <a:pt x="935620" y="1068985"/>
                      </a:cubicBezTo>
                      <a:cubicBezTo>
                        <a:pt x="937880" y="1077092"/>
                        <a:pt x="954832" y="1082159"/>
                        <a:pt x="960482" y="1088238"/>
                      </a:cubicBezTo>
                      <a:cubicBezTo>
                        <a:pt x="962743" y="1092292"/>
                        <a:pt x="961613" y="1098372"/>
                        <a:pt x="966133" y="1100399"/>
                      </a:cubicBezTo>
                      <a:cubicBezTo>
                        <a:pt x="968393" y="1101412"/>
                        <a:pt x="974045" y="1099386"/>
                        <a:pt x="977434" y="1100399"/>
                      </a:cubicBezTo>
                      <a:cubicBezTo>
                        <a:pt x="985346" y="1102426"/>
                        <a:pt x="993256" y="1115599"/>
                        <a:pt x="1004557" y="1114586"/>
                      </a:cubicBezTo>
                      <a:cubicBezTo>
                        <a:pt x="1002298" y="1119653"/>
                        <a:pt x="1004557" y="1113572"/>
                        <a:pt x="1013599" y="1115599"/>
                      </a:cubicBezTo>
                      <a:close/>
                      <a:moveTo>
                        <a:pt x="1097227" y="1225042"/>
                      </a:moveTo>
                      <a:cubicBezTo>
                        <a:pt x="1097227" y="1225042"/>
                        <a:pt x="1093837" y="1238215"/>
                        <a:pt x="1094967" y="1242269"/>
                      </a:cubicBezTo>
                      <a:lnTo>
                        <a:pt x="1100617" y="1254429"/>
                      </a:lnTo>
                      <a:cubicBezTo>
                        <a:pt x="1101747" y="1257469"/>
                        <a:pt x="1123220" y="1289897"/>
                        <a:pt x="1125480" y="1290910"/>
                      </a:cubicBezTo>
                      <a:lnTo>
                        <a:pt x="1125480" y="1292937"/>
                      </a:lnTo>
                      <a:cubicBezTo>
                        <a:pt x="1128870" y="1294963"/>
                        <a:pt x="1133391" y="1293950"/>
                        <a:pt x="1136781" y="1294963"/>
                      </a:cubicBezTo>
                      <a:cubicBezTo>
                        <a:pt x="1133391" y="1296990"/>
                        <a:pt x="1132261" y="1296990"/>
                        <a:pt x="1125480" y="1296990"/>
                      </a:cubicBezTo>
                      <a:cubicBezTo>
                        <a:pt x="1126611" y="1303070"/>
                        <a:pt x="1123220" y="1308137"/>
                        <a:pt x="1125480" y="1314217"/>
                      </a:cubicBezTo>
                      <a:cubicBezTo>
                        <a:pt x="1126611" y="1318271"/>
                        <a:pt x="1140172" y="1326377"/>
                        <a:pt x="1141301" y="1328404"/>
                      </a:cubicBezTo>
                      <a:cubicBezTo>
                        <a:pt x="1143563" y="1331444"/>
                        <a:pt x="1140172" y="1336511"/>
                        <a:pt x="1143563" y="1338538"/>
                      </a:cubicBezTo>
                      <a:cubicBezTo>
                        <a:pt x="1146952" y="1340565"/>
                        <a:pt x="1151473" y="1337525"/>
                        <a:pt x="1154864" y="1340565"/>
                      </a:cubicBezTo>
                      <a:cubicBezTo>
                        <a:pt x="1157123" y="1343605"/>
                        <a:pt x="1149213" y="1346644"/>
                        <a:pt x="1157123" y="1350698"/>
                      </a:cubicBezTo>
                      <a:lnTo>
                        <a:pt x="1157123" y="1352725"/>
                      </a:lnTo>
                      <a:cubicBezTo>
                        <a:pt x="1169554" y="1353738"/>
                        <a:pt x="1168425" y="1351711"/>
                        <a:pt x="1181986" y="1354751"/>
                      </a:cubicBezTo>
                      <a:cubicBezTo>
                        <a:pt x="1183117" y="1351711"/>
                        <a:pt x="1181986" y="1347658"/>
                        <a:pt x="1184247" y="1347658"/>
                      </a:cubicBezTo>
                      <a:cubicBezTo>
                        <a:pt x="1187636" y="1346644"/>
                        <a:pt x="1187636" y="1352725"/>
                        <a:pt x="1192157" y="1349684"/>
                      </a:cubicBezTo>
                      <a:cubicBezTo>
                        <a:pt x="1194418" y="1348671"/>
                        <a:pt x="1195548" y="1337525"/>
                        <a:pt x="1192157" y="1339551"/>
                      </a:cubicBezTo>
                      <a:lnTo>
                        <a:pt x="1192157" y="1341578"/>
                      </a:lnTo>
                      <a:cubicBezTo>
                        <a:pt x="1192157" y="1340565"/>
                        <a:pt x="1187636" y="1343605"/>
                        <a:pt x="1186506" y="1343605"/>
                      </a:cubicBezTo>
                      <a:cubicBezTo>
                        <a:pt x="1185376" y="1338538"/>
                        <a:pt x="1186506" y="1336511"/>
                        <a:pt x="1184247" y="1331444"/>
                      </a:cubicBezTo>
                      <a:cubicBezTo>
                        <a:pt x="1188767" y="1330431"/>
                        <a:pt x="1189897" y="1331444"/>
                        <a:pt x="1192157" y="1329417"/>
                      </a:cubicBezTo>
                      <a:lnTo>
                        <a:pt x="1192157" y="1324350"/>
                      </a:lnTo>
                      <a:lnTo>
                        <a:pt x="1194418" y="1324350"/>
                      </a:lnTo>
                      <a:cubicBezTo>
                        <a:pt x="1187636" y="1321311"/>
                        <a:pt x="1205719" y="1325364"/>
                        <a:pt x="1200069" y="1326377"/>
                      </a:cubicBezTo>
                      <a:cubicBezTo>
                        <a:pt x="1201198" y="1328404"/>
                        <a:pt x="1203458" y="1333471"/>
                        <a:pt x="1205719" y="1336511"/>
                      </a:cubicBezTo>
                      <a:cubicBezTo>
                        <a:pt x="1205719" y="1335498"/>
                        <a:pt x="1212500" y="1332458"/>
                        <a:pt x="1213629" y="1331444"/>
                      </a:cubicBezTo>
                      <a:cubicBezTo>
                        <a:pt x="1206849" y="1313204"/>
                        <a:pt x="1212500" y="1304083"/>
                        <a:pt x="1215889" y="1284830"/>
                      </a:cubicBezTo>
                      <a:cubicBezTo>
                        <a:pt x="1218150" y="1284830"/>
                        <a:pt x="1222671" y="1288883"/>
                        <a:pt x="1223801" y="1284830"/>
                      </a:cubicBezTo>
                      <a:cubicBezTo>
                        <a:pt x="1230581" y="1264563"/>
                        <a:pt x="1219280" y="1239229"/>
                        <a:pt x="1215889" y="1226055"/>
                      </a:cubicBezTo>
                      <a:cubicBezTo>
                        <a:pt x="1207979" y="1231122"/>
                        <a:pt x="1200069" y="1233148"/>
                        <a:pt x="1191027" y="1238215"/>
                      </a:cubicBezTo>
                      <a:cubicBezTo>
                        <a:pt x="1189897" y="1239229"/>
                        <a:pt x="1186506" y="1245309"/>
                        <a:pt x="1185376" y="1245309"/>
                      </a:cubicBezTo>
                      <a:cubicBezTo>
                        <a:pt x="1167295" y="1250376"/>
                        <a:pt x="1140172" y="1230108"/>
                        <a:pt x="1123220" y="1226055"/>
                      </a:cubicBezTo>
                      <a:cubicBezTo>
                        <a:pt x="1116439" y="1224029"/>
                        <a:pt x="1116439" y="1229095"/>
                        <a:pt x="1111919" y="1228082"/>
                      </a:cubicBezTo>
                      <a:cubicBezTo>
                        <a:pt x="1110789" y="1228082"/>
                        <a:pt x="1104008" y="1220989"/>
                        <a:pt x="1104008" y="1220989"/>
                      </a:cubicBezTo>
                      <a:cubicBezTo>
                        <a:pt x="1102877" y="1223015"/>
                        <a:pt x="1100617" y="1226055"/>
                        <a:pt x="1097227" y="1225042"/>
                      </a:cubicBezTo>
                      <a:close/>
                      <a:moveTo>
                        <a:pt x="1213629" y="1188561"/>
                      </a:moveTo>
                      <a:cubicBezTo>
                        <a:pt x="1211370" y="1188561"/>
                        <a:pt x="1211370" y="1193628"/>
                        <a:pt x="1211370" y="1195655"/>
                      </a:cubicBezTo>
                      <a:cubicBezTo>
                        <a:pt x="1211370" y="1195655"/>
                        <a:pt x="1209109" y="1204774"/>
                        <a:pt x="1222671" y="1209841"/>
                      </a:cubicBezTo>
                      <a:lnTo>
                        <a:pt x="1222671" y="1211868"/>
                      </a:lnTo>
                      <a:cubicBezTo>
                        <a:pt x="1222671" y="1210855"/>
                        <a:pt x="1229451" y="1207814"/>
                        <a:pt x="1230581" y="1206801"/>
                      </a:cubicBezTo>
                      <a:cubicBezTo>
                        <a:pt x="1226060" y="1200721"/>
                        <a:pt x="1223801" y="1188561"/>
                        <a:pt x="1213629" y="1188561"/>
                      </a:cubicBezTo>
                      <a:close/>
                      <a:moveTo>
                        <a:pt x="1067844" y="1180454"/>
                      </a:moveTo>
                      <a:cubicBezTo>
                        <a:pt x="1067844" y="1180454"/>
                        <a:pt x="1061063" y="1202748"/>
                        <a:pt x="1070105" y="1197681"/>
                      </a:cubicBezTo>
                      <a:cubicBezTo>
                        <a:pt x="1074624" y="1195655"/>
                        <a:pt x="1075755" y="1180454"/>
                        <a:pt x="1067844" y="1180454"/>
                      </a:cubicBezTo>
                      <a:close/>
                      <a:moveTo>
                        <a:pt x="850861" y="1001090"/>
                      </a:moveTo>
                      <a:cubicBezTo>
                        <a:pt x="829389" y="1003117"/>
                        <a:pt x="836169" y="1020343"/>
                        <a:pt x="862162" y="1015277"/>
                      </a:cubicBezTo>
                      <a:cubicBezTo>
                        <a:pt x="877984" y="1012237"/>
                        <a:pt x="863292" y="1000076"/>
                        <a:pt x="850861" y="1001090"/>
                      </a:cubicBezTo>
                      <a:close/>
                      <a:moveTo>
                        <a:pt x="779663" y="813619"/>
                      </a:moveTo>
                      <a:cubicBezTo>
                        <a:pt x="789835" y="812605"/>
                        <a:pt x="776273" y="817672"/>
                        <a:pt x="774013" y="818686"/>
                      </a:cubicBezTo>
                      <a:cubicBezTo>
                        <a:pt x="777404" y="816659"/>
                        <a:pt x="775143" y="813619"/>
                        <a:pt x="779663" y="813619"/>
                      </a:cubicBezTo>
                      <a:close/>
                      <a:moveTo>
                        <a:pt x="793225" y="808552"/>
                      </a:moveTo>
                      <a:cubicBezTo>
                        <a:pt x="804526" y="814632"/>
                        <a:pt x="800006" y="818686"/>
                        <a:pt x="806786" y="827806"/>
                      </a:cubicBezTo>
                      <a:lnTo>
                        <a:pt x="812437" y="829832"/>
                      </a:lnTo>
                      <a:cubicBezTo>
                        <a:pt x="814697" y="836926"/>
                        <a:pt x="809047" y="835913"/>
                        <a:pt x="810177" y="841993"/>
                      </a:cubicBezTo>
                      <a:cubicBezTo>
                        <a:pt x="806786" y="840980"/>
                        <a:pt x="805656" y="837939"/>
                        <a:pt x="798875" y="839966"/>
                      </a:cubicBezTo>
                      <a:cubicBezTo>
                        <a:pt x="797746" y="829832"/>
                        <a:pt x="793225" y="808552"/>
                        <a:pt x="793225" y="808552"/>
                      </a:cubicBezTo>
                      <a:close/>
                      <a:moveTo>
                        <a:pt x="850861" y="789298"/>
                      </a:moveTo>
                      <a:cubicBezTo>
                        <a:pt x="872333" y="797405"/>
                        <a:pt x="868943" y="820713"/>
                        <a:pt x="864422" y="818686"/>
                      </a:cubicBezTo>
                      <a:cubicBezTo>
                        <a:pt x="863292" y="817672"/>
                        <a:pt x="845211" y="787271"/>
                        <a:pt x="850861" y="789298"/>
                      </a:cubicBezTo>
                      <a:close/>
                      <a:moveTo>
                        <a:pt x="10052" y="556226"/>
                      </a:moveTo>
                      <a:lnTo>
                        <a:pt x="12312" y="561293"/>
                      </a:lnTo>
                      <a:cubicBezTo>
                        <a:pt x="11182" y="557240"/>
                        <a:pt x="15703" y="556226"/>
                        <a:pt x="10052" y="556226"/>
                      </a:cubicBezTo>
                      <a:close/>
                      <a:moveTo>
                        <a:pt x="926579" y="217765"/>
                      </a:moveTo>
                      <a:lnTo>
                        <a:pt x="926579" y="231952"/>
                      </a:lnTo>
                      <a:cubicBezTo>
                        <a:pt x="931099" y="224859"/>
                        <a:pt x="945791" y="217765"/>
                        <a:pt x="926579" y="217765"/>
                      </a:cubicBezTo>
                      <a:close/>
                      <a:moveTo>
                        <a:pt x="829389" y="110349"/>
                      </a:moveTo>
                      <a:cubicBezTo>
                        <a:pt x="827128" y="114403"/>
                        <a:pt x="829389" y="111363"/>
                        <a:pt x="823738" y="112376"/>
                      </a:cubicBezTo>
                      <a:cubicBezTo>
                        <a:pt x="821478" y="133657"/>
                        <a:pt x="816958" y="131630"/>
                        <a:pt x="842950" y="131630"/>
                      </a:cubicBezTo>
                      <a:cubicBezTo>
                        <a:pt x="840690" y="129603"/>
                        <a:pt x="841820" y="126563"/>
                        <a:pt x="837300" y="126563"/>
                      </a:cubicBezTo>
                      <a:cubicBezTo>
                        <a:pt x="837300" y="125549"/>
                        <a:pt x="837300" y="119470"/>
                        <a:pt x="837300" y="119470"/>
                      </a:cubicBezTo>
                      <a:cubicBezTo>
                        <a:pt x="837300" y="119470"/>
                        <a:pt x="844080" y="114403"/>
                        <a:pt x="839560" y="112376"/>
                      </a:cubicBezTo>
                      <a:cubicBezTo>
                        <a:pt x="836169" y="110349"/>
                        <a:pt x="831649" y="113389"/>
                        <a:pt x="829389" y="110349"/>
                      </a:cubicBezTo>
                      <a:close/>
                      <a:moveTo>
                        <a:pt x="606755" y="25227"/>
                      </a:moveTo>
                      <a:cubicBezTo>
                        <a:pt x="604495" y="33334"/>
                        <a:pt x="603365" y="32321"/>
                        <a:pt x="601104" y="37388"/>
                      </a:cubicBezTo>
                      <a:cubicBezTo>
                        <a:pt x="602235" y="37388"/>
                        <a:pt x="610145" y="39414"/>
                        <a:pt x="614666" y="39414"/>
                      </a:cubicBezTo>
                      <a:cubicBezTo>
                        <a:pt x="614666" y="38401"/>
                        <a:pt x="614666" y="32321"/>
                        <a:pt x="614666" y="32321"/>
                      </a:cubicBezTo>
                      <a:cubicBezTo>
                        <a:pt x="613536" y="31307"/>
                        <a:pt x="606755" y="26241"/>
                        <a:pt x="606755" y="25227"/>
                      </a:cubicBezTo>
                      <a:close/>
                      <a:moveTo>
                        <a:pt x="636139" y="21174"/>
                      </a:moveTo>
                      <a:lnTo>
                        <a:pt x="633878" y="28267"/>
                      </a:lnTo>
                      <a:cubicBezTo>
                        <a:pt x="628228" y="28267"/>
                        <a:pt x="629357" y="26241"/>
                        <a:pt x="622577" y="28267"/>
                      </a:cubicBezTo>
                      <a:cubicBezTo>
                        <a:pt x="622577" y="28267"/>
                        <a:pt x="622577" y="35361"/>
                        <a:pt x="622577" y="35361"/>
                      </a:cubicBezTo>
                      <a:cubicBezTo>
                        <a:pt x="623707" y="34347"/>
                        <a:pt x="629357" y="35361"/>
                        <a:pt x="630488" y="35361"/>
                      </a:cubicBezTo>
                      <a:cubicBezTo>
                        <a:pt x="631618" y="32321"/>
                        <a:pt x="630488" y="28267"/>
                        <a:pt x="632748" y="28267"/>
                      </a:cubicBezTo>
                      <a:cubicBezTo>
                        <a:pt x="632748" y="28267"/>
                        <a:pt x="654220" y="32321"/>
                        <a:pt x="644049" y="26241"/>
                      </a:cubicBezTo>
                      <a:cubicBezTo>
                        <a:pt x="640659" y="23201"/>
                        <a:pt x="642919" y="20160"/>
                        <a:pt x="636139" y="2117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4" name="Freeform: Shape 453">
                  <a:extLst>
                    <a:ext uri="{FF2B5EF4-FFF2-40B4-BE49-F238E27FC236}">
                      <a16:creationId xmlns:a16="http://schemas.microsoft.com/office/drawing/2014/main" id="{3F43C947-E81D-4EB9-AFD3-5FE25B5DBBAB}"/>
                    </a:ext>
                  </a:extLst>
                </p:cNvPr>
                <p:cNvSpPr/>
                <p:nvPr/>
              </p:nvSpPr>
              <p:spPr>
                <a:xfrm>
                  <a:off x="7427383" y="2578478"/>
                  <a:ext cx="135614" cy="121603"/>
                </a:xfrm>
                <a:custGeom>
                  <a:avLst/>
                  <a:gdLst>
                    <a:gd name="connsiteX0" fmla="*/ 18576 w 135614"/>
                    <a:gd name="connsiteY0" fmla="*/ 13067 h 121602"/>
                    <a:gd name="connsiteX1" fmla="*/ 19707 w 135614"/>
                    <a:gd name="connsiteY1" fmla="*/ 34347 h 121602"/>
                    <a:gd name="connsiteX2" fmla="*/ 10665 w 135614"/>
                    <a:gd name="connsiteY2" fmla="*/ 50561 h 121602"/>
                    <a:gd name="connsiteX3" fmla="*/ 49089 w 135614"/>
                    <a:gd name="connsiteY3" fmla="*/ 69815 h 121602"/>
                    <a:gd name="connsiteX4" fmla="*/ 60391 w 135614"/>
                    <a:gd name="connsiteY4" fmla="*/ 86028 h 121602"/>
                    <a:gd name="connsiteX5" fmla="*/ 72822 w 135614"/>
                    <a:gd name="connsiteY5" fmla="*/ 85015 h 121602"/>
                    <a:gd name="connsiteX6" fmla="*/ 87514 w 135614"/>
                    <a:gd name="connsiteY6" fmla="*/ 89069 h 121602"/>
                    <a:gd name="connsiteX7" fmla="*/ 101075 w 135614"/>
                    <a:gd name="connsiteY7" fmla="*/ 99202 h 121602"/>
                    <a:gd name="connsiteX8" fmla="*/ 111246 w 135614"/>
                    <a:gd name="connsiteY8" fmla="*/ 115416 h 121602"/>
                    <a:gd name="connsiteX9" fmla="*/ 123677 w 135614"/>
                    <a:gd name="connsiteY9" fmla="*/ 109336 h 121602"/>
                    <a:gd name="connsiteX10" fmla="*/ 131588 w 135614"/>
                    <a:gd name="connsiteY10" fmla="*/ 103255 h 121602"/>
                    <a:gd name="connsiteX11" fmla="*/ 129328 w 135614"/>
                    <a:gd name="connsiteY11" fmla="*/ 82988 h 121602"/>
                    <a:gd name="connsiteX12" fmla="*/ 116897 w 135614"/>
                    <a:gd name="connsiteY12" fmla="*/ 81975 h 121602"/>
                    <a:gd name="connsiteX13" fmla="*/ 104466 w 135614"/>
                    <a:gd name="connsiteY13" fmla="*/ 70828 h 121602"/>
                    <a:gd name="connsiteX14" fmla="*/ 113506 w 135614"/>
                    <a:gd name="connsiteY14" fmla="*/ 61708 h 121602"/>
                    <a:gd name="connsiteX15" fmla="*/ 104466 w 135614"/>
                    <a:gd name="connsiteY15" fmla="*/ 53601 h 121602"/>
                    <a:gd name="connsiteX16" fmla="*/ 87514 w 135614"/>
                    <a:gd name="connsiteY16" fmla="*/ 45494 h 121602"/>
                    <a:gd name="connsiteX17" fmla="*/ 94294 w 135614"/>
                    <a:gd name="connsiteY17" fmla="*/ 31307 h 121602"/>
                    <a:gd name="connsiteX18" fmla="*/ 80733 w 135614"/>
                    <a:gd name="connsiteY18" fmla="*/ 22187 h 121602"/>
                    <a:gd name="connsiteX19" fmla="*/ 67171 w 135614"/>
                    <a:gd name="connsiteY19" fmla="*/ 20160 h 121602"/>
                    <a:gd name="connsiteX20" fmla="*/ 66041 w 135614"/>
                    <a:gd name="connsiteY20" fmla="*/ 10027 h 121602"/>
                    <a:gd name="connsiteX21" fmla="*/ 45699 w 135614"/>
                    <a:gd name="connsiteY21" fmla="*/ 9013 h 121602"/>
                    <a:gd name="connsiteX22" fmla="*/ 18576 w 135614"/>
                    <a:gd name="connsiteY22" fmla="*/ 13067 h 121602"/>
                    <a:gd name="connsiteX23" fmla="*/ 47960 w 135614"/>
                    <a:gd name="connsiteY23" fmla="*/ 50561 h 121602"/>
                    <a:gd name="connsiteX24" fmla="*/ 69431 w 135614"/>
                    <a:gd name="connsiteY24" fmla="*/ 60695 h 121602"/>
                    <a:gd name="connsiteX25" fmla="*/ 55870 w 135614"/>
                    <a:gd name="connsiteY25" fmla="*/ 62721 h 121602"/>
                    <a:gd name="connsiteX26" fmla="*/ 47960 w 135614"/>
                    <a:gd name="connsiteY26" fmla="*/ 50561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5614" h="121602">
                      <a:moveTo>
                        <a:pt x="18576" y="13067"/>
                      </a:moveTo>
                      <a:cubicBezTo>
                        <a:pt x="18576" y="13067"/>
                        <a:pt x="29877" y="28267"/>
                        <a:pt x="19707" y="34347"/>
                      </a:cubicBezTo>
                      <a:cubicBezTo>
                        <a:pt x="10665" y="40427"/>
                        <a:pt x="16316" y="40427"/>
                        <a:pt x="10665" y="50561"/>
                      </a:cubicBezTo>
                      <a:cubicBezTo>
                        <a:pt x="5014" y="60695"/>
                        <a:pt x="40049" y="65761"/>
                        <a:pt x="49089" y="69815"/>
                      </a:cubicBezTo>
                      <a:cubicBezTo>
                        <a:pt x="62651" y="75895"/>
                        <a:pt x="60391" y="86028"/>
                        <a:pt x="60391" y="86028"/>
                      </a:cubicBezTo>
                      <a:cubicBezTo>
                        <a:pt x="60391" y="86028"/>
                        <a:pt x="64911" y="85015"/>
                        <a:pt x="72822" y="85015"/>
                      </a:cubicBezTo>
                      <a:cubicBezTo>
                        <a:pt x="80733" y="85015"/>
                        <a:pt x="87514" y="89069"/>
                        <a:pt x="87514" y="89069"/>
                      </a:cubicBezTo>
                      <a:cubicBezTo>
                        <a:pt x="87514" y="89069"/>
                        <a:pt x="90904" y="91095"/>
                        <a:pt x="101075" y="99202"/>
                      </a:cubicBezTo>
                      <a:cubicBezTo>
                        <a:pt x="111246" y="107309"/>
                        <a:pt x="111246" y="115416"/>
                        <a:pt x="111246" y="115416"/>
                      </a:cubicBezTo>
                      <a:cubicBezTo>
                        <a:pt x="111246" y="115416"/>
                        <a:pt x="115767" y="113389"/>
                        <a:pt x="123677" y="109336"/>
                      </a:cubicBezTo>
                      <a:cubicBezTo>
                        <a:pt x="131588" y="105282"/>
                        <a:pt x="131588" y="103255"/>
                        <a:pt x="131588" y="103255"/>
                      </a:cubicBezTo>
                      <a:cubicBezTo>
                        <a:pt x="131588" y="103255"/>
                        <a:pt x="125937" y="90082"/>
                        <a:pt x="129328" y="82988"/>
                      </a:cubicBezTo>
                      <a:cubicBezTo>
                        <a:pt x="130458" y="78935"/>
                        <a:pt x="122547" y="84002"/>
                        <a:pt x="116897" y="81975"/>
                      </a:cubicBezTo>
                      <a:cubicBezTo>
                        <a:pt x="110116" y="79948"/>
                        <a:pt x="104466" y="70828"/>
                        <a:pt x="104466" y="70828"/>
                      </a:cubicBezTo>
                      <a:lnTo>
                        <a:pt x="113506" y="61708"/>
                      </a:lnTo>
                      <a:cubicBezTo>
                        <a:pt x="113506" y="61708"/>
                        <a:pt x="112376" y="57654"/>
                        <a:pt x="104466" y="53601"/>
                      </a:cubicBezTo>
                      <a:cubicBezTo>
                        <a:pt x="96555" y="49548"/>
                        <a:pt x="87514" y="45494"/>
                        <a:pt x="87514" y="45494"/>
                      </a:cubicBezTo>
                      <a:cubicBezTo>
                        <a:pt x="87514" y="45494"/>
                        <a:pt x="103335" y="34347"/>
                        <a:pt x="94294" y="31307"/>
                      </a:cubicBezTo>
                      <a:cubicBezTo>
                        <a:pt x="87514" y="29281"/>
                        <a:pt x="85253" y="15093"/>
                        <a:pt x="80733" y="22187"/>
                      </a:cubicBezTo>
                      <a:cubicBezTo>
                        <a:pt x="76213" y="29281"/>
                        <a:pt x="67171" y="20160"/>
                        <a:pt x="67171" y="20160"/>
                      </a:cubicBezTo>
                      <a:lnTo>
                        <a:pt x="66041" y="10027"/>
                      </a:lnTo>
                      <a:cubicBezTo>
                        <a:pt x="66041" y="10027"/>
                        <a:pt x="51350" y="9013"/>
                        <a:pt x="45699" y="9013"/>
                      </a:cubicBezTo>
                      <a:cubicBezTo>
                        <a:pt x="40049" y="9013"/>
                        <a:pt x="18576" y="13067"/>
                        <a:pt x="18576" y="13067"/>
                      </a:cubicBezTo>
                      <a:close/>
                      <a:moveTo>
                        <a:pt x="47960" y="50561"/>
                      </a:moveTo>
                      <a:cubicBezTo>
                        <a:pt x="62651" y="51574"/>
                        <a:pt x="59261" y="54614"/>
                        <a:pt x="69431" y="60695"/>
                      </a:cubicBezTo>
                      <a:cubicBezTo>
                        <a:pt x="64911" y="61708"/>
                        <a:pt x="61520" y="60695"/>
                        <a:pt x="55870" y="62721"/>
                      </a:cubicBezTo>
                      <a:cubicBezTo>
                        <a:pt x="53610" y="59681"/>
                        <a:pt x="42309" y="49548"/>
                        <a:pt x="47960" y="5056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5" name="Freeform: Shape 454">
                  <a:extLst>
                    <a:ext uri="{FF2B5EF4-FFF2-40B4-BE49-F238E27FC236}">
                      <a16:creationId xmlns:a16="http://schemas.microsoft.com/office/drawing/2014/main" id="{C511AC8A-E536-4B3F-B135-AB7F56AF62EA}"/>
                    </a:ext>
                  </a:extLst>
                </p:cNvPr>
                <p:cNvSpPr/>
                <p:nvPr/>
              </p:nvSpPr>
              <p:spPr>
                <a:xfrm>
                  <a:off x="3296279" y="5125044"/>
                  <a:ext cx="711975" cy="1479501"/>
                </a:xfrm>
                <a:custGeom>
                  <a:avLst/>
                  <a:gdLst>
                    <a:gd name="connsiteX0" fmla="*/ 394293 w 711975"/>
                    <a:gd name="connsiteY0" fmla="*/ 15094 h 1479500"/>
                    <a:gd name="connsiteX1" fmla="*/ 342307 w 711975"/>
                    <a:gd name="connsiteY1" fmla="*/ 15094 h 1479500"/>
                    <a:gd name="connsiteX2" fmla="*/ 328746 w 711975"/>
                    <a:gd name="connsiteY2" fmla="*/ 21174 h 1479500"/>
                    <a:gd name="connsiteX3" fmla="*/ 316314 w 711975"/>
                    <a:gd name="connsiteY3" fmla="*/ 35361 h 1479500"/>
                    <a:gd name="connsiteX4" fmla="*/ 305013 w 711975"/>
                    <a:gd name="connsiteY4" fmla="*/ 17120 h 1479500"/>
                    <a:gd name="connsiteX5" fmla="*/ 281281 w 711975"/>
                    <a:gd name="connsiteY5" fmla="*/ 17120 h 1479500"/>
                    <a:gd name="connsiteX6" fmla="*/ 249637 w 711975"/>
                    <a:gd name="connsiteY6" fmla="*/ 9013 h 1479500"/>
                    <a:gd name="connsiteX7" fmla="*/ 222514 w 711975"/>
                    <a:gd name="connsiteY7" fmla="*/ 28267 h 1479500"/>
                    <a:gd name="connsiteX8" fmla="*/ 231556 w 711975"/>
                    <a:gd name="connsiteY8" fmla="*/ 54614 h 1479500"/>
                    <a:gd name="connsiteX9" fmla="*/ 237206 w 711975"/>
                    <a:gd name="connsiteY9" fmla="*/ 88055 h 1479500"/>
                    <a:gd name="connsiteX10" fmla="*/ 213474 w 711975"/>
                    <a:gd name="connsiteY10" fmla="*/ 107309 h 1479500"/>
                    <a:gd name="connsiteX11" fmla="*/ 189741 w 711975"/>
                    <a:gd name="connsiteY11" fmla="*/ 126563 h 1479500"/>
                    <a:gd name="connsiteX12" fmla="*/ 189741 w 711975"/>
                    <a:gd name="connsiteY12" fmla="*/ 165070 h 1479500"/>
                    <a:gd name="connsiteX13" fmla="*/ 194261 w 711975"/>
                    <a:gd name="connsiteY13" fmla="*/ 190404 h 1479500"/>
                    <a:gd name="connsiteX14" fmla="*/ 190871 w 711975"/>
                    <a:gd name="connsiteY14" fmla="*/ 211685 h 1479500"/>
                    <a:gd name="connsiteX15" fmla="*/ 186351 w 711975"/>
                    <a:gd name="connsiteY15" fmla="*/ 240059 h 1479500"/>
                    <a:gd name="connsiteX16" fmla="*/ 170529 w 711975"/>
                    <a:gd name="connsiteY16" fmla="*/ 266406 h 1479500"/>
                    <a:gd name="connsiteX17" fmla="*/ 150187 w 711975"/>
                    <a:gd name="connsiteY17" fmla="*/ 297820 h 1479500"/>
                    <a:gd name="connsiteX18" fmla="*/ 144536 w 711975"/>
                    <a:gd name="connsiteY18" fmla="*/ 342408 h 1479500"/>
                    <a:gd name="connsiteX19" fmla="*/ 144536 w 711975"/>
                    <a:gd name="connsiteY19" fmla="*/ 373822 h 1479500"/>
                    <a:gd name="connsiteX20" fmla="*/ 135495 w 711975"/>
                    <a:gd name="connsiteY20" fmla="*/ 402196 h 1479500"/>
                    <a:gd name="connsiteX21" fmla="*/ 132105 w 711975"/>
                    <a:gd name="connsiteY21" fmla="*/ 437664 h 1479500"/>
                    <a:gd name="connsiteX22" fmla="*/ 130975 w 711975"/>
                    <a:gd name="connsiteY22" fmla="*/ 467051 h 1479500"/>
                    <a:gd name="connsiteX23" fmla="*/ 126454 w 711975"/>
                    <a:gd name="connsiteY23" fmla="*/ 492384 h 1479500"/>
                    <a:gd name="connsiteX24" fmla="*/ 127584 w 711975"/>
                    <a:gd name="connsiteY24" fmla="*/ 522785 h 1479500"/>
                    <a:gd name="connsiteX25" fmla="*/ 111763 w 711975"/>
                    <a:gd name="connsiteY25" fmla="*/ 569400 h 1479500"/>
                    <a:gd name="connsiteX26" fmla="*/ 110633 w 711975"/>
                    <a:gd name="connsiteY26" fmla="*/ 594734 h 1479500"/>
                    <a:gd name="connsiteX27" fmla="*/ 111763 w 711975"/>
                    <a:gd name="connsiteY27" fmla="*/ 616014 h 1479500"/>
                    <a:gd name="connsiteX28" fmla="*/ 95941 w 711975"/>
                    <a:gd name="connsiteY28" fmla="*/ 622095 h 1479500"/>
                    <a:gd name="connsiteX29" fmla="*/ 81249 w 711975"/>
                    <a:gd name="connsiteY29" fmla="*/ 645402 h 1479500"/>
                    <a:gd name="connsiteX30" fmla="*/ 77859 w 711975"/>
                    <a:gd name="connsiteY30" fmla="*/ 675802 h 1479500"/>
                    <a:gd name="connsiteX31" fmla="*/ 86900 w 711975"/>
                    <a:gd name="connsiteY31" fmla="*/ 701136 h 1479500"/>
                    <a:gd name="connsiteX32" fmla="*/ 76729 w 711975"/>
                    <a:gd name="connsiteY32" fmla="*/ 711270 h 1479500"/>
                    <a:gd name="connsiteX33" fmla="*/ 64298 w 711975"/>
                    <a:gd name="connsiteY33" fmla="*/ 759911 h 1479500"/>
                    <a:gd name="connsiteX34" fmla="*/ 52996 w 711975"/>
                    <a:gd name="connsiteY34" fmla="*/ 783218 h 1479500"/>
                    <a:gd name="connsiteX35" fmla="*/ 57517 w 711975"/>
                    <a:gd name="connsiteY35" fmla="*/ 813619 h 1479500"/>
                    <a:gd name="connsiteX36" fmla="*/ 58647 w 711975"/>
                    <a:gd name="connsiteY36" fmla="*/ 843006 h 1479500"/>
                    <a:gd name="connsiteX37" fmla="*/ 68818 w 711975"/>
                    <a:gd name="connsiteY37" fmla="*/ 854153 h 1479500"/>
                    <a:gd name="connsiteX38" fmla="*/ 68818 w 711975"/>
                    <a:gd name="connsiteY38" fmla="*/ 882527 h 1479500"/>
                    <a:gd name="connsiteX39" fmla="*/ 56387 w 711975"/>
                    <a:gd name="connsiteY39" fmla="*/ 916981 h 1479500"/>
                    <a:gd name="connsiteX40" fmla="*/ 68818 w 711975"/>
                    <a:gd name="connsiteY40" fmla="*/ 941302 h 1479500"/>
                    <a:gd name="connsiteX41" fmla="*/ 69948 w 711975"/>
                    <a:gd name="connsiteY41" fmla="*/ 961569 h 1479500"/>
                    <a:gd name="connsiteX42" fmla="*/ 74469 w 711975"/>
                    <a:gd name="connsiteY42" fmla="*/ 985889 h 1479500"/>
                    <a:gd name="connsiteX43" fmla="*/ 67688 w 711975"/>
                    <a:gd name="connsiteY43" fmla="*/ 1006156 h 1479500"/>
                    <a:gd name="connsiteX44" fmla="*/ 71078 w 711975"/>
                    <a:gd name="connsiteY44" fmla="*/ 1019330 h 1479500"/>
                    <a:gd name="connsiteX45" fmla="*/ 59777 w 711975"/>
                    <a:gd name="connsiteY45" fmla="*/ 1033517 h 1479500"/>
                    <a:gd name="connsiteX46" fmla="*/ 63168 w 711975"/>
                    <a:gd name="connsiteY46" fmla="*/ 1052771 h 1479500"/>
                    <a:gd name="connsiteX47" fmla="*/ 64298 w 711975"/>
                    <a:gd name="connsiteY47" fmla="*/ 1077091 h 1479500"/>
                    <a:gd name="connsiteX48" fmla="*/ 59777 w 711975"/>
                    <a:gd name="connsiteY48" fmla="*/ 1106479 h 1479500"/>
                    <a:gd name="connsiteX49" fmla="*/ 58647 w 711975"/>
                    <a:gd name="connsiteY49" fmla="*/ 1119653 h 1479500"/>
                    <a:gd name="connsiteX50" fmla="*/ 47346 w 711975"/>
                    <a:gd name="connsiteY50" fmla="*/ 1132826 h 1479500"/>
                    <a:gd name="connsiteX51" fmla="*/ 46216 w 711975"/>
                    <a:gd name="connsiteY51" fmla="*/ 1156133 h 1479500"/>
                    <a:gd name="connsiteX52" fmla="*/ 40565 w 711975"/>
                    <a:gd name="connsiteY52" fmla="*/ 1179441 h 1479500"/>
                    <a:gd name="connsiteX53" fmla="*/ 14572 w 711975"/>
                    <a:gd name="connsiteY53" fmla="*/ 1199708 h 1479500"/>
                    <a:gd name="connsiteX54" fmla="*/ 19093 w 711975"/>
                    <a:gd name="connsiteY54" fmla="*/ 1229095 h 1479500"/>
                    <a:gd name="connsiteX55" fmla="*/ 10052 w 711975"/>
                    <a:gd name="connsiteY55" fmla="*/ 1253416 h 1479500"/>
                    <a:gd name="connsiteX56" fmla="*/ 17963 w 711975"/>
                    <a:gd name="connsiteY56" fmla="*/ 1274696 h 1479500"/>
                    <a:gd name="connsiteX57" fmla="*/ 34915 w 711975"/>
                    <a:gd name="connsiteY57" fmla="*/ 1270643 h 1479500"/>
                    <a:gd name="connsiteX58" fmla="*/ 34915 w 711975"/>
                    <a:gd name="connsiteY58" fmla="*/ 1292936 h 1479500"/>
                    <a:gd name="connsiteX59" fmla="*/ 39435 w 711975"/>
                    <a:gd name="connsiteY59" fmla="*/ 1317257 h 1479500"/>
                    <a:gd name="connsiteX60" fmla="*/ 68818 w 711975"/>
                    <a:gd name="connsiteY60" fmla="*/ 1349685 h 1479500"/>
                    <a:gd name="connsiteX61" fmla="*/ 115153 w 711975"/>
                    <a:gd name="connsiteY61" fmla="*/ 1346645 h 1479500"/>
                    <a:gd name="connsiteX62" fmla="*/ 176180 w 711975"/>
                    <a:gd name="connsiteY62" fmla="*/ 1352725 h 1479500"/>
                    <a:gd name="connsiteX63" fmla="*/ 167139 w 711975"/>
                    <a:gd name="connsiteY63" fmla="*/ 1331444 h 1479500"/>
                    <a:gd name="connsiteX64" fmla="*/ 147927 w 711975"/>
                    <a:gd name="connsiteY64" fmla="*/ 1331444 h 1479500"/>
                    <a:gd name="connsiteX65" fmla="*/ 153577 w 711975"/>
                    <a:gd name="connsiteY65" fmla="*/ 1305097 h 1479500"/>
                    <a:gd name="connsiteX66" fmla="*/ 145666 w 711975"/>
                    <a:gd name="connsiteY66" fmla="*/ 1307124 h 1479500"/>
                    <a:gd name="connsiteX67" fmla="*/ 145666 w 711975"/>
                    <a:gd name="connsiteY67" fmla="*/ 1302057 h 1479500"/>
                    <a:gd name="connsiteX68" fmla="*/ 156968 w 711975"/>
                    <a:gd name="connsiteY68" fmla="*/ 1296990 h 1479500"/>
                    <a:gd name="connsiteX69" fmla="*/ 168269 w 711975"/>
                    <a:gd name="connsiteY69" fmla="*/ 1277736 h 1479500"/>
                    <a:gd name="connsiteX70" fmla="*/ 168269 w 711975"/>
                    <a:gd name="connsiteY70" fmla="*/ 1275710 h 1479500"/>
                    <a:gd name="connsiteX71" fmla="*/ 179570 w 711975"/>
                    <a:gd name="connsiteY71" fmla="*/ 1273683 h 1479500"/>
                    <a:gd name="connsiteX72" fmla="*/ 179570 w 711975"/>
                    <a:gd name="connsiteY72" fmla="*/ 1263549 h 1479500"/>
                    <a:gd name="connsiteX73" fmla="*/ 166008 w 711975"/>
                    <a:gd name="connsiteY73" fmla="*/ 1258483 h 1479500"/>
                    <a:gd name="connsiteX74" fmla="*/ 166008 w 711975"/>
                    <a:gd name="connsiteY74" fmla="*/ 1248349 h 1479500"/>
                    <a:gd name="connsiteX75" fmla="*/ 171659 w 711975"/>
                    <a:gd name="connsiteY75" fmla="*/ 1241255 h 1479500"/>
                    <a:gd name="connsiteX76" fmla="*/ 179570 w 711975"/>
                    <a:gd name="connsiteY76" fmla="*/ 1246322 h 1479500"/>
                    <a:gd name="connsiteX77" fmla="*/ 185221 w 711975"/>
                    <a:gd name="connsiteY77" fmla="*/ 1260509 h 1479500"/>
                    <a:gd name="connsiteX78" fmla="*/ 210083 w 711975"/>
                    <a:gd name="connsiteY78" fmla="*/ 1248349 h 1479500"/>
                    <a:gd name="connsiteX79" fmla="*/ 210083 w 711975"/>
                    <a:gd name="connsiteY79" fmla="*/ 1226055 h 1479500"/>
                    <a:gd name="connsiteX80" fmla="*/ 202172 w 711975"/>
                    <a:gd name="connsiteY80" fmla="*/ 1228082 h 1479500"/>
                    <a:gd name="connsiteX81" fmla="*/ 202172 w 711975"/>
                    <a:gd name="connsiteY81" fmla="*/ 1223015 h 1479500"/>
                    <a:gd name="connsiteX82" fmla="*/ 227035 w 711975"/>
                    <a:gd name="connsiteY82" fmla="*/ 1198694 h 1479500"/>
                    <a:gd name="connsiteX83" fmla="*/ 229295 w 711975"/>
                    <a:gd name="connsiteY83" fmla="*/ 1186534 h 1479500"/>
                    <a:gd name="connsiteX84" fmla="*/ 237206 w 711975"/>
                    <a:gd name="connsiteY84" fmla="*/ 1186534 h 1479500"/>
                    <a:gd name="connsiteX85" fmla="*/ 248507 w 711975"/>
                    <a:gd name="connsiteY85" fmla="*/ 1174374 h 1479500"/>
                    <a:gd name="connsiteX86" fmla="*/ 256418 w 711975"/>
                    <a:gd name="connsiteY86" fmla="*/ 1174374 h 1479500"/>
                    <a:gd name="connsiteX87" fmla="*/ 281281 w 711975"/>
                    <a:gd name="connsiteY87" fmla="*/ 1155120 h 1479500"/>
                    <a:gd name="connsiteX88" fmla="*/ 267719 w 711975"/>
                    <a:gd name="connsiteY88" fmla="*/ 1144987 h 1479500"/>
                    <a:gd name="connsiteX89" fmla="*/ 269980 w 711975"/>
                    <a:gd name="connsiteY89" fmla="*/ 1118639 h 1479500"/>
                    <a:gd name="connsiteX90" fmla="*/ 240596 w 711975"/>
                    <a:gd name="connsiteY90" fmla="*/ 1111546 h 1479500"/>
                    <a:gd name="connsiteX91" fmla="*/ 232686 w 711975"/>
                    <a:gd name="connsiteY91" fmla="*/ 1099385 h 1479500"/>
                    <a:gd name="connsiteX92" fmla="*/ 221385 w 711975"/>
                    <a:gd name="connsiteY92" fmla="*/ 1097359 h 1479500"/>
                    <a:gd name="connsiteX93" fmla="*/ 213474 w 711975"/>
                    <a:gd name="connsiteY93" fmla="*/ 1080131 h 1479500"/>
                    <a:gd name="connsiteX94" fmla="*/ 215734 w 711975"/>
                    <a:gd name="connsiteY94" fmla="*/ 1055811 h 1479500"/>
                    <a:gd name="connsiteX95" fmla="*/ 221385 w 711975"/>
                    <a:gd name="connsiteY95" fmla="*/ 1055811 h 1479500"/>
                    <a:gd name="connsiteX96" fmla="*/ 223645 w 711975"/>
                    <a:gd name="connsiteY96" fmla="*/ 1045678 h 1479500"/>
                    <a:gd name="connsiteX97" fmla="*/ 237206 w 711975"/>
                    <a:gd name="connsiteY97" fmla="*/ 1038584 h 1479500"/>
                    <a:gd name="connsiteX98" fmla="*/ 285801 w 711975"/>
                    <a:gd name="connsiteY98" fmla="*/ 1019330 h 1479500"/>
                    <a:gd name="connsiteX99" fmla="*/ 285801 w 711975"/>
                    <a:gd name="connsiteY99" fmla="*/ 1007170 h 1479500"/>
                    <a:gd name="connsiteX100" fmla="*/ 297102 w 711975"/>
                    <a:gd name="connsiteY100" fmla="*/ 984876 h 1479500"/>
                    <a:gd name="connsiteX101" fmla="*/ 294842 w 711975"/>
                    <a:gd name="connsiteY101" fmla="*/ 965622 h 1479500"/>
                    <a:gd name="connsiteX102" fmla="*/ 314054 w 711975"/>
                    <a:gd name="connsiteY102" fmla="*/ 924075 h 1479500"/>
                    <a:gd name="connsiteX103" fmla="*/ 327616 w 711975"/>
                    <a:gd name="connsiteY103" fmla="*/ 922048 h 1479500"/>
                    <a:gd name="connsiteX104" fmla="*/ 327616 w 711975"/>
                    <a:gd name="connsiteY104" fmla="*/ 911914 h 1479500"/>
                    <a:gd name="connsiteX105" fmla="*/ 308404 w 711975"/>
                    <a:gd name="connsiteY105" fmla="*/ 911914 h 1479500"/>
                    <a:gd name="connsiteX106" fmla="*/ 308404 w 711975"/>
                    <a:gd name="connsiteY106" fmla="*/ 909888 h 1479500"/>
                    <a:gd name="connsiteX107" fmla="*/ 333266 w 711975"/>
                    <a:gd name="connsiteY107" fmla="*/ 904821 h 1479500"/>
                    <a:gd name="connsiteX108" fmla="*/ 338917 w 711975"/>
                    <a:gd name="connsiteY108" fmla="*/ 909888 h 1479500"/>
                    <a:gd name="connsiteX109" fmla="*/ 338917 w 711975"/>
                    <a:gd name="connsiteY109" fmla="*/ 920021 h 1479500"/>
                    <a:gd name="connsiteX110" fmla="*/ 360389 w 711975"/>
                    <a:gd name="connsiteY110" fmla="*/ 905835 h 1479500"/>
                    <a:gd name="connsiteX111" fmla="*/ 360389 w 711975"/>
                    <a:gd name="connsiteY111" fmla="*/ 895701 h 1479500"/>
                    <a:gd name="connsiteX112" fmla="*/ 354738 w 711975"/>
                    <a:gd name="connsiteY112" fmla="*/ 888607 h 1479500"/>
                    <a:gd name="connsiteX113" fmla="*/ 341177 w 711975"/>
                    <a:gd name="connsiteY113" fmla="*/ 888607 h 1479500"/>
                    <a:gd name="connsiteX114" fmla="*/ 341177 w 711975"/>
                    <a:gd name="connsiteY114" fmla="*/ 898741 h 1479500"/>
                    <a:gd name="connsiteX115" fmla="*/ 333266 w 711975"/>
                    <a:gd name="connsiteY115" fmla="*/ 898741 h 1479500"/>
                    <a:gd name="connsiteX116" fmla="*/ 319705 w 711975"/>
                    <a:gd name="connsiteY116" fmla="*/ 888607 h 1479500"/>
                    <a:gd name="connsiteX117" fmla="*/ 311794 w 711975"/>
                    <a:gd name="connsiteY117" fmla="*/ 888607 h 1479500"/>
                    <a:gd name="connsiteX118" fmla="*/ 311794 w 711975"/>
                    <a:gd name="connsiteY118" fmla="*/ 862260 h 1479500"/>
                    <a:gd name="connsiteX119" fmla="*/ 298233 w 711975"/>
                    <a:gd name="connsiteY119" fmla="*/ 862260 h 1479500"/>
                    <a:gd name="connsiteX120" fmla="*/ 295972 w 711975"/>
                    <a:gd name="connsiteY120" fmla="*/ 857193 h 1479500"/>
                    <a:gd name="connsiteX121" fmla="*/ 307273 w 711975"/>
                    <a:gd name="connsiteY121" fmla="*/ 830846 h 1479500"/>
                    <a:gd name="connsiteX122" fmla="*/ 318575 w 711975"/>
                    <a:gd name="connsiteY122" fmla="*/ 825779 h 1479500"/>
                    <a:gd name="connsiteX123" fmla="*/ 320835 w 711975"/>
                    <a:gd name="connsiteY123" fmla="*/ 832873 h 1479500"/>
                    <a:gd name="connsiteX124" fmla="*/ 332136 w 711975"/>
                    <a:gd name="connsiteY124" fmla="*/ 832873 h 1479500"/>
                    <a:gd name="connsiteX125" fmla="*/ 361519 w 711975"/>
                    <a:gd name="connsiteY125" fmla="*/ 850100 h 1479500"/>
                    <a:gd name="connsiteX126" fmla="*/ 382991 w 711975"/>
                    <a:gd name="connsiteY126" fmla="*/ 843006 h 1479500"/>
                    <a:gd name="connsiteX127" fmla="*/ 382991 w 711975"/>
                    <a:gd name="connsiteY127" fmla="*/ 835913 h 1479500"/>
                    <a:gd name="connsiteX128" fmla="*/ 398813 w 711975"/>
                    <a:gd name="connsiteY128" fmla="*/ 825779 h 1479500"/>
                    <a:gd name="connsiteX129" fmla="*/ 398813 w 711975"/>
                    <a:gd name="connsiteY129" fmla="*/ 779165 h 1479500"/>
                    <a:gd name="connsiteX130" fmla="*/ 401073 w 711975"/>
                    <a:gd name="connsiteY130" fmla="*/ 779165 h 1479500"/>
                    <a:gd name="connsiteX131" fmla="*/ 406724 w 711975"/>
                    <a:gd name="connsiteY131" fmla="*/ 761938 h 1479500"/>
                    <a:gd name="connsiteX132" fmla="*/ 390902 w 711975"/>
                    <a:gd name="connsiteY132" fmla="*/ 751804 h 1479500"/>
                    <a:gd name="connsiteX133" fmla="*/ 390902 w 711975"/>
                    <a:gd name="connsiteY133" fmla="*/ 739644 h 1479500"/>
                    <a:gd name="connsiteX134" fmla="*/ 396553 w 711975"/>
                    <a:gd name="connsiteY134" fmla="*/ 734577 h 1479500"/>
                    <a:gd name="connsiteX135" fmla="*/ 402204 w 711975"/>
                    <a:gd name="connsiteY135" fmla="*/ 734577 h 1479500"/>
                    <a:gd name="connsiteX136" fmla="*/ 413505 w 711975"/>
                    <a:gd name="connsiteY136" fmla="*/ 748764 h 1479500"/>
                    <a:gd name="connsiteX137" fmla="*/ 415765 w 711975"/>
                    <a:gd name="connsiteY137" fmla="*/ 741671 h 1479500"/>
                    <a:gd name="connsiteX138" fmla="*/ 427066 w 711975"/>
                    <a:gd name="connsiteY138" fmla="*/ 741671 h 1479500"/>
                    <a:gd name="connsiteX139" fmla="*/ 451929 w 711975"/>
                    <a:gd name="connsiteY139" fmla="*/ 734577 h 1479500"/>
                    <a:gd name="connsiteX140" fmla="*/ 484702 w 711975"/>
                    <a:gd name="connsiteY140" fmla="*/ 734577 h 1479500"/>
                    <a:gd name="connsiteX141" fmla="*/ 509565 w 711975"/>
                    <a:gd name="connsiteY141" fmla="*/ 729510 h 1479500"/>
                    <a:gd name="connsiteX142" fmla="*/ 511825 w 711975"/>
                    <a:gd name="connsiteY142" fmla="*/ 724443 h 1479500"/>
                    <a:gd name="connsiteX143" fmla="*/ 546859 w 711975"/>
                    <a:gd name="connsiteY143" fmla="*/ 717350 h 1479500"/>
                    <a:gd name="connsiteX144" fmla="*/ 601104 w 711975"/>
                    <a:gd name="connsiteY144" fmla="*/ 632228 h 1479500"/>
                    <a:gd name="connsiteX145" fmla="*/ 598844 w 711975"/>
                    <a:gd name="connsiteY145" fmla="*/ 627161 h 1479500"/>
                    <a:gd name="connsiteX146" fmla="*/ 579632 w 711975"/>
                    <a:gd name="connsiteY146" fmla="*/ 622095 h 1479500"/>
                    <a:gd name="connsiteX147" fmla="*/ 577372 w 711975"/>
                    <a:gd name="connsiteY147" fmla="*/ 617028 h 1479500"/>
                    <a:gd name="connsiteX148" fmla="*/ 577372 w 711975"/>
                    <a:gd name="connsiteY148" fmla="*/ 615001 h 1479500"/>
                    <a:gd name="connsiteX149" fmla="*/ 571722 w 711975"/>
                    <a:gd name="connsiteY149" fmla="*/ 615001 h 1479500"/>
                    <a:gd name="connsiteX150" fmla="*/ 569461 w 711975"/>
                    <a:gd name="connsiteY150" fmla="*/ 600814 h 1479500"/>
                    <a:gd name="connsiteX151" fmla="*/ 577372 w 711975"/>
                    <a:gd name="connsiteY151" fmla="*/ 595747 h 1479500"/>
                    <a:gd name="connsiteX152" fmla="*/ 577372 w 711975"/>
                    <a:gd name="connsiteY152" fmla="*/ 588653 h 1479500"/>
                    <a:gd name="connsiteX153" fmla="*/ 561550 w 711975"/>
                    <a:gd name="connsiteY153" fmla="*/ 571427 h 1479500"/>
                    <a:gd name="connsiteX154" fmla="*/ 545729 w 711975"/>
                    <a:gd name="connsiteY154" fmla="*/ 561293 h 1479500"/>
                    <a:gd name="connsiteX155" fmla="*/ 540078 w 711975"/>
                    <a:gd name="connsiteY155" fmla="*/ 544066 h 1479500"/>
                    <a:gd name="connsiteX156" fmla="*/ 532167 w 711975"/>
                    <a:gd name="connsiteY156" fmla="*/ 542039 h 1479500"/>
                    <a:gd name="connsiteX157" fmla="*/ 534427 w 711975"/>
                    <a:gd name="connsiteY157" fmla="*/ 531906 h 1479500"/>
                    <a:gd name="connsiteX158" fmla="*/ 528777 w 711975"/>
                    <a:gd name="connsiteY158" fmla="*/ 519745 h 1479500"/>
                    <a:gd name="connsiteX159" fmla="*/ 536688 w 711975"/>
                    <a:gd name="connsiteY159" fmla="*/ 517718 h 1479500"/>
                    <a:gd name="connsiteX160" fmla="*/ 538948 w 711975"/>
                    <a:gd name="connsiteY160" fmla="*/ 479211 h 1479500"/>
                    <a:gd name="connsiteX161" fmla="*/ 541208 w 711975"/>
                    <a:gd name="connsiteY161" fmla="*/ 479211 h 1479500"/>
                    <a:gd name="connsiteX162" fmla="*/ 542338 w 711975"/>
                    <a:gd name="connsiteY162" fmla="*/ 453877 h 1479500"/>
                    <a:gd name="connsiteX163" fmla="*/ 549119 w 711975"/>
                    <a:gd name="connsiteY163" fmla="*/ 425503 h 1479500"/>
                    <a:gd name="connsiteX164" fmla="*/ 558160 w 711975"/>
                    <a:gd name="connsiteY164" fmla="*/ 400169 h 1479500"/>
                    <a:gd name="connsiteX165" fmla="*/ 567201 w 711975"/>
                    <a:gd name="connsiteY165" fmla="*/ 375848 h 1479500"/>
                    <a:gd name="connsiteX166" fmla="*/ 572851 w 711975"/>
                    <a:gd name="connsiteY166" fmla="*/ 351528 h 1479500"/>
                    <a:gd name="connsiteX167" fmla="*/ 590933 w 711975"/>
                    <a:gd name="connsiteY167" fmla="*/ 336328 h 1479500"/>
                    <a:gd name="connsiteX168" fmla="*/ 602235 w 711975"/>
                    <a:gd name="connsiteY168" fmla="*/ 310994 h 1479500"/>
                    <a:gd name="connsiteX169" fmla="*/ 625967 w 711975"/>
                    <a:gd name="connsiteY169" fmla="*/ 294780 h 1479500"/>
                    <a:gd name="connsiteX170" fmla="*/ 641789 w 711975"/>
                    <a:gd name="connsiteY170" fmla="*/ 280593 h 1479500"/>
                    <a:gd name="connsiteX171" fmla="*/ 659871 w 711975"/>
                    <a:gd name="connsiteY171" fmla="*/ 259313 h 1479500"/>
                    <a:gd name="connsiteX172" fmla="*/ 689254 w 711975"/>
                    <a:gd name="connsiteY172" fmla="*/ 246139 h 1479500"/>
                    <a:gd name="connsiteX173" fmla="*/ 701685 w 711975"/>
                    <a:gd name="connsiteY173" fmla="*/ 234992 h 1479500"/>
                    <a:gd name="connsiteX174" fmla="*/ 698295 w 711975"/>
                    <a:gd name="connsiteY174" fmla="*/ 201551 h 1479500"/>
                    <a:gd name="connsiteX175" fmla="*/ 697165 w 711975"/>
                    <a:gd name="connsiteY175" fmla="*/ 173177 h 1479500"/>
                    <a:gd name="connsiteX176" fmla="*/ 684734 w 711975"/>
                    <a:gd name="connsiteY176" fmla="*/ 174191 h 1479500"/>
                    <a:gd name="connsiteX177" fmla="*/ 666652 w 711975"/>
                    <a:gd name="connsiteY177" fmla="*/ 170137 h 1479500"/>
                    <a:gd name="connsiteX178" fmla="*/ 661001 w 711975"/>
                    <a:gd name="connsiteY178" fmla="*/ 188378 h 1479500"/>
                    <a:gd name="connsiteX179" fmla="*/ 657610 w 711975"/>
                    <a:gd name="connsiteY179" fmla="*/ 218778 h 1479500"/>
                    <a:gd name="connsiteX180" fmla="*/ 639529 w 711975"/>
                    <a:gd name="connsiteY180" fmla="*/ 238032 h 1479500"/>
                    <a:gd name="connsiteX181" fmla="*/ 635008 w 711975"/>
                    <a:gd name="connsiteY181" fmla="*/ 245126 h 1479500"/>
                    <a:gd name="connsiteX182" fmla="*/ 614666 w 711975"/>
                    <a:gd name="connsiteY182" fmla="*/ 247152 h 1479500"/>
                    <a:gd name="connsiteX183" fmla="*/ 585283 w 711975"/>
                    <a:gd name="connsiteY183" fmla="*/ 244112 h 1479500"/>
                    <a:gd name="connsiteX184" fmla="*/ 561550 w 711975"/>
                    <a:gd name="connsiteY184" fmla="*/ 241072 h 1479500"/>
                    <a:gd name="connsiteX185" fmla="*/ 535558 w 711975"/>
                    <a:gd name="connsiteY185" fmla="*/ 237019 h 1479500"/>
                    <a:gd name="connsiteX186" fmla="*/ 523126 w 711975"/>
                    <a:gd name="connsiteY186" fmla="*/ 236005 h 1479500"/>
                    <a:gd name="connsiteX187" fmla="*/ 537818 w 711975"/>
                    <a:gd name="connsiteY187" fmla="*/ 211685 h 1479500"/>
                    <a:gd name="connsiteX188" fmla="*/ 553640 w 711975"/>
                    <a:gd name="connsiteY188" fmla="*/ 181284 h 1479500"/>
                    <a:gd name="connsiteX189" fmla="*/ 552509 w 711975"/>
                    <a:gd name="connsiteY189" fmla="*/ 156964 h 1479500"/>
                    <a:gd name="connsiteX190" fmla="*/ 529907 w 711975"/>
                    <a:gd name="connsiteY190" fmla="*/ 133657 h 1479500"/>
                    <a:gd name="connsiteX191" fmla="*/ 515216 w 711975"/>
                    <a:gd name="connsiteY191" fmla="*/ 122510 h 1479500"/>
                    <a:gd name="connsiteX192" fmla="*/ 491483 w 711975"/>
                    <a:gd name="connsiteY192" fmla="*/ 113389 h 1479500"/>
                    <a:gd name="connsiteX193" fmla="*/ 470011 w 711975"/>
                    <a:gd name="connsiteY193" fmla="*/ 98189 h 1479500"/>
                    <a:gd name="connsiteX194" fmla="*/ 454189 w 711975"/>
                    <a:gd name="connsiteY194" fmla="*/ 74882 h 1479500"/>
                    <a:gd name="connsiteX195" fmla="*/ 439497 w 711975"/>
                    <a:gd name="connsiteY195" fmla="*/ 60695 h 1479500"/>
                    <a:gd name="connsiteX196" fmla="*/ 424806 w 711975"/>
                    <a:gd name="connsiteY196" fmla="*/ 45494 h 1479500"/>
                    <a:gd name="connsiteX197" fmla="*/ 414635 w 711975"/>
                    <a:gd name="connsiteY197" fmla="*/ 30294 h 1479500"/>
                    <a:gd name="connsiteX198" fmla="*/ 394293 w 711975"/>
                    <a:gd name="connsiteY198" fmla="*/ 15094 h 1479500"/>
                    <a:gd name="connsiteX199" fmla="*/ 201042 w 711975"/>
                    <a:gd name="connsiteY199" fmla="*/ 1468248 h 1479500"/>
                    <a:gd name="connsiteX200" fmla="*/ 205563 w 711975"/>
                    <a:gd name="connsiteY200" fmla="*/ 1468248 h 1479500"/>
                    <a:gd name="connsiteX201" fmla="*/ 215734 w 711975"/>
                    <a:gd name="connsiteY201" fmla="*/ 1471288 h 1479500"/>
                    <a:gd name="connsiteX202" fmla="*/ 223645 w 711975"/>
                    <a:gd name="connsiteY202" fmla="*/ 1473314 h 1479500"/>
                    <a:gd name="connsiteX203" fmla="*/ 224775 w 711975"/>
                    <a:gd name="connsiteY203" fmla="*/ 1471288 h 1479500"/>
                    <a:gd name="connsiteX204" fmla="*/ 236076 w 711975"/>
                    <a:gd name="connsiteY204" fmla="*/ 1478381 h 1479500"/>
                    <a:gd name="connsiteX205" fmla="*/ 255288 w 711975"/>
                    <a:gd name="connsiteY205" fmla="*/ 1476354 h 1479500"/>
                    <a:gd name="connsiteX206" fmla="*/ 257548 w 711975"/>
                    <a:gd name="connsiteY206" fmla="*/ 1471288 h 1479500"/>
                    <a:gd name="connsiteX207" fmla="*/ 282411 w 711975"/>
                    <a:gd name="connsiteY207" fmla="*/ 1471288 h 1479500"/>
                    <a:gd name="connsiteX208" fmla="*/ 284671 w 711975"/>
                    <a:gd name="connsiteY208" fmla="*/ 1473314 h 1479500"/>
                    <a:gd name="connsiteX209" fmla="*/ 290322 w 711975"/>
                    <a:gd name="connsiteY209" fmla="*/ 1463181 h 1479500"/>
                    <a:gd name="connsiteX210" fmla="*/ 255288 w 711975"/>
                    <a:gd name="connsiteY210" fmla="*/ 1453047 h 1479500"/>
                    <a:gd name="connsiteX211" fmla="*/ 239466 w 711975"/>
                    <a:gd name="connsiteY211" fmla="*/ 1453047 h 1479500"/>
                    <a:gd name="connsiteX212" fmla="*/ 225905 w 711975"/>
                    <a:gd name="connsiteY212" fmla="*/ 1438860 h 1479500"/>
                    <a:gd name="connsiteX213" fmla="*/ 212343 w 711975"/>
                    <a:gd name="connsiteY213" fmla="*/ 1433793 h 1479500"/>
                    <a:gd name="connsiteX214" fmla="*/ 206693 w 711975"/>
                    <a:gd name="connsiteY214" fmla="*/ 1421633 h 1479500"/>
                    <a:gd name="connsiteX215" fmla="*/ 195392 w 711975"/>
                    <a:gd name="connsiteY215" fmla="*/ 1416566 h 1479500"/>
                    <a:gd name="connsiteX216" fmla="*/ 179570 w 711975"/>
                    <a:gd name="connsiteY216" fmla="*/ 1392246 h 1479500"/>
                    <a:gd name="connsiteX217" fmla="*/ 177310 w 711975"/>
                    <a:gd name="connsiteY217" fmla="*/ 1392246 h 1479500"/>
                    <a:gd name="connsiteX218" fmla="*/ 185221 w 711975"/>
                    <a:gd name="connsiteY218" fmla="*/ 1385152 h 1479500"/>
                    <a:gd name="connsiteX219" fmla="*/ 173919 w 711975"/>
                    <a:gd name="connsiteY219" fmla="*/ 1365898 h 1479500"/>
                    <a:gd name="connsiteX220" fmla="*/ 168269 w 711975"/>
                    <a:gd name="connsiteY220" fmla="*/ 1363871 h 1479500"/>
                    <a:gd name="connsiteX221" fmla="*/ 177310 w 711975"/>
                    <a:gd name="connsiteY221" fmla="*/ 1472301 h 1479500"/>
                    <a:gd name="connsiteX222" fmla="*/ 201042 w 711975"/>
                    <a:gd name="connsiteY222" fmla="*/ 1468248 h 1479500"/>
                    <a:gd name="connsiteX223" fmla="*/ 327616 w 711975"/>
                    <a:gd name="connsiteY223" fmla="*/ 1453047 h 1479500"/>
                    <a:gd name="connsiteX224" fmla="*/ 325355 w 711975"/>
                    <a:gd name="connsiteY224" fmla="*/ 1458114 h 1479500"/>
                    <a:gd name="connsiteX225" fmla="*/ 333266 w 711975"/>
                    <a:gd name="connsiteY225" fmla="*/ 1470274 h 1479500"/>
                    <a:gd name="connsiteX226" fmla="*/ 338917 w 711975"/>
                    <a:gd name="connsiteY226" fmla="*/ 1465207 h 1479500"/>
                    <a:gd name="connsiteX227" fmla="*/ 346828 w 711975"/>
                    <a:gd name="connsiteY227" fmla="*/ 1463181 h 1479500"/>
                    <a:gd name="connsiteX228" fmla="*/ 333266 w 711975"/>
                    <a:gd name="connsiteY228" fmla="*/ 1458114 h 1479500"/>
                    <a:gd name="connsiteX229" fmla="*/ 327616 w 711975"/>
                    <a:gd name="connsiteY229" fmla="*/ 1453047 h 147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711975" h="1479500">
                      <a:moveTo>
                        <a:pt x="394293" y="15094"/>
                      </a:moveTo>
                      <a:lnTo>
                        <a:pt x="342307" y="15094"/>
                      </a:lnTo>
                      <a:cubicBezTo>
                        <a:pt x="342307" y="15094"/>
                        <a:pt x="336657" y="3947"/>
                        <a:pt x="328746" y="21174"/>
                      </a:cubicBezTo>
                      <a:cubicBezTo>
                        <a:pt x="318575" y="43468"/>
                        <a:pt x="319705" y="41441"/>
                        <a:pt x="316314" y="35361"/>
                      </a:cubicBezTo>
                      <a:cubicBezTo>
                        <a:pt x="314054" y="31307"/>
                        <a:pt x="305013" y="17120"/>
                        <a:pt x="305013" y="17120"/>
                      </a:cubicBezTo>
                      <a:lnTo>
                        <a:pt x="281281" y="17120"/>
                      </a:lnTo>
                      <a:cubicBezTo>
                        <a:pt x="268849" y="17120"/>
                        <a:pt x="249637" y="9013"/>
                        <a:pt x="249637" y="9013"/>
                      </a:cubicBezTo>
                      <a:lnTo>
                        <a:pt x="222514" y="28267"/>
                      </a:lnTo>
                      <a:cubicBezTo>
                        <a:pt x="222514" y="28267"/>
                        <a:pt x="217994" y="49548"/>
                        <a:pt x="231556" y="54614"/>
                      </a:cubicBezTo>
                      <a:cubicBezTo>
                        <a:pt x="243987" y="59681"/>
                        <a:pt x="240596" y="77922"/>
                        <a:pt x="237206" y="88055"/>
                      </a:cubicBezTo>
                      <a:cubicBezTo>
                        <a:pt x="233816" y="98189"/>
                        <a:pt x="216864" y="97176"/>
                        <a:pt x="213474" y="107309"/>
                      </a:cubicBezTo>
                      <a:cubicBezTo>
                        <a:pt x="208953" y="117443"/>
                        <a:pt x="190871" y="117443"/>
                        <a:pt x="189741" y="126563"/>
                      </a:cubicBezTo>
                      <a:cubicBezTo>
                        <a:pt x="188611" y="135683"/>
                        <a:pt x="188611" y="152910"/>
                        <a:pt x="189741" y="165070"/>
                      </a:cubicBezTo>
                      <a:cubicBezTo>
                        <a:pt x="190871" y="176217"/>
                        <a:pt x="204433" y="185337"/>
                        <a:pt x="194261" y="190404"/>
                      </a:cubicBezTo>
                      <a:cubicBezTo>
                        <a:pt x="184090" y="195471"/>
                        <a:pt x="188611" y="200538"/>
                        <a:pt x="190871" y="211685"/>
                      </a:cubicBezTo>
                      <a:cubicBezTo>
                        <a:pt x="194261" y="222832"/>
                        <a:pt x="190871" y="227899"/>
                        <a:pt x="186351" y="240059"/>
                      </a:cubicBezTo>
                      <a:cubicBezTo>
                        <a:pt x="181830" y="251206"/>
                        <a:pt x="177310" y="251206"/>
                        <a:pt x="170529" y="266406"/>
                      </a:cubicBezTo>
                      <a:cubicBezTo>
                        <a:pt x="163748" y="281606"/>
                        <a:pt x="152447" y="277553"/>
                        <a:pt x="150187" y="297820"/>
                      </a:cubicBezTo>
                      <a:cubicBezTo>
                        <a:pt x="147927" y="318088"/>
                        <a:pt x="144536" y="327207"/>
                        <a:pt x="144536" y="342408"/>
                      </a:cubicBezTo>
                      <a:cubicBezTo>
                        <a:pt x="144536" y="357608"/>
                        <a:pt x="150187" y="363689"/>
                        <a:pt x="144536" y="373822"/>
                      </a:cubicBezTo>
                      <a:cubicBezTo>
                        <a:pt x="138886" y="383956"/>
                        <a:pt x="135495" y="382942"/>
                        <a:pt x="135495" y="402196"/>
                      </a:cubicBezTo>
                      <a:cubicBezTo>
                        <a:pt x="135495" y="421449"/>
                        <a:pt x="130975" y="422463"/>
                        <a:pt x="132105" y="437664"/>
                      </a:cubicBezTo>
                      <a:cubicBezTo>
                        <a:pt x="133235" y="452864"/>
                        <a:pt x="137755" y="456917"/>
                        <a:pt x="130975" y="467051"/>
                      </a:cubicBezTo>
                      <a:cubicBezTo>
                        <a:pt x="124194" y="477184"/>
                        <a:pt x="121934" y="481238"/>
                        <a:pt x="126454" y="492384"/>
                      </a:cubicBezTo>
                      <a:cubicBezTo>
                        <a:pt x="130975" y="503532"/>
                        <a:pt x="127584" y="507585"/>
                        <a:pt x="127584" y="522785"/>
                      </a:cubicBezTo>
                      <a:cubicBezTo>
                        <a:pt x="127584" y="537986"/>
                        <a:pt x="117413" y="558253"/>
                        <a:pt x="111763" y="569400"/>
                      </a:cubicBezTo>
                      <a:cubicBezTo>
                        <a:pt x="106112" y="580547"/>
                        <a:pt x="107242" y="584600"/>
                        <a:pt x="110633" y="594734"/>
                      </a:cubicBezTo>
                      <a:cubicBezTo>
                        <a:pt x="114023" y="604867"/>
                        <a:pt x="116283" y="607907"/>
                        <a:pt x="111763" y="616014"/>
                      </a:cubicBezTo>
                      <a:cubicBezTo>
                        <a:pt x="107242" y="624121"/>
                        <a:pt x="95941" y="622095"/>
                        <a:pt x="95941" y="622095"/>
                      </a:cubicBezTo>
                      <a:cubicBezTo>
                        <a:pt x="95941" y="622095"/>
                        <a:pt x="80120" y="635268"/>
                        <a:pt x="81249" y="645402"/>
                      </a:cubicBezTo>
                      <a:cubicBezTo>
                        <a:pt x="82380" y="655535"/>
                        <a:pt x="80120" y="665669"/>
                        <a:pt x="77859" y="675802"/>
                      </a:cubicBezTo>
                      <a:cubicBezTo>
                        <a:pt x="76729" y="685936"/>
                        <a:pt x="86900" y="689989"/>
                        <a:pt x="86900" y="701136"/>
                      </a:cubicBezTo>
                      <a:cubicBezTo>
                        <a:pt x="86900" y="712283"/>
                        <a:pt x="85770" y="700123"/>
                        <a:pt x="76729" y="711270"/>
                      </a:cubicBezTo>
                      <a:cubicBezTo>
                        <a:pt x="67688" y="722417"/>
                        <a:pt x="65428" y="749777"/>
                        <a:pt x="64298" y="759911"/>
                      </a:cubicBezTo>
                      <a:cubicBezTo>
                        <a:pt x="63168" y="770044"/>
                        <a:pt x="64298" y="774098"/>
                        <a:pt x="52996" y="783218"/>
                      </a:cubicBezTo>
                      <a:cubicBezTo>
                        <a:pt x="41695" y="792338"/>
                        <a:pt x="57517" y="802472"/>
                        <a:pt x="57517" y="813619"/>
                      </a:cubicBezTo>
                      <a:cubicBezTo>
                        <a:pt x="57517" y="824766"/>
                        <a:pt x="48476" y="837939"/>
                        <a:pt x="58647" y="843006"/>
                      </a:cubicBezTo>
                      <a:cubicBezTo>
                        <a:pt x="68818" y="848073"/>
                        <a:pt x="68818" y="843006"/>
                        <a:pt x="68818" y="854153"/>
                      </a:cubicBezTo>
                      <a:cubicBezTo>
                        <a:pt x="68818" y="865300"/>
                        <a:pt x="69948" y="869353"/>
                        <a:pt x="68818" y="882527"/>
                      </a:cubicBezTo>
                      <a:cubicBezTo>
                        <a:pt x="67688" y="895701"/>
                        <a:pt x="51867" y="907861"/>
                        <a:pt x="56387" y="916981"/>
                      </a:cubicBezTo>
                      <a:cubicBezTo>
                        <a:pt x="60907" y="926102"/>
                        <a:pt x="72209" y="933195"/>
                        <a:pt x="68818" y="941302"/>
                      </a:cubicBezTo>
                      <a:cubicBezTo>
                        <a:pt x="65428" y="949409"/>
                        <a:pt x="69948" y="951436"/>
                        <a:pt x="69948" y="961569"/>
                      </a:cubicBezTo>
                      <a:cubicBezTo>
                        <a:pt x="69948" y="971703"/>
                        <a:pt x="80120" y="980823"/>
                        <a:pt x="74469" y="985889"/>
                      </a:cubicBezTo>
                      <a:cubicBezTo>
                        <a:pt x="68818" y="990956"/>
                        <a:pt x="65428" y="1001090"/>
                        <a:pt x="67688" y="1006156"/>
                      </a:cubicBezTo>
                      <a:cubicBezTo>
                        <a:pt x="69948" y="1011223"/>
                        <a:pt x="78989" y="1017304"/>
                        <a:pt x="71078" y="1019330"/>
                      </a:cubicBezTo>
                      <a:cubicBezTo>
                        <a:pt x="62038" y="1020344"/>
                        <a:pt x="65428" y="1030477"/>
                        <a:pt x="59777" y="1033517"/>
                      </a:cubicBezTo>
                      <a:cubicBezTo>
                        <a:pt x="54127" y="1036557"/>
                        <a:pt x="58647" y="1042638"/>
                        <a:pt x="63168" y="1052771"/>
                      </a:cubicBezTo>
                      <a:cubicBezTo>
                        <a:pt x="67688" y="1062905"/>
                        <a:pt x="67688" y="1063918"/>
                        <a:pt x="64298" y="1077091"/>
                      </a:cubicBezTo>
                      <a:cubicBezTo>
                        <a:pt x="60907" y="1090265"/>
                        <a:pt x="58647" y="1098372"/>
                        <a:pt x="59777" y="1106479"/>
                      </a:cubicBezTo>
                      <a:cubicBezTo>
                        <a:pt x="60907" y="1114586"/>
                        <a:pt x="58647" y="1119653"/>
                        <a:pt x="58647" y="1119653"/>
                      </a:cubicBezTo>
                      <a:cubicBezTo>
                        <a:pt x="58647" y="1119653"/>
                        <a:pt x="54127" y="1124719"/>
                        <a:pt x="47346" y="1132826"/>
                      </a:cubicBezTo>
                      <a:cubicBezTo>
                        <a:pt x="40565" y="1140933"/>
                        <a:pt x="43956" y="1146000"/>
                        <a:pt x="46216" y="1156133"/>
                      </a:cubicBezTo>
                      <a:cubicBezTo>
                        <a:pt x="48476" y="1166267"/>
                        <a:pt x="49606" y="1172347"/>
                        <a:pt x="40565" y="1179441"/>
                      </a:cubicBezTo>
                      <a:cubicBezTo>
                        <a:pt x="31524" y="1186534"/>
                        <a:pt x="8922" y="1185521"/>
                        <a:pt x="14572" y="1199708"/>
                      </a:cubicBezTo>
                      <a:cubicBezTo>
                        <a:pt x="20223" y="1213895"/>
                        <a:pt x="23614" y="1218961"/>
                        <a:pt x="19093" y="1229095"/>
                      </a:cubicBezTo>
                      <a:cubicBezTo>
                        <a:pt x="14572" y="1239229"/>
                        <a:pt x="10052" y="1242269"/>
                        <a:pt x="10052" y="1253416"/>
                      </a:cubicBezTo>
                      <a:cubicBezTo>
                        <a:pt x="10052" y="1264562"/>
                        <a:pt x="10052" y="1274696"/>
                        <a:pt x="17963" y="1274696"/>
                      </a:cubicBezTo>
                      <a:cubicBezTo>
                        <a:pt x="25874" y="1274696"/>
                        <a:pt x="28134" y="1261523"/>
                        <a:pt x="34915" y="1270643"/>
                      </a:cubicBezTo>
                      <a:cubicBezTo>
                        <a:pt x="41695" y="1279763"/>
                        <a:pt x="41695" y="1286856"/>
                        <a:pt x="34915" y="1292936"/>
                      </a:cubicBezTo>
                      <a:cubicBezTo>
                        <a:pt x="28134" y="1299017"/>
                        <a:pt x="33785" y="1306110"/>
                        <a:pt x="39435" y="1317257"/>
                      </a:cubicBezTo>
                      <a:cubicBezTo>
                        <a:pt x="45086" y="1328404"/>
                        <a:pt x="68818" y="1349685"/>
                        <a:pt x="68818" y="1349685"/>
                      </a:cubicBezTo>
                      <a:cubicBezTo>
                        <a:pt x="68818" y="1349685"/>
                        <a:pt x="102722" y="1346645"/>
                        <a:pt x="115153" y="1346645"/>
                      </a:cubicBezTo>
                      <a:cubicBezTo>
                        <a:pt x="127584" y="1346645"/>
                        <a:pt x="176180" y="1352725"/>
                        <a:pt x="176180" y="1352725"/>
                      </a:cubicBezTo>
                      <a:cubicBezTo>
                        <a:pt x="172789" y="1345631"/>
                        <a:pt x="171659" y="1340564"/>
                        <a:pt x="167139" y="1331444"/>
                      </a:cubicBezTo>
                      <a:cubicBezTo>
                        <a:pt x="156968" y="1331444"/>
                        <a:pt x="156968" y="1331444"/>
                        <a:pt x="147927" y="1331444"/>
                      </a:cubicBezTo>
                      <a:cubicBezTo>
                        <a:pt x="162618" y="1320297"/>
                        <a:pt x="158098" y="1322324"/>
                        <a:pt x="153577" y="1305097"/>
                      </a:cubicBezTo>
                      <a:cubicBezTo>
                        <a:pt x="151317" y="1306110"/>
                        <a:pt x="145666" y="1307124"/>
                        <a:pt x="145666" y="1307124"/>
                      </a:cubicBezTo>
                      <a:lnTo>
                        <a:pt x="145666" y="1302057"/>
                      </a:lnTo>
                      <a:cubicBezTo>
                        <a:pt x="146797" y="1300030"/>
                        <a:pt x="154707" y="1299017"/>
                        <a:pt x="156968" y="1296990"/>
                      </a:cubicBezTo>
                      <a:cubicBezTo>
                        <a:pt x="162618" y="1287870"/>
                        <a:pt x="156968" y="1282803"/>
                        <a:pt x="168269" y="1277736"/>
                      </a:cubicBezTo>
                      <a:lnTo>
                        <a:pt x="168269" y="1275710"/>
                      </a:lnTo>
                      <a:cubicBezTo>
                        <a:pt x="170529" y="1273683"/>
                        <a:pt x="176180" y="1274696"/>
                        <a:pt x="179570" y="1273683"/>
                      </a:cubicBezTo>
                      <a:cubicBezTo>
                        <a:pt x="178440" y="1272669"/>
                        <a:pt x="180700" y="1265576"/>
                        <a:pt x="179570" y="1263549"/>
                      </a:cubicBezTo>
                      <a:cubicBezTo>
                        <a:pt x="178440" y="1261523"/>
                        <a:pt x="168269" y="1259496"/>
                        <a:pt x="166008" y="1258483"/>
                      </a:cubicBezTo>
                      <a:cubicBezTo>
                        <a:pt x="166008" y="1257469"/>
                        <a:pt x="167139" y="1249362"/>
                        <a:pt x="166008" y="1248349"/>
                      </a:cubicBezTo>
                      <a:cubicBezTo>
                        <a:pt x="167139" y="1246322"/>
                        <a:pt x="170529" y="1244295"/>
                        <a:pt x="171659" y="1241255"/>
                      </a:cubicBezTo>
                      <a:cubicBezTo>
                        <a:pt x="172789" y="1243282"/>
                        <a:pt x="178440" y="1244295"/>
                        <a:pt x="179570" y="1246322"/>
                      </a:cubicBezTo>
                      <a:cubicBezTo>
                        <a:pt x="182960" y="1251389"/>
                        <a:pt x="181830" y="1255443"/>
                        <a:pt x="185221" y="1260509"/>
                      </a:cubicBezTo>
                      <a:cubicBezTo>
                        <a:pt x="194261" y="1256456"/>
                        <a:pt x="205563" y="1255443"/>
                        <a:pt x="210083" y="1248349"/>
                      </a:cubicBezTo>
                      <a:cubicBezTo>
                        <a:pt x="211213" y="1245309"/>
                        <a:pt x="215734" y="1228082"/>
                        <a:pt x="210083" y="1226055"/>
                      </a:cubicBezTo>
                      <a:cubicBezTo>
                        <a:pt x="203303" y="1224028"/>
                        <a:pt x="205563" y="1230109"/>
                        <a:pt x="202172" y="1228082"/>
                      </a:cubicBezTo>
                      <a:lnTo>
                        <a:pt x="202172" y="1223015"/>
                      </a:lnTo>
                      <a:cubicBezTo>
                        <a:pt x="208953" y="1214908"/>
                        <a:pt x="221385" y="1206801"/>
                        <a:pt x="227035" y="1198694"/>
                      </a:cubicBezTo>
                      <a:cubicBezTo>
                        <a:pt x="229295" y="1195654"/>
                        <a:pt x="227035" y="1189574"/>
                        <a:pt x="229295" y="1186534"/>
                      </a:cubicBezTo>
                      <a:cubicBezTo>
                        <a:pt x="230425" y="1185521"/>
                        <a:pt x="236076" y="1187548"/>
                        <a:pt x="237206" y="1186534"/>
                      </a:cubicBezTo>
                      <a:cubicBezTo>
                        <a:pt x="240596" y="1185521"/>
                        <a:pt x="245117" y="1176400"/>
                        <a:pt x="248507" y="1174374"/>
                      </a:cubicBezTo>
                      <a:cubicBezTo>
                        <a:pt x="250767" y="1172347"/>
                        <a:pt x="254158" y="1175387"/>
                        <a:pt x="256418" y="1174374"/>
                      </a:cubicBezTo>
                      <a:cubicBezTo>
                        <a:pt x="260939" y="1172347"/>
                        <a:pt x="275630" y="1158160"/>
                        <a:pt x="281281" y="1155120"/>
                      </a:cubicBezTo>
                      <a:cubicBezTo>
                        <a:pt x="277890" y="1153093"/>
                        <a:pt x="272240" y="1148026"/>
                        <a:pt x="267719" y="1144987"/>
                      </a:cubicBezTo>
                      <a:cubicBezTo>
                        <a:pt x="258678" y="1151066"/>
                        <a:pt x="280151" y="1132826"/>
                        <a:pt x="269980" y="1118639"/>
                      </a:cubicBezTo>
                      <a:cubicBezTo>
                        <a:pt x="264329" y="1110532"/>
                        <a:pt x="250767" y="1115599"/>
                        <a:pt x="240596" y="1111546"/>
                      </a:cubicBezTo>
                      <a:cubicBezTo>
                        <a:pt x="237206" y="1110532"/>
                        <a:pt x="234946" y="1101412"/>
                        <a:pt x="232686" y="1099385"/>
                      </a:cubicBezTo>
                      <a:cubicBezTo>
                        <a:pt x="229295" y="1096346"/>
                        <a:pt x="225905" y="1099385"/>
                        <a:pt x="221385" y="1097359"/>
                      </a:cubicBezTo>
                      <a:cubicBezTo>
                        <a:pt x="217994" y="1095332"/>
                        <a:pt x="214604" y="1085198"/>
                        <a:pt x="213474" y="1080131"/>
                      </a:cubicBezTo>
                      <a:cubicBezTo>
                        <a:pt x="206693" y="1064931"/>
                        <a:pt x="208953" y="1069998"/>
                        <a:pt x="215734" y="1055811"/>
                      </a:cubicBezTo>
                      <a:lnTo>
                        <a:pt x="221385" y="1055811"/>
                      </a:lnTo>
                      <a:cubicBezTo>
                        <a:pt x="223645" y="1052771"/>
                        <a:pt x="221385" y="1049731"/>
                        <a:pt x="223645" y="1045678"/>
                      </a:cubicBezTo>
                      <a:cubicBezTo>
                        <a:pt x="223645" y="1045678"/>
                        <a:pt x="236076" y="1039597"/>
                        <a:pt x="237206" y="1038584"/>
                      </a:cubicBezTo>
                      <a:cubicBezTo>
                        <a:pt x="256418" y="1023384"/>
                        <a:pt x="249637" y="1014263"/>
                        <a:pt x="285801" y="1019330"/>
                      </a:cubicBezTo>
                      <a:cubicBezTo>
                        <a:pt x="284671" y="1016290"/>
                        <a:pt x="285801" y="1010210"/>
                        <a:pt x="285801" y="1007170"/>
                      </a:cubicBezTo>
                      <a:cubicBezTo>
                        <a:pt x="264329" y="1005143"/>
                        <a:pt x="294842" y="989943"/>
                        <a:pt x="297102" y="984876"/>
                      </a:cubicBezTo>
                      <a:cubicBezTo>
                        <a:pt x="298233" y="978796"/>
                        <a:pt x="294842" y="966636"/>
                        <a:pt x="294842" y="965622"/>
                      </a:cubicBezTo>
                      <a:cubicBezTo>
                        <a:pt x="293712" y="950422"/>
                        <a:pt x="303883" y="929142"/>
                        <a:pt x="314054" y="924075"/>
                      </a:cubicBezTo>
                      <a:cubicBezTo>
                        <a:pt x="318575" y="922048"/>
                        <a:pt x="321965" y="924075"/>
                        <a:pt x="327616" y="922048"/>
                      </a:cubicBezTo>
                      <a:cubicBezTo>
                        <a:pt x="327616" y="922048"/>
                        <a:pt x="327616" y="911914"/>
                        <a:pt x="327616" y="911914"/>
                      </a:cubicBezTo>
                      <a:cubicBezTo>
                        <a:pt x="319705" y="912928"/>
                        <a:pt x="308404" y="911914"/>
                        <a:pt x="308404" y="911914"/>
                      </a:cubicBezTo>
                      <a:cubicBezTo>
                        <a:pt x="302753" y="913941"/>
                        <a:pt x="307273" y="909888"/>
                        <a:pt x="308404" y="909888"/>
                      </a:cubicBezTo>
                      <a:cubicBezTo>
                        <a:pt x="312924" y="907861"/>
                        <a:pt x="321965" y="901781"/>
                        <a:pt x="333266" y="904821"/>
                      </a:cubicBezTo>
                      <a:cubicBezTo>
                        <a:pt x="334396" y="904821"/>
                        <a:pt x="335526" y="908874"/>
                        <a:pt x="338917" y="909888"/>
                      </a:cubicBezTo>
                      <a:cubicBezTo>
                        <a:pt x="338917" y="911914"/>
                        <a:pt x="337787" y="917994"/>
                        <a:pt x="338917" y="920021"/>
                      </a:cubicBezTo>
                      <a:cubicBezTo>
                        <a:pt x="350218" y="914954"/>
                        <a:pt x="358129" y="919008"/>
                        <a:pt x="360389" y="905835"/>
                      </a:cubicBezTo>
                      <a:cubicBezTo>
                        <a:pt x="360389" y="902794"/>
                        <a:pt x="359259" y="898741"/>
                        <a:pt x="360389" y="895701"/>
                      </a:cubicBezTo>
                      <a:cubicBezTo>
                        <a:pt x="356999" y="894687"/>
                        <a:pt x="356999" y="891647"/>
                        <a:pt x="354738" y="888607"/>
                      </a:cubicBezTo>
                      <a:cubicBezTo>
                        <a:pt x="351348" y="890634"/>
                        <a:pt x="344567" y="886580"/>
                        <a:pt x="341177" y="888607"/>
                      </a:cubicBezTo>
                      <a:cubicBezTo>
                        <a:pt x="340047" y="888607"/>
                        <a:pt x="341177" y="897727"/>
                        <a:pt x="341177" y="898741"/>
                      </a:cubicBezTo>
                      <a:cubicBezTo>
                        <a:pt x="338917" y="898741"/>
                        <a:pt x="334396" y="897727"/>
                        <a:pt x="333266" y="898741"/>
                      </a:cubicBezTo>
                      <a:cubicBezTo>
                        <a:pt x="328746" y="896714"/>
                        <a:pt x="324225" y="891647"/>
                        <a:pt x="319705" y="888607"/>
                      </a:cubicBezTo>
                      <a:cubicBezTo>
                        <a:pt x="318575" y="887594"/>
                        <a:pt x="312924" y="888607"/>
                        <a:pt x="311794" y="888607"/>
                      </a:cubicBezTo>
                      <a:cubicBezTo>
                        <a:pt x="311794" y="881514"/>
                        <a:pt x="310664" y="872393"/>
                        <a:pt x="311794" y="862260"/>
                      </a:cubicBezTo>
                      <a:cubicBezTo>
                        <a:pt x="308404" y="861247"/>
                        <a:pt x="301623" y="862260"/>
                        <a:pt x="298233" y="862260"/>
                      </a:cubicBezTo>
                      <a:cubicBezTo>
                        <a:pt x="299363" y="859220"/>
                        <a:pt x="292582" y="858207"/>
                        <a:pt x="295972" y="857193"/>
                      </a:cubicBezTo>
                      <a:cubicBezTo>
                        <a:pt x="306143" y="852126"/>
                        <a:pt x="306143" y="838953"/>
                        <a:pt x="307273" y="830846"/>
                      </a:cubicBezTo>
                      <a:cubicBezTo>
                        <a:pt x="312924" y="830846"/>
                        <a:pt x="310664" y="824766"/>
                        <a:pt x="318575" y="825779"/>
                      </a:cubicBezTo>
                      <a:cubicBezTo>
                        <a:pt x="320835" y="825779"/>
                        <a:pt x="319705" y="832873"/>
                        <a:pt x="320835" y="832873"/>
                      </a:cubicBezTo>
                      <a:cubicBezTo>
                        <a:pt x="323095" y="833886"/>
                        <a:pt x="328746" y="832873"/>
                        <a:pt x="332136" y="832873"/>
                      </a:cubicBezTo>
                      <a:cubicBezTo>
                        <a:pt x="338917" y="846046"/>
                        <a:pt x="340047" y="851113"/>
                        <a:pt x="361519" y="850100"/>
                      </a:cubicBezTo>
                      <a:cubicBezTo>
                        <a:pt x="370560" y="850100"/>
                        <a:pt x="377341" y="845033"/>
                        <a:pt x="382991" y="843006"/>
                      </a:cubicBezTo>
                      <a:cubicBezTo>
                        <a:pt x="382991" y="841993"/>
                        <a:pt x="381861" y="835913"/>
                        <a:pt x="382991" y="835913"/>
                      </a:cubicBezTo>
                      <a:cubicBezTo>
                        <a:pt x="386382" y="832873"/>
                        <a:pt x="396553" y="830846"/>
                        <a:pt x="398813" y="825779"/>
                      </a:cubicBezTo>
                      <a:cubicBezTo>
                        <a:pt x="407854" y="808552"/>
                        <a:pt x="395423" y="793352"/>
                        <a:pt x="398813" y="779165"/>
                      </a:cubicBezTo>
                      <a:lnTo>
                        <a:pt x="401073" y="779165"/>
                      </a:lnTo>
                      <a:cubicBezTo>
                        <a:pt x="403333" y="773084"/>
                        <a:pt x="403333" y="769031"/>
                        <a:pt x="406724" y="761938"/>
                      </a:cubicBezTo>
                      <a:cubicBezTo>
                        <a:pt x="402204" y="758898"/>
                        <a:pt x="392032" y="756871"/>
                        <a:pt x="390902" y="751804"/>
                      </a:cubicBezTo>
                      <a:cubicBezTo>
                        <a:pt x="389772" y="748764"/>
                        <a:pt x="392032" y="742684"/>
                        <a:pt x="390902" y="739644"/>
                      </a:cubicBezTo>
                      <a:cubicBezTo>
                        <a:pt x="395423" y="739644"/>
                        <a:pt x="394293" y="736604"/>
                        <a:pt x="396553" y="734577"/>
                      </a:cubicBezTo>
                      <a:lnTo>
                        <a:pt x="402204" y="734577"/>
                      </a:lnTo>
                      <a:lnTo>
                        <a:pt x="413505" y="748764"/>
                      </a:lnTo>
                      <a:cubicBezTo>
                        <a:pt x="424806" y="743697"/>
                        <a:pt x="414635" y="741671"/>
                        <a:pt x="415765" y="741671"/>
                      </a:cubicBezTo>
                      <a:cubicBezTo>
                        <a:pt x="418025" y="740657"/>
                        <a:pt x="423676" y="741671"/>
                        <a:pt x="427066" y="741671"/>
                      </a:cubicBezTo>
                      <a:cubicBezTo>
                        <a:pt x="432717" y="740657"/>
                        <a:pt x="447408" y="734577"/>
                        <a:pt x="451929" y="734577"/>
                      </a:cubicBezTo>
                      <a:cubicBezTo>
                        <a:pt x="463230" y="733564"/>
                        <a:pt x="473401" y="735590"/>
                        <a:pt x="484702" y="734577"/>
                      </a:cubicBezTo>
                      <a:cubicBezTo>
                        <a:pt x="485832" y="734577"/>
                        <a:pt x="505044" y="731537"/>
                        <a:pt x="509565" y="729510"/>
                      </a:cubicBezTo>
                      <a:cubicBezTo>
                        <a:pt x="510695" y="729510"/>
                        <a:pt x="511825" y="724443"/>
                        <a:pt x="511825" y="724443"/>
                      </a:cubicBezTo>
                      <a:cubicBezTo>
                        <a:pt x="524256" y="720390"/>
                        <a:pt x="535558" y="721403"/>
                        <a:pt x="546859" y="717350"/>
                      </a:cubicBezTo>
                      <a:cubicBezTo>
                        <a:pt x="569461" y="708230"/>
                        <a:pt x="593194" y="657562"/>
                        <a:pt x="601104" y="632228"/>
                      </a:cubicBezTo>
                      <a:cubicBezTo>
                        <a:pt x="598844" y="631214"/>
                        <a:pt x="598844" y="627161"/>
                        <a:pt x="598844" y="627161"/>
                      </a:cubicBezTo>
                      <a:cubicBezTo>
                        <a:pt x="592064" y="624121"/>
                        <a:pt x="585283" y="626148"/>
                        <a:pt x="579632" y="622095"/>
                      </a:cubicBezTo>
                      <a:cubicBezTo>
                        <a:pt x="576242" y="620068"/>
                        <a:pt x="581893" y="619054"/>
                        <a:pt x="577372" y="617028"/>
                      </a:cubicBezTo>
                      <a:lnTo>
                        <a:pt x="577372" y="615001"/>
                      </a:lnTo>
                      <a:lnTo>
                        <a:pt x="571722" y="615001"/>
                      </a:lnTo>
                      <a:cubicBezTo>
                        <a:pt x="568331" y="609934"/>
                        <a:pt x="571722" y="605881"/>
                        <a:pt x="569461" y="600814"/>
                      </a:cubicBezTo>
                      <a:cubicBezTo>
                        <a:pt x="570591" y="599801"/>
                        <a:pt x="577372" y="597774"/>
                        <a:pt x="577372" y="595747"/>
                      </a:cubicBezTo>
                      <a:cubicBezTo>
                        <a:pt x="578502" y="592707"/>
                        <a:pt x="576242" y="590680"/>
                        <a:pt x="577372" y="588653"/>
                      </a:cubicBezTo>
                      <a:cubicBezTo>
                        <a:pt x="571722" y="583587"/>
                        <a:pt x="567201" y="576494"/>
                        <a:pt x="561550" y="571427"/>
                      </a:cubicBezTo>
                      <a:cubicBezTo>
                        <a:pt x="557030" y="567373"/>
                        <a:pt x="547989" y="566360"/>
                        <a:pt x="545729" y="561293"/>
                      </a:cubicBezTo>
                      <a:cubicBezTo>
                        <a:pt x="542338" y="556226"/>
                        <a:pt x="544598" y="548119"/>
                        <a:pt x="540078" y="544066"/>
                      </a:cubicBezTo>
                      <a:lnTo>
                        <a:pt x="532167" y="542039"/>
                      </a:lnTo>
                      <a:cubicBezTo>
                        <a:pt x="529907" y="535959"/>
                        <a:pt x="536688" y="537986"/>
                        <a:pt x="534427" y="531906"/>
                      </a:cubicBezTo>
                      <a:cubicBezTo>
                        <a:pt x="533297" y="528866"/>
                        <a:pt x="527647" y="523799"/>
                        <a:pt x="528777" y="519745"/>
                      </a:cubicBezTo>
                      <a:lnTo>
                        <a:pt x="536688" y="517718"/>
                      </a:lnTo>
                      <a:cubicBezTo>
                        <a:pt x="537818" y="506572"/>
                        <a:pt x="538948" y="493398"/>
                        <a:pt x="538948" y="479211"/>
                      </a:cubicBezTo>
                      <a:lnTo>
                        <a:pt x="541208" y="479211"/>
                      </a:lnTo>
                      <a:cubicBezTo>
                        <a:pt x="541208" y="479211"/>
                        <a:pt x="546859" y="461984"/>
                        <a:pt x="542338" y="453877"/>
                      </a:cubicBezTo>
                      <a:cubicBezTo>
                        <a:pt x="537818" y="445770"/>
                        <a:pt x="552509" y="440703"/>
                        <a:pt x="549119" y="425503"/>
                      </a:cubicBezTo>
                      <a:cubicBezTo>
                        <a:pt x="545729" y="410303"/>
                        <a:pt x="561550" y="414356"/>
                        <a:pt x="558160" y="400169"/>
                      </a:cubicBezTo>
                      <a:cubicBezTo>
                        <a:pt x="554770" y="385982"/>
                        <a:pt x="567201" y="375848"/>
                        <a:pt x="567201" y="375848"/>
                      </a:cubicBezTo>
                      <a:cubicBezTo>
                        <a:pt x="567201" y="375848"/>
                        <a:pt x="572851" y="357608"/>
                        <a:pt x="572851" y="351528"/>
                      </a:cubicBezTo>
                      <a:cubicBezTo>
                        <a:pt x="572851" y="345448"/>
                        <a:pt x="584153" y="341395"/>
                        <a:pt x="590933" y="336328"/>
                      </a:cubicBezTo>
                      <a:cubicBezTo>
                        <a:pt x="597714" y="331261"/>
                        <a:pt x="602235" y="321128"/>
                        <a:pt x="602235" y="310994"/>
                      </a:cubicBezTo>
                      <a:cubicBezTo>
                        <a:pt x="602235" y="300860"/>
                        <a:pt x="623707" y="301873"/>
                        <a:pt x="625967" y="294780"/>
                      </a:cubicBezTo>
                      <a:cubicBezTo>
                        <a:pt x="628228" y="287687"/>
                        <a:pt x="632748" y="286673"/>
                        <a:pt x="641789" y="280593"/>
                      </a:cubicBezTo>
                      <a:cubicBezTo>
                        <a:pt x="650830" y="274513"/>
                        <a:pt x="657610" y="267419"/>
                        <a:pt x="659871" y="259313"/>
                      </a:cubicBezTo>
                      <a:cubicBezTo>
                        <a:pt x="663261" y="250193"/>
                        <a:pt x="685863" y="253232"/>
                        <a:pt x="689254" y="246139"/>
                      </a:cubicBezTo>
                      <a:cubicBezTo>
                        <a:pt x="693774" y="240059"/>
                        <a:pt x="703945" y="240059"/>
                        <a:pt x="701685" y="234992"/>
                      </a:cubicBezTo>
                      <a:cubicBezTo>
                        <a:pt x="699425" y="229925"/>
                        <a:pt x="700555" y="213712"/>
                        <a:pt x="698295" y="201551"/>
                      </a:cubicBezTo>
                      <a:cubicBezTo>
                        <a:pt x="696035" y="189391"/>
                        <a:pt x="697165" y="173177"/>
                        <a:pt x="697165" y="173177"/>
                      </a:cubicBezTo>
                      <a:cubicBezTo>
                        <a:pt x="697165" y="173177"/>
                        <a:pt x="681343" y="167097"/>
                        <a:pt x="684734" y="174191"/>
                      </a:cubicBezTo>
                      <a:cubicBezTo>
                        <a:pt x="688124" y="181284"/>
                        <a:pt x="666652" y="170137"/>
                        <a:pt x="666652" y="170137"/>
                      </a:cubicBezTo>
                      <a:cubicBezTo>
                        <a:pt x="666652" y="170137"/>
                        <a:pt x="656481" y="183311"/>
                        <a:pt x="661001" y="188378"/>
                      </a:cubicBezTo>
                      <a:cubicBezTo>
                        <a:pt x="665521" y="193444"/>
                        <a:pt x="665521" y="213712"/>
                        <a:pt x="657610" y="218778"/>
                      </a:cubicBezTo>
                      <a:cubicBezTo>
                        <a:pt x="650830" y="223845"/>
                        <a:pt x="642919" y="229925"/>
                        <a:pt x="639529" y="238032"/>
                      </a:cubicBezTo>
                      <a:cubicBezTo>
                        <a:pt x="636138" y="246139"/>
                        <a:pt x="635008" y="245126"/>
                        <a:pt x="635008" y="245126"/>
                      </a:cubicBezTo>
                      <a:cubicBezTo>
                        <a:pt x="635008" y="245126"/>
                        <a:pt x="624837" y="249179"/>
                        <a:pt x="614666" y="247152"/>
                      </a:cubicBezTo>
                      <a:cubicBezTo>
                        <a:pt x="604495" y="245126"/>
                        <a:pt x="593194" y="243099"/>
                        <a:pt x="585283" y="244112"/>
                      </a:cubicBezTo>
                      <a:cubicBezTo>
                        <a:pt x="576242" y="245126"/>
                        <a:pt x="569461" y="247152"/>
                        <a:pt x="561550" y="241072"/>
                      </a:cubicBezTo>
                      <a:cubicBezTo>
                        <a:pt x="553640" y="234992"/>
                        <a:pt x="543469" y="234992"/>
                        <a:pt x="535558" y="237019"/>
                      </a:cubicBezTo>
                      <a:cubicBezTo>
                        <a:pt x="527647" y="239046"/>
                        <a:pt x="523126" y="236005"/>
                        <a:pt x="523126" y="236005"/>
                      </a:cubicBezTo>
                      <a:cubicBezTo>
                        <a:pt x="523126" y="236005"/>
                        <a:pt x="529907" y="219792"/>
                        <a:pt x="537818" y="211685"/>
                      </a:cubicBezTo>
                      <a:cubicBezTo>
                        <a:pt x="545729" y="203578"/>
                        <a:pt x="553640" y="191418"/>
                        <a:pt x="553640" y="181284"/>
                      </a:cubicBezTo>
                      <a:cubicBezTo>
                        <a:pt x="553640" y="171151"/>
                        <a:pt x="563811" y="163044"/>
                        <a:pt x="552509" y="156964"/>
                      </a:cubicBezTo>
                      <a:cubicBezTo>
                        <a:pt x="541208" y="150883"/>
                        <a:pt x="535558" y="136696"/>
                        <a:pt x="529907" y="133657"/>
                      </a:cubicBezTo>
                      <a:cubicBezTo>
                        <a:pt x="524256" y="130616"/>
                        <a:pt x="523126" y="128590"/>
                        <a:pt x="515216" y="122510"/>
                      </a:cubicBezTo>
                      <a:cubicBezTo>
                        <a:pt x="508435" y="116429"/>
                        <a:pt x="500524" y="125549"/>
                        <a:pt x="491483" y="113389"/>
                      </a:cubicBezTo>
                      <a:cubicBezTo>
                        <a:pt x="481312" y="102242"/>
                        <a:pt x="481312" y="98189"/>
                        <a:pt x="470011" y="98189"/>
                      </a:cubicBezTo>
                      <a:cubicBezTo>
                        <a:pt x="458710" y="98189"/>
                        <a:pt x="459839" y="81975"/>
                        <a:pt x="454189" y="74882"/>
                      </a:cubicBezTo>
                      <a:cubicBezTo>
                        <a:pt x="448538" y="67788"/>
                        <a:pt x="448538" y="61708"/>
                        <a:pt x="439497" y="60695"/>
                      </a:cubicBezTo>
                      <a:cubicBezTo>
                        <a:pt x="430457" y="59681"/>
                        <a:pt x="429326" y="51575"/>
                        <a:pt x="424806" y="45494"/>
                      </a:cubicBezTo>
                      <a:cubicBezTo>
                        <a:pt x="420285" y="39414"/>
                        <a:pt x="414635" y="30294"/>
                        <a:pt x="414635" y="30294"/>
                      </a:cubicBezTo>
                      <a:lnTo>
                        <a:pt x="394293" y="15094"/>
                      </a:lnTo>
                      <a:close/>
                      <a:moveTo>
                        <a:pt x="201042" y="1468248"/>
                      </a:moveTo>
                      <a:lnTo>
                        <a:pt x="205563" y="1468248"/>
                      </a:lnTo>
                      <a:cubicBezTo>
                        <a:pt x="211213" y="1468248"/>
                        <a:pt x="213474" y="1470274"/>
                        <a:pt x="215734" y="1471288"/>
                      </a:cubicBezTo>
                      <a:lnTo>
                        <a:pt x="223645" y="1473314"/>
                      </a:lnTo>
                      <a:lnTo>
                        <a:pt x="224775" y="1471288"/>
                      </a:lnTo>
                      <a:cubicBezTo>
                        <a:pt x="225905" y="1472301"/>
                        <a:pt x="236076" y="1478381"/>
                        <a:pt x="236076" y="1478381"/>
                      </a:cubicBezTo>
                      <a:cubicBezTo>
                        <a:pt x="236076" y="1478381"/>
                        <a:pt x="251898" y="1477367"/>
                        <a:pt x="255288" y="1476354"/>
                      </a:cubicBezTo>
                      <a:lnTo>
                        <a:pt x="257548" y="1471288"/>
                      </a:lnTo>
                      <a:cubicBezTo>
                        <a:pt x="264329" y="1470274"/>
                        <a:pt x="274500" y="1471288"/>
                        <a:pt x="282411" y="1471288"/>
                      </a:cubicBezTo>
                      <a:cubicBezTo>
                        <a:pt x="279020" y="1474327"/>
                        <a:pt x="284671" y="1473314"/>
                        <a:pt x="284671" y="1473314"/>
                      </a:cubicBezTo>
                      <a:cubicBezTo>
                        <a:pt x="286931" y="1470274"/>
                        <a:pt x="288061" y="1466221"/>
                        <a:pt x="290322" y="1463181"/>
                      </a:cubicBezTo>
                      <a:cubicBezTo>
                        <a:pt x="279020" y="1460140"/>
                        <a:pt x="265459" y="1455073"/>
                        <a:pt x="255288" y="1453047"/>
                      </a:cubicBezTo>
                      <a:cubicBezTo>
                        <a:pt x="250767" y="1452033"/>
                        <a:pt x="243987" y="1455073"/>
                        <a:pt x="239466" y="1453047"/>
                      </a:cubicBezTo>
                      <a:cubicBezTo>
                        <a:pt x="234946" y="1451020"/>
                        <a:pt x="230425" y="1441900"/>
                        <a:pt x="225905" y="1438860"/>
                      </a:cubicBezTo>
                      <a:cubicBezTo>
                        <a:pt x="221385" y="1435820"/>
                        <a:pt x="216864" y="1436833"/>
                        <a:pt x="212343" y="1433793"/>
                      </a:cubicBezTo>
                      <a:cubicBezTo>
                        <a:pt x="207823" y="1430753"/>
                        <a:pt x="210083" y="1425686"/>
                        <a:pt x="206693" y="1421633"/>
                      </a:cubicBezTo>
                      <a:cubicBezTo>
                        <a:pt x="204433" y="1418593"/>
                        <a:pt x="199912" y="1419606"/>
                        <a:pt x="195392" y="1416566"/>
                      </a:cubicBezTo>
                      <a:cubicBezTo>
                        <a:pt x="188611" y="1411499"/>
                        <a:pt x="182960" y="1400353"/>
                        <a:pt x="179570" y="1392246"/>
                      </a:cubicBezTo>
                      <a:lnTo>
                        <a:pt x="177310" y="1392246"/>
                      </a:lnTo>
                      <a:cubicBezTo>
                        <a:pt x="177310" y="1388192"/>
                        <a:pt x="182960" y="1386165"/>
                        <a:pt x="185221" y="1385152"/>
                      </a:cubicBezTo>
                      <a:cubicBezTo>
                        <a:pt x="180700" y="1378059"/>
                        <a:pt x="179570" y="1371979"/>
                        <a:pt x="173919" y="1365898"/>
                      </a:cubicBezTo>
                      <a:cubicBezTo>
                        <a:pt x="168269" y="1367925"/>
                        <a:pt x="175050" y="1361845"/>
                        <a:pt x="168269" y="1363871"/>
                      </a:cubicBezTo>
                      <a:lnTo>
                        <a:pt x="177310" y="1472301"/>
                      </a:lnTo>
                      <a:cubicBezTo>
                        <a:pt x="177310" y="1471288"/>
                        <a:pt x="188611" y="1466221"/>
                        <a:pt x="201042" y="1468248"/>
                      </a:cubicBezTo>
                      <a:close/>
                      <a:moveTo>
                        <a:pt x="327616" y="1453047"/>
                      </a:moveTo>
                      <a:lnTo>
                        <a:pt x="325355" y="1458114"/>
                      </a:lnTo>
                      <a:cubicBezTo>
                        <a:pt x="303883" y="1458114"/>
                        <a:pt x="329876" y="1470274"/>
                        <a:pt x="333266" y="1470274"/>
                      </a:cubicBezTo>
                      <a:lnTo>
                        <a:pt x="338917" y="1465207"/>
                      </a:lnTo>
                      <a:cubicBezTo>
                        <a:pt x="343437" y="1463181"/>
                        <a:pt x="344567" y="1464194"/>
                        <a:pt x="346828" y="1463181"/>
                      </a:cubicBezTo>
                      <a:cubicBezTo>
                        <a:pt x="358129" y="1457100"/>
                        <a:pt x="337787" y="1459127"/>
                        <a:pt x="333266" y="1458114"/>
                      </a:cubicBezTo>
                      <a:cubicBezTo>
                        <a:pt x="332136" y="1457100"/>
                        <a:pt x="331006" y="1453047"/>
                        <a:pt x="327616" y="145304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6" name="Freeform: Shape 455">
                  <a:extLst>
                    <a:ext uri="{FF2B5EF4-FFF2-40B4-BE49-F238E27FC236}">
                      <a16:creationId xmlns:a16="http://schemas.microsoft.com/office/drawing/2014/main" id="{F92C6AC2-D126-4215-94B8-08A8E31D24BF}"/>
                    </a:ext>
                  </a:extLst>
                </p:cNvPr>
                <p:cNvSpPr/>
                <p:nvPr/>
              </p:nvSpPr>
              <p:spPr>
                <a:xfrm>
                  <a:off x="6298549" y="4419833"/>
                  <a:ext cx="463349" cy="567480"/>
                </a:xfrm>
                <a:custGeom>
                  <a:avLst/>
                  <a:gdLst>
                    <a:gd name="connsiteX0" fmla="*/ 29722 w 463349"/>
                    <a:gd name="connsiteY0" fmla="*/ 48449 h 567479"/>
                    <a:gd name="connsiteX1" fmla="*/ 42153 w 463349"/>
                    <a:gd name="connsiteY1" fmla="*/ 41355 h 567479"/>
                    <a:gd name="connsiteX2" fmla="*/ 43283 w 463349"/>
                    <a:gd name="connsiteY2" fmla="*/ 31222 h 567479"/>
                    <a:gd name="connsiteX3" fmla="*/ 54584 w 463349"/>
                    <a:gd name="connsiteY3" fmla="*/ 15008 h 567479"/>
                    <a:gd name="connsiteX4" fmla="*/ 38763 w 463349"/>
                    <a:gd name="connsiteY4" fmla="*/ 11968 h 567479"/>
                    <a:gd name="connsiteX5" fmla="*/ 36503 w 463349"/>
                    <a:gd name="connsiteY5" fmla="*/ 19061 h 567479"/>
                    <a:gd name="connsiteX6" fmla="*/ 29722 w 463349"/>
                    <a:gd name="connsiteY6" fmla="*/ 19061 h 567479"/>
                    <a:gd name="connsiteX7" fmla="*/ 16161 w 463349"/>
                    <a:gd name="connsiteY7" fmla="*/ 25142 h 567479"/>
                    <a:gd name="connsiteX8" fmla="*/ 18421 w 463349"/>
                    <a:gd name="connsiteY8" fmla="*/ 41355 h 567479"/>
                    <a:gd name="connsiteX9" fmla="*/ 29722 w 463349"/>
                    <a:gd name="connsiteY9" fmla="*/ 46422 h 567479"/>
                    <a:gd name="connsiteX10" fmla="*/ 29722 w 463349"/>
                    <a:gd name="connsiteY10" fmla="*/ 48449 h 567479"/>
                    <a:gd name="connsiteX11" fmla="*/ 37633 w 463349"/>
                    <a:gd name="connsiteY11" fmla="*/ 87970 h 567479"/>
                    <a:gd name="connsiteX12" fmla="*/ 39893 w 463349"/>
                    <a:gd name="connsiteY12" fmla="*/ 100130 h 567479"/>
                    <a:gd name="connsiteX13" fmla="*/ 51194 w 463349"/>
                    <a:gd name="connsiteY13" fmla="*/ 124451 h 567479"/>
                    <a:gd name="connsiteX14" fmla="*/ 59105 w 463349"/>
                    <a:gd name="connsiteY14" fmla="*/ 131544 h 567479"/>
                    <a:gd name="connsiteX15" fmla="*/ 61365 w 463349"/>
                    <a:gd name="connsiteY15" fmla="*/ 153838 h 567479"/>
                    <a:gd name="connsiteX16" fmla="*/ 69276 w 463349"/>
                    <a:gd name="connsiteY16" fmla="*/ 160931 h 567479"/>
                    <a:gd name="connsiteX17" fmla="*/ 67016 w 463349"/>
                    <a:gd name="connsiteY17" fmla="*/ 175119 h 567479"/>
                    <a:gd name="connsiteX18" fmla="*/ 74927 w 463349"/>
                    <a:gd name="connsiteY18" fmla="*/ 182212 h 567479"/>
                    <a:gd name="connsiteX19" fmla="*/ 69276 w 463349"/>
                    <a:gd name="connsiteY19" fmla="*/ 189305 h 567479"/>
                    <a:gd name="connsiteX20" fmla="*/ 71536 w 463349"/>
                    <a:gd name="connsiteY20" fmla="*/ 196399 h 567479"/>
                    <a:gd name="connsiteX21" fmla="*/ 63626 w 463349"/>
                    <a:gd name="connsiteY21" fmla="*/ 201466 h 567479"/>
                    <a:gd name="connsiteX22" fmla="*/ 63626 w 463349"/>
                    <a:gd name="connsiteY22" fmla="*/ 227813 h 567479"/>
                    <a:gd name="connsiteX23" fmla="*/ 69276 w 463349"/>
                    <a:gd name="connsiteY23" fmla="*/ 237946 h 567479"/>
                    <a:gd name="connsiteX24" fmla="*/ 67016 w 463349"/>
                    <a:gd name="connsiteY24" fmla="*/ 252133 h 567479"/>
                    <a:gd name="connsiteX25" fmla="*/ 80578 w 463349"/>
                    <a:gd name="connsiteY25" fmla="*/ 266321 h 567479"/>
                    <a:gd name="connsiteX26" fmla="*/ 80578 w 463349"/>
                    <a:gd name="connsiteY26" fmla="*/ 337256 h 567479"/>
                    <a:gd name="connsiteX27" fmla="*/ 61365 w 463349"/>
                    <a:gd name="connsiteY27" fmla="*/ 354483 h 567479"/>
                    <a:gd name="connsiteX28" fmla="*/ 61365 w 463349"/>
                    <a:gd name="connsiteY28" fmla="*/ 368669 h 567479"/>
                    <a:gd name="connsiteX29" fmla="*/ 42153 w 463349"/>
                    <a:gd name="connsiteY29" fmla="*/ 382857 h 567479"/>
                    <a:gd name="connsiteX30" fmla="*/ 39893 w 463349"/>
                    <a:gd name="connsiteY30" fmla="*/ 426431 h 567479"/>
                    <a:gd name="connsiteX31" fmla="*/ 31982 w 463349"/>
                    <a:gd name="connsiteY31" fmla="*/ 431498 h 567479"/>
                    <a:gd name="connsiteX32" fmla="*/ 29722 w 463349"/>
                    <a:gd name="connsiteY32" fmla="*/ 448725 h 567479"/>
                    <a:gd name="connsiteX33" fmla="*/ 10510 w 463349"/>
                    <a:gd name="connsiteY33" fmla="*/ 475072 h 567479"/>
                    <a:gd name="connsiteX34" fmla="*/ 16161 w 463349"/>
                    <a:gd name="connsiteY34" fmla="*/ 504460 h 567479"/>
                    <a:gd name="connsiteX35" fmla="*/ 10510 w 463349"/>
                    <a:gd name="connsiteY35" fmla="*/ 514593 h 567479"/>
                    <a:gd name="connsiteX36" fmla="*/ 13900 w 463349"/>
                    <a:gd name="connsiteY36" fmla="*/ 528780 h 567479"/>
                    <a:gd name="connsiteX37" fmla="*/ 39893 w 463349"/>
                    <a:gd name="connsiteY37" fmla="*/ 529793 h 567479"/>
                    <a:gd name="connsiteX38" fmla="*/ 60235 w 463349"/>
                    <a:gd name="connsiteY38" fmla="*/ 519660 h 567479"/>
                    <a:gd name="connsiteX39" fmla="*/ 79447 w 463349"/>
                    <a:gd name="connsiteY39" fmla="*/ 528780 h 567479"/>
                    <a:gd name="connsiteX40" fmla="*/ 236534 w 463349"/>
                    <a:gd name="connsiteY40" fmla="*/ 532833 h 567479"/>
                    <a:gd name="connsiteX41" fmla="*/ 251225 w 463349"/>
                    <a:gd name="connsiteY41" fmla="*/ 546007 h 567479"/>
                    <a:gd name="connsiteX42" fmla="*/ 268177 w 463349"/>
                    <a:gd name="connsiteY42" fmla="*/ 552087 h 567479"/>
                    <a:gd name="connsiteX43" fmla="*/ 295300 w 463349"/>
                    <a:gd name="connsiteY43" fmla="*/ 558167 h 567479"/>
                    <a:gd name="connsiteX44" fmla="*/ 309992 w 463349"/>
                    <a:gd name="connsiteY44" fmla="*/ 558167 h 567479"/>
                    <a:gd name="connsiteX45" fmla="*/ 337114 w 463349"/>
                    <a:gd name="connsiteY45" fmla="*/ 564248 h 567479"/>
                    <a:gd name="connsiteX46" fmla="*/ 423004 w 463349"/>
                    <a:gd name="connsiteY46" fmla="*/ 551074 h 567479"/>
                    <a:gd name="connsiteX47" fmla="*/ 400401 w 463349"/>
                    <a:gd name="connsiteY47" fmla="*/ 525740 h 567479"/>
                    <a:gd name="connsiteX48" fmla="*/ 382319 w 463349"/>
                    <a:gd name="connsiteY48" fmla="*/ 502433 h 567479"/>
                    <a:gd name="connsiteX49" fmla="*/ 373278 w 463349"/>
                    <a:gd name="connsiteY49" fmla="*/ 486219 h 567479"/>
                    <a:gd name="connsiteX50" fmla="*/ 374409 w 463349"/>
                    <a:gd name="connsiteY50" fmla="*/ 343336 h 567479"/>
                    <a:gd name="connsiteX51" fmla="*/ 451257 w 463349"/>
                    <a:gd name="connsiteY51" fmla="*/ 343336 h 567479"/>
                    <a:gd name="connsiteX52" fmla="*/ 452387 w 463349"/>
                    <a:gd name="connsiteY52" fmla="*/ 332189 h 567479"/>
                    <a:gd name="connsiteX53" fmla="*/ 451257 w 463349"/>
                    <a:gd name="connsiteY53" fmla="*/ 316989 h 567479"/>
                    <a:gd name="connsiteX54" fmla="*/ 458037 w 463349"/>
                    <a:gd name="connsiteY54" fmla="*/ 297734 h 567479"/>
                    <a:gd name="connsiteX55" fmla="*/ 451257 w 463349"/>
                    <a:gd name="connsiteY55" fmla="*/ 273414 h 567479"/>
                    <a:gd name="connsiteX56" fmla="*/ 427524 w 463349"/>
                    <a:gd name="connsiteY56" fmla="*/ 273414 h 567479"/>
                    <a:gd name="connsiteX57" fmla="*/ 411703 w 463349"/>
                    <a:gd name="connsiteY57" fmla="*/ 276454 h 567479"/>
                    <a:gd name="connsiteX58" fmla="*/ 394751 w 463349"/>
                    <a:gd name="connsiteY58" fmla="*/ 275441 h 567479"/>
                    <a:gd name="connsiteX59" fmla="*/ 389100 w 463349"/>
                    <a:gd name="connsiteY59" fmla="*/ 254160 h 567479"/>
                    <a:gd name="connsiteX60" fmla="*/ 390230 w 463349"/>
                    <a:gd name="connsiteY60" fmla="*/ 235920 h 567479"/>
                    <a:gd name="connsiteX61" fmla="*/ 385710 w 463349"/>
                    <a:gd name="connsiteY61" fmla="*/ 216666 h 567479"/>
                    <a:gd name="connsiteX62" fmla="*/ 380059 w 463349"/>
                    <a:gd name="connsiteY62" fmla="*/ 197412 h 567479"/>
                    <a:gd name="connsiteX63" fmla="*/ 373278 w 463349"/>
                    <a:gd name="connsiteY63" fmla="*/ 177145 h 567479"/>
                    <a:gd name="connsiteX64" fmla="*/ 369888 w 463349"/>
                    <a:gd name="connsiteY64" fmla="*/ 156878 h 567479"/>
                    <a:gd name="connsiteX65" fmla="*/ 366498 w 463349"/>
                    <a:gd name="connsiteY65" fmla="*/ 135597 h 567479"/>
                    <a:gd name="connsiteX66" fmla="*/ 333724 w 463349"/>
                    <a:gd name="connsiteY66" fmla="*/ 127491 h 567479"/>
                    <a:gd name="connsiteX67" fmla="*/ 333724 w 463349"/>
                    <a:gd name="connsiteY67" fmla="*/ 122424 h 567479"/>
                    <a:gd name="connsiteX68" fmla="*/ 312252 w 463349"/>
                    <a:gd name="connsiteY68" fmla="*/ 119384 h 567479"/>
                    <a:gd name="connsiteX69" fmla="*/ 289650 w 463349"/>
                    <a:gd name="connsiteY69" fmla="*/ 120397 h 567479"/>
                    <a:gd name="connsiteX70" fmla="*/ 290780 w 463349"/>
                    <a:gd name="connsiteY70" fmla="*/ 144718 h 567479"/>
                    <a:gd name="connsiteX71" fmla="*/ 278349 w 463349"/>
                    <a:gd name="connsiteY71" fmla="*/ 149785 h 567479"/>
                    <a:gd name="connsiteX72" fmla="*/ 258006 w 463349"/>
                    <a:gd name="connsiteY72" fmla="*/ 157891 h 567479"/>
                    <a:gd name="connsiteX73" fmla="*/ 235403 w 463349"/>
                    <a:gd name="connsiteY73" fmla="*/ 152825 h 567479"/>
                    <a:gd name="connsiteX74" fmla="*/ 224102 w 463349"/>
                    <a:gd name="connsiteY74" fmla="*/ 136611 h 567479"/>
                    <a:gd name="connsiteX75" fmla="*/ 219582 w 463349"/>
                    <a:gd name="connsiteY75" fmla="*/ 111277 h 567479"/>
                    <a:gd name="connsiteX76" fmla="*/ 218452 w 463349"/>
                    <a:gd name="connsiteY76" fmla="*/ 92023 h 567479"/>
                    <a:gd name="connsiteX77" fmla="*/ 209411 w 463349"/>
                    <a:gd name="connsiteY77" fmla="*/ 70743 h 567479"/>
                    <a:gd name="connsiteX78" fmla="*/ 140474 w 463349"/>
                    <a:gd name="connsiteY78" fmla="*/ 71756 h 567479"/>
                    <a:gd name="connsiteX79" fmla="*/ 94139 w 463349"/>
                    <a:gd name="connsiteY79" fmla="*/ 68716 h 567479"/>
                    <a:gd name="connsiteX80" fmla="*/ 56845 w 463349"/>
                    <a:gd name="connsiteY80" fmla="*/ 78850 h 567479"/>
                    <a:gd name="connsiteX81" fmla="*/ 37633 w 463349"/>
                    <a:gd name="connsiteY81" fmla="*/ 87970 h 56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63349" h="567479">
                      <a:moveTo>
                        <a:pt x="29722" y="48449"/>
                      </a:moveTo>
                      <a:lnTo>
                        <a:pt x="42153" y="41355"/>
                      </a:lnTo>
                      <a:cubicBezTo>
                        <a:pt x="42153" y="41355"/>
                        <a:pt x="48934" y="41355"/>
                        <a:pt x="43283" y="31222"/>
                      </a:cubicBezTo>
                      <a:cubicBezTo>
                        <a:pt x="37633" y="21088"/>
                        <a:pt x="54584" y="15008"/>
                        <a:pt x="54584" y="15008"/>
                      </a:cubicBezTo>
                      <a:cubicBezTo>
                        <a:pt x="54584" y="15008"/>
                        <a:pt x="48934" y="3861"/>
                        <a:pt x="38763" y="11968"/>
                      </a:cubicBezTo>
                      <a:cubicBezTo>
                        <a:pt x="31982" y="18048"/>
                        <a:pt x="36503" y="19061"/>
                        <a:pt x="36503" y="19061"/>
                      </a:cubicBezTo>
                      <a:cubicBezTo>
                        <a:pt x="36503" y="19061"/>
                        <a:pt x="35373" y="19061"/>
                        <a:pt x="29722" y="19061"/>
                      </a:cubicBezTo>
                      <a:cubicBezTo>
                        <a:pt x="20681" y="19061"/>
                        <a:pt x="17291" y="21088"/>
                        <a:pt x="16161" y="25142"/>
                      </a:cubicBezTo>
                      <a:cubicBezTo>
                        <a:pt x="19551" y="31222"/>
                        <a:pt x="13900" y="36289"/>
                        <a:pt x="18421" y="41355"/>
                      </a:cubicBezTo>
                      <a:cubicBezTo>
                        <a:pt x="18421" y="42369"/>
                        <a:pt x="29722" y="46422"/>
                        <a:pt x="29722" y="46422"/>
                      </a:cubicBezTo>
                      <a:lnTo>
                        <a:pt x="29722" y="48449"/>
                      </a:lnTo>
                      <a:close/>
                      <a:moveTo>
                        <a:pt x="37633" y="87970"/>
                      </a:moveTo>
                      <a:cubicBezTo>
                        <a:pt x="37633" y="92023"/>
                        <a:pt x="38763" y="97090"/>
                        <a:pt x="39893" y="100130"/>
                      </a:cubicBezTo>
                      <a:cubicBezTo>
                        <a:pt x="42153" y="106210"/>
                        <a:pt x="46674" y="117357"/>
                        <a:pt x="51194" y="124451"/>
                      </a:cubicBezTo>
                      <a:cubicBezTo>
                        <a:pt x="52325" y="126477"/>
                        <a:pt x="57975" y="129517"/>
                        <a:pt x="59105" y="131544"/>
                      </a:cubicBezTo>
                      <a:cubicBezTo>
                        <a:pt x="62495" y="139651"/>
                        <a:pt x="57975" y="145731"/>
                        <a:pt x="61365" y="153838"/>
                      </a:cubicBezTo>
                      <a:cubicBezTo>
                        <a:pt x="62495" y="155865"/>
                        <a:pt x="69276" y="158905"/>
                        <a:pt x="69276" y="160931"/>
                      </a:cubicBezTo>
                      <a:cubicBezTo>
                        <a:pt x="70406" y="167012"/>
                        <a:pt x="64756" y="168025"/>
                        <a:pt x="67016" y="175119"/>
                      </a:cubicBezTo>
                      <a:cubicBezTo>
                        <a:pt x="67016" y="176132"/>
                        <a:pt x="74927" y="182212"/>
                        <a:pt x="74927" y="182212"/>
                      </a:cubicBezTo>
                      <a:cubicBezTo>
                        <a:pt x="76057" y="187279"/>
                        <a:pt x="70406" y="187279"/>
                        <a:pt x="69276" y="189305"/>
                      </a:cubicBezTo>
                      <a:cubicBezTo>
                        <a:pt x="68146" y="195386"/>
                        <a:pt x="73797" y="192345"/>
                        <a:pt x="71536" y="196399"/>
                      </a:cubicBezTo>
                      <a:cubicBezTo>
                        <a:pt x="71536" y="197412"/>
                        <a:pt x="63626" y="200452"/>
                        <a:pt x="63626" y="201466"/>
                      </a:cubicBezTo>
                      <a:cubicBezTo>
                        <a:pt x="62495" y="206532"/>
                        <a:pt x="62495" y="220720"/>
                        <a:pt x="63626" y="227813"/>
                      </a:cubicBezTo>
                      <a:lnTo>
                        <a:pt x="69276" y="237946"/>
                      </a:lnTo>
                      <a:cubicBezTo>
                        <a:pt x="69276" y="244027"/>
                        <a:pt x="63626" y="245040"/>
                        <a:pt x="67016" y="252133"/>
                      </a:cubicBezTo>
                      <a:cubicBezTo>
                        <a:pt x="68146" y="255174"/>
                        <a:pt x="79447" y="263280"/>
                        <a:pt x="80578" y="266321"/>
                      </a:cubicBezTo>
                      <a:cubicBezTo>
                        <a:pt x="87358" y="284561"/>
                        <a:pt x="87358" y="319015"/>
                        <a:pt x="80578" y="337256"/>
                      </a:cubicBezTo>
                      <a:cubicBezTo>
                        <a:pt x="77187" y="345362"/>
                        <a:pt x="63626" y="350429"/>
                        <a:pt x="61365" y="354483"/>
                      </a:cubicBezTo>
                      <a:cubicBezTo>
                        <a:pt x="59105" y="358536"/>
                        <a:pt x="63626" y="364616"/>
                        <a:pt x="61365" y="368669"/>
                      </a:cubicBezTo>
                      <a:cubicBezTo>
                        <a:pt x="57975" y="374750"/>
                        <a:pt x="45544" y="376776"/>
                        <a:pt x="42153" y="382857"/>
                      </a:cubicBezTo>
                      <a:cubicBezTo>
                        <a:pt x="35373" y="398057"/>
                        <a:pt x="43283" y="413257"/>
                        <a:pt x="39893" y="426431"/>
                      </a:cubicBezTo>
                      <a:cubicBezTo>
                        <a:pt x="39893" y="427444"/>
                        <a:pt x="31982" y="430484"/>
                        <a:pt x="31982" y="431498"/>
                      </a:cubicBezTo>
                      <a:cubicBezTo>
                        <a:pt x="28592" y="436564"/>
                        <a:pt x="31982" y="441631"/>
                        <a:pt x="29722" y="448725"/>
                      </a:cubicBezTo>
                      <a:cubicBezTo>
                        <a:pt x="27462" y="454805"/>
                        <a:pt x="12770" y="467979"/>
                        <a:pt x="10510" y="475072"/>
                      </a:cubicBezTo>
                      <a:cubicBezTo>
                        <a:pt x="8250" y="487232"/>
                        <a:pt x="15030" y="497366"/>
                        <a:pt x="16161" y="504460"/>
                      </a:cubicBezTo>
                      <a:cubicBezTo>
                        <a:pt x="16161" y="511553"/>
                        <a:pt x="11640" y="511553"/>
                        <a:pt x="10510" y="514593"/>
                      </a:cubicBezTo>
                      <a:cubicBezTo>
                        <a:pt x="10510" y="517633"/>
                        <a:pt x="11640" y="522700"/>
                        <a:pt x="13900" y="528780"/>
                      </a:cubicBezTo>
                      <a:cubicBezTo>
                        <a:pt x="13900" y="528780"/>
                        <a:pt x="27462" y="525740"/>
                        <a:pt x="39893" y="529793"/>
                      </a:cubicBezTo>
                      <a:cubicBezTo>
                        <a:pt x="52325" y="533847"/>
                        <a:pt x="51194" y="519660"/>
                        <a:pt x="60235" y="519660"/>
                      </a:cubicBezTo>
                      <a:cubicBezTo>
                        <a:pt x="69276" y="519660"/>
                        <a:pt x="79447" y="528780"/>
                        <a:pt x="79447" y="528780"/>
                      </a:cubicBezTo>
                      <a:lnTo>
                        <a:pt x="236534" y="532833"/>
                      </a:lnTo>
                      <a:cubicBezTo>
                        <a:pt x="236534" y="532833"/>
                        <a:pt x="242185" y="546007"/>
                        <a:pt x="251225" y="546007"/>
                      </a:cubicBezTo>
                      <a:cubicBezTo>
                        <a:pt x="260266" y="546007"/>
                        <a:pt x="255746" y="556140"/>
                        <a:pt x="268177" y="552087"/>
                      </a:cubicBezTo>
                      <a:cubicBezTo>
                        <a:pt x="280608" y="548034"/>
                        <a:pt x="283999" y="563234"/>
                        <a:pt x="295300" y="558167"/>
                      </a:cubicBezTo>
                      <a:cubicBezTo>
                        <a:pt x="306602" y="553101"/>
                        <a:pt x="300951" y="561207"/>
                        <a:pt x="309992" y="558167"/>
                      </a:cubicBezTo>
                      <a:cubicBezTo>
                        <a:pt x="319033" y="555127"/>
                        <a:pt x="337114" y="564248"/>
                        <a:pt x="337114" y="564248"/>
                      </a:cubicBezTo>
                      <a:cubicBezTo>
                        <a:pt x="337114" y="564248"/>
                        <a:pt x="399271" y="553101"/>
                        <a:pt x="423004" y="551074"/>
                      </a:cubicBezTo>
                      <a:cubicBezTo>
                        <a:pt x="404921" y="552087"/>
                        <a:pt x="416223" y="537900"/>
                        <a:pt x="400401" y="525740"/>
                      </a:cubicBezTo>
                      <a:cubicBezTo>
                        <a:pt x="384579" y="513580"/>
                        <a:pt x="385710" y="517633"/>
                        <a:pt x="382319" y="502433"/>
                      </a:cubicBezTo>
                      <a:cubicBezTo>
                        <a:pt x="378929" y="487232"/>
                        <a:pt x="373278" y="486219"/>
                        <a:pt x="373278" y="486219"/>
                      </a:cubicBezTo>
                      <a:lnTo>
                        <a:pt x="374409" y="343336"/>
                      </a:lnTo>
                      <a:lnTo>
                        <a:pt x="451257" y="343336"/>
                      </a:lnTo>
                      <a:cubicBezTo>
                        <a:pt x="451257" y="343336"/>
                        <a:pt x="452387" y="338269"/>
                        <a:pt x="452387" y="332189"/>
                      </a:cubicBezTo>
                      <a:cubicBezTo>
                        <a:pt x="452387" y="326109"/>
                        <a:pt x="452387" y="323068"/>
                        <a:pt x="451257" y="316989"/>
                      </a:cubicBezTo>
                      <a:cubicBezTo>
                        <a:pt x="450126" y="310908"/>
                        <a:pt x="458037" y="305842"/>
                        <a:pt x="458037" y="297734"/>
                      </a:cubicBezTo>
                      <a:cubicBezTo>
                        <a:pt x="458037" y="289628"/>
                        <a:pt x="451257" y="273414"/>
                        <a:pt x="451257" y="273414"/>
                      </a:cubicBezTo>
                      <a:cubicBezTo>
                        <a:pt x="451257" y="273414"/>
                        <a:pt x="433174" y="274427"/>
                        <a:pt x="427524" y="273414"/>
                      </a:cubicBezTo>
                      <a:cubicBezTo>
                        <a:pt x="421873" y="272401"/>
                        <a:pt x="416223" y="269361"/>
                        <a:pt x="411703" y="276454"/>
                      </a:cubicBezTo>
                      <a:cubicBezTo>
                        <a:pt x="407182" y="283548"/>
                        <a:pt x="401531" y="281521"/>
                        <a:pt x="394751" y="275441"/>
                      </a:cubicBezTo>
                      <a:cubicBezTo>
                        <a:pt x="387970" y="269361"/>
                        <a:pt x="391361" y="264294"/>
                        <a:pt x="389100" y="254160"/>
                      </a:cubicBezTo>
                      <a:cubicBezTo>
                        <a:pt x="386840" y="244027"/>
                        <a:pt x="387970" y="243013"/>
                        <a:pt x="390230" y="235920"/>
                      </a:cubicBezTo>
                      <a:cubicBezTo>
                        <a:pt x="392490" y="228826"/>
                        <a:pt x="394751" y="221733"/>
                        <a:pt x="385710" y="216666"/>
                      </a:cubicBezTo>
                      <a:cubicBezTo>
                        <a:pt x="376668" y="211599"/>
                        <a:pt x="385710" y="206532"/>
                        <a:pt x="380059" y="197412"/>
                      </a:cubicBezTo>
                      <a:cubicBezTo>
                        <a:pt x="374409" y="188292"/>
                        <a:pt x="374409" y="187279"/>
                        <a:pt x="373278" y="177145"/>
                      </a:cubicBezTo>
                      <a:cubicBezTo>
                        <a:pt x="372148" y="167012"/>
                        <a:pt x="378929" y="158905"/>
                        <a:pt x="369888" y="156878"/>
                      </a:cubicBezTo>
                      <a:cubicBezTo>
                        <a:pt x="360847" y="153838"/>
                        <a:pt x="369888" y="143704"/>
                        <a:pt x="366498" y="135597"/>
                      </a:cubicBezTo>
                      <a:cubicBezTo>
                        <a:pt x="361977" y="121410"/>
                        <a:pt x="333724" y="127491"/>
                        <a:pt x="333724" y="127491"/>
                      </a:cubicBezTo>
                      <a:lnTo>
                        <a:pt x="333724" y="122424"/>
                      </a:lnTo>
                      <a:cubicBezTo>
                        <a:pt x="333724" y="113304"/>
                        <a:pt x="326944" y="121410"/>
                        <a:pt x="312252" y="119384"/>
                      </a:cubicBezTo>
                      <a:cubicBezTo>
                        <a:pt x="297560" y="117357"/>
                        <a:pt x="295300" y="114317"/>
                        <a:pt x="289650" y="120397"/>
                      </a:cubicBezTo>
                      <a:cubicBezTo>
                        <a:pt x="283999" y="126477"/>
                        <a:pt x="288519" y="139651"/>
                        <a:pt x="290780" y="144718"/>
                      </a:cubicBezTo>
                      <a:cubicBezTo>
                        <a:pt x="293040" y="149785"/>
                        <a:pt x="283999" y="154851"/>
                        <a:pt x="278349" y="149785"/>
                      </a:cubicBezTo>
                      <a:cubicBezTo>
                        <a:pt x="272698" y="144718"/>
                        <a:pt x="268177" y="157891"/>
                        <a:pt x="258006" y="157891"/>
                      </a:cubicBezTo>
                      <a:cubicBezTo>
                        <a:pt x="247835" y="157891"/>
                        <a:pt x="242185" y="160931"/>
                        <a:pt x="235403" y="152825"/>
                      </a:cubicBezTo>
                      <a:cubicBezTo>
                        <a:pt x="228623" y="144718"/>
                        <a:pt x="226363" y="148771"/>
                        <a:pt x="224102" y="136611"/>
                      </a:cubicBezTo>
                      <a:cubicBezTo>
                        <a:pt x="221843" y="124451"/>
                        <a:pt x="224102" y="120397"/>
                        <a:pt x="219582" y="111277"/>
                      </a:cubicBezTo>
                      <a:cubicBezTo>
                        <a:pt x="215061" y="102157"/>
                        <a:pt x="220712" y="98103"/>
                        <a:pt x="218452" y="92023"/>
                      </a:cubicBezTo>
                      <a:cubicBezTo>
                        <a:pt x="216192" y="85943"/>
                        <a:pt x="209411" y="70743"/>
                        <a:pt x="209411" y="70743"/>
                      </a:cubicBezTo>
                      <a:lnTo>
                        <a:pt x="140474" y="71756"/>
                      </a:lnTo>
                      <a:cubicBezTo>
                        <a:pt x="140474" y="71756"/>
                        <a:pt x="111090" y="71756"/>
                        <a:pt x="94139" y="68716"/>
                      </a:cubicBezTo>
                      <a:cubicBezTo>
                        <a:pt x="77187" y="65676"/>
                        <a:pt x="64756" y="72769"/>
                        <a:pt x="56845" y="78850"/>
                      </a:cubicBezTo>
                      <a:cubicBezTo>
                        <a:pt x="48934" y="84930"/>
                        <a:pt x="37633" y="87970"/>
                        <a:pt x="37633" y="8797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7" name="Freeform: Shape 456">
                  <a:extLst>
                    <a:ext uri="{FF2B5EF4-FFF2-40B4-BE49-F238E27FC236}">
                      <a16:creationId xmlns:a16="http://schemas.microsoft.com/office/drawing/2014/main" id="{BACBCDB6-738D-49DE-AD04-548546360863}"/>
                    </a:ext>
                  </a:extLst>
                </p:cNvPr>
                <p:cNvSpPr/>
                <p:nvPr/>
              </p:nvSpPr>
              <p:spPr>
                <a:xfrm>
                  <a:off x="5943019" y="2526234"/>
                  <a:ext cx="22602" cy="20267"/>
                </a:xfrm>
                <a:custGeom>
                  <a:avLst/>
                  <a:gdLst>
                    <a:gd name="connsiteX0" fmla="*/ 23614 w 22602"/>
                    <a:gd name="connsiteY0" fmla="*/ 16670 h 20267"/>
                    <a:gd name="connsiteX1" fmla="*/ 14572 w 22602"/>
                    <a:gd name="connsiteY1" fmla="*/ 18697 h 20267"/>
                    <a:gd name="connsiteX2" fmla="*/ 10052 w 22602"/>
                    <a:gd name="connsiteY2" fmla="*/ 12616 h 20267"/>
                    <a:gd name="connsiteX3" fmla="*/ 21353 w 22602"/>
                    <a:gd name="connsiteY3" fmla="*/ 12616 h 20267"/>
                    <a:gd name="connsiteX4" fmla="*/ 23614 w 22602"/>
                    <a:gd name="connsiteY4" fmla="*/ 16670 h 2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2" h="20267">
                      <a:moveTo>
                        <a:pt x="23614" y="16670"/>
                      </a:moveTo>
                      <a:lnTo>
                        <a:pt x="14572" y="18697"/>
                      </a:lnTo>
                      <a:lnTo>
                        <a:pt x="10052" y="12616"/>
                      </a:lnTo>
                      <a:cubicBezTo>
                        <a:pt x="10052" y="12616"/>
                        <a:pt x="16832" y="4510"/>
                        <a:pt x="21353" y="12616"/>
                      </a:cubicBezTo>
                      <a:lnTo>
                        <a:pt x="23614" y="1667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9" name="Freeform: Shape 458">
                  <a:extLst>
                    <a:ext uri="{FF2B5EF4-FFF2-40B4-BE49-F238E27FC236}">
                      <a16:creationId xmlns:a16="http://schemas.microsoft.com/office/drawing/2014/main" id="{39E90D3A-6E6F-4AD9-A52D-980828B7289F}"/>
                    </a:ext>
                  </a:extLst>
                </p:cNvPr>
                <p:cNvSpPr/>
                <p:nvPr/>
              </p:nvSpPr>
              <p:spPr>
                <a:xfrm>
                  <a:off x="5602853" y="2759869"/>
                  <a:ext cx="700674" cy="760018"/>
                </a:xfrm>
                <a:custGeom>
                  <a:avLst/>
                  <a:gdLst>
                    <a:gd name="connsiteX0" fmla="*/ 694905 w 700674"/>
                    <a:gd name="connsiteY0" fmla="*/ 574466 h 760017"/>
                    <a:gd name="connsiteX1" fmla="*/ 506175 w 700674"/>
                    <a:gd name="connsiteY1" fmla="*/ 705190 h 760017"/>
                    <a:gd name="connsiteX2" fmla="*/ 486963 w 700674"/>
                    <a:gd name="connsiteY2" fmla="*/ 735590 h 760017"/>
                    <a:gd name="connsiteX3" fmla="*/ 437238 w 700674"/>
                    <a:gd name="connsiteY3" fmla="*/ 743697 h 760017"/>
                    <a:gd name="connsiteX4" fmla="*/ 401074 w 700674"/>
                    <a:gd name="connsiteY4" fmla="*/ 750791 h 760017"/>
                    <a:gd name="connsiteX5" fmla="*/ 401074 w 700674"/>
                    <a:gd name="connsiteY5" fmla="*/ 732550 h 760017"/>
                    <a:gd name="connsiteX6" fmla="*/ 399943 w 700674"/>
                    <a:gd name="connsiteY6" fmla="*/ 714310 h 760017"/>
                    <a:gd name="connsiteX7" fmla="*/ 388642 w 700674"/>
                    <a:gd name="connsiteY7" fmla="*/ 696069 h 760017"/>
                    <a:gd name="connsiteX8" fmla="*/ 361520 w 700674"/>
                    <a:gd name="connsiteY8" fmla="*/ 684923 h 760017"/>
                    <a:gd name="connsiteX9" fmla="*/ 351348 w 700674"/>
                    <a:gd name="connsiteY9" fmla="*/ 668709 h 760017"/>
                    <a:gd name="connsiteX10" fmla="*/ 128715 w 700674"/>
                    <a:gd name="connsiteY10" fmla="*/ 516705 h 760017"/>
                    <a:gd name="connsiteX11" fmla="*/ 10052 w 700674"/>
                    <a:gd name="connsiteY11" fmla="*/ 435637 h 760017"/>
                    <a:gd name="connsiteX12" fmla="*/ 10052 w 700674"/>
                    <a:gd name="connsiteY12" fmla="*/ 411316 h 760017"/>
                    <a:gd name="connsiteX13" fmla="*/ 10052 w 700674"/>
                    <a:gd name="connsiteY13" fmla="*/ 376862 h 760017"/>
                    <a:gd name="connsiteX14" fmla="*/ 19094 w 700674"/>
                    <a:gd name="connsiteY14" fmla="*/ 366728 h 760017"/>
                    <a:gd name="connsiteX15" fmla="*/ 36045 w 700674"/>
                    <a:gd name="connsiteY15" fmla="*/ 348488 h 760017"/>
                    <a:gd name="connsiteX16" fmla="*/ 64298 w 700674"/>
                    <a:gd name="connsiteY16" fmla="*/ 337341 h 760017"/>
                    <a:gd name="connsiteX17" fmla="*/ 101592 w 700674"/>
                    <a:gd name="connsiteY17" fmla="*/ 323154 h 760017"/>
                    <a:gd name="connsiteX18" fmla="*/ 123064 w 700674"/>
                    <a:gd name="connsiteY18" fmla="*/ 315047 h 760017"/>
                    <a:gd name="connsiteX19" fmla="*/ 146797 w 700674"/>
                    <a:gd name="connsiteY19" fmla="*/ 301873 h 760017"/>
                    <a:gd name="connsiteX20" fmla="*/ 175050 w 700674"/>
                    <a:gd name="connsiteY20" fmla="*/ 266406 h 760017"/>
                    <a:gd name="connsiteX21" fmla="*/ 196522 w 700674"/>
                    <a:gd name="connsiteY21" fmla="*/ 257286 h 760017"/>
                    <a:gd name="connsiteX22" fmla="*/ 203303 w 700674"/>
                    <a:gd name="connsiteY22" fmla="*/ 238032 h 760017"/>
                    <a:gd name="connsiteX23" fmla="*/ 221385 w 700674"/>
                    <a:gd name="connsiteY23" fmla="*/ 218778 h 760017"/>
                    <a:gd name="connsiteX24" fmla="*/ 248508 w 700674"/>
                    <a:gd name="connsiteY24" fmla="*/ 199524 h 760017"/>
                    <a:gd name="connsiteX25" fmla="*/ 239467 w 700674"/>
                    <a:gd name="connsiteY25" fmla="*/ 179257 h 760017"/>
                    <a:gd name="connsiteX26" fmla="*/ 233816 w 700674"/>
                    <a:gd name="connsiteY26" fmla="*/ 157977 h 760017"/>
                    <a:gd name="connsiteX27" fmla="*/ 222515 w 700674"/>
                    <a:gd name="connsiteY27" fmla="*/ 138723 h 760017"/>
                    <a:gd name="connsiteX28" fmla="*/ 228166 w 700674"/>
                    <a:gd name="connsiteY28" fmla="*/ 112376 h 760017"/>
                    <a:gd name="connsiteX29" fmla="*/ 216864 w 700674"/>
                    <a:gd name="connsiteY29" fmla="*/ 90082 h 760017"/>
                    <a:gd name="connsiteX30" fmla="*/ 228166 w 700674"/>
                    <a:gd name="connsiteY30" fmla="*/ 84002 h 760017"/>
                    <a:gd name="connsiteX31" fmla="*/ 241727 w 700674"/>
                    <a:gd name="connsiteY31" fmla="*/ 84002 h 760017"/>
                    <a:gd name="connsiteX32" fmla="*/ 266589 w 700674"/>
                    <a:gd name="connsiteY32" fmla="*/ 59681 h 760017"/>
                    <a:gd name="connsiteX33" fmla="*/ 295973 w 700674"/>
                    <a:gd name="connsiteY33" fmla="*/ 57655 h 760017"/>
                    <a:gd name="connsiteX34" fmla="*/ 311794 w 700674"/>
                    <a:gd name="connsiteY34" fmla="*/ 43468 h 760017"/>
                    <a:gd name="connsiteX35" fmla="*/ 331006 w 700674"/>
                    <a:gd name="connsiteY35" fmla="*/ 43468 h 760017"/>
                    <a:gd name="connsiteX36" fmla="*/ 333267 w 700674"/>
                    <a:gd name="connsiteY36" fmla="*/ 36374 h 760017"/>
                    <a:gd name="connsiteX37" fmla="*/ 354738 w 700674"/>
                    <a:gd name="connsiteY37" fmla="*/ 29281 h 760017"/>
                    <a:gd name="connsiteX38" fmla="*/ 360389 w 700674"/>
                    <a:gd name="connsiteY38" fmla="*/ 22187 h 760017"/>
                    <a:gd name="connsiteX39" fmla="*/ 393163 w 700674"/>
                    <a:gd name="connsiteY39" fmla="*/ 27254 h 760017"/>
                    <a:gd name="connsiteX40" fmla="*/ 436107 w 700674"/>
                    <a:gd name="connsiteY40" fmla="*/ 17120 h 760017"/>
                    <a:gd name="connsiteX41" fmla="*/ 476792 w 700674"/>
                    <a:gd name="connsiteY41" fmla="*/ 17120 h 760017"/>
                    <a:gd name="connsiteX42" fmla="*/ 479052 w 700674"/>
                    <a:gd name="connsiteY42" fmla="*/ 22187 h 760017"/>
                    <a:gd name="connsiteX43" fmla="*/ 494874 w 700674"/>
                    <a:gd name="connsiteY43" fmla="*/ 17120 h 760017"/>
                    <a:gd name="connsiteX44" fmla="*/ 514086 w 700674"/>
                    <a:gd name="connsiteY44" fmla="*/ 19147 h 760017"/>
                    <a:gd name="connsiteX45" fmla="*/ 514086 w 700674"/>
                    <a:gd name="connsiteY45" fmla="*/ 14080 h 760017"/>
                    <a:gd name="connsiteX46" fmla="*/ 529907 w 700674"/>
                    <a:gd name="connsiteY46" fmla="*/ 9013 h 760017"/>
                    <a:gd name="connsiteX47" fmla="*/ 545729 w 700674"/>
                    <a:gd name="connsiteY47" fmla="*/ 26240 h 760017"/>
                    <a:gd name="connsiteX48" fmla="*/ 551380 w 700674"/>
                    <a:gd name="connsiteY48" fmla="*/ 26240 h 760017"/>
                    <a:gd name="connsiteX49" fmla="*/ 557030 w 700674"/>
                    <a:gd name="connsiteY49" fmla="*/ 12054 h 760017"/>
                    <a:gd name="connsiteX50" fmla="*/ 572852 w 700674"/>
                    <a:gd name="connsiteY50" fmla="*/ 15094 h 760017"/>
                    <a:gd name="connsiteX51" fmla="*/ 576242 w 700674"/>
                    <a:gd name="connsiteY51" fmla="*/ 44481 h 760017"/>
                    <a:gd name="connsiteX52" fmla="*/ 580762 w 700674"/>
                    <a:gd name="connsiteY52" fmla="*/ 63735 h 760017"/>
                    <a:gd name="connsiteX53" fmla="*/ 589804 w 700674"/>
                    <a:gd name="connsiteY53" fmla="*/ 95149 h 760017"/>
                    <a:gd name="connsiteX54" fmla="*/ 579633 w 700674"/>
                    <a:gd name="connsiteY54" fmla="*/ 111363 h 760017"/>
                    <a:gd name="connsiteX55" fmla="*/ 562681 w 700674"/>
                    <a:gd name="connsiteY55" fmla="*/ 131630 h 760017"/>
                    <a:gd name="connsiteX56" fmla="*/ 550250 w 700674"/>
                    <a:gd name="connsiteY56" fmla="*/ 140750 h 760017"/>
                    <a:gd name="connsiteX57" fmla="*/ 557030 w 700674"/>
                    <a:gd name="connsiteY57" fmla="*/ 176217 h 760017"/>
                    <a:gd name="connsiteX58" fmla="*/ 571722 w 700674"/>
                    <a:gd name="connsiteY58" fmla="*/ 181284 h 760017"/>
                    <a:gd name="connsiteX59" fmla="*/ 580762 w 700674"/>
                    <a:gd name="connsiteY59" fmla="*/ 209658 h 760017"/>
                    <a:gd name="connsiteX60" fmla="*/ 601105 w 700674"/>
                    <a:gd name="connsiteY60" fmla="*/ 214725 h 760017"/>
                    <a:gd name="connsiteX61" fmla="*/ 613536 w 700674"/>
                    <a:gd name="connsiteY61" fmla="*/ 286673 h 760017"/>
                    <a:gd name="connsiteX62" fmla="*/ 607886 w 700674"/>
                    <a:gd name="connsiteY62" fmla="*/ 290727 h 760017"/>
                    <a:gd name="connsiteX63" fmla="*/ 613536 w 700674"/>
                    <a:gd name="connsiteY63" fmla="*/ 304914 h 760017"/>
                    <a:gd name="connsiteX64" fmla="*/ 609015 w 700674"/>
                    <a:gd name="connsiteY64" fmla="*/ 369769 h 760017"/>
                    <a:gd name="connsiteX65" fmla="*/ 621447 w 700674"/>
                    <a:gd name="connsiteY65" fmla="*/ 383955 h 760017"/>
                    <a:gd name="connsiteX66" fmla="*/ 610146 w 700674"/>
                    <a:gd name="connsiteY66" fmla="*/ 394089 h 760017"/>
                    <a:gd name="connsiteX67" fmla="*/ 613536 w 700674"/>
                    <a:gd name="connsiteY67" fmla="*/ 407263 h 760017"/>
                    <a:gd name="connsiteX68" fmla="*/ 612406 w 700674"/>
                    <a:gd name="connsiteY68" fmla="*/ 447797 h 760017"/>
                    <a:gd name="connsiteX69" fmla="*/ 589804 w 700674"/>
                    <a:gd name="connsiteY69" fmla="*/ 466037 h 760017"/>
                    <a:gd name="connsiteX70" fmla="*/ 601105 w 700674"/>
                    <a:gd name="connsiteY70" fmla="*/ 479211 h 760017"/>
                    <a:gd name="connsiteX71" fmla="*/ 615797 w 700674"/>
                    <a:gd name="connsiteY71" fmla="*/ 503531 h 760017"/>
                    <a:gd name="connsiteX72" fmla="*/ 624837 w 700674"/>
                    <a:gd name="connsiteY72" fmla="*/ 522785 h 760017"/>
                    <a:gd name="connsiteX73" fmla="*/ 640659 w 700674"/>
                    <a:gd name="connsiteY73" fmla="*/ 544066 h 760017"/>
                    <a:gd name="connsiteX74" fmla="*/ 664392 w 700674"/>
                    <a:gd name="connsiteY74" fmla="*/ 548119 h 760017"/>
                    <a:gd name="connsiteX75" fmla="*/ 681343 w 700674"/>
                    <a:gd name="connsiteY75" fmla="*/ 561293 h 760017"/>
                    <a:gd name="connsiteX76" fmla="*/ 694905 w 700674"/>
                    <a:gd name="connsiteY76" fmla="*/ 574466 h 76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700674" h="760017">
                      <a:moveTo>
                        <a:pt x="694905" y="574466"/>
                      </a:moveTo>
                      <a:lnTo>
                        <a:pt x="506175" y="705190"/>
                      </a:lnTo>
                      <a:lnTo>
                        <a:pt x="486963" y="735590"/>
                      </a:lnTo>
                      <a:lnTo>
                        <a:pt x="437238" y="743697"/>
                      </a:lnTo>
                      <a:cubicBezTo>
                        <a:pt x="437238" y="743697"/>
                        <a:pt x="398813" y="755858"/>
                        <a:pt x="401074" y="750791"/>
                      </a:cubicBezTo>
                      <a:cubicBezTo>
                        <a:pt x="403334" y="745724"/>
                        <a:pt x="405594" y="741670"/>
                        <a:pt x="401074" y="732550"/>
                      </a:cubicBezTo>
                      <a:cubicBezTo>
                        <a:pt x="396553" y="723430"/>
                        <a:pt x="396553" y="728497"/>
                        <a:pt x="399943" y="714310"/>
                      </a:cubicBezTo>
                      <a:cubicBezTo>
                        <a:pt x="403334" y="700123"/>
                        <a:pt x="395423" y="701136"/>
                        <a:pt x="388642" y="696069"/>
                      </a:cubicBezTo>
                      <a:cubicBezTo>
                        <a:pt x="381862" y="691002"/>
                        <a:pt x="370560" y="691002"/>
                        <a:pt x="361520" y="684923"/>
                      </a:cubicBezTo>
                      <a:cubicBezTo>
                        <a:pt x="352479" y="678842"/>
                        <a:pt x="351348" y="668709"/>
                        <a:pt x="351348" y="668709"/>
                      </a:cubicBezTo>
                      <a:lnTo>
                        <a:pt x="128715" y="516705"/>
                      </a:lnTo>
                      <a:lnTo>
                        <a:pt x="10052" y="435637"/>
                      </a:lnTo>
                      <a:lnTo>
                        <a:pt x="10052" y="411316"/>
                      </a:lnTo>
                      <a:lnTo>
                        <a:pt x="10052" y="376862"/>
                      </a:lnTo>
                      <a:cubicBezTo>
                        <a:pt x="10052" y="376862"/>
                        <a:pt x="11183" y="371795"/>
                        <a:pt x="19094" y="366728"/>
                      </a:cubicBezTo>
                      <a:cubicBezTo>
                        <a:pt x="25874" y="361661"/>
                        <a:pt x="29264" y="353555"/>
                        <a:pt x="36045" y="348488"/>
                      </a:cubicBezTo>
                      <a:cubicBezTo>
                        <a:pt x="42826" y="343421"/>
                        <a:pt x="51867" y="339368"/>
                        <a:pt x="64298" y="337341"/>
                      </a:cubicBezTo>
                      <a:cubicBezTo>
                        <a:pt x="76729" y="334301"/>
                        <a:pt x="91421" y="334301"/>
                        <a:pt x="101592" y="323154"/>
                      </a:cubicBezTo>
                      <a:cubicBezTo>
                        <a:pt x="111763" y="312007"/>
                        <a:pt x="111763" y="318087"/>
                        <a:pt x="123064" y="315047"/>
                      </a:cubicBezTo>
                      <a:cubicBezTo>
                        <a:pt x="134365" y="312007"/>
                        <a:pt x="134365" y="309981"/>
                        <a:pt x="146797" y="301873"/>
                      </a:cubicBezTo>
                      <a:cubicBezTo>
                        <a:pt x="159228" y="293767"/>
                        <a:pt x="175050" y="266406"/>
                        <a:pt x="175050" y="266406"/>
                      </a:cubicBezTo>
                      <a:cubicBezTo>
                        <a:pt x="175050" y="266406"/>
                        <a:pt x="185221" y="266406"/>
                        <a:pt x="196522" y="257286"/>
                      </a:cubicBezTo>
                      <a:cubicBezTo>
                        <a:pt x="207823" y="248166"/>
                        <a:pt x="203303" y="249179"/>
                        <a:pt x="203303" y="238032"/>
                      </a:cubicBezTo>
                      <a:cubicBezTo>
                        <a:pt x="203303" y="226885"/>
                        <a:pt x="220255" y="228912"/>
                        <a:pt x="221385" y="218778"/>
                      </a:cubicBezTo>
                      <a:cubicBezTo>
                        <a:pt x="222515" y="208645"/>
                        <a:pt x="242857" y="205605"/>
                        <a:pt x="248508" y="199524"/>
                      </a:cubicBezTo>
                      <a:cubicBezTo>
                        <a:pt x="254158" y="193444"/>
                        <a:pt x="247377" y="188378"/>
                        <a:pt x="239467" y="179257"/>
                      </a:cubicBezTo>
                      <a:cubicBezTo>
                        <a:pt x="232686" y="170137"/>
                        <a:pt x="233816" y="168111"/>
                        <a:pt x="233816" y="157977"/>
                      </a:cubicBezTo>
                      <a:cubicBezTo>
                        <a:pt x="233816" y="147843"/>
                        <a:pt x="222515" y="149870"/>
                        <a:pt x="222515" y="138723"/>
                      </a:cubicBezTo>
                      <a:cubicBezTo>
                        <a:pt x="222515" y="127576"/>
                        <a:pt x="227035" y="120483"/>
                        <a:pt x="228166" y="112376"/>
                      </a:cubicBezTo>
                      <a:cubicBezTo>
                        <a:pt x="229295" y="104269"/>
                        <a:pt x="216864" y="90082"/>
                        <a:pt x="216864" y="90082"/>
                      </a:cubicBezTo>
                      <a:cubicBezTo>
                        <a:pt x="220255" y="88055"/>
                        <a:pt x="224775" y="85015"/>
                        <a:pt x="228166" y="84002"/>
                      </a:cubicBezTo>
                      <a:cubicBezTo>
                        <a:pt x="232686" y="82988"/>
                        <a:pt x="237206" y="86029"/>
                        <a:pt x="241727" y="84002"/>
                      </a:cubicBezTo>
                      <a:cubicBezTo>
                        <a:pt x="251898" y="78935"/>
                        <a:pt x="255288" y="64748"/>
                        <a:pt x="266589" y="59681"/>
                      </a:cubicBezTo>
                      <a:cubicBezTo>
                        <a:pt x="279021" y="54614"/>
                        <a:pt x="288062" y="59681"/>
                        <a:pt x="295973" y="57655"/>
                      </a:cubicBezTo>
                      <a:cubicBezTo>
                        <a:pt x="301623" y="55628"/>
                        <a:pt x="307274" y="44481"/>
                        <a:pt x="311794" y="43468"/>
                      </a:cubicBezTo>
                      <a:cubicBezTo>
                        <a:pt x="317445" y="41441"/>
                        <a:pt x="325356" y="45494"/>
                        <a:pt x="331006" y="43468"/>
                      </a:cubicBezTo>
                      <a:cubicBezTo>
                        <a:pt x="331006" y="43468"/>
                        <a:pt x="333267" y="36374"/>
                        <a:pt x="333267" y="36374"/>
                      </a:cubicBezTo>
                      <a:cubicBezTo>
                        <a:pt x="340047" y="31307"/>
                        <a:pt x="347958" y="33334"/>
                        <a:pt x="354738" y="29281"/>
                      </a:cubicBezTo>
                      <a:cubicBezTo>
                        <a:pt x="355869" y="28267"/>
                        <a:pt x="359259" y="22187"/>
                        <a:pt x="360389" y="22187"/>
                      </a:cubicBezTo>
                      <a:cubicBezTo>
                        <a:pt x="368300" y="20160"/>
                        <a:pt x="386382" y="27254"/>
                        <a:pt x="393163" y="27254"/>
                      </a:cubicBezTo>
                      <a:cubicBezTo>
                        <a:pt x="413505" y="28267"/>
                        <a:pt x="420286" y="18134"/>
                        <a:pt x="436107" y="17120"/>
                      </a:cubicBezTo>
                      <a:cubicBezTo>
                        <a:pt x="451929" y="16107"/>
                        <a:pt x="459840" y="19147"/>
                        <a:pt x="476792" y="17120"/>
                      </a:cubicBezTo>
                      <a:cubicBezTo>
                        <a:pt x="476792" y="17120"/>
                        <a:pt x="479052" y="22187"/>
                        <a:pt x="479052" y="22187"/>
                      </a:cubicBezTo>
                      <a:cubicBezTo>
                        <a:pt x="486963" y="23200"/>
                        <a:pt x="491483" y="18134"/>
                        <a:pt x="494874" y="17120"/>
                      </a:cubicBezTo>
                      <a:cubicBezTo>
                        <a:pt x="503914" y="16107"/>
                        <a:pt x="506175" y="21174"/>
                        <a:pt x="514086" y="19147"/>
                      </a:cubicBezTo>
                      <a:lnTo>
                        <a:pt x="514086" y="14080"/>
                      </a:lnTo>
                      <a:cubicBezTo>
                        <a:pt x="520866" y="12054"/>
                        <a:pt x="524256" y="12054"/>
                        <a:pt x="529907" y="9013"/>
                      </a:cubicBezTo>
                      <a:cubicBezTo>
                        <a:pt x="537818" y="15094"/>
                        <a:pt x="541208" y="17120"/>
                        <a:pt x="545729" y="26240"/>
                      </a:cubicBezTo>
                      <a:lnTo>
                        <a:pt x="551380" y="26240"/>
                      </a:lnTo>
                      <a:cubicBezTo>
                        <a:pt x="553640" y="21174"/>
                        <a:pt x="554770" y="17120"/>
                        <a:pt x="557030" y="12054"/>
                      </a:cubicBezTo>
                      <a:cubicBezTo>
                        <a:pt x="561551" y="13067"/>
                        <a:pt x="567202" y="15094"/>
                        <a:pt x="572852" y="15094"/>
                      </a:cubicBezTo>
                      <a:cubicBezTo>
                        <a:pt x="572852" y="15094"/>
                        <a:pt x="568331" y="41441"/>
                        <a:pt x="576242" y="44481"/>
                      </a:cubicBezTo>
                      <a:cubicBezTo>
                        <a:pt x="583023" y="48534"/>
                        <a:pt x="580762" y="54614"/>
                        <a:pt x="580762" y="63735"/>
                      </a:cubicBezTo>
                      <a:cubicBezTo>
                        <a:pt x="580762" y="72855"/>
                        <a:pt x="587544" y="84002"/>
                        <a:pt x="589804" y="95149"/>
                      </a:cubicBezTo>
                      <a:cubicBezTo>
                        <a:pt x="592064" y="106296"/>
                        <a:pt x="579633" y="104269"/>
                        <a:pt x="579633" y="111363"/>
                      </a:cubicBezTo>
                      <a:cubicBezTo>
                        <a:pt x="579633" y="118456"/>
                        <a:pt x="570592" y="130616"/>
                        <a:pt x="562681" y="131630"/>
                      </a:cubicBezTo>
                      <a:cubicBezTo>
                        <a:pt x="554770" y="132643"/>
                        <a:pt x="550250" y="130616"/>
                        <a:pt x="550250" y="140750"/>
                      </a:cubicBezTo>
                      <a:cubicBezTo>
                        <a:pt x="550250" y="150883"/>
                        <a:pt x="557030" y="176217"/>
                        <a:pt x="557030" y="176217"/>
                      </a:cubicBezTo>
                      <a:cubicBezTo>
                        <a:pt x="557030" y="176217"/>
                        <a:pt x="567202" y="173177"/>
                        <a:pt x="571722" y="181284"/>
                      </a:cubicBezTo>
                      <a:cubicBezTo>
                        <a:pt x="576242" y="189391"/>
                        <a:pt x="580762" y="209658"/>
                        <a:pt x="580762" y="209658"/>
                      </a:cubicBezTo>
                      <a:lnTo>
                        <a:pt x="601105" y="214725"/>
                      </a:lnTo>
                      <a:lnTo>
                        <a:pt x="613536" y="286673"/>
                      </a:lnTo>
                      <a:cubicBezTo>
                        <a:pt x="611276" y="287687"/>
                        <a:pt x="609015" y="288700"/>
                        <a:pt x="607886" y="290727"/>
                      </a:cubicBezTo>
                      <a:cubicBezTo>
                        <a:pt x="603365" y="295793"/>
                        <a:pt x="613536" y="304914"/>
                        <a:pt x="613536" y="304914"/>
                      </a:cubicBezTo>
                      <a:lnTo>
                        <a:pt x="609015" y="369769"/>
                      </a:lnTo>
                      <a:lnTo>
                        <a:pt x="621447" y="383955"/>
                      </a:lnTo>
                      <a:cubicBezTo>
                        <a:pt x="621447" y="383955"/>
                        <a:pt x="604495" y="393076"/>
                        <a:pt x="610146" y="394089"/>
                      </a:cubicBezTo>
                      <a:cubicBezTo>
                        <a:pt x="615797" y="395102"/>
                        <a:pt x="613536" y="407263"/>
                        <a:pt x="613536" y="407263"/>
                      </a:cubicBezTo>
                      <a:cubicBezTo>
                        <a:pt x="613536" y="407263"/>
                        <a:pt x="614666" y="433610"/>
                        <a:pt x="612406" y="447797"/>
                      </a:cubicBezTo>
                      <a:cubicBezTo>
                        <a:pt x="609015" y="461984"/>
                        <a:pt x="589804" y="466037"/>
                        <a:pt x="589804" y="466037"/>
                      </a:cubicBezTo>
                      <a:cubicBezTo>
                        <a:pt x="589804" y="466037"/>
                        <a:pt x="595455" y="472118"/>
                        <a:pt x="601105" y="479211"/>
                      </a:cubicBezTo>
                      <a:cubicBezTo>
                        <a:pt x="606756" y="486305"/>
                        <a:pt x="607886" y="497452"/>
                        <a:pt x="615797" y="503531"/>
                      </a:cubicBezTo>
                      <a:cubicBezTo>
                        <a:pt x="622577" y="509612"/>
                        <a:pt x="624837" y="513665"/>
                        <a:pt x="624837" y="522785"/>
                      </a:cubicBezTo>
                      <a:cubicBezTo>
                        <a:pt x="624837" y="531906"/>
                        <a:pt x="633878" y="544066"/>
                        <a:pt x="640659" y="544066"/>
                      </a:cubicBezTo>
                      <a:cubicBezTo>
                        <a:pt x="647440" y="544066"/>
                        <a:pt x="656481" y="545079"/>
                        <a:pt x="664392" y="548119"/>
                      </a:cubicBezTo>
                      <a:cubicBezTo>
                        <a:pt x="672303" y="551159"/>
                        <a:pt x="673432" y="561293"/>
                        <a:pt x="681343" y="561293"/>
                      </a:cubicBezTo>
                      <a:cubicBezTo>
                        <a:pt x="689254" y="561293"/>
                        <a:pt x="694905" y="574466"/>
                        <a:pt x="694905" y="574466"/>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60" name="Freeform: Shape 459">
                  <a:extLst>
                    <a:ext uri="{FF2B5EF4-FFF2-40B4-BE49-F238E27FC236}">
                      <a16:creationId xmlns:a16="http://schemas.microsoft.com/office/drawing/2014/main" id="{4513E682-ABDE-4DD6-BF8B-B64C5D27F33B}"/>
                    </a:ext>
                  </a:extLst>
                </p:cNvPr>
                <p:cNvSpPr/>
                <p:nvPr/>
              </p:nvSpPr>
              <p:spPr>
                <a:xfrm>
                  <a:off x="6563455" y="2526797"/>
                  <a:ext cx="79108" cy="141870"/>
                </a:xfrm>
                <a:custGeom>
                  <a:avLst/>
                  <a:gdLst>
                    <a:gd name="connsiteX0" fmla="*/ 10052 w 79108"/>
                    <a:gd name="connsiteY0" fmla="*/ 34347 h 141869"/>
                    <a:gd name="connsiteX1" fmla="*/ 13443 w 79108"/>
                    <a:gd name="connsiteY1" fmla="*/ 38401 h 141869"/>
                    <a:gd name="connsiteX2" fmla="*/ 27004 w 79108"/>
                    <a:gd name="connsiteY2" fmla="*/ 40428 h 141869"/>
                    <a:gd name="connsiteX3" fmla="*/ 27004 w 79108"/>
                    <a:gd name="connsiteY3" fmla="*/ 66775 h 141869"/>
                    <a:gd name="connsiteX4" fmla="*/ 19094 w 79108"/>
                    <a:gd name="connsiteY4" fmla="*/ 98189 h 141869"/>
                    <a:gd name="connsiteX5" fmla="*/ 46216 w 79108"/>
                    <a:gd name="connsiteY5" fmla="*/ 124536 h 141869"/>
                    <a:gd name="connsiteX6" fmla="*/ 49606 w 79108"/>
                    <a:gd name="connsiteY6" fmla="*/ 133656 h 141869"/>
                    <a:gd name="connsiteX7" fmla="*/ 59778 w 79108"/>
                    <a:gd name="connsiteY7" fmla="*/ 133656 h 141869"/>
                    <a:gd name="connsiteX8" fmla="*/ 60907 w 79108"/>
                    <a:gd name="connsiteY8" fmla="*/ 125549 h 141869"/>
                    <a:gd name="connsiteX9" fmla="*/ 72209 w 79108"/>
                    <a:gd name="connsiteY9" fmla="*/ 121496 h 141869"/>
                    <a:gd name="connsiteX10" fmla="*/ 80120 w 79108"/>
                    <a:gd name="connsiteY10" fmla="*/ 107309 h 141869"/>
                    <a:gd name="connsiteX11" fmla="*/ 76729 w 79108"/>
                    <a:gd name="connsiteY11" fmla="*/ 94135 h 141869"/>
                    <a:gd name="connsiteX12" fmla="*/ 68818 w 79108"/>
                    <a:gd name="connsiteY12" fmla="*/ 78935 h 141869"/>
                    <a:gd name="connsiteX13" fmla="*/ 66558 w 79108"/>
                    <a:gd name="connsiteY13" fmla="*/ 64748 h 141869"/>
                    <a:gd name="connsiteX14" fmla="*/ 69949 w 79108"/>
                    <a:gd name="connsiteY14" fmla="*/ 44481 h 141869"/>
                    <a:gd name="connsiteX15" fmla="*/ 64298 w 79108"/>
                    <a:gd name="connsiteY15" fmla="*/ 28267 h 141869"/>
                    <a:gd name="connsiteX16" fmla="*/ 48476 w 79108"/>
                    <a:gd name="connsiteY16" fmla="*/ 14080 h 141869"/>
                    <a:gd name="connsiteX17" fmla="*/ 39436 w 79108"/>
                    <a:gd name="connsiteY17" fmla="*/ 22187 h 141869"/>
                    <a:gd name="connsiteX18" fmla="*/ 33785 w 79108"/>
                    <a:gd name="connsiteY18" fmla="*/ 9013 h 141869"/>
                    <a:gd name="connsiteX19" fmla="*/ 12312 w 79108"/>
                    <a:gd name="connsiteY19" fmla="*/ 20160 h 141869"/>
                    <a:gd name="connsiteX20" fmla="*/ 10052 w 79108"/>
                    <a:gd name="connsiteY20" fmla="*/ 34347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108" h="141869">
                      <a:moveTo>
                        <a:pt x="10052" y="34347"/>
                      </a:moveTo>
                      <a:cubicBezTo>
                        <a:pt x="11183" y="36374"/>
                        <a:pt x="12312" y="37387"/>
                        <a:pt x="13443" y="38401"/>
                      </a:cubicBezTo>
                      <a:cubicBezTo>
                        <a:pt x="16833" y="40428"/>
                        <a:pt x="24744" y="39414"/>
                        <a:pt x="27004" y="40428"/>
                      </a:cubicBezTo>
                      <a:cubicBezTo>
                        <a:pt x="24744" y="49548"/>
                        <a:pt x="20223" y="64748"/>
                        <a:pt x="27004" y="66775"/>
                      </a:cubicBezTo>
                      <a:cubicBezTo>
                        <a:pt x="24744" y="75895"/>
                        <a:pt x="16833" y="85015"/>
                        <a:pt x="19094" y="98189"/>
                      </a:cubicBezTo>
                      <a:cubicBezTo>
                        <a:pt x="21353" y="112376"/>
                        <a:pt x="39436" y="115416"/>
                        <a:pt x="46216" y="124536"/>
                      </a:cubicBezTo>
                      <a:cubicBezTo>
                        <a:pt x="48476" y="127576"/>
                        <a:pt x="49606" y="130616"/>
                        <a:pt x="49606" y="133656"/>
                      </a:cubicBezTo>
                      <a:cubicBezTo>
                        <a:pt x="49606" y="133656"/>
                        <a:pt x="51867" y="133656"/>
                        <a:pt x="59778" y="133656"/>
                      </a:cubicBezTo>
                      <a:cubicBezTo>
                        <a:pt x="67689" y="133656"/>
                        <a:pt x="60907" y="125549"/>
                        <a:pt x="60907" y="125549"/>
                      </a:cubicBezTo>
                      <a:cubicBezTo>
                        <a:pt x="60907" y="125549"/>
                        <a:pt x="69949" y="126563"/>
                        <a:pt x="72209" y="121496"/>
                      </a:cubicBezTo>
                      <a:cubicBezTo>
                        <a:pt x="74469" y="116429"/>
                        <a:pt x="80120" y="107309"/>
                        <a:pt x="80120" y="107309"/>
                      </a:cubicBezTo>
                      <a:lnTo>
                        <a:pt x="76729" y="94135"/>
                      </a:lnTo>
                      <a:cubicBezTo>
                        <a:pt x="76729" y="94135"/>
                        <a:pt x="75599" y="86029"/>
                        <a:pt x="68818" y="78935"/>
                      </a:cubicBezTo>
                      <a:cubicBezTo>
                        <a:pt x="62038" y="70828"/>
                        <a:pt x="62038" y="72855"/>
                        <a:pt x="66558" y="64748"/>
                      </a:cubicBezTo>
                      <a:cubicBezTo>
                        <a:pt x="69949" y="56641"/>
                        <a:pt x="69949" y="44481"/>
                        <a:pt x="69949" y="44481"/>
                      </a:cubicBezTo>
                      <a:lnTo>
                        <a:pt x="64298" y="28267"/>
                      </a:lnTo>
                      <a:lnTo>
                        <a:pt x="48476" y="14080"/>
                      </a:lnTo>
                      <a:lnTo>
                        <a:pt x="39436" y="22187"/>
                      </a:lnTo>
                      <a:lnTo>
                        <a:pt x="33785" y="9013"/>
                      </a:lnTo>
                      <a:lnTo>
                        <a:pt x="12312" y="20160"/>
                      </a:lnTo>
                      <a:lnTo>
                        <a:pt x="10052" y="3434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61" name="Freeform: Shape 460">
                  <a:extLst>
                    <a:ext uri="{FF2B5EF4-FFF2-40B4-BE49-F238E27FC236}">
                      <a16:creationId xmlns:a16="http://schemas.microsoft.com/office/drawing/2014/main" id="{4CD17138-D29F-4D8A-8D25-4B1E0D377BCF}"/>
                    </a:ext>
                  </a:extLst>
                </p:cNvPr>
                <p:cNvSpPr/>
                <p:nvPr/>
              </p:nvSpPr>
              <p:spPr>
                <a:xfrm>
                  <a:off x="-749549" y="1025453"/>
                  <a:ext cx="2102022" cy="1084292"/>
                </a:xfrm>
                <a:custGeom>
                  <a:avLst/>
                  <a:gdLst>
                    <a:gd name="connsiteX0" fmla="*/ 551379 w 2102022"/>
                    <a:gd name="connsiteY0" fmla="*/ 594283 h 1084291"/>
                    <a:gd name="connsiteX1" fmla="*/ 552509 w 2102022"/>
                    <a:gd name="connsiteY1" fmla="*/ 607456 h 1084291"/>
                    <a:gd name="connsiteX2" fmla="*/ 564941 w 2102022"/>
                    <a:gd name="connsiteY2" fmla="*/ 613536 h 1084291"/>
                    <a:gd name="connsiteX3" fmla="*/ 578502 w 2102022"/>
                    <a:gd name="connsiteY3" fmla="*/ 609483 h 1084291"/>
                    <a:gd name="connsiteX4" fmla="*/ 559290 w 2102022"/>
                    <a:gd name="connsiteY4" fmla="*/ 605430 h 1084291"/>
                    <a:gd name="connsiteX5" fmla="*/ 551379 w 2102022"/>
                    <a:gd name="connsiteY5" fmla="*/ 594283 h 1084291"/>
                    <a:gd name="connsiteX6" fmla="*/ 10052 w 2102022"/>
                    <a:gd name="connsiteY6" fmla="*/ 999625 h 1084291"/>
                    <a:gd name="connsiteX7" fmla="*/ 15703 w 2102022"/>
                    <a:gd name="connsiteY7" fmla="*/ 1004692 h 1084291"/>
                    <a:gd name="connsiteX8" fmla="*/ 10052 w 2102022"/>
                    <a:gd name="connsiteY8" fmla="*/ 999625 h 1084291"/>
                    <a:gd name="connsiteX9" fmla="*/ 1862318 w 2102022"/>
                    <a:gd name="connsiteY9" fmla="*/ 715886 h 1084291"/>
                    <a:gd name="connsiteX10" fmla="*/ 1860058 w 2102022"/>
                    <a:gd name="connsiteY10" fmla="*/ 722979 h 1084291"/>
                    <a:gd name="connsiteX11" fmla="*/ 1862318 w 2102022"/>
                    <a:gd name="connsiteY11" fmla="*/ 715886 h 1084291"/>
                    <a:gd name="connsiteX12" fmla="*/ 1973070 w 2102022"/>
                    <a:gd name="connsiteY12" fmla="*/ 895250 h 1084291"/>
                    <a:gd name="connsiteX13" fmla="*/ 1978720 w 2102022"/>
                    <a:gd name="connsiteY13" fmla="*/ 902343 h 1084291"/>
                    <a:gd name="connsiteX14" fmla="*/ 1980981 w 2102022"/>
                    <a:gd name="connsiteY14" fmla="*/ 900316 h 1084291"/>
                    <a:gd name="connsiteX15" fmla="*/ 1973070 w 2102022"/>
                    <a:gd name="connsiteY15" fmla="*/ 895250 h 1084291"/>
                    <a:gd name="connsiteX16" fmla="*/ 1922214 w 2102022"/>
                    <a:gd name="connsiteY16" fmla="*/ 849649 h 1084291"/>
                    <a:gd name="connsiteX17" fmla="*/ 1922214 w 2102022"/>
                    <a:gd name="connsiteY17" fmla="*/ 854715 h 1084291"/>
                    <a:gd name="connsiteX18" fmla="*/ 1922214 w 2102022"/>
                    <a:gd name="connsiteY18" fmla="*/ 849649 h 1084291"/>
                    <a:gd name="connsiteX19" fmla="*/ 1973070 w 2102022"/>
                    <a:gd name="connsiteY19" fmla="*/ 834448 h 1084291"/>
                    <a:gd name="connsiteX20" fmla="*/ 1973070 w 2102022"/>
                    <a:gd name="connsiteY20" fmla="*/ 839515 h 1084291"/>
                    <a:gd name="connsiteX21" fmla="*/ 1992282 w 2102022"/>
                    <a:gd name="connsiteY21" fmla="*/ 849649 h 1084291"/>
                    <a:gd name="connsiteX22" fmla="*/ 1992282 w 2102022"/>
                    <a:gd name="connsiteY22" fmla="*/ 856742 h 1084291"/>
                    <a:gd name="connsiteX23" fmla="*/ 1994542 w 2102022"/>
                    <a:gd name="connsiteY23" fmla="*/ 854715 h 1084291"/>
                    <a:gd name="connsiteX24" fmla="*/ 1994542 w 2102022"/>
                    <a:gd name="connsiteY24" fmla="*/ 849649 h 1084291"/>
                    <a:gd name="connsiteX25" fmla="*/ 1992282 w 2102022"/>
                    <a:gd name="connsiteY25" fmla="*/ 842555 h 1084291"/>
                    <a:gd name="connsiteX26" fmla="*/ 1980981 w 2102022"/>
                    <a:gd name="connsiteY26" fmla="*/ 842555 h 1084291"/>
                    <a:gd name="connsiteX27" fmla="*/ 1980981 w 2102022"/>
                    <a:gd name="connsiteY27" fmla="*/ 837488 h 1084291"/>
                    <a:gd name="connsiteX28" fmla="*/ 1973070 w 2102022"/>
                    <a:gd name="connsiteY28" fmla="*/ 834448 h 1084291"/>
                    <a:gd name="connsiteX29" fmla="*/ 1864578 w 2102022"/>
                    <a:gd name="connsiteY29" fmla="*/ 785807 h 1084291"/>
                    <a:gd name="connsiteX30" fmla="*/ 1864578 w 2102022"/>
                    <a:gd name="connsiteY30" fmla="*/ 792901 h 1084291"/>
                    <a:gd name="connsiteX31" fmla="*/ 1866839 w 2102022"/>
                    <a:gd name="connsiteY31" fmla="*/ 797967 h 1084291"/>
                    <a:gd name="connsiteX32" fmla="*/ 1864578 w 2102022"/>
                    <a:gd name="connsiteY32" fmla="*/ 785807 h 1084291"/>
                    <a:gd name="connsiteX33" fmla="*/ 1932386 w 2102022"/>
                    <a:gd name="connsiteY33" fmla="*/ 761487 h 1084291"/>
                    <a:gd name="connsiteX34" fmla="*/ 1934646 w 2102022"/>
                    <a:gd name="connsiteY34" fmla="*/ 766553 h 1084291"/>
                    <a:gd name="connsiteX35" fmla="*/ 1932386 w 2102022"/>
                    <a:gd name="connsiteY35" fmla="*/ 761487 h 1084291"/>
                    <a:gd name="connsiteX36" fmla="*/ 1835195 w 2102022"/>
                    <a:gd name="connsiteY36" fmla="*/ 744259 h 1084291"/>
                    <a:gd name="connsiteX37" fmla="*/ 1837455 w 2102022"/>
                    <a:gd name="connsiteY37" fmla="*/ 751353 h 1084291"/>
                    <a:gd name="connsiteX38" fmla="*/ 1835195 w 2102022"/>
                    <a:gd name="connsiteY38" fmla="*/ 744259 h 1084291"/>
                    <a:gd name="connsiteX39" fmla="*/ 1897352 w 2102022"/>
                    <a:gd name="connsiteY39" fmla="*/ 737166 h 1084291"/>
                    <a:gd name="connsiteX40" fmla="*/ 1908653 w 2102022"/>
                    <a:gd name="connsiteY40" fmla="*/ 754393 h 1084291"/>
                    <a:gd name="connsiteX41" fmla="*/ 1908653 w 2102022"/>
                    <a:gd name="connsiteY41" fmla="*/ 771620 h 1084291"/>
                    <a:gd name="connsiteX42" fmla="*/ 1916564 w 2102022"/>
                    <a:gd name="connsiteY42" fmla="*/ 776687 h 1084291"/>
                    <a:gd name="connsiteX43" fmla="*/ 1914304 w 2102022"/>
                    <a:gd name="connsiteY43" fmla="*/ 786821 h 1084291"/>
                    <a:gd name="connsiteX44" fmla="*/ 1916564 w 2102022"/>
                    <a:gd name="connsiteY44" fmla="*/ 796954 h 1084291"/>
                    <a:gd name="connsiteX45" fmla="*/ 1932386 w 2102022"/>
                    <a:gd name="connsiteY45" fmla="*/ 770607 h 1084291"/>
                    <a:gd name="connsiteX46" fmla="*/ 1924475 w 2102022"/>
                    <a:gd name="connsiteY46" fmla="*/ 763513 h 1084291"/>
                    <a:gd name="connsiteX47" fmla="*/ 1924475 w 2102022"/>
                    <a:gd name="connsiteY47" fmla="*/ 758447 h 1084291"/>
                    <a:gd name="connsiteX48" fmla="*/ 1930125 w 2102022"/>
                    <a:gd name="connsiteY48" fmla="*/ 751353 h 1084291"/>
                    <a:gd name="connsiteX49" fmla="*/ 1897352 w 2102022"/>
                    <a:gd name="connsiteY49" fmla="*/ 737166 h 1084291"/>
                    <a:gd name="connsiteX50" fmla="*/ 1837455 w 2102022"/>
                    <a:gd name="connsiteY50" fmla="*/ 693592 h 1084291"/>
                    <a:gd name="connsiteX51" fmla="*/ 1843106 w 2102022"/>
                    <a:gd name="connsiteY51" fmla="*/ 698658 h 1084291"/>
                    <a:gd name="connsiteX52" fmla="*/ 1858928 w 2102022"/>
                    <a:gd name="connsiteY52" fmla="*/ 715886 h 1084291"/>
                    <a:gd name="connsiteX53" fmla="*/ 1834065 w 2102022"/>
                    <a:gd name="connsiteY53" fmla="*/ 710819 h 1084291"/>
                    <a:gd name="connsiteX54" fmla="*/ 1831805 w 2102022"/>
                    <a:gd name="connsiteY54" fmla="*/ 700685 h 1084291"/>
                    <a:gd name="connsiteX55" fmla="*/ 1837455 w 2102022"/>
                    <a:gd name="connsiteY55" fmla="*/ 693592 h 1084291"/>
                    <a:gd name="connsiteX56" fmla="*/ 1883790 w 2102022"/>
                    <a:gd name="connsiteY56" fmla="*/ 676365 h 1084291"/>
                    <a:gd name="connsiteX57" fmla="*/ 1883790 w 2102022"/>
                    <a:gd name="connsiteY57" fmla="*/ 686498 h 1084291"/>
                    <a:gd name="connsiteX58" fmla="*/ 1883790 w 2102022"/>
                    <a:gd name="connsiteY58" fmla="*/ 676365 h 1084291"/>
                    <a:gd name="connsiteX59" fmla="*/ 915278 w 2102022"/>
                    <a:gd name="connsiteY59" fmla="*/ 907410 h 1084291"/>
                    <a:gd name="connsiteX60" fmla="*/ 915278 w 2102022"/>
                    <a:gd name="connsiteY60" fmla="*/ 917544 h 1084291"/>
                    <a:gd name="connsiteX61" fmla="*/ 915278 w 2102022"/>
                    <a:gd name="connsiteY61" fmla="*/ 907410 h 1084291"/>
                    <a:gd name="connsiteX62" fmla="*/ 1005687 w 2102022"/>
                    <a:gd name="connsiteY62" fmla="*/ 895250 h 1084291"/>
                    <a:gd name="connsiteX63" fmla="*/ 1003427 w 2102022"/>
                    <a:gd name="connsiteY63" fmla="*/ 909437 h 1084291"/>
                    <a:gd name="connsiteX64" fmla="*/ 1005687 w 2102022"/>
                    <a:gd name="connsiteY64" fmla="*/ 895250 h 1084291"/>
                    <a:gd name="connsiteX65" fmla="*/ 980825 w 2102022"/>
                    <a:gd name="connsiteY65" fmla="*/ 883089 h 1084291"/>
                    <a:gd name="connsiteX66" fmla="*/ 978564 w 2102022"/>
                    <a:gd name="connsiteY66" fmla="*/ 893223 h 1084291"/>
                    <a:gd name="connsiteX67" fmla="*/ 986475 w 2102022"/>
                    <a:gd name="connsiteY67" fmla="*/ 886129 h 1084291"/>
                    <a:gd name="connsiteX68" fmla="*/ 980825 w 2102022"/>
                    <a:gd name="connsiteY68" fmla="*/ 883089 h 1084291"/>
                    <a:gd name="connsiteX69" fmla="*/ 1246403 w 2102022"/>
                    <a:gd name="connsiteY69" fmla="*/ 790874 h 1084291"/>
                    <a:gd name="connsiteX70" fmla="*/ 1244143 w 2102022"/>
                    <a:gd name="connsiteY70" fmla="*/ 797967 h 1084291"/>
                    <a:gd name="connsiteX71" fmla="*/ 1252053 w 2102022"/>
                    <a:gd name="connsiteY71" fmla="*/ 797967 h 1084291"/>
                    <a:gd name="connsiteX72" fmla="*/ 1246403 w 2102022"/>
                    <a:gd name="connsiteY72" fmla="*/ 790874 h 1084291"/>
                    <a:gd name="connsiteX73" fmla="*/ 1246403 w 2102022"/>
                    <a:gd name="connsiteY73" fmla="*/ 735139 h 1084291"/>
                    <a:gd name="connsiteX74" fmla="*/ 1246403 w 2102022"/>
                    <a:gd name="connsiteY74" fmla="*/ 740206 h 1084291"/>
                    <a:gd name="connsiteX75" fmla="*/ 1246403 w 2102022"/>
                    <a:gd name="connsiteY75" fmla="*/ 735139 h 1084291"/>
                    <a:gd name="connsiteX76" fmla="*/ 1075755 w 2102022"/>
                    <a:gd name="connsiteY76" fmla="*/ 676365 h 1084291"/>
                    <a:gd name="connsiteX77" fmla="*/ 1075755 w 2102022"/>
                    <a:gd name="connsiteY77" fmla="*/ 683458 h 1084291"/>
                    <a:gd name="connsiteX78" fmla="*/ 1075755 w 2102022"/>
                    <a:gd name="connsiteY78" fmla="*/ 676365 h 1084291"/>
                    <a:gd name="connsiteX79" fmla="*/ 1461126 w 2102022"/>
                    <a:gd name="connsiteY79" fmla="*/ 618603 h 1084291"/>
                    <a:gd name="connsiteX80" fmla="*/ 1455475 w 2102022"/>
                    <a:gd name="connsiteY80" fmla="*/ 635830 h 1084291"/>
                    <a:gd name="connsiteX81" fmla="*/ 1449824 w 2102022"/>
                    <a:gd name="connsiteY81" fmla="*/ 642924 h 1084291"/>
                    <a:gd name="connsiteX82" fmla="*/ 1461126 w 2102022"/>
                    <a:gd name="connsiteY82" fmla="*/ 618603 h 1084291"/>
                    <a:gd name="connsiteX83" fmla="*/ 1482598 w 2102022"/>
                    <a:gd name="connsiteY83" fmla="*/ 613536 h 1084291"/>
                    <a:gd name="connsiteX84" fmla="*/ 1482598 w 2102022"/>
                    <a:gd name="connsiteY84" fmla="*/ 618603 h 1084291"/>
                    <a:gd name="connsiteX85" fmla="*/ 1482598 w 2102022"/>
                    <a:gd name="connsiteY85" fmla="*/ 613536 h 1084291"/>
                    <a:gd name="connsiteX86" fmla="*/ 1447564 w 2102022"/>
                    <a:gd name="connsiteY86" fmla="*/ 608470 h 1084291"/>
                    <a:gd name="connsiteX87" fmla="*/ 1447564 w 2102022"/>
                    <a:gd name="connsiteY87" fmla="*/ 613536 h 1084291"/>
                    <a:gd name="connsiteX88" fmla="*/ 1447564 w 2102022"/>
                    <a:gd name="connsiteY88" fmla="*/ 608470 h 1084291"/>
                    <a:gd name="connsiteX89" fmla="*/ 829389 w 2102022"/>
                    <a:gd name="connsiteY89" fmla="*/ 586176 h 1084291"/>
                    <a:gd name="connsiteX90" fmla="*/ 827129 w 2102022"/>
                    <a:gd name="connsiteY90" fmla="*/ 596309 h 1084291"/>
                    <a:gd name="connsiteX91" fmla="*/ 832779 w 2102022"/>
                    <a:gd name="connsiteY91" fmla="*/ 596309 h 1084291"/>
                    <a:gd name="connsiteX92" fmla="*/ 840690 w 2102022"/>
                    <a:gd name="connsiteY92" fmla="*/ 606443 h 1084291"/>
                    <a:gd name="connsiteX93" fmla="*/ 840690 w 2102022"/>
                    <a:gd name="connsiteY93" fmla="*/ 608470 h 1084291"/>
                    <a:gd name="connsiteX94" fmla="*/ 848601 w 2102022"/>
                    <a:gd name="connsiteY94" fmla="*/ 591243 h 1084291"/>
                    <a:gd name="connsiteX95" fmla="*/ 829389 w 2102022"/>
                    <a:gd name="connsiteY95" fmla="*/ 586176 h 1084291"/>
                    <a:gd name="connsiteX96" fmla="*/ 839560 w 2102022"/>
                    <a:gd name="connsiteY96" fmla="*/ 481800 h 1084291"/>
                    <a:gd name="connsiteX97" fmla="*/ 833909 w 2102022"/>
                    <a:gd name="connsiteY97" fmla="*/ 483827 h 1084291"/>
                    <a:gd name="connsiteX98" fmla="*/ 833909 w 2102022"/>
                    <a:gd name="connsiteY98" fmla="*/ 490920 h 1084291"/>
                    <a:gd name="connsiteX99" fmla="*/ 839560 w 2102022"/>
                    <a:gd name="connsiteY99" fmla="*/ 481800 h 1084291"/>
                    <a:gd name="connsiteX100" fmla="*/ 254158 w 2102022"/>
                    <a:gd name="connsiteY100" fmla="*/ 1060427 h 1084291"/>
                    <a:gd name="connsiteX101" fmla="*/ 251898 w 2102022"/>
                    <a:gd name="connsiteY101" fmla="*/ 1067520 h 1084291"/>
                    <a:gd name="connsiteX102" fmla="*/ 265459 w 2102022"/>
                    <a:gd name="connsiteY102" fmla="*/ 1077654 h 1084291"/>
                    <a:gd name="connsiteX103" fmla="*/ 269980 w 2102022"/>
                    <a:gd name="connsiteY103" fmla="*/ 1077654 h 1084291"/>
                    <a:gd name="connsiteX104" fmla="*/ 272240 w 2102022"/>
                    <a:gd name="connsiteY104" fmla="*/ 1070560 h 1084291"/>
                    <a:gd name="connsiteX105" fmla="*/ 254158 w 2102022"/>
                    <a:gd name="connsiteY105" fmla="*/ 1060427 h 1084291"/>
                    <a:gd name="connsiteX106" fmla="*/ 370560 w 2102022"/>
                    <a:gd name="connsiteY106" fmla="*/ 1048266 h 1084291"/>
                    <a:gd name="connsiteX107" fmla="*/ 376211 w 2102022"/>
                    <a:gd name="connsiteY107" fmla="*/ 1060427 h 1084291"/>
                    <a:gd name="connsiteX108" fmla="*/ 381861 w 2102022"/>
                    <a:gd name="connsiteY108" fmla="*/ 1060427 h 1084291"/>
                    <a:gd name="connsiteX109" fmla="*/ 379601 w 2102022"/>
                    <a:gd name="connsiteY109" fmla="*/ 1053333 h 1084291"/>
                    <a:gd name="connsiteX110" fmla="*/ 385252 w 2102022"/>
                    <a:gd name="connsiteY110" fmla="*/ 1048266 h 1084291"/>
                    <a:gd name="connsiteX111" fmla="*/ 370560 w 2102022"/>
                    <a:gd name="connsiteY111" fmla="*/ 1048266 h 1084291"/>
                    <a:gd name="connsiteX112" fmla="*/ 414635 w 2102022"/>
                    <a:gd name="connsiteY112" fmla="*/ 1046240 h 1084291"/>
                    <a:gd name="connsiteX113" fmla="*/ 412375 w 2102022"/>
                    <a:gd name="connsiteY113" fmla="*/ 1060427 h 1084291"/>
                    <a:gd name="connsiteX114" fmla="*/ 420285 w 2102022"/>
                    <a:gd name="connsiteY114" fmla="*/ 1050293 h 1084291"/>
                    <a:gd name="connsiteX115" fmla="*/ 414635 w 2102022"/>
                    <a:gd name="connsiteY115" fmla="*/ 1046240 h 1084291"/>
                    <a:gd name="connsiteX116" fmla="*/ 401073 w 2102022"/>
                    <a:gd name="connsiteY116" fmla="*/ 1046240 h 1084291"/>
                    <a:gd name="connsiteX117" fmla="*/ 401073 w 2102022"/>
                    <a:gd name="connsiteY117" fmla="*/ 1058400 h 1084291"/>
                    <a:gd name="connsiteX118" fmla="*/ 401073 w 2102022"/>
                    <a:gd name="connsiteY118" fmla="*/ 1046240 h 1084291"/>
                    <a:gd name="connsiteX119" fmla="*/ 536688 w 2102022"/>
                    <a:gd name="connsiteY119" fmla="*/ 1044213 h 1084291"/>
                    <a:gd name="connsiteX120" fmla="*/ 534428 w 2102022"/>
                    <a:gd name="connsiteY120" fmla="*/ 1049280 h 1084291"/>
                    <a:gd name="connsiteX121" fmla="*/ 547989 w 2102022"/>
                    <a:gd name="connsiteY121" fmla="*/ 1049280 h 1084291"/>
                    <a:gd name="connsiteX122" fmla="*/ 545729 w 2102022"/>
                    <a:gd name="connsiteY122" fmla="*/ 1044213 h 1084291"/>
                    <a:gd name="connsiteX123" fmla="*/ 536688 w 2102022"/>
                    <a:gd name="connsiteY123" fmla="*/ 1044213 h 1084291"/>
                    <a:gd name="connsiteX124" fmla="*/ 279020 w 2102022"/>
                    <a:gd name="connsiteY124" fmla="*/ 1041173 h 1084291"/>
                    <a:gd name="connsiteX125" fmla="*/ 279020 w 2102022"/>
                    <a:gd name="connsiteY125" fmla="*/ 1053333 h 1084291"/>
                    <a:gd name="connsiteX126" fmla="*/ 290322 w 2102022"/>
                    <a:gd name="connsiteY126" fmla="*/ 1053333 h 1084291"/>
                    <a:gd name="connsiteX127" fmla="*/ 290322 w 2102022"/>
                    <a:gd name="connsiteY127" fmla="*/ 1043200 h 1084291"/>
                    <a:gd name="connsiteX128" fmla="*/ 279020 w 2102022"/>
                    <a:gd name="connsiteY128" fmla="*/ 1041173 h 1084291"/>
                    <a:gd name="connsiteX129" fmla="*/ 213474 w 2102022"/>
                    <a:gd name="connsiteY129" fmla="*/ 1039146 h 1084291"/>
                    <a:gd name="connsiteX130" fmla="*/ 213474 w 2102022"/>
                    <a:gd name="connsiteY130" fmla="*/ 1053333 h 1084291"/>
                    <a:gd name="connsiteX131" fmla="*/ 213474 w 2102022"/>
                    <a:gd name="connsiteY131" fmla="*/ 1039146 h 1084291"/>
                    <a:gd name="connsiteX132" fmla="*/ 490353 w 2102022"/>
                    <a:gd name="connsiteY132" fmla="*/ 1026986 h 1084291"/>
                    <a:gd name="connsiteX133" fmla="*/ 488093 w 2102022"/>
                    <a:gd name="connsiteY133" fmla="*/ 1037120 h 1084291"/>
                    <a:gd name="connsiteX134" fmla="*/ 476791 w 2102022"/>
                    <a:gd name="connsiteY134" fmla="*/ 1039146 h 1084291"/>
                    <a:gd name="connsiteX135" fmla="*/ 476791 w 2102022"/>
                    <a:gd name="connsiteY135" fmla="*/ 1041173 h 1084291"/>
                    <a:gd name="connsiteX136" fmla="*/ 488093 w 2102022"/>
                    <a:gd name="connsiteY136" fmla="*/ 1043200 h 1084291"/>
                    <a:gd name="connsiteX137" fmla="*/ 490353 w 2102022"/>
                    <a:gd name="connsiteY137" fmla="*/ 1026986 h 1084291"/>
                    <a:gd name="connsiteX138" fmla="*/ 620317 w 2102022"/>
                    <a:gd name="connsiteY138" fmla="*/ 1021919 h 1084291"/>
                    <a:gd name="connsiteX139" fmla="*/ 625967 w 2102022"/>
                    <a:gd name="connsiteY139" fmla="*/ 1026986 h 1084291"/>
                    <a:gd name="connsiteX140" fmla="*/ 620317 w 2102022"/>
                    <a:gd name="connsiteY140" fmla="*/ 1021919 h 1084291"/>
                    <a:gd name="connsiteX141" fmla="*/ 645179 w 2102022"/>
                    <a:gd name="connsiteY141" fmla="*/ 1014826 h 1084291"/>
                    <a:gd name="connsiteX142" fmla="*/ 647439 w 2102022"/>
                    <a:gd name="connsiteY142" fmla="*/ 1019893 h 1084291"/>
                    <a:gd name="connsiteX143" fmla="*/ 645179 w 2102022"/>
                    <a:gd name="connsiteY143" fmla="*/ 1014826 h 1084291"/>
                    <a:gd name="connsiteX144" fmla="*/ 712986 w 2102022"/>
                    <a:gd name="connsiteY144" fmla="*/ 980372 h 1084291"/>
                    <a:gd name="connsiteX145" fmla="*/ 712986 w 2102022"/>
                    <a:gd name="connsiteY145" fmla="*/ 982398 h 1084291"/>
                    <a:gd name="connsiteX146" fmla="*/ 707336 w 2102022"/>
                    <a:gd name="connsiteY146" fmla="*/ 989492 h 1084291"/>
                    <a:gd name="connsiteX147" fmla="*/ 696035 w 2102022"/>
                    <a:gd name="connsiteY147" fmla="*/ 991519 h 1084291"/>
                    <a:gd name="connsiteX148" fmla="*/ 696035 w 2102022"/>
                    <a:gd name="connsiteY148" fmla="*/ 996585 h 1084291"/>
                    <a:gd name="connsiteX149" fmla="*/ 693774 w 2102022"/>
                    <a:gd name="connsiteY149" fmla="*/ 996585 h 1084291"/>
                    <a:gd name="connsiteX150" fmla="*/ 693774 w 2102022"/>
                    <a:gd name="connsiteY150" fmla="*/ 1006719 h 1084291"/>
                    <a:gd name="connsiteX151" fmla="*/ 699425 w 2102022"/>
                    <a:gd name="connsiteY151" fmla="*/ 1006719 h 1084291"/>
                    <a:gd name="connsiteX152" fmla="*/ 715247 w 2102022"/>
                    <a:gd name="connsiteY152" fmla="*/ 989492 h 1084291"/>
                    <a:gd name="connsiteX153" fmla="*/ 720897 w 2102022"/>
                    <a:gd name="connsiteY153" fmla="*/ 989492 h 1084291"/>
                    <a:gd name="connsiteX154" fmla="*/ 720897 w 2102022"/>
                    <a:gd name="connsiteY154" fmla="*/ 979358 h 1084291"/>
                    <a:gd name="connsiteX155" fmla="*/ 712986 w 2102022"/>
                    <a:gd name="connsiteY155" fmla="*/ 980372 h 1084291"/>
                    <a:gd name="connsiteX156" fmla="*/ 758191 w 2102022"/>
                    <a:gd name="connsiteY156" fmla="*/ 966185 h 1084291"/>
                    <a:gd name="connsiteX157" fmla="*/ 755931 w 2102022"/>
                    <a:gd name="connsiteY157" fmla="*/ 978345 h 1084291"/>
                    <a:gd name="connsiteX158" fmla="*/ 744630 w 2102022"/>
                    <a:gd name="connsiteY158" fmla="*/ 988478 h 1084291"/>
                    <a:gd name="connsiteX159" fmla="*/ 733329 w 2102022"/>
                    <a:gd name="connsiteY159" fmla="*/ 988478 h 1084291"/>
                    <a:gd name="connsiteX160" fmla="*/ 735589 w 2102022"/>
                    <a:gd name="connsiteY160" fmla="*/ 995572 h 1084291"/>
                    <a:gd name="connsiteX161" fmla="*/ 746890 w 2102022"/>
                    <a:gd name="connsiteY161" fmla="*/ 995572 h 1084291"/>
                    <a:gd name="connsiteX162" fmla="*/ 771753 w 2102022"/>
                    <a:gd name="connsiteY162" fmla="*/ 971251 h 1084291"/>
                    <a:gd name="connsiteX163" fmla="*/ 758191 w 2102022"/>
                    <a:gd name="connsiteY163" fmla="*/ 966185 h 1084291"/>
                    <a:gd name="connsiteX164" fmla="*/ 861032 w 2102022"/>
                    <a:gd name="connsiteY164" fmla="*/ 905383 h 1084291"/>
                    <a:gd name="connsiteX165" fmla="*/ 855382 w 2102022"/>
                    <a:gd name="connsiteY165" fmla="*/ 910450 h 1084291"/>
                    <a:gd name="connsiteX166" fmla="*/ 839560 w 2102022"/>
                    <a:gd name="connsiteY166" fmla="*/ 910450 h 1084291"/>
                    <a:gd name="connsiteX167" fmla="*/ 828259 w 2102022"/>
                    <a:gd name="connsiteY167" fmla="*/ 927677 h 1084291"/>
                    <a:gd name="connsiteX168" fmla="*/ 825998 w 2102022"/>
                    <a:gd name="connsiteY168" fmla="*/ 927677 h 1084291"/>
                    <a:gd name="connsiteX169" fmla="*/ 825998 w 2102022"/>
                    <a:gd name="connsiteY169" fmla="*/ 934771 h 1084291"/>
                    <a:gd name="connsiteX170" fmla="*/ 837300 w 2102022"/>
                    <a:gd name="connsiteY170" fmla="*/ 934771 h 1084291"/>
                    <a:gd name="connsiteX171" fmla="*/ 856512 w 2102022"/>
                    <a:gd name="connsiteY171" fmla="*/ 922610 h 1084291"/>
                    <a:gd name="connsiteX172" fmla="*/ 881374 w 2102022"/>
                    <a:gd name="connsiteY172" fmla="*/ 915517 h 1084291"/>
                    <a:gd name="connsiteX173" fmla="*/ 881374 w 2102022"/>
                    <a:gd name="connsiteY173" fmla="*/ 913490 h 1084291"/>
                    <a:gd name="connsiteX174" fmla="*/ 861032 w 2102022"/>
                    <a:gd name="connsiteY174" fmla="*/ 905383 h 1084291"/>
                    <a:gd name="connsiteX175" fmla="*/ 1951598 w 2102022"/>
                    <a:gd name="connsiteY175" fmla="*/ 837488 h 1084291"/>
                    <a:gd name="connsiteX176" fmla="*/ 1945947 w 2102022"/>
                    <a:gd name="connsiteY176" fmla="*/ 854715 h 1084291"/>
                    <a:gd name="connsiteX177" fmla="*/ 1959508 w 2102022"/>
                    <a:gd name="connsiteY177" fmla="*/ 854715 h 1084291"/>
                    <a:gd name="connsiteX178" fmla="*/ 1965159 w 2102022"/>
                    <a:gd name="connsiteY178" fmla="*/ 868902 h 1084291"/>
                    <a:gd name="connsiteX179" fmla="*/ 1970810 w 2102022"/>
                    <a:gd name="connsiteY179" fmla="*/ 868902 h 1084291"/>
                    <a:gd name="connsiteX180" fmla="*/ 1976460 w 2102022"/>
                    <a:gd name="connsiteY180" fmla="*/ 866876 h 1084291"/>
                    <a:gd name="connsiteX181" fmla="*/ 1976460 w 2102022"/>
                    <a:gd name="connsiteY181" fmla="*/ 879036 h 1084291"/>
                    <a:gd name="connsiteX182" fmla="*/ 1974200 w 2102022"/>
                    <a:gd name="connsiteY182" fmla="*/ 884103 h 1084291"/>
                    <a:gd name="connsiteX183" fmla="*/ 1999063 w 2102022"/>
                    <a:gd name="connsiteY183" fmla="*/ 891196 h 1084291"/>
                    <a:gd name="connsiteX184" fmla="*/ 1999063 w 2102022"/>
                    <a:gd name="connsiteY184" fmla="*/ 903357 h 1084291"/>
                    <a:gd name="connsiteX185" fmla="*/ 2006973 w 2102022"/>
                    <a:gd name="connsiteY185" fmla="*/ 901330 h 1084291"/>
                    <a:gd name="connsiteX186" fmla="*/ 2006973 w 2102022"/>
                    <a:gd name="connsiteY186" fmla="*/ 915517 h 1084291"/>
                    <a:gd name="connsiteX187" fmla="*/ 2012624 w 2102022"/>
                    <a:gd name="connsiteY187" fmla="*/ 920584 h 1084291"/>
                    <a:gd name="connsiteX188" fmla="*/ 2026185 w 2102022"/>
                    <a:gd name="connsiteY188" fmla="*/ 920584 h 1084291"/>
                    <a:gd name="connsiteX189" fmla="*/ 2014884 w 2102022"/>
                    <a:gd name="connsiteY189" fmla="*/ 903357 h 1084291"/>
                    <a:gd name="connsiteX190" fmla="*/ 2020535 w 2102022"/>
                    <a:gd name="connsiteY190" fmla="*/ 889169 h 1084291"/>
                    <a:gd name="connsiteX191" fmla="*/ 2020535 w 2102022"/>
                    <a:gd name="connsiteY191" fmla="*/ 882076 h 1084291"/>
                    <a:gd name="connsiteX192" fmla="*/ 2004713 w 2102022"/>
                    <a:gd name="connsiteY192" fmla="*/ 882076 h 1084291"/>
                    <a:gd name="connsiteX193" fmla="*/ 2004713 w 2102022"/>
                    <a:gd name="connsiteY193" fmla="*/ 880049 h 1084291"/>
                    <a:gd name="connsiteX194" fmla="*/ 2002453 w 2102022"/>
                    <a:gd name="connsiteY194" fmla="*/ 880049 h 1084291"/>
                    <a:gd name="connsiteX195" fmla="*/ 2000193 w 2102022"/>
                    <a:gd name="connsiteY195" fmla="*/ 872956 h 1084291"/>
                    <a:gd name="connsiteX196" fmla="*/ 1994542 w 2102022"/>
                    <a:gd name="connsiteY196" fmla="*/ 872956 h 1084291"/>
                    <a:gd name="connsiteX197" fmla="*/ 1992282 w 2102022"/>
                    <a:gd name="connsiteY197" fmla="*/ 858769 h 1084291"/>
                    <a:gd name="connsiteX198" fmla="*/ 1976460 w 2102022"/>
                    <a:gd name="connsiteY198" fmla="*/ 853702 h 1084291"/>
                    <a:gd name="connsiteX199" fmla="*/ 1974200 w 2102022"/>
                    <a:gd name="connsiteY199" fmla="*/ 843568 h 1084291"/>
                    <a:gd name="connsiteX200" fmla="*/ 1951598 w 2102022"/>
                    <a:gd name="connsiteY200" fmla="*/ 837488 h 1084291"/>
                    <a:gd name="connsiteX201" fmla="*/ 1878140 w 2102022"/>
                    <a:gd name="connsiteY201" fmla="*/ 776687 h 1084291"/>
                    <a:gd name="connsiteX202" fmla="*/ 1875880 w 2102022"/>
                    <a:gd name="connsiteY202" fmla="*/ 793914 h 1084291"/>
                    <a:gd name="connsiteX203" fmla="*/ 1887181 w 2102022"/>
                    <a:gd name="connsiteY203" fmla="*/ 806074 h 1084291"/>
                    <a:gd name="connsiteX204" fmla="*/ 1887181 w 2102022"/>
                    <a:gd name="connsiteY204" fmla="*/ 813168 h 1084291"/>
                    <a:gd name="connsiteX205" fmla="*/ 1900742 w 2102022"/>
                    <a:gd name="connsiteY205" fmla="*/ 818235 h 1084291"/>
                    <a:gd name="connsiteX206" fmla="*/ 1903002 w 2102022"/>
                    <a:gd name="connsiteY206" fmla="*/ 830395 h 1084291"/>
                    <a:gd name="connsiteX207" fmla="*/ 1914304 w 2102022"/>
                    <a:gd name="connsiteY207" fmla="*/ 835462 h 1084291"/>
                    <a:gd name="connsiteX208" fmla="*/ 1916564 w 2102022"/>
                    <a:gd name="connsiteY208" fmla="*/ 821275 h 1084291"/>
                    <a:gd name="connsiteX209" fmla="*/ 1922214 w 2102022"/>
                    <a:gd name="connsiteY209" fmla="*/ 833435 h 1084291"/>
                    <a:gd name="connsiteX210" fmla="*/ 1933516 w 2102022"/>
                    <a:gd name="connsiteY210" fmla="*/ 833435 h 1084291"/>
                    <a:gd name="connsiteX211" fmla="*/ 1933516 w 2102022"/>
                    <a:gd name="connsiteY211" fmla="*/ 850662 h 1084291"/>
                    <a:gd name="connsiteX212" fmla="*/ 1941426 w 2102022"/>
                    <a:gd name="connsiteY212" fmla="*/ 845595 h 1084291"/>
                    <a:gd name="connsiteX213" fmla="*/ 1941426 w 2102022"/>
                    <a:gd name="connsiteY213" fmla="*/ 829382 h 1084291"/>
                    <a:gd name="connsiteX214" fmla="*/ 1941426 w 2102022"/>
                    <a:gd name="connsiteY214" fmla="*/ 831408 h 1084291"/>
                    <a:gd name="connsiteX215" fmla="*/ 1954988 w 2102022"/>
                    <a:gd name="connsiteY215" fmla="*/ 833435 h 1084291"/>
                    <a:gd name="connsiteX216" fmla="*/ 1954988 w 2102022"/>
                    <a:gd name="connsiteY216" fmla="*/ 828368 h 1084291"/>
                    <a:gd name="connsiteX217" fmla="*/ 1952728 w 2102022"/>
                    <a:gd name="connsiteY217" fmla="*/ 821275 h 1084291"/>
                    <a:gd name="connsiteX218" fmla="*/ 1960639 w 2102022"/>
                    <a:gd name="connsiteY218" fmla="*/ 821275 h 1084291"/>
                    <a:gd name="connsiteX219" fmla="*/ 1960639 w 2102022"/>
                    <a:gd name="connsiteY219" fmla="*/ 809114 h 1084291"/>
                    <a:gd name="connsiteX220" fmla="*/ 1931255 w 2102022"/>
                    <a:gd name="connsiteY220" fmla="*/ 798981 h 1084291"/>
                    <a:gd name="connsiteX221" fmla="*/ 1931255 w 2102022"/>
                    <a:gd name="connsiteY221" fmla="*/ 816208 h 1084291"/>
                    <a:gd name="connsiteX222" fmla="*/ 1939166 w 2102022"/>
                    <a:gd name="connsiteY222" fmla="*/ 818235 h 1084291"/>
                    <a:gd name="connsiteX223" fmla="*/ 1931255 w 2102022"/>
                    <a:gd name="connsiteY223" fmla="*/ 823301 h 1084291"/>
                    <a:gd name="connsiteX224" fmla="*/ 1925605 w 2102022"/>
                    <a:gd name="connsiteY224" fmla="*/ 811141 h 1084291"/>
                    <a:gd name="connsiteX225" fmla="*/ 1917694 w 2102022"/>
                    <a:gd name="connsiteY225" fmla="*/ 816208 h 1084291"/>
                    <a:gd name="connsiteX226" fmla="*/ 1906393 w 2102022"/>
                    <a:gd name="connsiteY226" fmla="*/ 789860 h 1084291"/>
                    <a:gd name="connsiteX227" fmla="*/ 1898482 w 2102022"/>
                    <a:gd name="connsiteY227" fmla="*/ 789860 h 1084291"/>
                    <a:gd name="connsiteX228" fmla="*/ 1898482 w 2102022"/>
                    <a:gd name="connsiteY228" fmla="*/ 787834 h 1084291"/>
                    <a:gd name="connsiteX229" fmla="*/ 1878140 w 2102022"/>
                    <a:gd name="connsiteY229" fmla="*/ 776687 h 1084291"/>
                    <a:gd name="connsiteX230" fmla="*/ 1249793 w 2102022"/>
                    <a:gd name="connsiteY230" fmla="*/ 747300 h 1084291"/>
                    <a:gd name="connsiteX231" fmla="*/ 1249793 w 2102022"/>
                    <a:gd name="connsiteY231" fmla="*/ 754393 h 1084291"/>
                    <a:gd name="connsiteX232" fmla="*/ 1228321 w 2102022"/>
                    <a:gd name="connsiteY232" fmla="*/ 756420 h 1084291"/>
                    <a:gd name="connsiteX233" fmla="*/ 1226061 w 2102022"/>
                    <a:gd name="connsiteY233" fmla="*/ 749326 h 1084291"/>
                    <a:gd name="connsiteX234" fmla="*/ 1218150 w 2102022"/>
                    <a:gd name="connsiteY234" fmla="*/ 749326 h 1084291"/>
                    <a:gd name="connsiteX235" fmla="*/ 1218150 w 2102022"/>
                    <a:gd name="connsiteY235" fmla="*/ 754393 h 1084291"/>
                    <a:gd name="connsiteX236" fmla="*/ 1220410 w 2102022"/>
                    <a:gd name="connsiteY236" fmla="*/ 761487 h 1084291"/>
                    <a:gd name="connsiteX237" fmla="*/ 1218150 w 2102022"/>
                    <a:gd name="connsiteY237" fmla="*/ 771620 h 1084291"/>
                    <a:gd name="connsiteX238" fmla="*/ 1198938 w 2102022"/>
                    <a:gd name="connsiteY238" fmla="*/ 781754 h 1084291"/>
                    <a:gd name="connsiteX239" fmla="*/ 1196678 w 2102022"/>
                    <a:gd name="connsiteY239" fmla="*/ 793914 h 1084291"/>
                    <a:gd name="connsiteX240" fmla="*/ 1207979 w 2102022"/>
                    <a:gd name="connsiteY240" fmla="*/ 795941 h 1084291"/>
                    <a:gd name="connsiteX241" fmla="*/ 1213629 w 2102022"/>
                    <a:gd name="connsiteY241" fmla="*/ 788847 h 1084291"/>
                    <a:gd name="connsiteX242" fmla="*/ 1227191 w 2102022"/>
                    <a:gd name="connsiteY242" fmla="*/ 793914 h 1084291"/>
                    <a:gd name="connsiteX243" fmla="*/ 1227191 w 2102022"/>
                    <a:gd name="connsiteY243" fmla="*/ 801007 h 1084291"/>
                    <a:gd name="connsiteX244" fmla="*/ 1235102 w 2102022"/>
                    <a:gd name="connsiteY244" fmla="*/ 801007 h 1084291"/>
                    <a:gd name="connsiteX245" fmla="*/ 1237362 w 2102022"/>
                    <a:gd name="connsiteY245" fmla="*/ 790874 h 1084291"/>
                    <a:gd name="connsiteX246" fmla="*/ 1270135 w 2102022"/>
                    <a:gd name="connsiteY246" fmla="*/ 783780 h 1084291"/>
                    <a:gd name="connsiteX247" fmla="*/ 1270135 w 2102022"/>
                    <a:gd name="connsiteY247" fmla="*/ 778714 h 1084291"/>
                    <a:gd name="connsiteX248" fmla="*/ 1262225 w 2102022"/>
                    <a:gd name="connsiteY248" fmla="*/ 773647 h 1084291"/>
                    <a:gd name="connsiteX249" fmla="*/ 1283697 w 2102022"/>
                    <a:gd name="connsiteY249" fmla="*/ 771620 h 1084291"/>
                    <a:gd name="connsiteX250" fmla="*/ 1272396 w 2102022"/>
                    <a:gd name="connsiteY250" fmla="*/ 754393 h 1084291"/>
                    <a:gd name="connsiteX251" fmla="*/ 1261094 w 2102022"/>
                    <a:gd name="connsiteY251" fmla="*/ 756420 h 1084291"/>
                    <a:gd name="connsiteX252" fmla="*/ 1253184 w 2102022"/>
                    <a:gd name="connsiteY252" fmla="*/ 746286 h 1084291"/>
                    <a:gd name="connsiteX253" fmla="*/ 1249793 w 2102022"/>
                    <a:gd name="connsiteY253" fmla="*/ 746286 h 1084291"/>
                    <a:gd name="connsiteX254" fmla="*/ 1259964 w 2102022"/>
                    <a:gd name="connsiteY254" fmla="*/ 712845 h 1084291"/>
                    <a:gd name="connsiteX255" fmla="*/ 1257704 w 2102022"/>
                    <a:gd name="connsiteY255" fmla="*/ 735139 h 1084291"/>
                    <a:gd name="connsiteX256" fmla="*/ 1263355 w 2102022"/>
                    <a:gd name="connsiteY256" fmla="*/ 728046 h 1084291"/>
                    <a:gd name="connsiteX257" fmla="*/ 1271265 w 2102022"/>
                    <a:gd name="connsiteY257" fmla="*/ 728046 h 1084291"/>
                    <a:gd name="connsiteX258" fmla="*/ 1276916 w 2102022"/>
                    <a:gd name="connsiteY258" fmla="*/ 733113 h 1084291"/>
                    <a:gd name="connsiteX259" fmla="*/ 1284827 w 2102022"/>
                    <a:gd name="connsiteY259" fmla="*/ 731086 h 1084291"/>
                    <a:gd name="connsiteX260" fmla="*/ 1271265 w 2102022"/>
                    <a:gd name="connsiteY260" fmla="*/ 720952 h 1084291"/>
                    <a:gd name="connsiteX261" fmla="*/ 1271265 w 2102022"/>
                    <a:gd name="connsiteY261" fmla="*/ 713859 h 1084291"/>
                    <a:gd name="connsiteX262" fmla="*/ 1259964 w 2102022"/>
                    <a:gd name="connsiteY262" fmla="*/ 712845 h 1084291"/>
                    <a:gd name="connsiteX263" fmla="*/ 788704 w 2102022"/>
                    <a:gd name="connsiteY263" fmla="*/ 615563 h 1084291"/>
                    <a:gd name="connsiteX264" fmla="*/ 777403 w 2102022"/>
                    <a:gd name="connsiteY264" fmla="*/ 625697 h 1084291"/>
                    <a:gd name="connsiteX265" fmla="*/ 748020 w 2102022"/>
                    <a:gd name="connsiteY265" fmla="*/ 627723 h 1084291"/>
                    <a:gd name="connsiteX266" fmla="*/ 753671 w 2102022"/>
                    <a:gd name="connsiteY266" fmla="*/ 637857 h 1084291"/>
                    <a:gd name="connsiteX267" fmla="*/ 786444 w 2102022"/>
                    <a:gd name="connsiteY267" fmla="*/ 647991 h 1084291"/>
                    <a:gd name="connsiteX268" fmla="*/ 792095 w 2102022"/>
                    <a:gd name="connsiteY268" fmla="*/ 642924 h 1084291"/>
                    <a:gd name="connsiteX269" fmla="*/ 811307 w 2102022"/>
                    <a:gd name="connsiteY269" fmla="*/ 635830 h 1084291"/>
                    <a:gd name="connsiteX270" fmla="*/ 788704 w 2102022"/>
                    <a:gd name="connsiteY270" fmla="*/ 615563 h 1084291"/>
                    <a:gd name="connsiteX271" fmla="*/ 633878 w 2102022"/>
                    <a:gd name="connsiteY271" fmla="*/ 433159 h 1084291"/>
                    <a:gd name="connsiteX272" fmla="*/ 625967 w 2102022"/>
                    <a:gd name="connsiteY272" fmla="*/ 443292 h 1084291"/>
                    <a:gd name="connsiteX273" fmla="*/ 604495 w 2102022"/>
                    <a:gd name="connsiteY273" fmla="*/ 441266 h 1084291"/>
                    <a:gd name="connsiteX274" fmla="*/ 596584 w 2102022"/>
                    <a:gd name="connsiteY274" fmla="*/ 439239 h 1084291"/>
                    <a:gd name="connsiteX275" fmla="*/ 590934 w 2102022"/>
                    <a:gd name="connsiteY275" fmla="*/ 446333 h 1084291"/>
                    <a:gd name="connsiteX276" fmla="*/ 593194 w 2102022"/>
                    <a:gd name="connsiteY276" fmla="*/ 460520 h 1084291"/>
                    <a:gd name="connsiteX277" fmla="*/ 653090 w 2102022"/>
                    <a:gd name="connsiteY277" fmla="*/ 458493 h 1084291"/>
                    <a:gd name="connsiteX278" fmla="*/ 658741 w 2102022"/>
                    <a:gd name="connsiteY278" fmla="*/ 468626 h 1084291"/>
                    <a:gd name="connsiteX279" fmla="*/ 672302 w 2102022"/>
                    <a:gd name="connsiteY279" fmla="*/ 473693 h 1084291"/>
                    <a:gd name="connsiteX280" fmla="*/ 672302 w 2102022"/>
                    <a:gd name="connsiteY280" fmla="*/ 483827 h 1084291"/>
                    <a:gd name="connsiteX281" fmla="*/ 683603 w 2102022"/>
                    <a:gd name="connsiteY281" fmla="*/ 483827 h 1084291"/>
                    <a:gd name="connsiteX282" fmla="*/ 683603 w 2102022"/>
                    <a:gd name="connsiteY282" fmla="*/ 471667 h 1084291"/>
                    <a:gd name="connsiteX283" fmla="*/ 691514 w 2102022"/>
                    <a:gd name="connsiteY283" fmla="*/ 471667 h 1084291"/>
                    <a:gd name="connsiteX284" fmla="*/ 697165 w 2102022"/>
                    <a:gd name="connsiteY284" fmla="*/ 464573 h 1084291"/>
                    <a:gd name="connsiteX285" fmla="*/ 662131 w 2102022"/>
                    <a:gd name="connsiteY285" fmla="*/ 452413 h 1084291"/>
                    <a:gd name="connsiteX286" fmla="*/ 633878 w 2102022"/>
                    <a:gd name="connsiteY286" fmla="*/ 433159 h 1084291"/>
                    <a:gd name="connsiteX287" fmla="*/ 915278 w 2102022"/>
                    <a:gd name="connsiteY287" fmla="*/ 278115 h 1084291"/>
                    <a:gd name="connsiteX288" fmla="*/ 917538 w 2102022"/>
                    <a:gd name="connsiteY288" fmla="*/ 285209 h 1084291"/>
                    <a:gd name="connsiteX289" fmla="*/ 915278 w 2102022"/>
                    <a:gd name="connsiteY289" fmla="*/ 278115 h 1084291"/>
                    <a:gd name="connsiteX290" fmla="*/ 1658896 w 2102022"/>
                    <a:gd name="connsiteY290" fmla="*/ 87604 h 1084291"/>
                    <a:gd name="connsiteX291" fmla="*/ 1656636 w 2102022"/>
                    <a:gd name="connsiteY291" fmla="*/ 82537 h 1084291"/>
                    <a:gd name="connsiteX292" fmla="*/ 1631774 w 2102022"/>
                    <a:gd name="connsiteY292" fmla="*/ 75444 h 1084291"/>
                    <a:gd name="connsiteX293" fmla="*/ 1629513 w 2102022"/>
                    <a:gd name="connsiteY293" fmla="*/ 70377 h 1084291"/>
                    <a:gd name="connsiteX294" fmla="*/ 1602390 w 2102022"/>
                    <a:gd name="connsiteY294" fmla="*/ 75444 h 1084291"/>
                    <a:gd name="connsiteX295" fmla="*/ 1594480 w 2102022"/>
                    <a:gd name="connsiteY295" fmla="*/ 68350 h 1084291"/>
                    <a:gd name="connsiteX296" fmla="*/ 1586569 w 2102022"/>
                    <a:gd name="connsiteY296" fmla="*/ 68350 h 1084291"/>
                    <a:gd name="connsiteX297" fmla="*/ 1580918 w 2102022"/>
                    <a:gd name="connsiteY297" fmla="*/ 78484 h 1084291"/>
                    <a:gd name="connsiteX298" fmla="*/ 1575268 w 2102022"/>
                    <a:gd name="connsiteY298" fmla="*/ 83551 h 1084291"/>
                    <a:gd name="connsiteX299" fmla="*/ 1563966 w 2102022"/>
                    <a:gd name="connsiteY299" fmla="*/ 76457 h 1084291"/>
                    <a:gd name="connsiteX300" fmla="*/ 1556056 w 2102022"/>
                    <a:gd name="connsiteY300" fmla="*/ 81524 h 1084291"/>
                    <a:gd name="connsiteX301" fmla="*/ 1553795 w 2102022"/>
                    <a:gd name="connsiteY301" fmla="*/ 74431 h 1084291"/>
                    <a:gd name="connsiteX302" fmla="*/ 1507461 w 2102022"/>
                    <a:gd name="connsiteY302" fmla="*/ 72404 h 1084291"/>
                    <a:gd name="connsiteX303" fmla="*/ 1505200 w 2102022"/>
                    <a:gd name="connsiteY303" fmla="*/ 65310 h 1084291"/>
                    <a:gd name="connsiteX304" fmla="*/ 1480338 w 2102022"/>
                    <a:gd name="connsiteY304" fmla="*/ 67337 h 1084291"/>
                    <a:gd name="connsiteX305" fmla="*/ 1426092 w 2102022"/>
                    <a:gd name="connsiteY305" fmla="*/ 65310 h 1084291"/>
                    <a:gd name="connsiteX306" fmla="*/ 1423832 w 2102022"/>
                    <a:gd name="connsiteY306" fmla="*/ 60244 h 1084291"/>
                    <a:gd name="connsiteX307" fmla="*/ 1408010 w 2102022"/>
                    <a:gd name="connsiteY307" fmla="*/ 62270 h 1084291"/>
                    <a:gd name="connsiteX308" fmla="*/ 1392188 w 2102022"/>
                    <a:gd name="connsiteY308" fmla="*/ 50110 h 1084291"/>
                    <a:gd name="connsiteX309" fmla="*/ 1380887 w 2102022"/>
                    <a:gd name="connsiteY309" fmla="*/ 52137 h 1084291"/>
                    <a:gd name="connsiteX310" fmla="*/ 1378627 w 2102022"/>
                    <a:gd name="connsiteY310" fmla="*/ 47070 h 1084291"/>
                    <a:gd name="connsiteX311" fmla="*/ 1357155 w 2102022"/>
                    <a:gd name="connsiteY311" fmla="*/ 54164 h 1084291"/>
                    <a:gd name="connsiteX312" fmla="*/ 1341333 w 2102022"/>
                    <a:gd name="connsiteY312" fmla="*/ 54164 h 1084291"/>
                    <a:gd name="connsiteX313" fmla="*/ 1333422 w 2102022"/>
                    <a:gd name="connsiteY313" fmla="*/ 59230 h 1084291"/>
                    <a:gd name="connsiteX314" fmla="*/ 1304039 w 2102022"/>
                    <a:gd name="connsiteY314" fmla="*/ 49097 h 1084291"/>
                    <a:gd name="connsiteX315" fmla="*/ 1288217 w 2102022"/>
                    <a:gd name="connsiteY315" fmla="*/ 49097 h 1084291"/>
                    <a:gd name="connsiteX316" fmla="*/ 1282567 w 2102022"/>
                    <a:gd name="connsiteY316" fmla="*/ 44030 h 1084291"/>
                    <a:gd name="connsiteX317" fmla="*/ 1263355 w 2102022"/>
                    <a:gd name="connsiteY317" fmla="*/ 44030 h 1084291"/>
                    <a:gd name="connsiteX318" fmla="*/ 1263355 w 2102022"/>
                    <a:gd name="connsiteY318" fmla="*/ 38963 h 1084291"/>
                    <a:gd name="connsiteX319" fmla="*/ 1263355 w 2102022"/>
                    <a:gd name="connsiteY319" fmla="*/ 33896 h 1084291"/>
                    <a:gd name="connsiteX320" fmla="*/ 1244143 w 2102022"/>
                    <a:gd name="connsiteY320" fmla="*/ 31870 h 1084291"/>
                    <a:gd name="connsiteX321" fmla="*/ 1201198 w 2102022"/>
                    <a:gd name="connsiteY321" fmla="*/ 38963 h 1084291"/>
                    <a:gd name="connsiteX322" fmla="*/ 1187637 w 2102022"/>
                    <a:gd name="connsiteY322" fmla="*/ 21736 h 1084291"/>
                    <a:gd name="connsiteX323" fmla="*/ 1179726 w 2102022"/>
                    <a:gd name="connsiteY323" fmla="*/ 28830 h 1084291"/>
                    <a:gd name="connsiteX324" fmla="*/ 1168425 w 2102022"/>
                    <a:gd name="connsiteY324" fmla="*/ 28830 h 1084291"/>
                    <a:gd name="connsiteX325" fmla="*/ 1152603 w 2102022"/>
                    <a:gd name="connsiteY325" fmla="*/ 38963 h 1084291"/>
                    <a:gd name="connsiteX326" fmla="*/ 1154863 w 2102022"/>
                    <a:gd name="connsiteY326" fmla="*/ 19709 h 1084291"/>
                    <a:gd name="connsiteX327" fmla="*/ 1111919 w 2102022"/>
                    <a:gd name="connsiteY327" fmla="*/ 9576 h 1084291"/>
                    <a:gd name="connsiteX328" fmla="*/ 1109658 w 2102022"/>
                    <a:gd name="connsiteY328" fmla="*/ 14643 h 1084291"/>
                    <a:gd name="connsiteX329" fmla="*/ 1068974 w 2102022"/>
                    <a:gd name="connsiteY329" fmla="*/ 36936 h 1084291"/>
                    <a:gd name="connsiteX330" fmla="*/ 1041851 w 2102022"/>
                    <a:gd name="connsiteY330" fmla="*/ 36936 h 1084291"/>
                    <a:gd name="connsiteX331" fmla="*/ 1033940 w 2102022"/>
                    <a:gd name="connsiteY331" fmla="*/ 44030 h 1084291"/>
                    <a:gd name="connsiteX332" fmla="*/ 1026030 w 2102022"/>
                    <a:gd name="connsiteY332" fmla="*/ 33896 h 1084291"/>
                    <a:gd name="connsiteX333" fmla="*/ 1020379 w 2102022"/>
                    <a:gd name="connsiteY333" fmla="*/ 46057 h 1084291"/>
                    <a:gd name="connsiteX334" fmla="*/ 1014728 w 2102022"/>
                    <a:gd name="connsiteY334" fmla="*/ 46057 h 1084291"/>
                    <a:gd name="connsiteX335" fmla="*/ 1006817 w 2102022"/>
                    <a:gd name="connsiteY335" fmla="*/ 44030 h 1084291"/>
                    <a:gd name="connsiteX336" fmla="*/ 1006817 w 2102022"/>
                    <a:gd name="connsiteY336" fmla="*/ 51123 h 1084291"/>
                    <a:gd name="connsiteX337" fmla="*/ 995516 w 2102022"/>
                    <a:gd name="connsiteY337" fmla="*/ 56190 h 1084291"/>
                    <a:gd name="connsiteX338" fmla="*/ 966133 w 2102022"/>
                    <a:gd name="connsiteY338" fmla="*/ 56190 h 1084291"/>
                    <a:gd name="connsiteX339" fmla="*/ 952572 w 2102022"/>
                    <a:gd name="connsiteY339" fmla="*/ 66324 h 1084291"/>
                    <a:gd name="connsiteX340" fmla="*/ 944661 w 2102022"/>
                    <a:gd name="connsiteY340" fmla="*/ 66324 h 1084291"/>
                    <a:gd name="connsiteX341" fmla="*/ 931099 w 2102022"/>
                    <a:gd name="connsiteY341" fmla="*/ 88618 h 1084291"/>
                    <a:gd name="connsiteX342" fmla="*/ 915278 w 2102022"/>
                    <a:gd name="connsiteY342" fmla="*/ 95711 h 1084291"/>
                    <a:gd name="connsiteX343" fmla="*/ 913018 w 2102022"/>
                    <a:gd name="connsiteY343" fmla="*/ 114965 h 1084291"/>
                    <a:gd name="connsiteX344" fmla="*/ 901716 w 2102022"/>
                    <a:gd name="connsiteY344" fmla="*/ 125099 h 1084291"/>
                    <a:gd name="connsiteX345" fmla="*/ 896066 w 2102022"/>
                    <a:gd name="connsiteY345" fmla="*/ 151446 h 1084291"/>
                    <a:gd name="connsiteX346" fmla="*/ 855382 w 2102022"/>
                    <a:gd name="connsiteY346" fmla="*/ 161579 h 1084291"/>
                    <a:gd name="connsiteX347" fmla="*/ 836169 w 2102022"/>
                    <a:gd name="connsiteY347" fmla="*/ 159553 h 1084291"/>
                    <a:gd name="connsiteX348" fmla="*/ 830519 w 2102022"/>
                    <a:gd name="connsiteY348" fmla="*/ 164619 h 1084291"/>
                    <a:gd name="connsiteX349" fmla="*/ 789835 w 2102022"/>
                    <a:gd name="connsiteY349" fmla="*/ 162593 h 1084291"/>
                    <a:gd name="connsiteX350" fmla="*/ 795485 w 2102022"/>
                    <a:gd name="connsiteY350" fmla="*/ 191980 h 1084291"/>
                    <a:gd name="connsiteX351" fmla="*/ 787574 w 2102022"/>
                    <a:gd name="connsiteY351" fmla="*/ 199074 h 1084291"/>
                    <a:gd name="connsiteX352" fmla="*/ 779663 w 2102022"/>
                    <a:gd name="connsiteY352" fmla="*/ 199074 h 1084291"/>
                    <a:gd name="connsiteX353" fmla="*/ 801136 w 2102022"/>
                    <a:gd name="connsiteY353" fmla="*/ 204140 h 1084291"/>
                    <a:gd name="connsiteX354" fmla="*/ 814697 w 2102022"/>
                    <a:gd name="connsiteY354" fmla="*/ 216301 h 1084291"/>
                    <a:gd name="connsiteX355" fmla="*/ 830519 w 2102022"/>
                    <a:gd name="connsiteY355" fmla="*/ 218327 h 1084291"/>
                    <a:gd name="connsiteX356" fmla="*/ 857642 w 2102022"/>
                    <a:gd name="connsiteY356" fmla="*/ 240621 h 1084291"/>
                    <a:gd name="connsiteX357" fmla="*/ 873463 w 2102022"/>
                    <a:gd name="connsiteY357" fmla="*/ 240621 h 1084291"/>
                    <a:gd name="connsiteX358" fmla="*/ 873463 w 2102022"/>
                    <a:gd name="connsiteY358" fmla="*/ 245688 h 1084291"/>
                    <a:gd name="connsiteX359" fmla="*/ 875724 w 2102022"/>
                    <a:gd name="connsiteY359" fmla="*/ 262915 h 1084291"/>
                    <a:gd name="connsiteX360" fmla="*/ 894936 w 2102022"/>
                    <a:gd name="connsiteY360" fmla="*/ 264942 h 1084291"/>
                    <a:gd name="connsiteX361" fmla="*/ 894936 w 2102022"/>
                    <a:gd name="connsiteY361" fmla="*/ 259875 h 1084291"/>
                    <a:gd name="connsiteX362" fmla="*/ 914148 w 2102022"/>
                    <a:gd name="connsiteY362" fmla="*/ 254808 h 1084291"/>
                    <a:gd name="connsiteX363" fmla="*/ 914148 w 2102022"/>
                    <a:gd name="connsiteY363" fmla="*/ 259875 h 1084291"/>
                    <a:gd name="connsiteX364" fmla="*/ 919798 w 2102022"/>
                    <a:gd name="connsiteY364" fmla="*/ 264942 h 1084291"/>
                    <a:gd name="connsiteX365" fmla="*/ 946921 w 2102022"/>
                    <a:gd name="connsiteY365" fmla="*/ 259875 h 1084291"/>
                    <a:gd name="connsiteX366" fmla="*/ 944661 w 2102022"/>
                    <a:gd name="connsiteY366" fmla="*/ 270008 h 1084291"/>
                    <a:gd name="connsiteX367" fmla="*/ 936750 w 2102022"/>
                    <a:gd name="connsiteY367" fmla="*/ 275075 h 1084291"/>
                    <a:gd name="connsiteX368" fmla="*/ 939010 w 2102022"/>
                    <a:gd name="connsiteY368" fmla="*/ 282169 h 1084291"/>
                    <a:gd name="connsiteX369" fmla="*/ 950311 w 2102022"/>
                    <a:gd name="connsiteY369" fmla="*/ 280142 h 1084291"/>
                    <a:gd name="connsiteX370" fmla="*/ 952572 w 2102022"/>
                    <a:gd name="connsiteY370" fmla="*/ 287236 h 1084291"/>
                    <a:gd name="connsiteX371" fmla="*/ 985345 w 2102022"/>
                    <a:gd name="connsiteY371" fmla="*/ 287236 h 1084291"/>
                    <a:gd name="connsiteX372" fmla="*/ 985345 w 2102022"/>
                    <a:gd name="connsiteY372" fmla="*/ 297369 h 1084291"/>
                    <a:gd name="connsiteX373" fmla="*/ 946921 w 2102022"/>
                    <a:gd name="connsiteY373" fmla="*/ 307503 h 1084291"/>
                    <a:gd name="connsiteX374" fmla="*/ 952572 w 2102022"/>
                    <a:gd name="connsiteY374" fmla="*/ 305476 h 1084291"/>
                    <a:gd name="connsiteX375" fmla="*/ 963873 w 2102022"/>
                    <a:gd name="connsiteY375" fmla="*/ 322703 h 1084291"/>
                    <a:gd name="connsiteX376" fmla="*/ 936750 w 2102022"/>
                    <a:gd name="connsiteY376" fmla="*/ 329797 h 1084291"/>
                    <a:gd name="connsiteX377" fmla="*/ 936750 w 2102022"/>
                    <a:gd name="connsiteY377" fmla="*/ 324730 h 1084291"/>
                    <a:gd name="connsiteX378" fmla="*/ 882504 w 2102022"/>
                    <a:gd name="connsiteY378" fmla="*/ 322703 h 1084291"/>
                    <a:gd name="connsiteX379" fmla="*/ 876854 w 2102022"/>
                    <a:gd name="connsiteY379" fmla="*/ 315610 h 1084291"/>
                    <a:gd name="connsiteX380" fmla="*/ 863292 w 2102022"/>
                    <a:gd name="connsiteY380" fmla="*/ 315610 h 1084291"/>
                    <a:gd name="connsiteX381" fmla="*/ 871203 w 2102022"/>
                    <a:gd name="connsiteY381" fmla="*/ 310543 h 1084291"/>
                    <a:gd name="connsiteX382" fmla="*/ 868943 w 2102022"/>
                    <a:gd name="connsiteY382" fmla="*/ 286222 h 1084291"/>
                    <a:gd name="connsiteX383" fmla="*/ 863292 w 2102022"/>
                    <a:gd name="connsiteY383" fmla="*/ 281155 h 1084291"/>
                    <a:gd name="connsiteX384" fmla="*/ 847471 w 2102022"/>
                    <a:gd name="connsiteY384" fmla="*/ 281155 h 1084291"/>
                    <a:gd name="connsiteX385" fmla="*/ 841820 w 2102022"/>
                    <a:gd name="connsiteY385" fmla="*/ 288249 h 1084291"/>
                    <a:gd name="connsiteX386" fmla="*/ 801136 w 2102022"/>
                    <a:gd name="connsiteY386" fmla="*/ 302436 h 1084291"/>
                    <a:gd name="connsiteX387" fmla="*/ 801136 w 2102022"/>
                    <a:gd name="connsiteY387" fmla="*/ 316623 h 1084291"/>
                    <a:gd name="connsiteX388" fmla="*/ 795485 w 2102022"/>
                    <a:gd name="connsiteY388" fmla="*/ 318650 h 1084291"/>
                    <a:gd name="connsiteX389" fmla="*/ 749150 w 2102022"/>
                    <a:gd name="connsiteY389" fmla="*/ 323716 h 1084291"/>
                    <a:gd name="connsiteX390" fmla="*/ 733329 w 2102022"/>
                    <a:gd name="connsiteY390" fmla="*/ 335877 h 1084291"/>
                    <a:gd name="connsiteX391" fmla="*/ 733329 w 2102022"/>
                    <a:gd name="connsiteY391" fmla="*/ 346010 h 1084291"/>
                    <a:gd name="connsiteX392" fmla="*/ 768362 w 2102022"/>
                    <a:gd name="connsiteY392" fmla="*/ 351077 h 1084291"/>
                    <a:gd name="connsiteX393" fmla="*/ 784184 w 2102022"/>
                    <a:gd name="connsiteY393" fmla="*/ 353104 h 1084291"/>
                    <a:gd name="connsiteX394" fmla="*/ 784184 w 2102022"/>
                    <a:gd name="connsiteY394" fmla="*/ 358171 h 1084291"/>
                    <a:gd name="connsiteX395" fmla="*/ 762712 w 2102022"/>
                    <a:gd name="connsiteY395" fmla="*/ 363237 h 1084291"/>
                    <a:gd name="connsiteX396" fmla="*/ 764972 w 2102022"/>
                    <a:gd name="connsiteY396" fmla="*/ 368304 h 1084291"/>
                    <a:gd name="connsiteX397" fmla="*/ 778533 w 2102022"/>
                    <a:gd name="connsiteY397" fmla="*/ 378438 h 1084291"/>
                    <a:gd name="connsiteX398" fmla="*/ 784184 w 2102022"/>
                    <a:gd name="connsiteY398" fmla="*/ 392625 h 1084291"/>
                    <a:gd name="connsiteX399" fmla="*/ 822608 w 2102022"/>
                    <a:gd name="connsiteY399" fmla="*/ 402758 h 1084291"/>
                    <a:gd name="connsiteX400" fmla="*/ 836169 w 2102022"/>
                    <a:gd name="connsiteY400" fmla="*/ 395665 h 1084291"/>
                    <a:gd name="connsiteX401" fmla="*/ 890415 w 2102022"/>
                    <a:gd name="connsiteY401" fmla="*/ 393638 h 1084291"/>
                    <a:gd name="connsiteX402" fmla="*/ 892675 w 2102022"/>
                    <a:gd name="connsiteY402" fmla="*/ 386545 h 1084291"/>
                    <a:gd name="connsiteX403" fmla="*/ 906237 w 2102022"/>
                    <a:gd name="connsiteY403" fmla="*/ 398705 h 1084291"/>
                    <a:gd name="connsiteX404" fmla="*/ 906237 w 2102022"/>
                    <a:gd name="connsiteY404" fmla="*/ 405798 h 1084291"/>
                    <a:gd name="connsiteX405" fmla="*/ 914148 w 2102022"/>
                    <a:gd name="connsiteY405" fmla="*/ 407825 h 1084291"/>
                    <a:gd name="connsiteX406" fmla="*/ 927709 w 2102022"/>
                    <a:gd name="connsiteY406" fmla="*/ 393638 h 1084291"/>
                    <a:gd name="connsiteX407" fmla="*/ 981955 w 2102022"/>
                    <a:gd name="connsiteY407" fmla="*/ 391611 h 1084291"/>
                    <a:gd name="connsiteX408" fmla="*/ 981955 w 2102022"/>
                    <a:gd name="connsiteY408" fmla="*/ 401745 h 1084291"/>
                    <a:gd name="connsiteX409" fmla="*/ 970654 w 2102022"/>
                    <a:gd name="connsiteY409" fmla="*/ 408838 h 1084291"/>
                    <a:gd name="connsiteX410" fmla="*/ 978564 w 2102022"/>
                    <a:gd name="connsiteY410" fmla="*/ 433159 h 1084291"/>
                    <a:gd name="connsiteX411" fmla="*/ 976304 w 2102022"/>
                    <a:gd name="connsiteY411" fmla="*/ 455453 h 1084291"/>
                    <a:gd name="connsiteX412" fmla="*/ 949181 w 2102022"/>
                    <a:gd name="connsiteY412" fmla="*/ 465586 h 1084291"/>
                    <a:gd name="connsiteX413" fmla="*/ 933360 w 2102022"/>
                    <a:gd name="connsiteY413" fmla="*/ 463560 h 1084291"/>
                    <a:gd name="connsiteX414" fmla="*/ 931099 w 2102022"/>
                    <a:gd name="connsiteY414" fmla="*/ 470653 h 1084291"/>
                    <a:gd name="connsiteX415" fmla="*/ 890415 w 2102022"/>
                    <a:gd name="connsiteY415" fmla="*/ 482813 h 1084291"/>
                    <a:gd name="connsiteX416" fmla="*/ 863292 w 2102022"/>
                    <a:gd name="connsiteY416" fmla="*/ 468626 h 1084291"/>
                    <a:gd name="connsiteX417" fmla="*/ 847471 w 2102022"/>
                    <a:gd name="connsiteY417" fmla="*/ 478760 h 1084291"/>
                    <a:gd name="connsiteX418" fmla="*/ 849731 w 2102022"/>
                    <a:gd name="connsiteY418" fmla="*/ 483827 h 1084291"/>
                    <a:gd name="connsiteX419" fmla="*/ 851991 w 2102022"/>
                    <a:gd name="connsiteY419" fmla="*/ 485854 h 1084291"/>
                    <a:gd name="connsiteX420" fmla="*/ 859902 w 2102022"/>
                    <a:gd name="connsiteY420" fmla="*/ 512201 h 1084291"/>
                    <a:gd name="connsiteX421" fmla="*/ 857642 w 2102022"/>
                    <a:gd name="connsiteY421" fmla="*/ 505107 h 1084291"/>
                    <a:gd name="connsiteX422" fmla="*/ 844080 w 2102022"/>
                    <a:gd name="connsiteY422" fmla="*/ 503081 h 1084291"/>
                    <a:gd name="connsiteX423" fmla="*/ 838430 w 2102022"/>
                    <a:gd name="connsiteY423" fmla="*/ 520308 h 1084291"/>
                    <a:gd name="connsiteX424" fmla="*/ 830519 w 2102022"/>
                    <a:gd name="connsiteY424" fmla="*/ 520308 h 1084291"/>
                    <a:gd name="connsiteX425" fmla="*/ 811307 w 2102022"/>
                    <a:gd name="connsiteY425" fmla="*/ 534495 h 1084291"/>
                    <a:gd name="connsiteX426" fmla="*/ 811307 w 2102022"/>
                    <a:gd name="connsiteY426" fmla="*/ 548682 h 1084291"/>
                    <a:gd name="connsiteX427" fmla="*/ 797745 w 2102022"/>
                    <a:gd name="connsiteY427" fmla="*/ 553748 h 1084291"/>
                    <a:gd name="connsiteX428" fmla="*/ 795485 w 2102022"/>
                    <a:gd name="connsiteY428" fmla="*/ 563882 h 1084291"/>
                    <a:gd name="connsiteX429" fmla="*/ 806786 w 2102022"/>
                    <a:gd name="connsiteY429" fmla="*/ 563882 h 1084291"/>
                    <a:gd name="connsiteX430" fmla="*/ 804526 w 2102022"/>
                    <a:gd name="connsiteY430" fmla="*/ 574016 h 1084291"/>
                    <a:gd name="connsiteX431" fmla="*/ 820348 w 2102022"/>
                    <a:gd name="connsiteY431" fmla="*/ 574016 h 1084291"/>
                    <a:gd name="connsiteX432" fmla="*/ 822608 w 2102022"/>
                    <a:gd name="connsiteY432" fmla="*/ 581109 h 1084291"/>
                    <a:gd name="connsiteX433" fmla="*/ 824868 w 2102022"/>
                    <a:gd name="connsiteY433" fmla="*/ 586176 h 1084291"/>
                    <a:gd name="connsiteX434" fmla="*/ 863292 w 2102022"/>
                    <a:gd name="connsiteY434" fmla="*/ 591243 h 1084291"/>
                    <a:gd name="connsiteX435" fmla="*/ 865553 w 2102022"/>
                    <a:gd name="connsiteY435" fmla="*/ 586176 h 1084291"/>
                    <a:gd name="connsiteX436" fmla="*/ 876854 w 2102022"/>
                    <a:gd name="connsiteY436" fmla="*/ 586176 h 1084291"/>
                    <a:gd name="connsiteX437" fmla="*/ 876854 w 2102022"/>
                    <a:gd name="connsiteY437" fmla="*/ 591243 h 1084291"/>
                    <a:gd name="connsiteX438" fmla="*/ 871203 w 2102022"/>
                    <a:gd name="connsiteY438" fmla="*/ 598336 h 1084291"/>
                    <a:gd name="connsiteX439" fmla="*/ 865553 w 2102022"/>
                    <a:gd name="connsiteY439" fmla="*/ 608470 h 1084291"/>
                    <a:gd name="connsiteX440" fmla="*/ 857642 w 2102022"/>
                    <a:gd name="connsiteY440" fmla="*/ 613536 h 1084291"/>
                    <a:gd name="connsiteX441" fmla="*/ 857642 w 2102022"/>
                    <a:gd name="connsiteY441" fmla="*/ 620630 h 1084291"/>
                    <a:gd name="connsiteX442" fmla="*/ 855382 w 2102022"/>
                    <a:gd name="connsiteY442" fmla="*/ 627723 h 1084291"/>
                    <a:gd name="connsiteX443" fmla="*/ 861032 w 2102022"/>
                    <a:gd name="connsiteY443" fmla="*/ 634817 h 1084291"/>
                    <a:gd name="connsiteX444" fmla="*/ 868943 w 2102022"/>
                    <a:gd name="connsiteY444" fmla="*/ 634817 h 1084291"/>
                    <a:gd name="connsiteX445" fmla="*/ 868943 w 2102022"/>
                    <a:gd name="connsiteY445" fmla="*/ 644951 h 1084291"/>
                    <a:gd name="connsiteX446" fmla="*/ 876854 w 2102022"/>
                    <a:gd name="connsiteY446" fmla="*/ 652044 h 1084291"/>
                    <a:gd name="connsiteX447" fmla="*/ 917538 w 2102022"/>
                    <a:gd name="connsiteY447" fmla="*/ 637857 h 1084291"/>
                    <a:gd name="connsiteX448" fmla="*/ 917538 w 2102022"/>
                    <a:gd name="connsiteY448" fmla="*/ 623670 h 1084291"/>
                    <a:gd name="connsiteX449" fmla="*/ 919798 w 2102022"/>
                    <a:gd name="connsiteY449" fmla="*/ 618603 h 1084291"/>
                    <a:gd name="connsiteX450" fmla="*/ 927709 w 2102022"/>
                    <a:gd name="connsiteY450" fmla="*/ 616577 h 1084291"/>
                    <a:gd name="connsiteX451" fmla="*/ 925449 w 2102022"/>
                    <a:gd name="connsiteY451" fmla="*/ 630764 h 1084291"/>
                    <a:gd name="connsiteX452" fmla="*/ 925449 w 2102022"/>
                    <a:gd name="connsiteY452" fmla="*/ 642924 h 1084291"/>
                    <a:gd name="connsiteX453" fmla="*/ 936750 w 2102022"/>
                    <a:gd name="connsiteY453" fmla="*/ 650017 h 1084291"/>
                    <a:gd name="connsiteX454" fmla="*/ 944661 w 2102022"/>
                    <a:gd name="connsiteY454" fmla="*/ 674338 h 1084291"/>
                    <a:gd name="connsiteX455" fmla="*/ 939010 w 2102022"/>
                    <a:gd name="connsiteY455" fmla="*/ 688525 h 1084291"/>
                    <a:gd name="connsiteX456" fmla="*/ 954832 w 2102022"/>
                    <a:gd name="connsiteY456" fmla="*/ 686498 h 1084291"/>
                    <a:gd name="connsiteX457" fmla="*/ 949181 w 2102022"/>
                    <a:gd name="connsiteY457" fmla="*/ 693592 h 1084291"/>
                    <a:gd name="connsiteX458" fmla="*/ 949181 w 2102022"/>
                    <a:gd name="connsiteY458" fmla="*/ 700685 h 1084291"/>
                    <a:gd name="connsiteX459" fmla="*/ 946921 w 2102022"/>
                    <a:gd name="connsiteY459" fmla="*/ 705752 h 1084291"/>
                    <a:gd name="connsiteX460" fmla="*/ 946921 w 2102022"/>
                    <a:gd name="connsiteY460" fmla="*/ 712845 h 1084291"/>
                    <a:gd name="connsiteX461" fmla="*/ 974044 w 2102022"/>
                    <a:gd name="connsiteY461" fmla="*/ 695618 h 1084291"/>
                    <a:gd name="connsiteX462" fmla="*/ 1001167 w 2102022"/>
                    <a:gd name="connsiteY462" fmla="*/ 683458 h 1084291"/>
                    <a:gd name="connsiteX463" fmla="*/ 1006817 w 2102022"/>
                    <a:gd name="connsiteY463" fmla="*/ 683458 h 1084291"/>
                    <a:gd name="connsiteX464" fmla="*/ 1014728 w 2102022"/>
                    <a:gd name="connsiteY464" fmla="*/ 695618 h 1084291"/>
                    <a:gd name="connsiteX465" fmla="*/ 1014728 w 2102022"/>
                    <a:gd name="connsiteY465" fmla="*/ 697645 h 1084291"/>
                    <a:gd name="connsiteX466" fmla="*/ 1030550 w 2102022"/>
                    <a:gd name="connsiteY466" fmla="*/ 690552 h 1084291"/>
                    <a:gd name="connsiteX467" fmla="*/ 1041851 w 2102022"/>
                    <a:gd name="connsiteY467" fmla="*/ 709805 h 1084291"/>
                    <a:gd name="connsiteX468" fmla="*/ 1047502 w 2102022"/>
                    <a:gd name="connsiteY468" fmla="*/ 714872 h 1084291"/>
                    <a:gd name="connsiteX469" fmla="*/ 1053152 w 2102022"/>
                    <a:gd name="connsiteY469" fmla="*/ 716899 h 1084291"/>
                    <a:gd name="connsiteX470" fmla="*/ 1055413 w 2102022"/>
                    <a:gd name="connsiteY470" fmla="*/ 702712 h 1084291"/>
                    <a:gd name="connsiteX471" fmla="*/ 1066714 w 2102022"/>
                    <a:gd name="connsiteY471" fmla="*/ 704739 h 1084291"/>
                    <a:gd name="connsiteX472" fmla="*/ 1074625 w 2102022"/>
                    <a:gd name="connsiteY472" fmla="*/ 694605 h 1084291"/>
                    <a:gd name="connsiteX473" fmla="*/ 1076885 w 2102022"/>
                    <a:gd name="connsiteY473" fmla="*/ 708792 h 1084291"/>
                    <a:gd name="connsiteX474" fmla="*/ 1111919 w 2102022"/>
                    <a:gd name="connsiteY474" fmla="*/ 698658 h 1084291"/>
                    <a:gd name="connsiteX475" fmla="*/ 1114179 w 2102022"/>
                    <a:gd name="connsiteY475" fmla="*/ 691565 h 1084291"/>
                    <a:gd name="connsiteX476" fmla="*/ 1125480 w 2102022"/>
                    <a:gd name="connsiteY476" fmla="*/ 689538 h 1084291"/>
                    <a:gd name="connsiteX477" fmla="*/ 1117569 w 2102022"/>
                    <a:gd name="connsiteY477" fmla="*/ 713859 h 1084291"/>
                    <a:gd name="connsiteX478" fmla="*/ 1098357 w 2102022"/>
                    <a:gd name="connsiteY478" fmla="*/ 726019 h 1084291"/>
                    <a:gd name="connsiteX479" fmla="*/ 1098357 w 2102022"/>
                    <a:gd name="connsiteY479" fmla="*/ 740206 h 1084291"/>
                    <a:gd name="connsiteX480" fmla="*/ 1090446 w 2102022"/>
                    <a:gd name="connsiteY480" fmla="*/ 742233 h 1084291"/>
                    <a:gd name="connsiteX481" fmla="*/ 1090446 w 2102022"/>
                    <a:gd name="connsiteY481" fmla="*/ 768580 h 1084291"/>
                    <a:gd name="connsiteX482" fmla="*/ 1082536 w 2102022"/>
                    <a:gd name="connsiteY482" fmla="*/ 770607 h 1084291"/>
                    <a:gd name="connsiteX483" fmla="*/ 1080275 w 2102022"/>
                    <a:gd name="connsiteY483" fmla="*/ 782767 h 1084291"/>
                    <a:gd name="connsiteX484" fmla="*/ 1066714 w 2102022"/>
                    <a:gd name="connsiteY484" fmla="*/ 792901 h 1084291"/>
                    <a:gd name="connsiteX485" fmla="*/ 1064454 w 2102022"/>
                    <a:gd name="connsiteY485" fmla="*/ 794927 h 1084291"/>
                    <a:gd name="connsiteX486" fmla="*/ 1064454 w 2102022"/>
                    <a:gd name="connsiteY486" fmla="*/ 805061 h 1084291"/>
                    <a:gd name="connsiteX487" fmla="*/ 1053152 w 2102022"/>
                    <a:gd name="connsiteY487" fmla="*/ 805061 h 1084291"/>
                    <a:gd name="connsiteX488" fmla="*/ 1039591 w 2102022"/>
                    <a:gd name="connsiteY488" fmla="*/ 819248 h 1084291"/>
                    <a:gd name="connsiteX489" fmla="*/ 1031680 w 2102022"/>
                    <a:gd name="connsiteY489" fmla="*/ 819248 h 1084291"/>
                    <a:gd name="connsiteX490" fmla="*/ 998907 w 2102022"/>
                    <a:gd name="connsiteY490" fmla="*/ 855729 h 1084291"/>
                    <a:gd name="connsiteX491" fmla="*/ 979695 w 2102022"/>
                    <a:gd name="connsiteY491" fmla="*/ 857756 h 1084291"/>
                    <a:gd name="connsiteX492" fmla="*/ 981955 w 2102022"/>
                    <a:gd name="connsiteY492" fmla="*/ 850662 h 1084291"/>
                    <a:gd name="connsiteX493" fmla="*/ 939010 w 2102022"/>
                    <a:gd name="connsiteY493" fmla="*/ 857756 h 1084291"/>
                    <a:gd name="connsiteX494" fmla="*/ 936750 w 2102022"/>
                    <a:gd name="connsiteY494" fmla="*/ 869916 h 1084291"/>
                    <a:gd name="connsiteX495" fmla="*/ 925449 w 2102022"/>
                    <a:gd name="connsiteY495" fmla="*/ 874983 h 1084291"/>
                    <a:gd name="connsiteX496" fmla="*/ 923189 w 2102022"/>
                    <a:gd name="connsiteY496" fmla="*/ 887143 h 1084291"/>
                    <a:gd name="connsiteX497" fmla="*/ 898326 w 2102022"/>
                    <a:gd name="connsiteY497" fmla="*/ 899303 h 1084291"/>
                    <a:gd name="connsiteX498" fmla="*/ 898326 w 2102022"/>
                    <a:gd name="connsiteY498" fmla="*/ 906397 h 1084291"/>
                    <a:gd name="connsiteX499" fmla="*/ 903977 w 2102022"/>
                    <a:gd name="connsiteY499" fmla="*/ 901330 h 1084291"/>
                    <a:gd name="connsiteX500" fmla="*/ 915278 w 2102022"/>
                    <a:gd name="connsiteY500" fmla="*/ 903357 h 1084291"/>
                    <a:gd name="connsiteX501" fmla="*/ 917538 w 2102022"/>
                    <a:gd name="connsiteY501" fmla="*/ 896263 h 1084291"/>
                    <a:gd name="connsiteX502" fmla="*/ 923189 w 2102022"/>
                    <a:gd name="connsiteY502" fmla="*/ 896263 h 1084291"/>
                    <a:gd name="connsiteX503" fmla="*/ 931099 w 2102022"/>
                    <a:gd name="connsiteY503" fmla="*/ 903357 h 1084291"/>
                    <a:gd name="connsiteX504" fmla="*/ 952572 w 2102022"/>
                    <a:gd name="connsiteY504" fmla="*/ 864849 h 1084291"/>
                    <a:gd name="connsiteX505" fmla="*/ 966133 w 2102022"/>
                    <a:gd name="connsiteY505" fmla="*/ 864849 h 1084291"/>
                    <a:gd name="connsiteX506" fmla="*/ 963873 w 2102022"/>
                    <a:gd name="connsiteY506" fmla="*/ 869916 h 1084291"/>
                    <a:gd name="connsiteX507" fmla="*/ 961613 w 2102022"/>
                    <a:gd name="connsiteY507" fmla="*/ 877009 h 1084291"/>
                    <a:gd name="connsiteX508" fmla="*/ 977434 w 2102022"/>
                    <a:gd name="connsiteY508" fmla="*/ 877009 h 1084291"/>
                    <a:gd name="connsiteX509" fmla="*/ 979695 w 2102022"/>
                    <a:gd name="connsiteY509" fmla="*/ 869916 h 1084291"/>
                    <a:gd name="connsiteX510" fmla="*/ 1012468 w 2102022"/>
                    <a:gd name="connsiteY510" fmla="*/ 857756 h 1084291"/>
                    <a:gd name="connsiteX511" fmla="*/ 1020379 w 2102022"/>
                    <a:gd name="connsiteY511" fmla="*/ 857756 h 1084291"/>
                    <a:gd name="connsiteX512" fmla="*/ 1020379 w 2102022"/>
                    <a:gd name="connsiteY512" fmla="*/ 864849 h 1084291"/>
                    <a:gd name="connsiteX513" fmla="*/ 1026030 w 2102022"/>
                    <a:gd name="connsiteY513" fmla="*/ 854715 h 1084291"/>
                    <a:gd name="connsiteX514" fmla="*/ 1039591 w 2102022"/>
                    <a:gd name="connsiteY514" fmla="*/ 856742 h 1084291"/>
                    <a:gd name="connsiteX515" fmla="*/ 1045242 w 2102022"/>
                    <a:gd name="connsiteY515" fmla="*/ 839515 h 1084291"/>
                    <a:gd name="connsiteX516" fmla="*/ 1058803 w 2102022"/>
                    <a:gd name="connsiteY516" fmla="*/ 832422 h 1084291"/>
                    <a:gd name="connsiteX517" fmla="*/ 1053152 w 2102022"/>
                    <a:gd name="connsiteY517" fmla="*/ 830395 h 1084291"/>
                    <a:gd name="connsiteX518" fmla="*/ 1055413 w 2102022"/>
                    <a:gd name="connsiteY518" fmla="*/ 828368 h 1084291"/>
                    <a:gd name="connsiteX519" fmla="*/ 1076885 w 2102022"/>
                    <a:gd name="connsiteY519" fmla="*/ 821275 h 1084291"/>
                    <a:gd name="connsiteX520" fmla="*/ 1074625 w 2102022"/>
                    <a:gd name="connsiteY520" fmla="*/ 816208 h 1084291"/>
                    <a:gd name="connsiteX521" fmla="*/ 1090446 w 2102022"/>
                    <a:gd name="connsiteY521" fmla="*/ 814181 h 1084291"/>
                    <a:gd name="connsiteX522" fmla="*/ 1092707 w 2102022"/>
                    <a:gd name="connsiteY522" fmla="*/ 802021 h 1084291"/>
                    <a:gd name="connsiteX523" fmla="*/ 1104008 w 2102022"/>
                    <a:gd name="connsiteY523" fmla="*/ 804048 h 1084291"/>
                    <a:gd name="connsiteX524" fmla="*/ 1123220 w 2102022"/>
                    <a:gd name="connsiteY524" fmla="*/ 791887 h 1084291"/>
                    <a:gd name="connsiteX525" fmla="*/ 1120960 w 2102022"/>
                    <a:gd name="connsiteY525" fmla="*/ 777700 h 1084291"/>
                    <a:gd name="connsiteX526" fmla="*/ 1136781 w 2102022"/>
                    <a:gd name="connsiteY526" fmla="*/ 772633 h 1084291"/>
                    <a:gd name="connsiteX527" fmla="*/ 1136781 w 2102022"/>
                    <a:gd name="connsiteY527" fmla="*/ 767567 h 1084291"/>
                    <a:gd name="connsiteX528" fmla="*/ 1144692 w 2102022"/>
                    <a:gd name="connsiteY528" fmla="*/ 767567 h 1084291"/>
                    <a:gd name="connsiteX529" fmla="*/ 1160514 w 2102022"/>
                    <a:gd name="connsiteY529" fmla="*/ 748313 h 1084291"/>
                    <a:gd name="connsiteX530" fmla="*/ 1171815 w 2102022"/>
                    <a:gd name="connsiteY530" fmla="*/ 746286 h 1084291"/>
                    <a:gd name="connsiteX531" fmla="*/ 1171815 w 2102022"/>
                    <a:gd name="connsiteY531" fmla="*/ 739193 h 1084291"/>
                    <a:gd name="connsiteX532" fmla="*/ 1183116 w 2102022"/>
                    <a:gd name="connsiteY532" fmla="*/ 732099 h 1084291"/>
                    <a:gd name="connsiteX533" fmla="*/ 1207979 w 2102022"/>
                    <a:gd name="connsiteY533" fmla="*/ 727032 h 1084291"/>
                    <a:gd name="connsiteX534" fmla="*/ 1213629 w 2102022"/>
                    <a:gd name="connsiteY534" fmla="*/ 719939 h 1084291"/>
                    <a:gd name="connsiteX535" fmla="*/ 1211369 w 2102022"/>
                    <a:gd name="connsiteY535" fmla="*/ 709805 h 1084291"/>
                    <a:gd name="connsiteX536" fmla="*/ 1224931 w 2102022"/>
                    <a:gd name="connsiteY536" fmla="*/ 702712 h 1084291"/>
                    <a:gd name="connsiteX537" fmla="*/ 1224931 w 2102022"/>
                    <a:gd name="connsiteY537" fmla="*/ 697645 h 1084291"/>
                    <a:gd name="connsiteX538" fmla="*/ 1236232 w 2102022"/>
                    <a:gd name="connsiteY538" fmla="*/ 695618 h 1084291"/>
                    <a:gd name="connsiteX539" fmla="*/ 1236232 w 2102022"/>
                    <a:gd name="connsiteY539" fmla="*/ 685485 h 1084291"/>
                    <a:gd name="connsiteX540" fmla="*/ 1214760 w 2102022"/>
                    <a:gd name="connsiteY540" fmla="*/ 685485 h 1084291"/>
                    <a:gd name="connsiteX541" fmla="*/ 1214760 w 2102022"/>
                    <a:gd name="connsiteY541" fmla="*/ 663191 h 1084291"/>
                    <a:gd name="connsiteX542" fmla="*/ 1222670 w 2102022"/>
                    <a:gd name="connsiteY542" fmla="*/ 656097 h 1084291"/>
                    <a:gd name="connsiteX543" fmla="*/ 1222670 w 2102022"/>
                    <a:gd name="connsiteY543" fmla="*/ 645964 h 1084291"/>
                    <a:gd name="connsiteX544" fmla="*/ 1244143 w 2102022"/>
                    <a:gd name="connsiteY544" fmla="*/ 645964 h 1084291"/>
                    <a:gd name="connsiteX545" fmla="*/ 1246403 w 2102022"/>
                    <a:gd name="connsiteY545" fmla="*/ 635830 h 1084291"/>
                    <a:gd name="connsiteX546" fmla="*/ 1257704 w 2102022"/>
                    <a:gd name="connsiteY546" fmla="*/ 630764 h 1084291"/>
                    <a:gd name="connsiteX547" fmla="*/ 1255444 w 2102022"/>
                    <a:gd name="connsiteY547" fmla="*/ 618603 h 1084291"/>
                    <a:gd name="connsiteX548" fmla="*/ 1266745 w 2102022"/>
                    <a:gd name="connsiteY548" fmla="*/ 623670 h 1084291"/>
                    <a:gd name="connsiteX549" fmla="*/ 1274656 w 2102022"/>
                    <a:gd name="connsiteY549" fmla="*/ 621643 h 1084291"/>
                    <a:gd name="connsiteX550" fmla="*/ 1290478 w 2102022"/>
                    <a:gd name="connsiteY550" fmla="*/ 595296 h 1084291"/>
                    <a:gd name="connsiteX551" fmla="*/ 1304039 w 2102022"/>
                    <a:gd name="connsiteY551" fmla="*/ 593269 h 1084291"/>
                    <a:gd name="connsiteX552" fmla="*/ 1306299 w 2102022"/>
                    <a:gd name="connsiteY552" fmla="*/ 581109 h 1084291"/>
                    <a:gd name="connsiteX553" fmla="*/ 1322121 w 2102022"/>
                    <a:gd name="connsiteY553" fmla="*/ 574016 h 1084291"/>
                    <a:gd name="connsiteX554" fmla="*/ 1341333 w 2102022"/>
                    <a:gd name="connsiteY554" fmla="*/ 554762 h 1084291"/>
                    <a:gd name="connsiteX555" fmla="*/ 1346984 w 2102022"/>
                    <a:gd name="connsiteY555" fmla="*/ 564895 h 1084291"/>
                    <a:gd name="connsiteX556" fmla="*/ 1368456 w 2102022"/>
                    <a:gd name="connsiteY556" fmla="*/ 562869 h 1084291"/>
                    <a:gd name="connsiteX557" fmla="*/ 1374106 w 2102022"/>
                    <a:gd name="connsiteY557" fmla="*/ 555775 h 1084291"/>
                    <a:gd name="connsiteX558" fmla="*/ 1382017 w 2102022"/>
                    <a:gd name="connsiteY558" fmla="*/ 555775 h 1084291"/>
                    <a:gd name="connsiteX559" fmla="*/ 1374106 w 2102022"/>
                    <a:gd name="connsiteY559" fmla="*/ 565909 h 1084291"/>
                    <a:gd name="connsiteX560" fmla="*/ 1371846 w 2102022"/>
                    <a:gd name="connsiteY560" fmla="*/ 573002 h 1084291"/>
                    <a:gd name="connsiteX561" fmla="*/ 1379757 w 2102022"/>
                    <a:gd name="connsiteY561" fmla="*/ 583136 h 1084291"/>
                    <a:gd name="connsiteX562" fmla="*/ 1344723 w 2102022"/>
                    <a:gd name="connsiteY562" fmla="*/ 581109 h 1084291"/>
                    <a:gd name="connsiteX563" fmla="*/ 1339073 w 2102022"/>
                    <a:gd name="connsiteY563" fmla="*/ 588203 h 1084291"/>
                    <a:gd name="connsiteX564" fmla="*/ 1314210 w 2102022"/>
                    <a:gd name="connsiteY564" fmla="*/ 598336 h 1084291"/>
                    <a:gd name="connsiteX565" fmla="*/ 1316470 w 2102022"/>
                    <a:gd name="connsiteY565" fmla="*/ 632790 h 1084291"/>
                    <a:gd name="connsiteX566" fmla="*/ 1302909 w 2102022"/>
                    <a:gd name="connsiteY566" fmla="*/ 644951 h 1084291"/>
                    <a:gd name="connsiteX567" fmla="*/ 1308559 w 2102022"/>
                    <a:gd name="connsiteY567" fmla="*/ 657111 h 1084291"/>
                    <a:gd name="connsiteX568" fmla="*/ 1316470 w 2102022"/>
                    <a:gd name="connsiteY568" fmla="*/ 657111 h 1084291"/>
                    <a:gd name="connsiteX569" fmla="*/ 1316470 w 2102022"/>
                    <a:gd name="connsiteY569" fmla="*/ 667244 h 1084291"/>
                    <a:gd name="connsiteX570" fmla="*/ 1300649 w 2102022"/>
                    <a:gd name="connsiteY570" fmla="*/ 669271 h 1084291"/>
                    <a:gd name="connsiteX571" fmla="*/ 1298388 w 2102022"/>
                    <a:gd name="connsiteY571" fmla="*/ 681431 h 1084291"/>
                    <a:gd name="connsiteX572" fmla="*/ 1317600 w 2102022"/>
                    <a:gd name="connsiteY572" fmla="*/ 683458 h 1084291"/>
                    <a:gd name="connsiteX573" fmla="*/ 1325511 w 2102022"/>
                    <a:gd name="connsiteY573" fmla="*/ 676365 h 1084291"/>
                    <a:gd name="connsiteX574" fmla="*/ 1339073 w 2102022"/>
                    <a:gd name="connsiteY574" fmla="*/ 678391 h 1084291"/>
                    <a:gd name="connsiteX575" fmla="*/ 1339073 w 2102022"/>
                    <a:gd name="connsiteY575" fmla="*/ 673324 h 1084291"/>
                    <a:gd name="connsiteX576" fmla="*/ 1352634 w 2102022"/>
                    <a:gd name="connsiteY576" fmla="*/ 666231 h 1084291"/>
                    <a:gd name="connsiteX577" fmla="*/ 1352634 w 2102022"/>
                    <a:gd name="connsiteY577" fmla="*/ 659138 h 1084291"/>
                    <a:gd name="connsiteX578" fmla="*/ 1374106 w 2102022"/>
                    <a:gd name="connsiteY578" fmla="*/ 654071 h 1084291"/>
                    <a:gd name="connsiteX579" fmla="*/ 1374106 w 2102022"/>
                    <a:gd name="connsiteY579" fmla="*/ 641911 h 1084291"/>
                    <a:gd name="connsiteX580" fmla="*/ 1385408 w 2102022"/>
                    <a:gd name="connsiteY580" fmla="*/ 646977 h 1084291"/>
                    <a:gd name="connsiteX581" fmla="*/ 1385408 w 2102022"/>
                    <a:gd name="connsiteY581" fmla="*/ 636844 h 1084291"/>
                    <a:gd name="connsiteX582" fmla="*/ 1393318 w 2102022"/>
                    <a:gd name="connsiteY582" fmla="*/ 629750 h 1084291"/>
                    <a:gd name="connsiteX583" fmla="*/ 1395579 w 2102022"/>
                    <a:gd name="connsiteY583" fmla="*/ 636844 h 1084291"/>
                    <a:gd name="connsiteX584" fmla="*/ 1403490 w 2102022"/>
                    <a:gd name="connsiteY584" fmla="*/ 631777 h 1084291"/>
                    <a:gd name="connsiteX585" fmla="*/ 1430612 w 2102022"/>
                    <a:gd name="connsiteY585" fmla="*/ 636844 h 1084291"/>
                    <a:gd name="connsiteX586" fmla="*/ 1432873 w 2102022"/>
                    <a:gd name="connsiteY586" fmla="*/ 624683 h 1084291"/>
                    <a:gd name="connsiteX587" fmla="*/ 1444174 w 2102022"/>
                    <a:gd name="connsiteY587" fmla="*/ 624683 h 1084291"/>
                    <a:gd name="connsiteX588" fmla="*/ 1444174 w 2102022"/>
                    <a:gd name="connsiteY588" fmla="*/ 602389 h 1084291"/>
                    <a:gd name="connsiteX589" fmla="*/ 1432873 w 2102022"/>
                    <a:gd name="connsiteY589" fmla="*/ 604416 h 1084291"/>
                    <a:gd name="connsiteX590" fmla="*/ 1432873 w 2102022"/>
                    <a:gd name="connsiteY590" fmla="*/ 599350 h 1084291"/>
                    <a:gd name="connsiteX591" fmla="*/ 1424962 w 2102022"/>
                    <a:gd name="connsiteY591" fmla="*/ 599350 h 1084291"/>
                    <a:gd name="connsiteX592" fmla="*/ 1422702 w 2102022"/>
                    <a:gd name="connsiteY592" fmla="*/ 577056 h 1084291"/>
                    <a:gd name="connsiteX593" fmla="*/ 1461126 w 2102022"/>
                    <a:gd name="connsiteY593" fmla="*/ 584149 h 1084291"/>
                    <a:gd name="connsiteX594" fmla="*/ 1461126 w 2102022"/>
                    <a:gd name="connsiteY594" fmla="*/ 577056 h 1084291"/>
                    <a:gd name="connsiteX595" fmla="*/ 1466776 w 2102022"/>
                    <a:gd name="connsiteY595" fmla="*/ 582122 h 1084291"/>
                    <a:gd name="connsiteX596" fmla="*/ 1480338 w 2102022"/>
                    <a:gd name="connsiteY596" fmla="*/ 580096 h 1084291"/>
                    <a:gd name="connsiteX597" fmla="*/ 1485988 w 2102022"/>
                    <a:gd name="connsiteY597" fmla="*/ 573002 h 1084291"/>
                    <a:gd name="connsiteX598" fmla="*/ 1488249 w 2102022"/>
                    <a:gd name="connsiteY598" fmla="*/ 580096 h 1084291"/>
                    <a:gd name="connsiteX599" fmla="*/ 1485988 w 2102022"/>
                    <a:gd name="connsiteY599" fmla="*/ 585162 h 1084291"/>
                    <a:gd name="connsiteX600" fmla="*/ 1499550 w 2102022"/>
                    <a:gd name="connsiteY600" fmla="*/ 590229 h 1084291"/>
                    <a:gd name="connsiteX601" fmla="*/ 1485988 w 2102022"/>
                    <a:gd name="connsiteY601" fmla="*/ 595296 h 1084291"/>
                    <a:gd name="connsiteX602" fmla="*/ 1505200 w 2102022"/>
                    <a:gd name="connsiteY602" fmla="*/ 595296 h 1084291"/>
                    <a:gd name="connsiteX603" fmla="*/ 1505200 w 2102022"/>
                    <a:gd name="connsiteY603" fmla="*/ 600363 h 1084291"/>
                    <a:gd name="connsiteX604" fmla="*/ 1516501 w 2102022"/>
                    <a:gd name="connsiteY604" fmla="*/ 602389 h 1084291"/>
                    <a:gd name="connsiteX605" fmla="*/ 1514241 w 2102022"/>
                    <a:gd name="connsiteY605" fmla="*/ 612523 h 1084291"/>
                    <a:gd name="connsiteX606" fmla="*/ 1511981 w 2102022"/>
                    <a:gd name="connsiteY606" fmla="*/ 612523 h 1084291"/>
                    <a:gd name="connsiteX607" fmla="*/ 1514241 w 2102022"/>
                    <a:gd name="connsiteY607" fmla="*/ 619617 h 1084291"/>
                    <a:gd name="connsiteX608" fmla="*/ 1531193 w 2102022"/>
                    <a:gd name="connsiteY608" fmla="*/ 616577 h 1084291"/>
                    <a:gd name="connsiteX609" fmla="*/ 1541364 w 2102022"/>
                    <a:gd name="connsiteY609" fmla="*/ 612523 h 1084291"/>
                    <a:gd name="connsiteX610" fmla="*/ 1541364 w 2102022"/>
                    <a:gd name="connsiteY610" fmla="*/ 622657 h 1084291"/>
                    <a:gd name="connsiteX611" fmla="*/ 1549275 w 2102022"/>
                    <a:gd name="connsiteY611" fmla="*/ 629750 h 1084291"/>
                    <a:gd name="connsiteX612" fmla="*/ 1562836 w 2102022"/>
                    <a:gd name="connsiteY612" fmla="*/ 629750 h 1084291"/>
                    <a:gd name="connsiteX613" fmla="*/ 1574137 w 2102022"/>
                    <a:gd name="connsiteY613" fmla="*/ 639884 h 1084291"/>
                    <a:gd name="connsiteX614" fmla="*/ 1606911 w 2102022"/>
                    <a:gd name="connsiteY614" fmla="*/ 646977 h 1084291"/>
                    <a:gd name="connsiteX615" fmla="*/ 1636294 w 2102022"/>
                    <a:gd name="connsiteY615" fmla="*/ 636844 h 1084291"/>
                    <a:gd name="connsiteX616" fmla="*/ 1655506 w 2102022"/>
                    <a:gd name="connsiteY616" fmla="*/ 646977 h 1084291"/>
                    <a:gd name="connsiteX617" fmla="*/ 1669068 w 2102022"/>
                    <a:gd name="connsiteY617" fmla="*/ 644951 h 1084291"/>
                    <a:gd name="connsiteX618" fmla="*/ 1674718 w 2102022"/>
                    <a:gd name="connsiteY618" fmla="*/ 652044 h 1084291"/>
                    <a:gd name="connsiteX619" fmla="*/ 1728964 w 2102022"/>
                    <a:gd name="connsiteY619" fmla="*/ 659138 h 1084291"/>
                    <a:gd name="connsiteX620" fmla="*/ 1740265 w 2102022"/>
                    <a:gd name="connsiteY620" fmla="*/ 649004 h 1084291"/>
                    <a:gd name="connsiteX621" fmla="*/ 1740265 w 2102022"/>
                    <a:gd name="connsiteY621" fmla="*/ 666231 h 1084291"/>
                    <a:gd name="connsiteX622" fmla="*/ 1732354 w 2102022"/>
                    <a:gd name="connsiteY622" fmla="*/ 673324 h 1084291"/>
                    <a:gd name="connsiteX623" fmla="*/ 1740265 w 2102022"/>
                    <a:gd name="connsiteY623" fmla="*/ 678391 h 1084291"/>
                    <a:gd name="connsiteX624" fmla="*/ 1753827 w 2102022"/>
                    <a:gd name="connsiteY624" fmla="*/ 676365 h 1084291"/>
                    <a:gd name="connsiteX625" fmla="*/ 1759477 w 2102022"/>
                    <a:gd name="connsiteY625" fmla="*/ 686498 h 1084291"/>
                    <a:gd name="connsiteX626" fmla="*/ 1770778 w 2102022"/>
                    <a:gd name="connsiteY626" fmla="*/ 688525 h 1084291"/>
                    <a:gd name="connsiteX627" fmla="*/ 1776429 w 2102022"/>
                    <a:gd name="connsiteY627" fmla="*/ 686498 h 1084291"/>
                    <a:gd name="connsiteX628" fmla="*/ 1774169 w 2102022"/>
                    <a:gd name="connsiteY628" fmla="*/ 681431 h 1084291"/>
                    <a:gd name="connsiteX629" fmla="*/ 1774169 w 2102022"/>
                    <a:gd name="connsiteY629" fmla="*/ 669271 h 1084291"/>
                    <a:gd name="connsiteX630" fmla="*/ 1789990 w 2102022"/>
                    <a:gd name="connsiteY630" fmla="*/ 669271 h 1084291"/>
                    <a:gd name="connsiteX631" fmla="*/ 1782080 w 2102022"/>
                    <a:gd name="connsiteY631" fmla="*/ 691565 h 1084291"/>
                    <a:gd name="connsiteX632" fmla="*/ 1811463 w 2102022"/>
                    <a:gd name="connsiteY632" fmla="*/ 722979 h 1084291"/>
                    <a:gd name="connsiteX633" fmla="*/ 1832935 w 2102022"/>
                    <a:gd name="connsiteY633" fmla="*/ 722979 h 1084291"/>
                    <a:gd name="connsiteX634" fmla="*/ 1832935 w 2102022"/>
                    <a:gd name="connsiteY634" fmla="*/ 733113 h 1084291"/>
                    <a:gd name="connsiteX635" fmla="*/ 1840846 w 2102022"/>
                    <a:gd name="connsiteY635" fmla="*/ 733113 h 1084291"/>
                    <a:gd name="connsiteX636" fmla="*/ 1854407 w 2102022"/>
                    <a:gd name="connsiteY636" fmla="*/ 747300 h 1084291"/>
                    <a:gd name="connsiteX637" fmla="*/ 1852147 w 2102022"/>
                    <a:gd name="connsiteY637" fmla="*/ 759460 h 1084291"/>
                    <a:gd name="connsiteX638" fmla="*/ 1871359 w 2102022"/>
                    <a:gd name="connsiteY638" fmla="*/ 766553 h 1084291"/>
                    <a:gd name="connsiteX639" fmla="*/ 1877010 w 2102022"/>
                    <a:gd name="connsiteY639" fmla="*/ 778714 h 1084291"/>
                    <a:gd name="connsiteX640" fmla="*/ 1884920 w 2102022"/>
                    <a:gd name="connsiteY640" fmla="*/ 776687 h 1084291"/>
                    <a:gd name="connsiteX641" fmla="*/ 1884920 w 2102022"/>
                    <a:gd name="connsiteY641" fmla="*/ 766553 h 1084291"/>
                    <a:gd name="connsiteX642" fmla="*/ 1900742 w 2102022"/>
                    <a:gd name="connsiteY642" fmla="*/ 778714 h 1084291"/>
                    <a:gd name="connsiteX643" fmla="*/ 1912043 w 2102022"/>
                    <a:gd name="connsiteY643" fmla="*/ 778714 h 1084291"/>
                    <a:gd name="connsiteX644" fmla="*/ 1909783 w 2102022"/>
                    <a:gd name="connsiteY644" fmla="*/ 759460 h 1084291"/>
                    <a:gd name="connsiteX645" fmla="*/ 1898482 w 2102022"/>
                    <a:gd name="connsiteY645" fmla="*/ 759460 h 1084291"/>
                    <a:gd name="connsiteX646" fmla="*/ 1855537 w 2102022"/>
                    <a:gd name="connsiteY646" fmla="*/ 740206 h 1084291"/>
                    <a:gd name="connsiteX647" fmla="*/ 1853277 w 2102022"/>
                    <a:gd name="connsiteY647" fmla="*/ 730073 h 1084291"/>
                    <a:gd name="connsiteX648" fmla="*/ 1861188 w 2102022"/>
                    <a:gd name="connsiteY648" fmla="*/ 735139 h 1084291"/>
                    <a:gd name="connsiteX649" fmla="*/ 1890571 w 2102022"/>
                    <a:gd name="connsiteY649" fmla="*/ 722979 h 1084291"/>
                    <a:gd name="connsiteX650" fmla="*/ 1892831 w 2102022"/>
                    <a:gd name="connsiteY650" fmla="*/ 733113 h 1084291"/>
                    <a:gd name="connsiteX651" fmla="*/ 1898482 w 2102022"/>
                    <a:gd name="connsiteY651" fmla="*/ 733113 h 1084291"/>
                    <a:gd name="connsiteX652" fmla="*/ 1898482 w 2102022"/>
                    <a:gd name="connsiteY652" fmla="*/ 698658 h 1084291"/>
                    <a:gd name="connsiteX653" fmla="*/ 1904133 w 2102022"/>
                    <a:gd name="connsiteY653" fmla="*/ 700685 h 1084291"/>
                    <a:gd name="connsiteX654" fmla="*/ 1919954 w 2102022"/>
                    <a:gd name="connsiteY654" fmla="*/ 730073 h 1084291"/>
                    <a:gd name="connsiteX655" fmla="*/ 1933516 w 2102022"/>
                    <a:gd name="connsiteY655" fmla="*/ 728046 h 1084291"/>
                    <a:gd name="connsiteX656" fmla="*/ 1939166 w 2102022"/>
                    <a:gd name="connsiteY656" fmla="*/ 742233 h 1084291"/>
                    <a:gd name="connsiteX657" fmla="*/ 1950467 w 2102022"/>
                    <a:gd name="connsiteY657" fmla="*/ 740206 h 1084291"/>
                    <a:gd name="connsiteX658" fmla="*/ 1948207 w 2102022"/>
                    <a:gd name="connsiteY658" fmla="*/ 754393 h 1084291"/>
                    <a:gd name="connsiteX659" fmla="*/ 1961769 w 2102022"/>
                    <a:gd name="connsiteY659" fmla="*/ 764527 h 1084291"/>
                    <a:gd name="connsiteX660" fmla="*/ 1964029 w 2102022"/>
                    <a:gd name="connsiteY660" fmla="*/ 790874 h 1084291"/>
                    <a:gd name="connsiteX661" fmla="*/ 1979851 w 2102022"/>
                    <a:gd name="connsiteY661" fmla="*/ 795941 h 1084291"/>
                    <a:gd name="connsiteX662" fmla="*/ 1977590 w 2102022"/>
                    <a:gd name="connsiteY662" fmla="*/ 810128 h 1084291"/>
                    <a:gd name="connsiteX663" fmla="*/ 1983241 w 2102022"/>
                    <a:gd name="connsiteY663" fmla="*/ 815194 h 1084291"/>
                    <a:gd name="connsiteX664" fmla="*/ 1975330 w 2102022"/>
                    <a:gd name="connsiteY664" fmla="*/ 817221 h 1084291"/>
                    <a:gd name="connsiteX665" fmla="*/ 1975330 w 2102022"/>
                    <a:gd name="connsiteY665" fmla="*/ 824315 h 1084291"/>
                    <a:gd name="connsiteX666" fmla="*/ 1977590 w 2102022"/>
                    <a:gd name="connsiteY666" fmla="*/ 824315 h 1084291"/>
                    <a:gd name="connsiteX667" fmla="*/ 1977590 w 2102022"/>
                    <a:gd name="connsiteY667" fmla="*/ 829382 h 1084291"/>
                    <a:gd name="connsiteX668" fmla="*/ 1985501 w 2102022"/>
                    <a:gd name="connsiteY668" fmla="*/ 827355 h 1084291"/>
                    <a:gd name="connsiteX669" fmla="*/ 1983241 w 2102022"/>
                    <a:gd name="connsiteY669" fmla="*/ 820261 h 1084291"/>
                    <a:gd name="connsiteX670" fmla="*/ 1983241 w 2102022"/>
                    <a:gd name="connsiteY670" fmla="*/ 815194 h 1084291"/>
                    <a:gd name="connsiteX671" fmla="*/ 1991152 w 2102022"/>
                    <a:gd name="connsiteY671" fmla="*/ 815194 h 1084291"/>
                    <a:gd name="connsiteX672" fmla="*/ 2006973 w 2102022"/>
                    <a:gd name="connsiteY672" fmla="*/ 832422 h 1084291"/>
                    <a:gd name="connsiteX673" fmla="*/ 1999063 w 2102022"/>
                    <a:gd name="connsiteY673" fmla="*/ 832422 h 1084291"/>
                    <a:gd name="connsiteX674" fmla="*/ 1999063 w 2102022"/>
                    <a:gd name="connsiteY674" fmla="*/ 837488 h 1084291"/>
                    <a:gd name="connsiteX675" fmla="*/ 2006973 w 2102022"/>
                    <a:gd name="connsiteY675" fmla="*/ 839515 h 1084291"/>
                    <a:gd name="connsiteX676" fmla="*/ 2009234 w 2102022"/>
                    <a:gd name="connsiteY676" fmla="*/ 832422 h 1084291"/>
                    <a:gd name="connsiteX677" fmla="*/ 2014884 w 2102022"/>
                    <a:gd name="connsiteY677" fmla="*/ 837488 h 1084291"/>
                    <a:gd name="connsiteX678" fmla="*/ 2009234 w 2102022"/>
                    <a:gd name="connsiteY678" fmla="*/ 868902 h 1084291"/>
                    <a:gd name="connsiteX679" fmla="*/ 2022795 w 2102022"/>
                    <a:gd name="connsiteY679" fmla="*/ 866876 h 1084291"/>
                    <a:gd name="connsiteX680" fmla="*/ 2022795 w 2102022"/>
                    <a:gd name="connsiteY680" fmla="*/ 854715 h 1084291"/>
                    <a:gd name="connsiteX681" fmla="*/ 2036357 w 2102022"/>
                    <a:gd name="connsiteY681" fmla="*/ 852689 h 1084291"/>
                    <a:gd name="connsiteX682" fmla="*/ 2038617 w 2102022"/>
                    <a:gd name="connsiteY682" fmla="*/ 857756 h 1084291"/>
                    <a:gd name="connsiteX683" fmla="*/ 2030706 w 2102022"/>
                    <a:gd name="connsiteY683" fmla="*/ 857756 h 1084291"/>
                    <a:gd name="connsiteX684" fmla="*/ 2028446 w 2102022"/>
                    <a:gd name="connsiteY684" fmla="*/ 871942 h 1084291"/>
                    <a:gd name="connsiteX685" fmla="*/ 2034096 w 2102022"/>
                    <a:gd name="connsiteY685" fmla="*/ 889169 h 1084291"/>
                    <a:gd name="connsiteX686" fmla="*/ 2047658 w 2102022"/>
                    <a:gd name="connsiteY686" fmla="*/ 869916 h 1084291"/>
                    <a:gd name="connsiteX687" fmla="*/ 2053308 w 2102022"/>
                    <a:gd name="connsiteY687" fmla="*/ 871942 h 1084291"/>
                    <a:gd name="connsiteX688" fmla="*/ 2058959 w 2102022"/>
                    <a:gd name="connsiteY688" fmla="*/ 889169 h 1084291"/>
                    <a:gd name="connsiteX689" fmla="*/ 2056699 w 2102022"/>
                    <a:gd name="connsiteY689" fmla="*/ 896263 h 1084291"/>
                    <a:gd name="connsiteX690" fmla="*/ 2045398 w 2102022"/>
                    <a:gd name="connsiteY690" fmla="*/ 898290 h 1084291"/>
                    <a:gd name="connsiteX691" fmla="*/ 2051048 w 2102022"/>
                    <a:gd name="connsiteY691" fmla="*/ 903357 h 1084291"/>
                    <a:gd name="connsiteX692" fmla="*/ 2056699 w 2102022"/>
                    <a:gd name="connsiteY692" fmla="*/ 905383 h 1084291"/>
                    <a:gd name="connsiteX693" fmla="*/ 2051048 w 2102022"/>
                    <a:gd name="connsiteY693" fmla="*/ 910450 h 1084291"/>
                    <a:gd name="connsiteX694" fmla="*/ 2053308 w 2102022"/>
                    <a:gd name="connsiteY694" fmla="*/ 917544 h 1084291"/>
                    <a:gd name="connsiteX695" fmla="*/ 2066870 w 2102022"/>
                    <a:gd name="connsiteY695" fmla="*/ 919570 h 1084291"/>
                    <a:gd name="connsiteX696" fmla="*/ 2080431 w 2102022"/>
                    <a:gd name="connsiteY696" fmla="*/ 902343 h 1084291"/>
                    <a:gd name="connsiteX697" fmla="*/ 2082691 w 2102022"/>
                    <a:gd name="connsiteY697" fmla="*/ 899303 h 1084291"/>
                    <a:gd name="connsiteX698" fmla="*/ 2082691 w 2102022"/>
                    <a:gd name="connsiteY698" fmla="*/ 897276 h 1084291"/>
                    <a:gd name="connsiteX699" fmla="*/ 2091732 w 2102022"/>
                    <a:gd name="connsiteY699" fmla="*/ 886129 h 1084291"/>
                    <a:gd name="connsiteX700" fmla="*/ 2091732 w 2102022"/>
                    <a:gd name="connsiteY700" fmla="*/ 871942 h 1084291"/>
                    <a:gd name="connsiteX701" fmla="*/ 2096253 w 2102022"/>
                    <a:gd name="connsiteY701" fmla="*/ 856742 h 1084291"/>
                    <a:gd name="connsiteX702" fmla="*/ 2086082 w 2102022"/>
                    <a:gd name="connsiteY702" fmla="*/ 836475 h 1084291"/>
                    <a:gd name="connsiteX703" fmla="*/ 2073650 w 2102022"/>
                    <a:gd name="connsiteY703" fmla="*/ 826341 h 1084291"/>
                    <a:gd name="connsiteX704" fmla="*/ 2063479 w 2102022"/>
                    <a:gd name="connsiteY704" fmla="*/ 797967 h 1084291"/>
                    <a:gd name="connsiteX705" fmla="*/ 2039747 w 2102022"/>
                    <a:gd name="connsiteY705" fmla="*/ 797967 h 1084291"/>
                    <a:gd name="connsiteX706" fmla="*/ 2013754 w 2102022"/>
                    <a:gd name="connsiteY706" fmla="*/ 772633 h 1084291"/>
                    <a:gd name="connsiteX707" fmla="*/ 1991152 w 2102022"/>
                    <a:gd name="connsiteY707" fmla="*/ 739193 h 1084291"/>
                    <a:gd name="connsiteX708" fmla="*/ 1948207 w 2102022"/>
                    <a:gd name="connsiteY708" fmla="*/ 695618 h 1084291"/>
                    <a:gd name="connsiteX709" fmla="*/ 1916564 w 2102022"/>
                    <a:gd name="connsiteY709" fmla="*/ 670285 h 1084291"/>
                    <a:gd name="connsiteX710" fmla="*/ 1901872 w 2102022"/>
                    <a:gd name="connsiteY710" fmla="*/ 652044 h 1084291"/>
                    <a:gd name="connsiteX711" fmla="*/ 1878140 w 2102022"/>
                    <a:gd name="connsiteY711" fmla="*/ 633804 h 1084291"/>
                    <a:gd name="connsiteX712" fmla="*/ 1846496 w 2102022"/>
                    <a:gd name="connsiteY712" fmla="*/ 633804 h 1084291"/>
                    <a:gd name="connsiteX713" fmla="*/ 1846496 w 2102022"/>
                    <a:gd name="connsiteY713" fmla="*/ 653057 h 1084291"/>
                    <a:gd name="connsiteX714" fmla="*/ 1814853 w 2102022"/>
                    <a:gd name="connsiteY714" fmla="*/ 668258 h 1084291"/>
                    <a:gd name="connsiteX715" fmla="*/ 1801292 w 2102022"/>
                    <a:gd name="connsiteY715" fmla="*/ 660151 h 1084291"/>
                    <a:gd name="connsiteX716" fmla="*/ 1760607 w 2102022"/>
                    <a:gd name="connsiteY716" fmla="*/ 627723 h 1084291"/>
                    <a:gd name="connsiteX717" fmla="*/ 1749306 w 2102022"/>
                    <a:gd name="connsiteY717" fmla="*/ 606443 h 1084291"/>
                    <a:gd name="connsiteX718" fmla="*/ 1732354 w 2102022"/>
                    <a:gd name="connsiteY718" fmla="*/ 595296 h 1084291"/>
                    <a:gd name="connsiteX719" fmla="*/ 1709752 w 2102022"/>
                    <a:gd name="connsiteY719" fmla="*/ 587189 h 1084291"/>
                    <a:gd name="connsiteX720" fmla="*/ 1680369 w 2102022"/>
                    <a:gd name="connsiteY720" fmla="*/ 595296 h 1084291"/>
                    <a:gd name="connsiteX721" fmla="*/ 1660027 w 2102022"/>
                    <a:gd name="connsiteY721" fmla="*/ 88618 h 1084291"/>
                    <a:gd name="connsiteX722" fmla="*/ 1658896 w 2102022"/>
                    <a:gd name="connsiteY722" fmla="*/ 87604 h 108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Lst>
                  <a:rect l="l" t="t" r="r" b="b"/>
                  <a:pathLst>
                    <a:path w="2102022" h="1084291">
                      <a:moveTo>
                        <a:pt x="551379" y="594283"/>
                      </a:moveTo>
                      <a:cubicBezTo>
                        <a:pt x="545729" y="605430"/>
                        <a:pt x="547989" y="596309"/>
                        <a:pt x="552509" y="607456"/>
                      </a:cubicBezTo>
                      <a:cubicBezTo>
                        <a:pt x="555900" y="613536"/>
                        <a:pt x="563811" y="613536"/>
                        <a:pt x="564941" y="613536"/>
                      </a:cubicBezTo>
                      <a:cubicBezTo>
                        <a:pt x="569461" y="616577"/>
                        <a:pt x="578502" y="611510"/>
                        <a:pt x="578502" y="609483"/>
                      </a:cubicBezTo>
                      <a:lnTo>
                        <a:pt x="559290" y="605430"/>
                      </a:lnTo>
                      <a:cubicBezTo>
                        <a:pt x="551379" y="601376"/>
                        <a:pt x="560420" y="597323"/>
                        <a:pt x="551379" y="594283"/>
                      </a:cubicBezTo>
                      <a:close/>
                      <a:moveTo>
                        <a:pt x="10052" y="999625"/>
                      </a:moveTo>
                      <a:lnTo>
                        <a:pt x="15703" y="1004692"/>
                      </a:lnTo>
                      <a:cubicBezTo>
                        <a:pt x="15703" y="1004692"/>
                        <a:pt x="20223" y="999625"/>
                        <a:pt x="10052" y="999625"/>
                      </a:cubicBezTo>
                      <a:close/>
                      <a:moveTo>
                        <a:pt x="1862318" y="715886"/>
                      </a:moveTo>
                      <a:cubicBezTo>
                        <a:pt x="1865708" y="716899"/>
                        <a:pt x="1860058" y="722979"/>
                        <a:pt x="1860058" y="722979"/>
                      </a:cubicBezTo>
                      <a:cubicBezTo>
                        <a:pt x="1860058" y="720952"/>
                        <a:pt x="1857798" y="712845"/>
                        <a:pt x="1862318" y="715886"/>
                      </a:cubicBezTo>
                      <a:close/>
                      <a:moveTo>
                        <a:pt x="1973070" y="895250"/>
                      </a:moveTo>
                      <a:cubicBezTo>
                        <a:pt x="1975330" y="896263"/>
                        <a:pt x="1976460" y="901330"/>
                        <a:pt x="1978720" y="902343"/>
                      </a:cubicBezTo>
                      <a:cubicBezTo>
                        <a:pt x="1984371" y="904370"/>
                        <a:pt x="1978720" y="901330"/>
                        <a:pt x="1980981" y="900316"/>
                      </a:cubicBezTo>
                      <a:cubicBezTo>
                        <a:pt x="1979851" y="899303"/>
                        <a:pt x="1976460" y="897276"/>
                        <a:pt x="1973070" y="895250"/>
                      </a:cubicBezTo>
                      <a:close/>
                      <a:moveTo>
                        <a:pt x="1922214" y="849649"/>
                      </a:moveTo>
                      <a:lnTo>
                        <a:pt x="1922214" y="854715"/>
                      </a:lnTo>
                      <a:cubicBezTo>
                        <a:pt x="1931255" y="855729"/>
                        <a:pt x="1925605" y="849649"/>
                        <a:pt x="1922214" y="849649"/>
                      </a:cubicBezTo>
                      <a:close/>
                      <a:moveTo>
                        <a:pt x="1973070" y="834448"/>
                      </a:moveTo>
                      <a:lnTo>
                        <a:pt x="1973070" y="839515"/>
                      </a:lnTo>
                      <a:cubicBezTo>
                        <a:pt x="1974200" y="843568"/>
                        <a:pt x="1988892" y="845595"/>
                        <a:pt x="1992282" y="849649"/>
                      </a:cubicBezTo>
                      <a:cubicBezTo>
                        <a:pt x="1992282" y="850662"/>
                        <a:pt x="1992282" y="855729"/>
                        <a:pt x="1992282" y="856742"/>
                      </a:cubicBezTo>
                      <a:cubicBezTo>
                        <a:pt x="1992282" y="856742"/>
                        <a:pt x="1997932" y="857756"/>
                        <a:pt x="1994542" y="854715"/>
                      </a:cubicBezTo>
                      <a:cubicBezTo>
                        <a:pt x="2001323" y="854715"/>
                        <a:pt x="1995672" y="850662"/>
                        <a:pt x="1994542" y="849649"/>
                      </a:cubicBezTo>
                      <a:cubicBezTo>
                        <a:pt x="1992282" y="847622"/>
                        <a:pt x="1993412" y="843568"/>
                        <a:pt x="1992282" y="842555"/>
                      </a:cubicBezTo>
                      <a:cubicBezTo>
                        <a:pt x="1986631" y="839515"/>
                        <a:pt x="1983241" y="843568"/>
                        <a:pt x="1980981" y="842555"/>
                      </a:cubicBezTo>
                      <a:lnTo>
                        <a:pt x="1980981" y="837488"/>
                      </a:lnTo>
                      <a:cubicBezTo>
                        <a:pt x="1979851" y="836475"/>
                        <a:pt x="1975330" y="835462"/>
                        <a:pt x="1973070" y="834448"/>
                      </a:cubicBezTo>
                      <a:close/>
                      <a:moveTo>
                        <a:pt x="1864578" y="785807"/>
                      </a:moveTo>
                      <a:cubicBezTo>
                        <a:pt x="1864578" y="785807"/>
                        <a:pt x="1864578" y="792901"/>
                        <a:pt x="1864578" y="792901"/>
                      </a:cubicBezTo>
                      <a:cubicBezTo>
                        <a:pt x="1857798" y="792901"/>
                        <a:pt x="1858928" y="802021"/>
                        <a:pt x="1866839" y="797967"/>
                      </a:cubicBezTo>
                      <a:cubicBezTo>
                        <a:pt x="1867969" y="795941"/>
                        <a:pt x="1869099" y="783780"/>
                        <a:pt x="1864578" y="785807"/>
                      </a:cubicBezTo>
                      <a:close/>
                      <a:moveTo>
                        <a:pt x="1932386" y="761487"/>
                      </a:moveTo>
                      <a:lnTo>
                        <a:pt x="1934646" y="766553"/>
                      </a:lnTo>
                      <a:cubicBezTo>
                        <a:pt x="1934646" y="763513"/>
                        <a:pt x="1938036" y="761487"/>
                        <a:pt x="1932386" y="761487"/>
                      </a:cubicBezTo>
                      <a:close/>
                      <a:moveTo>
                        <a:pt x="1835195" y="744259"/>
                      </a:moveTo>
                      <a:lnTo>
                        <a:pt x="1837455" y="751353"/>
                      </a:lnTo>
                      <a:cubicBezTo>
                        <a:pt x="1837455" y="748313"/>
                        <a:pt x="1839716" y="744259"/>
                        <a:pt x="1835195" y="744259"/>
                      </a:cubicBezTo>
                      <a:close/>
                      <a:moveTo>
                        <a:pt x="1897352" y="737166"/>
                      </a:moveTo>
                      <a:cubicBezTo>
                        <a:pt x="1900742" y="742233"/>
                        <a:pt x="1906393" y="749326"/>
                        <a:pt x="1908653" y="754393"/>
                      </a:cubicBezTo>
                      <a:cubicBezTo>
                        <a:pt x="1909783" y="760473"/>
                        <a:pt x="1906393" y="765540"/>
                        <a:pt x="1908653" y="771620"/>
                      </a:cubicBezTo>
                      <a:cubicBezTo>
                        <a:pt x="1908653" y="772633"/>
                        <a:pt x="1916564" y="774660"/>
                        <a:pt x="1916564" y="776687"/>
                      </a:cubicBezTo>
                      <a:cubicBezTo>
                        <a:pt x="1916564" y="778714"/>
                        <a:pt x="1915434" y="789860"/>
                        <a:pt x="1914304" y="786821"/>
                      </a:cubicBezTo>
                      <a:lnTo>
                        <a:pt x="1916564" y="796954"/>
                      </a:lnTo>
                      <a:cubicBezTo>
                        <a:pt x="1926735" y="789860"/>
                        <a:pt x="1939166" y="785807"/>
                        <a:pt x="1932386" y="770607"/>
                      </a:cubicBezTo>
                      <a:cubicBezTo>
                        <a:pt x="1931255" y="769593"/>
                        <a:pt x="1924475" y="764527"/>
                        <a:pt x="1924475" y="763513"/>
                      </a:cubicBezTo>
                      <a:lnTo>
                        <a:pt x="1924475" y="758447"/>
                      </a:lnTo>
                      <a:cubicBezTo>
                        <a:pt x="1927865" y="761487"/>
                        <a:pt x="1928995" y="752366"/>
                        <a:pt x="1930125" y="751353"/>
                      </a:cubicBezTo>
                      <a:cubicBezTo>
                        <a:pt x="1916564" y="740206"/>
                        <a:pt x="1921084" y="740206"/>
                        <a:pt x="1897352" y="737166"/>
                      </a:cubicBezTo>
                      <a:close/>
                      <a:moveTo>
                        <a:pt x="1837455" y="693592"/>
                      </a:moveTo>
                      <a:lnTo>
                        <a:pt x="1843106" y="698658"/>
                      </a:lnTo>
                      <a:cubicBezTo>
                        <a:pt x="1860058" y="702712"/>
                        <a:pt x="1853277" y="701698"/>
                        <a:pt x="1858928" y="715886"/>
                      </a:cubicBezTo>
                      <a:cubicBezTo>
                        <a:pt x="1852147" y="714872"/>
                        <a:pt x="1845366" y="712845"/>
                        <a:pt x="1834065" y="710819"/>
                      </a:cubicBezTo>
                      <a:cubicBezTo>
                        <a:pt x="1832935" y="705752"/>
                        <a:pt x="1835195" y="703725"/>
                        <a:pt x="1831805" y="700685"/>
                      </a:cubicBezTo>
                      <a:cubicBezTo>
                        <a:pt x="1835195" y="696632"/>
                        <a:pt x="1831805" y="693592"/>
                        <a:pt x="1837455" y="693592"/>
                      </a:cubicBezTo>
                      <a:close/>
                      <a:moveTo>
                        <a:pt x="1883790" y="676365"/>
                      </a:moveTo>
                      <a:cubicBezTo>
                        <a:pt x="1883790" y="676365"/>
                        <a:pt x="1883790" y="685485"/>
                        <a:pt x="1883790" y="686498"/>
                      </a:cubicBezTo>
                      <a:cubicBezTo>
                        <a:pt x="1874749" y="688525"/>
                        <a:pt x="1878140" y="677378"/>
                        <a:pt x="1883790" y="676365"/>
                      </a:cubicBezTo>
                      <a:close/>
                      <a:moveTo>
                        <a:pt x="915278" y="907410"/>
                      </a:moveTo>
                      <a:cubicBezTo>
                        <a:pt x="910757" y="908423"/>
                        <a:pt x="901716" y="921597"/>
                        <a:pt x="915278" y="917544"/>
                      </a:cubicBezTo>
                      <a:cubicBezTo>
                        <a:pt x="917538" y="916530"/>
                        <a:pt x="926579" y="904370"/>
                        <a:pt x="915278" y="907410"/>
                      </a:cubicBezTo>
                      <a:close/>
                      <a:moveTo>
                        <a:pt x="1005687" y="895250"/>
                      </a:moveTo>
                      <a:cubicBezTo>
                        <a:pt x="1002297" y="897276"/>
                        <a:pt x="989866" y="917544"/>
                        <a:pt x="1003427" y="909437"/>
                      </a:cubicBezTo>
                      <a:cubicBezTo>
                        <a:pt x="1004557" y="908423"/>
                        <a:pt x="1009078" y="893223"/>
                        <a:pt x="1005687" y="895250"/>
                      </a:cubicBezTo>
                      <a:close/>
                      <a:moveTo>
                        <a:pt x="980825" y="883089"/>
                      </a:moveTo>
                      <a:cubicBezTo>
                        <a:pt x="980825" y="883089"/>
                        <a:pt x="978564" y="890183"/>
                        <a:pt x="978564" y="893223"/>
                      </a:cubicBezTo>
                      <a:cubicBezTo>
                        <a:pt x="983085" y="891196"/>
                        <a:pt x="994386" y="891196"/>
                        <a:pt x="986475" y="886129"/>
                      </a:cubicBezTo>
                      <a:cubicBezTo>
                        <a:pt x="984215" y="884103"/>
                        <a:pt x="986475" y="883089"/>
                        <a:pt x="980825" y="883089"/>
                      </a:cubicBezTo>
                      <a:close/>
                      <a:moveTo>
                        <a:pt x="1246403" y="790874"/>
                      </a:moveTo>
                      <a:lnTo>
                        <a:pt x="1244143" y="797967"/>
                      </a:lnTo>
                      <a:cubicBezTo>
                        <a:pt x="1246403" y="797967"/>
                        <a:pt x="1249793" y="796954"/>
                        <a:pt x="1252053" y="797967"/>
                      </a:cubicBezTo>
                      <a:cubicBezTo>
                        <a:pt x="1252053" y="797967"/>
                        <a:pt x="1258834" y="787834"/>
                        <a:pt x="1246403" y="790874"/>
                      </a:cubicBezTo>
                      <a:close/>
                      <a:moveTo>
                        <a:pt x="1246403" y="735139"/>
                      </a:moveTo>
                      <a:lnTo>
                        <a:pt x="1246403" y="740206"/>
                      </a:lnTo>
                      <a:cubicBezTo>
                        <a:pt x="1257704" y="741219"/>
                        <a:pt x="1254314" y="736153"/>
                        <a:pt x="1246403" y="735139"/>
                      </a:cubicBezTo>
                      <a:close/>
                      <a:moveTo>
                        <a:pt x="1075755" y="676365"/>
                      </a:moveTo>
                      <a:cubicBezTo>
                        <a:pt x="1078015" y="676365"/>
                        <a:pt x="1078015" y="683458"/>
                        <a:pt x="1075755" y="683458"/>
                      </a:cubicBezTo>
                      <a:cubicBezTo>
                        <a:pt x="1071234" y="683458"/>
                        <a:pt x="1071234" y="676365"/>
                        <a:pt x="1075755" y="676365"/>
                      </a:cubicBezTo>
                      <a:close/>
                      <a:moveTo>
                        <a:pt x="1461126" y="618603"/>
                      </a:moveTo>
                      <a:cubicBezTo>
                        <a:pt x="1457735" y="625697"/>
                        <a:pt x="1457735" y="630764"/>
                        <a:pt x="1455475" y="635830"/>
                      </a:cubicBezTo>
                      <a:cubicBezTo>
                        <a:pt x="1454345" y="636844"/>
                        <a:pt x="1452085" y="640897"/>
                        <a:pt x="1449824" y="642924"/>
                      </a:cubicBezTo>
                      <a:cubicBezTo>
                        <a:pt x="1459996" y="633804"/>
                        <a:pt x="1476947" y="628737"/>
                        <a:pt x="1461126" y="618603"/>
                      </a:cubicBezTo>
                      <a:close/>
                      <a:moveTo>
                        <a:pt x="1482598" y="613536"/>
                      </a:moveTo>
                      <a:lnTo>
                        <a:pt x="1482598" y="618603"/>
                      </a:lnTo>
                      <a:cubicBezTo>
                        <a:pt x="1493899" y="619617"/>
                        <a:pt x="1490509" y="614550"/>
                        <a:pt x="1482598" y="613536"/>
                      </a:cubicBezTo>
                      <a:close/>
                      <a:moveTo>
                        <a:pt x="1447564" y="608470"/>
                      </a:moveTo>
                      <a:lnTo>
                        <a:pt x="1447564" y="613536"/>
                      </a:lnTo>
                      <a:cubicBezTo>
                        <a:pt x="1456605" y="615563"/>
                        <a:pt x="1450955" y="609483"/>
                        <a:pt x="1447564" y="608470"/>
                      </a:cubicBezTo>
                      <a:close/>
                      <a:moveTo>
                        <a:pt x="829389" y="586176"/>
                      </a:moveTo>
                      <a:cubicBezTo>
                        <a:pt x="831649" y="592256"/>
                        <a:pt x="824868" y="590229"/>
                        <a:pt x="827129" y="596309"/>
                      </a:cubicBezTo>
                      <a:lnTo>
                        <a:pt x="832779" y="596309"/>
                      </a:lnTo>
                      <a:cubicBezTo>
                        <a:pt x="836169" y="597323"/>
                        <a:pt x="831649" y="602389"/>
                        <a:pt x="840690" y="606443"/>
                      </a:cubicBezTo>
                      <a:lnTo>
                        <a:pt x="840690" y="608470"/>
                      </a:lnTo>
                      <a:cubicBezTo>
                        <a:pt x="849731" y="603403"/>
                        <a:pt x="868943" y="601376"/>
                        <a:pt x="848601" y="591243"/>
                      </a:cubicBezTo>
                      <a:cubicBezTo>
                        <a:pt x="841820" y="588203"/>
                        <a:pt x="838430" y="589216"/>
                        <a:pt x="829389" y="586176"/>
                      </a:cubicBezTo>
                      <a:close/>
                      <a:moveTo>
                        <a:pt x="839560" y="481800"/>
                      </a:moveTo>
                      <a:cubicBezTo>
                        <a:pt x="844080" y="482813"/>
                        <a:pt x="833909" y="483827"/>
                        <a:pt x="833909" y="483827"/>
                      </a:cubicBezTo>
                      <a:cubicBezTo>
                        <a:pt x="833909" y="485854"/>
                        <a:pt x="835039" y="489907"/>
                        <a:pt x="833909" y="490920"/>
                      </a:cubicBezTo>
                      <a:cubicBezTo>
                        <a:pt x="850861" y="486867"/>
                        <a:pt x="854251" y="490920"/>
                        <a:pt x="839560" y="481800"/>
                      </a:cubicBezTo>
                      <a:close/>
                      <a:moveTo>
                        <a:pt x="254158" y="1060427"/>
                      </a:moveTo>
                      <a:lnTo>
                        <a:pt x="251898" y="1067520"/>
                      </a:lnTo>
                      <a:cubicBezTo>
                        <a:pt x="254158" y="1069547"/>
                        <a:pt x="263199" y="1076641"/>
                        <a:pt x="265459" y="1077654"/>
                      </a:cubicBezTo>
                      <a:lnTo>
                        <a:pt x="269980" y="1077654"/>
                      </a:lnTo>
                      <a:cubicBezTo>
                        <a:pt x="269980" y="1077654"/>
                        <a:pt x="272240" y="1071574"/>
                        <a:pt x="272240" y="1070560"/>
                      </a:cubicBezTo>
                      <a:cubicBezTo>
                        <a:pt x="266589" y="1067520"/>
                        <a:pt x="260939" y="1064480"/>
                        <a:pt x="254158" y="1060427"/>
                      </a:cubicBezTo>
                      <a:close/>
                      <a:moveTo>
                        <a:pt x="370560" y="1048266"/>
                      </a:moveTo>
                      <a:cubicBezTo>
                        <a:pt x="373951" y="1051307"/>
                        <a:pt x="373951" y="1056373"/>
                        <a:pt x="376211" y="1060427"/>
                      </a:cubicBezTo>
                      <a:lnTo>
                        <a:pt x="381861" y="1060427"/>
                      </a:lnTo>
                      <a:lnTo>
                        <a:pt x="379601" y="1053333"/>
                      </a:lnTo>
                      <a:cubicBezTo>
                        <a:pt x="384122" y="1054347"/>
                        <a:pt x="382991" y="1050293"/>
                        <a:pt x="385252" y="1048266"/>
                      </a:cubicBezTo>
                      <a:cubicBezTo>
                        <a:pt x="380731" y="1048266"/>
                        <a:pt x="375081" y="1049280"/>
                        <a:pt x="370560" y="1048266"/>
                      </a:cubicBezTo>
                      <a:close/>
                      <a:moveTo>
                        <a:pt x="414635" y="1046240"/>
                      </a:moveTo>
                      <a:cubicBezTo>
                        <a:pt x="412375" y="1046240"/>
                        <a:pt x="412375" y="1057387"/>
                        <a:pt x="412375" y="1060427"/>
                      </a:cubicBezTo>
                      <a:cubicBezTo>
                        <a:pt x="412375" y="1059413"/>
                        <a:pt x="419155" y="1052320"/>
                        <a:pt x="420285" y="1050293"/>
                      </a:cubicBezTo>
                      <a:cubicBezTo>
                        <a:pt x="419155" y="1051307"/>
                        <a:pt x="414635" y="1040160"/>
                        <a:pt x="414635" y="1046240"/>
                      </a:cubicBezTo>
                      <a:close/>
                      <a:moveTo>
                        <a:pt x="401073" y="1046240"/>
                      </a:moveTo>
                      <a:cubicBezTo>
                        <a:pt x="397683" y="1048266"/>
                        <a:pt x="394293" y="1061440"/>
                        <a:pt x="401073" y="1058400"/>
                      </a:cubicBezTo>
                      <a:cubicBezTo>
                        <a:pt x="402204" y="1057387"/>
                        <a:pt x="410114" y="1042186"/>
                        <a:pt x="401073" y="1046240"/>
                      </a:cubicBezTo>
                      <a:close/>
                      <a:moveTo>
                        <a:pt x="536688" y="1044213"/>
                      </a:moveTo>
                      <a:cubicBezTo>
                        <a:pt x="536688" y="1044213"/>
                        <a:pt x="534428" y="1048266"/>
                        <a:pt x="534428" y="1049280"/>
                      </a:cubicBezTo>
                      <a:cubicBezTo>
                        <a:pt x="538948" y="1049280"/>
                        <a:pt x="543468" y="1048266"/>
                        <a:pt x="547989" y="1049280"/>
                      </a:cubicBezTo>
                      <a:cubicBezTo>
                        <a:pt x="547989" y="1049280"/>
                        <a:pt x="544599" y="1044213"/>
                        <a:pt x="545729" y="1044213"/>
                      </a:cubicBezTo>
                      <a:cubicBezTo>
                        <a:pt x="542338" y="1044213"/>
                        <a:pt x="537818" y="1044213"/>
                        <a:pt x="536688" y="1044213"/>
                      </a:cubicBezTo>
                      <a:close/>
                      <a:moveTo>
                        <a:pt x="279020" y="1041173"/>
                      </a:moveTo>
                      <a:cubicBezTo>
                        <a:pt x="280151" y="1042186"/>
                        <a:pt x="279020" y="1048266"/>
                        <a:pt x="279020" y="1053333"/>
                      </a:cubicBezTo>
                      <a:cubicBezTo>
                        <a:pt x="281281" y="1052320"/>
                        <a:pt x="288061" y="1053333"/>
                        <a:pt x="290322" y="1053333"/>
                      </a:cubicBezTo>
                      <a:cubicBezTo>
                        <a:pt x="289192" y="1052320"/>
                        <a:pt x="290322" y="1045227"/>
                        <a:pt x="290322" y="1043200"/>
                      </a:cubicBezTo>
                      <a:cubicBezTo>
                        <a:pt x="289192" y="1043200"/>
                        <a:pt x="279020" y="1042186"/>
                        <a:pt x="279020" y="1041173"/>
                      </a:cubicBezTo>
                      <a:close/>
                      <a:moveTo>
                        <a:pt x="213474" y="1039146"/>
                      </a:moveTo>
                      <a:cubicBezTo>
                        <a:pt x="210083" y="1040160"/>
                        <a:pt x="196522" y="1060427"/>
                        <a:pt x="213474" y="1053333"/>
                      </a:cubicBezTo>
                      <a:cubicBezTo>
                        <a:pt x="216864" y="1052320"/>
                        <a:pt x="213474" y="1039146"/>
                        <a:pt x="213474" y="1039146"/>
                      </a:cubicBezTo>
                      <a:close/>
                      <a:moveTo>
                        <a:pt x="490353" y="1026986"/>
                      </a:moveTo>
                      <a:cubicBezTo>
                        <a:pt x="489223" y="1026986"/>
                        <a:pt x="488093" y="1036106"/>
                        <a:pt x="488093" y="1037120"/>
                      </a:cubicBezTo>
                      <a:cubicBezTo>
                        <a:pt x="484702" y="1039146"/>
                        <a:pt x="481312" y="1038133"/>
                        <a:pt x="476791" y="1039146"/>
                      </a:cubicBezTo>
                      <a:lnTo>
                        <a:pt x="476791" y="1041173"/>
                      </a:lnTo>
                      <a:cubicBezTo>
                        <a:pt x="476791" y="1041173"/>
                        <a:pt x="483572" y="1045227"/>
                        <a:pt x="488093" y="1043200"/>
                      </a:cubicBezTo>
                      <a:cubicBezTo>
                        <a:pt x="486962" y="1044213"/>
                        <a:pt x="515215" y="1015839"/>
                        <a:pt x="490353" y="1026986"/>
                      </a:cubicBezTo>
                      <a:close/>
                      <a:moveTo>
                        <a:pt x="620317" y="1021919"/>
                      </a:moveTo>
                      <a:cubicBezTo>
                        <a:pt x="612406" y="1022933"/>
                        <a:pt x="621447" y="1025973"/>
                        <a:pt x="625967" y="1026986"/>
                      </a:cubicBezTo>
                      <a:cubicBezTo>
                        <a:pt x="622577" y="1024959"/>
                        <a:pt x="628227" y="1020906"/>
                        <a:pt x="620317" y="1021919"/>
                      </a:cubicBezTo>
                      <a:close/>
                      <a:moveTo>
                        <a:pt x="645179" y="1014826"/>
                      </a:moveTo>
                      <a:cubicBezTo>
                        <a:pt x="641789" y="1015839"/>
                        <a:pt x="647439" y="1019893"/>
                        <a:pt x="647439" y="1019893"/>
                      </a:cubicBezTo>
                      <a:cubicBezTo>
                        <a:pt x="647439" y="1018879"/>
                        <a:pt x="654220" y="1012799"/>
                        <a:pt x="645179" y="1014826"/>
                      </a:cubicBezTo>
                      <a:close/>
                      <a:moveTo>
                        <a:pt x="712986" y="980372"/>
                      </a:moveTo>
                      <a:lnTo>
                        <a:pt x="712986" y="982398"/>
                      </a:lnTo>
                      <a:cubicBezTo>
                        <a:pt x="701685" y="987465"/>
                        <a:pt x="710726" y="987465"/>
                        <a:pt x="707336" y="989492"/>
                      </a:cubicBezTo>
                      <a:cubicBezTo>
                        <a:pt x="703945" y="991519"/>
                        <a:pt x="699425" y="990505"/>
                        <a:pt x="696035" y="991519"/>
                      </a:cubicBezTo>
                      <a:lnTo>
                        <a:pt x="696035" y="996585"/>
                      </a:lnTo>
                      <a:lnTo>
                        <a:pt x="693774" y="996585"/>
                      </a:lnTo>
                      <a:cubicBezTo>
                        <a:pt x="692644" y="999625"/>
                        <a:pt x="694904" y="1003679"/>
                        <a:pt x="693774" y="1006719"/>
                      </a:cubicBezTo>
                      <a:lnTo>
                        <a:pt x="699425" y="1006719"/>
                      </a:lnTo>
                      <a:cubicBezTo>
                        <a:pt x="702815" y="1005706"/>
                        <a:pt x="707336" y="992532"/>
                        <a:pt x="715247" y="989492"/>
                      </a:cubicBezTo>
                      <a:lnTo>
                        <a:pt x="720897" y="989492"/>
                      </a:lnTo>
                      <a:cubicBezTo>
                        <a:pt x="722027" y="987465"/>
                        <a:pt x="719767" y="981385"/>
                        <a:pt x="720897" y="979358"/>
                      </a:cubicBezTo>
                      <a:cubicBezTo>
                        <a:pt x="718637" y="980372"/>
                        <a:pt x="714117" y="980372"/>
                        <a:pt x="712986" y="980372"/>
                      </a:cubicBezTo>
                      <a:close/>
                      <a:moveTo>
                        <a:pt x="758191" y="966185"/>
                      </a:moveTo>
                      <a:cubicBezTo>
                        <a:pt x="751410" y="969225"/>
                        <a:pt x="741239" y="975305"/>
                        <a:pt x="755931" y="978345"/>
                      </a:cubicBezTo>
                      <a:cubicBezTo>
                        <a:pt x="753671" y="979358"/>
                        <a:pt x="748020" y="987465"/>
                        <a:pt x="744630" y="988478"/>
                      </a:cubicBezTo>
                      <a:cubicBezTo>
                        <a:pt x="741239" y="989492"/>
                        <a:pt x="736719" y="987465"/>
                        <a:pt x="733329" y="988478"/>
                      </a:cubicBezTo>
                      <a:lnTo>
                        <a:pt x="735589" y="995572"/>
                      </a:lnTo>
                      <a:cubicBezTo>
                        <a:pt x="737849" y="995572"/>
                        <a:pt x="744630" y="994559"/>
                        <a:pt x="746890" y="995572"/>
                      </a:cubicBezTo>
                      <a:cubicBezTo>
                        <a:pt x="757061" y="988478"/>
                        <a:pt x="762712" y="980372"/>
                        <a:pt x="771753" y="971251"/>
                      </a:cubicBezTo>
                      <a:cubicBezTo>
                        <a:pt x="767232" y="968211"/>
                        <a:pt x="762712" y="969225"/>
                        <a:pt x="758191" y="966185"/>
                      </a:cubicBezTo>
                      <a:close/>
                      <a:moveTo>
                        <a:pt x="861032" y="905383"/>
                      </a:moveTo>
                      <a:lnTo>
                        <a:pt x="855382" y="910450"/>
                      </a:lnTo>
                      <a:cubicBezTo>
                        <a:pt x="850861" y="911463"/>
                        <a:pt x="844080" y="910450"/>
                        <a:pt x="839560" y="910450"/>
                      </a:cubicBezTo>
                      <a:cubicBezTo>
                        <a:pt x="836169" y="915517"/>
                        <a:pt x="833909" y="924637"/>
                        <a:pt x="828259" y="927677"/>
                      </a:cubicBezTo>
                      <a:lnTo>
                        <a:pt x="825998" y="927677"/>
                      </a:lnTo>
                      <a:cubicBezTo>
                        <a:pt x="824868" y="930717"/>
                        <a:pt x="827129" y="932744"/>
                        <a:pt x="825998" y="934771"/>
                      </a:cubicBezTo>
                      <a:cubicBezTo>
                        <a:pt x="828259" y="933757"/>
                        <a:pt x="833909" y="935784"/>
                        <a:pt x="837300" y="934771"/>
                      </a:cubicBezTo>
                      <a:cubicBezTo>
                        <a:pt x="840690" y="933757"/>
                        <a:pt x="851991" y="923624"/>
                        <a:pt x="856512" y="922610"/>
                      </a:cubicBezTo>
                      <a:cubicBezTo>
                        <a:pt x="870073" y="918557"/>
                        <a:pt x="874594" y="925650"/>
                        <a:pt x="881374" y="915517"/>
                      </a:cubicBezTo>
                      <a:cubicBezTo>
                        <a:pt x="882504" y="913490"/>
                        <a:pt x="887025" y="915517"/>
                        <a:pt x="881374" y="913490"/>
                      </a:cubicBezTo>
                      <a:cubicBezTo>
                        <a:pt x="874594" y="910450"/>
                        <a:pt x="874594" y="904370"/>
                        <a:pt x="861032" y="905383"/>
                      </a:cubicBezTo>
                      <a:close/>
                      <a:moveTo>
                        <a:pt x="1951598" y="837488"/>
                      </a:moveTo>
                      <a:cubicBezTo>
                        <a:pt x="1950467" y="842555"/>
                        <a:pt x="1948207" y="848635"/>
                        <a:pt x="1945947" y="854715"/>
                      </a:cubicBezTo>
                      <a:cubicBezTo>
                        <a:pt x="1949337" y="855729"/>
                        <a:pt x="1956118" y="854715"/>
                        <a:pt x="1959508" y="854715"/>
                      </a:cubicBezTo>
                      <a:cubicBezTo>
                        <a:pt x="1961769" y="859782"/>
                        <a:pt x="1961769" y="861809"/>
                        <a:pt x="1965159" y="868902"/>
                      </a:cubicBezTo>
                      <a:lnTo>
                        <a:pt x="1970810" y="868902"/>
                      </a:lnTo>
                      <a:cubicBezTo>
                        <a:pt x="1970810" y="868902"/>
                        <a:pt x="1971940" y="864849"/>
                        <a:pt x="1976460" y="866876"/>
                      </a:cubicBezTo>
                      <a:cubicBezTo>
                        <a:pt x="1976460" y="867889"/>
                        <a:pt x="1975330" y="879036"/>
                        <a:pt x="1976460" y="879036"/>
                      </a:cubicBezTo>
                      <a:lnTo>
                        <a:pt x="1974200" y="884103"/>
                      </a:lnTo>
                      <a:cubicBezTo>
                        <a:pt x="1979851" y="886129"/>
                        <a:pt x="1993412" y="887143"/>
                        <a:pt x="1999063" y="891196"/>
                      </a:cubicBezTo>
                      <a:cubicBezTo>
                        <a:pt x="2000193" y="892210"/>
                        <a:pt x="1996802" y="899303"/>
                        <a:pt x="1999063" y="903357"/>
                      </a:cubicBezTo>
                      <a:lnTo>
                        <a:pt x="2006973" y="901330"/>
                      </a:lnTo>
                      <a:cubicBezTo>
                        <a:pt x="2008104" y="906397"/>
                        <a:pt x="2004713" y="911463"/>
                        <a:pt x="2006973" y="915517"/>
                      </a:cubicBezTo>
                      <a:cubicBezTo>
                        <a:pt x="2006973" y="916530"/>
                        <a:pt x="2011494" y="917544"/>
                        <a:pt x="2012624" y="920584"/>
                      </a:cubicBezTo>
                      <a:cubicBezTo>
                        <a:pt x="2016014" y="919570"/>
                        <a:pt x="2022795" y="920584"/>
                        <a:pt x="2026185" y="920584"/>
                      </a:cubicBezTo>
                      <a:cubicBezTo>
                        <a:pt x="2022795" y="896263"/>
                        <a:pt x="2030706" y="899303"/>
                        <a:pt x="2014884" y="903357"/>
                      </a:cubicBezTo>
                      <a:cubicBezTo>
                        <a:pt x="2017145" y="896263"/>
                        <a:pt x="2018275" y="894236"/>
                        <a:pt x="2020535" y="889169"/>
                      </a:cubicBezTo>
                      <a:cubicBezTo>
                        <a:pt x="2020535" y="889169"/>
                        <a:pt x="2020535" y="882076"/>
                        <a:pt x="2020535" y="882076"/>
                      </a:cubicBezTo>
                      <a:cubicBezTo>
                        <a:pt x="2017145" y="882076"/>
                        <a:pt x="2006973" y="883089"/>
                        <a:pt x="2004713" y="882076"/>
                      </a:cubicBezTo>
                      <a:lnTo>
                        <a:pt x="2004713" y="880049"/>
                      </a:lnTo>
                      <a:lnTo>
                        <a:pt x="2002453" y="880049"/>
                      </a:lnTo>
                      <a:lnTo>
                        <a:pt x="2000193" y="872956"/>
                      </a:lnTo>
                      <a:lnTo>
                        <a:pt x="1994542" y="872956"/>
                      </a:lnTo>
                      <a:cubicBezTo>
                        <a:pt x="1991152" y="867889"/>
                        <a:pt x="1995672" y="861809"/>
                        <a:pt x="1992282" y="858769"/>
                      </a:cubicBezTo>
                      <a:cubicBezTo>
                        <a:pt x="1987761" y="854715"/>
                        <a:pt x="1982111" y="857756"/>
                        <a:pt x="1976460" y="853702"/>
                      </a:cubicBezTo>
                      <a:cubicBezTo>
                        <a:pt x="1973070" y="851675"/>
                        <a:pt x="1976460" y="845595"/>
                        <a:pt x="1974200" y="843568"/>
                      </a:cubicBezTo>
                      <a:cubicBezTo>
                        <a:pt x="1967419" y="839515"/>
                        <a:pt x="1954988" y="837488"/>
                        <a:pt x="1951598" y="837488"/>
                      </a:cubicBezTo>
                      <a:close/>
                      <a:moveTo>
                        <a:pt x="1878140" y="776687"/>
                      </a:moveTo>
                      <a:cubicBezTo>
                        <a:pt x="1878140" y="776687"/>
                        <a:pt x="1874749" y="789860"/>
                        <a:pt x="1875880" y="793914"/>
                      </a:cubicBezTo>
                      <a:cubicBezTo>
                        <a:pt x="1875880" y="794927"/>
                        <a:pt x="1884920" y="803034"/>
                        <a:pt x="1887181" y="806074"/>
                      </a:cubicBezTo>
                      <a:cubicBezTo>
                        <a:pt x="1888311" y="807088"/>
                        <a:pt x="1887181" y="812154"/>
                        <a:pt x="1887181" y="813168"/>
                      </a:cubicBezTo>
                      <a:cubicBezTo>
                        <a:pt x="1887181" y="813168"/>
                        <a:pt x="1900742" y="818235"/>
                        <a:pt x="1900742" y="818235"/>
                      </a:cubicBezTo>
                      <a:cubicBezTo>
                        <a:pt x="1903002" y="821275"/>
                        <a:pt x="1900742" y="827355"/>
                        <a:pt x="1903002" y="830395"/>
                      </a:cubicBezTo>
                      <a:cubicBezTo>
                        <a:pt x="1905263" y="833435"/>
                        <a:pt x="1912043" y="833435"/>
                        <a:pt x="1914304" y="835462"/>
                      </a:cubicBezTo>
                      <a:cubicBezTo>
                        <a:pt x="1915434" y="830395"/>
                        <a:pt x="1915434" y="827355"/>
                        <a:pt x="1916564" y="821275"/>
                      </a:cubicBezTo>
                      <a:cubicBezTo>
                        <a:pt x="1918824" y="825328"/>
                        <a:pt x="1919954" y="827355"/>
                        <a:pt x="1922214" y="833435"/>
                      </a:cubicBezTo>
                      <a:cubicBezTo>
                        <a:pt x="1924475" y="833435"/>
                        <a:pt x="1931255" y="832422"/>
                        <a:pt x="1933516" y="833435"/>
                      </a:cubicBezTo>
                      <a:cubicBezTo>
                        <a:pt x="1925605" y="835462"/>
                        <a:pt x="1928995" y="846609"/>
                        <a:pt x="1933516" y="850662"/>
                      </a:cubicBezTo>
                      <a:cubicBezTo>
                        <a:pt x="1933516" y="849649"/>
                        <a:pt x="1941426" y="846609"/>
                        <a:pt x="1941426" y="845595"/>
                      </a:cubicBezTo>
                      <a:cubicBezTo>
                        <a:pt x="1942557" y="842555"/>
                        <a:pt x="1941426" y="829382"/>
                        <a:pt x="1941426" y="829382"/>
                      </a:cubicBezTo>
                      <a:cubicBezTo>
                        <a:pt x="1941426" y="829382"/>
                        <a:pt x="1941426" y="830395"/>
                        <a:pt x="1941426" y="831408"/>
                      </a:cubicBezTo>
                      <a:cubicBezTo>
                        <a:pt x="1948207" y="830395"/>
                        <a:pt x="1947077" y="835462"/>
                        <a:pt x="1954988" y="833435"/>
                      </a:cubicBezTo>
                      <a:cubicBezTo>
                        <a:pt x="1954988" y="833435"/>
                        <a:pt x="1961769" y="828368"/>
                        <a:pt x="1954988" y="828368"/>
                      </a:cubicBezTo>
                      <a:cubicBezTo>
                        <a:pt x="1957248" y="826341"/>
                        <a:pt x="1952728" y="822288"/>
                        <a:pt x="1952728" y="821275"/>
                      </a:cubicBezTo>
                      <a:cubicBezTo>
                        <a:pt x="1953858" y="820261"/>
                        <a:pt x="1959508" y="821275"/>
                        <a:pt x="1960639" y="821275"/>
                      </a:cubicBezTo>
                      <a:cubicBezTo>
                        <a:pt x="1959508" y="817221"/>
                        <a:pt x="1961769" y="813168"/>
                        <a:pt x="1960639" y="809114"/>
                      </a:cubicBezTo>
                      <a:cubicBezTo>
                        <a:pt x="1957248" y="797967"/>
                        <a:pt x="1939166" y="799994"/>
                        <a:pt x="1931255" y="798981"/>
                      </a:cubicBezTo>
                      <a:cubicBezTo>
                        <a:pt x="1934646" y="801007"/>
                        <a:pt x="1933516" y="816208"/>
                        <a:pt x="1931255" y="816208"/>
                      </a:cubicBezTo>
                      <a:cubicBezTo>
                        <a:pt x="1932386" y="816208"/>
                        <a:pt x="1938036" y="817221"/>
                        <a:pt x="1939166" y="818235"/>
                      </a:cubicBezTo>
                      <a:cubicBezTo>
                        <a:pt x="1948207" y="824315"/>
                        <a:pt x="1931255" y="823301"/>
                        <a:pt x="1931255" y="823301"/>
                      </a:cubicBezTo>
                      <a:cubicBezTo>
                        <a:pt x="1928995" y="818235"/>
                        <a:pt x="1928995" y="815194"/>
                        <a:pt x="1925605" y="811141"/>
                      </a:cubicBezTo>
                      <a:cubicBezTo>
                        <a:pt x="1924475" y="811141"/>
                        <a:pt x="1918824" y="816208"/>
                        <a:pt x="1917694" y="816208"/>
                      </a:cubicBezTo>
                      <a:cubicBezTo>
                        <a:pt x="1909783" y="811141"/>
                        <a:pt x="1913173" y="795941"/>
                        <a:pt x="1906393" y="789860"/>
                      </a:cubicBezTo>
                      <a:cubicBezTo>
                        <a:pt x="1905263" y="788847"/>
                        <a:pt x="1899612" y="790874"/>
                        <a:pt x="1898482" y="789860"/>
                      </a:cubicBezTo>
                      <a:lnTo>
                        <a:pt x="1898482" y="787834"/>
                      </a:lnTo>
                      <a:cubicBezTo>
                        <a:pt x="1891701" y="783780"/>
                        <a:pt x="1884920" y="779727"/>
                        <a:pt x="1878140" y="776687"/>
                      </a:cubicBezTo>
                      <a:close/>
                      <a:moveTo>
                        <a:pt x="1249793" y="747300"/>
                      </a:moveTo>
                      <a:cubicBezTo>
                        <a:pt x="1249793" y="747300"/>
                        <a:pt x="1249793" y="754393"/>
                        <a:pt x="1249793" y="754393"/>
                      </a:cubicBezTo>
                      <a:cubicBezTo>
                        <a:pt x="1241882" y="754393"/>
                        <a:pt x="1235102" y="756420"/>
                        <a:pt x="1228321" y="756420"/>
                      </a:cubicBezTo>
                      <a:cubicBezTo>
                        <a:pt x="1227191" y="753380"/>
                        <a:pt x="1228321" y="750340"/>
                        <a:pt x="1226061" y="749326"/>
                      </a:cubicBezTo>
                      <a:cubicBezTo>
                        <a:pt x="1222670" y="748313"/>
                        <a:pt x="1220410" y="750340"/>
                        <a:pt x="1218150" y="749326"/>
                      </a:cubicBezTo>
                      <a:lnTo>
                        <a:pt x="1218150" y="754393"/>
                      </a:lnTo>
                      <a:cubicBezTo>
                        <a:pt x="1213629" y="751353"/>
                        <a:pt x="1220410" y="761487"/>
                        <a:pt x="1220410" y="761487"/>
                      </a:cubicBezTo>
                      <a:cubicBezTo>
                        <a:pt x="1222670" y="759460"/>
                        <a:pt x="1219280" y="768580"/>
                        <a:pt x="1218150" y="771620"/>
                      </a:cubicBezTo>
                      <a:cubicBezTo>
                        <a:pt x="1206849" y="768580"/>
                        <a:pt x="1175205" y="763513"/>
                        <a:pt x="1198938" y="781754"/>
                      </a:cubicBezTo>
                      <a:cubicBezTo>
                        <a:pt x="1197808" y="785807"/>
                        <a:pt x="1195548" y="792901"/>
                        <a:pt x="1196678" y="793914"/>
                      </a:cubicBezTo>
                      <a:cubicBezTo>
                        <a:pt x="1200068" y="792901"/>
                        <a:pt x="1201198" y="797967"/>
                        <a:pt x="1207979" y="795941"/>
                      </a:cubicBezTo>
                      <a:cubicBezTo>
                        <a:pt x="1209109" y="795941"/>
                        <a:pt x="1212499" y="789860"/>
                        <a:pt x="1213629" y="788847"/>
                      </a:cubicBezTo>
                      <a:cubicBezTo>
                        <a:pt x="1218150" y="791887"/>
                        <a:pt x="1220410" y="790874"/>
                        <a:pt x="1227191" y="793914"/>
                      </a:cubicBezTo>
                      <a:cubicBezTo>
                        <a:pt x="1227191" y="793914"/>
                        <a:pt x="1227191" y="801007"/>
                        <a:pt x="1227191" y="801007"/>
                      </a:cubicBezTo>
                      <a:cubicBezTo>
                        <a:pt x="1230581" y="803034"/>
                        <a:pt x="1232841" y="798981"/>
                        <a:pt x="1235102" y="801007"/>
                      </a:cubicBezTo>
                      <a:cubicBezTo>
                        <a:pt x="1237362" y="798981"/>
                        <a:pt x="1235102" y="792901"/>
                        <a:pt x="1237362" y="790874"/>
                      </a:cubicBezTo>
                      <a:cubicBezTo>
                        <a:pt x="1244143" y="784794"/>
                        <a:pt x="1258834" y="785807"/>
                        <a:pt x="1270135" y="783780"/>
                      </a:cubicBezTo>
                      <a:lnTo>
                        <a:pt x="1270135" y="778714"/>
                      </a:lnTo>
                      <a:cubicBezTo>
                        <a:pt x="1254314" y="777700"/>
                        <a:pt x="1269005" y="775674"/>
                        <a:pt x="1262225" y="773647"/>
                      </a:cubicBezTo>
                      <a:cubicBezTo>
                        <a:pt x="1263355" y="773647"/>
                        <a:pt x="1297258" y="776687"/>
                        <a:pt x="1283697" y="771620"/>
                      </a:cubicBezTo>
                      <a:cubicBezTo>
                        <a:pt x="1271265" y="767567"/>
                        <a:pt x="1274656" y="767567"/>
                        <a:pt x="1272396" y="754393"/>
                      </a:cubicBezTo>
                      <a:cubicBezTo>
                        <a:pt x="1265615" y="752366"/>
                        <a:pt x="1267875" y="759460"/>
                        <a:pt x="1261094" y="756420"/>
                      </a:cubicBezTo>
                      <a:cubicBezTo>
                        <a:pt x="1261094" y="756420"/>
                        <a:pt x="1257704" y="746286"/>
                        <a:pt x="1253184" y="746286"/>
                      </a:cubicBezTo>
                      <a:lnTo>
                        <a:pt x="1249793" y="746286"/>
                      </a:lnTo>
                      <a:close/>
                      <a:moveTo>
                        <a:pt x="1259964" y="712845"/>
                      </a:moveTo>
                      <a:cubicBezTo>
                        <a:pt x="1256574" y="717912"/>
                        <a:pt x="1243013" y="736153"/>
                        <a:pt x="1257704" y="735139"/>
                      </a:cubicBezTo>
                      <a:cubicBezTo>
                        <a:pt x="1259964" y="735139"/>
                        <a:pt x="1262225" y="728046"/>
                        <a:pt x="1263355" y="728046"/>
                      </a:cubicBezTo>
                      <a:cubicBezTo>
                        <a:pt x="1266745" y="727032"/>
                        <a:pt x="1269005" y="729059"/>
                        <a:pt x="1271265" y="728046"/>
                      </a:cubicBezTo>
                      <a:cubicBezTo>
                        <a:pt x="1269005" y="728046"/>
                        <a:pt x="1276916" y="733113"/>
                        <a:pt x="1276916" y="733113"/>
                      </a:cubicBezTo>
                      <a:cubicBezTo>
                        <a:pt x="1281437" y="733113"/>
                        <a:pt x="1279176" y="730073"/>
                        <a:pt x="1284827" y="731086"/>
                      </a:cubicBezTo>
                      <a:lnTo>
                        <a:pt x="1271265" y="720952"/>
                      </a:lnTo>
                      <a:cubicBezTo>
                        <a:pt x="1270135" y="719939"/>
                        <a:pt x="1272396" y="713859"/>
                        <a:pt x="1271265" y="713859"/>
                      </a:cubicBezTo>
                      <a:cubicBezTo>
                        <a:pt x="1267875" y="711832"/>
                        <a:pt x="1263355" y="714872"/>
                        <a:pt x="1259964" y="712845"/>
                      </a:cubicBezTo>
                      <a:close/>
                      <a:moveTo>
                        <a:pt x="788704" y="615563"/>
                      </a:moveTo>
                      <a:cubicBezTo>
                        <a:pt x="786444" y="615563"/>
                        <a:pt x="779663" y="624683"/>
                        <a:pt x="777403" y="625697"/>
                      </a:cubicBezTo>
                      <a:cubicBezTo>
                        <a:pt x="770623" y="628737"/>
                        <a:pt x="757061" y="627723"/>
                        <a:pt x="748020" y="627723"/>
                      </a:cubicBezTo>
                      <a:cubicBezTo>
                        <a:pt x="750280" y="628737"/>
                        <a:pt x="750280" y="635830"/>
                        <a:pt x="753671" y="637857"/>
                      </a:cubicBezTo>
                      <a:cubicBezTo>
                        <a:pt x="754801" y="638870"/>
                        <a:pt x="786444" y="647991"/>
                        <a:pt x="786444" y="647991"/>
                      </a:cubicBezTo>
                      <a:lnTo>
                        <a:pt x="792095" y="642924"/>
                      </a:lnTo>
                      <a:cubicBezTo>
                        <a:pt x="801136" y="639884"/>
                        <a:pt x="803396" y="638870"/>
                        <a:pt x="811307" y="635830"/>
                      </a:cubicBezTo>
                      <a:cubicBezTo>
                        <a:pt x="806786" y="623670"/>
                        <a:pt x="806786" y="612523"/>
                        <a:pt x="788704" y="615563"/>
                      </a:cubicBezTo>
                      <a:close/>
                      <a:moveTo>
                        <a:pt x="633878" y="433159"/>
                      </a:moveTo>
                      <a:cubicBezTo>
                        <a:pt x="631618" y="433159"/>
                        <a:pt x="628227" y="442279"/>
                        <a:pt x="625967" y="443292"/>
                      </a:cubicBezTo>
                      <a:cubicBezTo>
                        <a:pt x="622577" y="444306"/>
                        <a:pt x="604495" y="441266"/>
                        <a:pt x="604495" y="441266"/>
                      </a:cubicBezTo>
                      <a:cubicBezTo>
                        <a:pt x="598844" y="441266"/>
                        <a:pt x="599974" y="440252"/>
                        <a:pt x="596584" y="439239"/>
                      </a:cubicBezTo>
                      <a:cubicBezTo>
                        <a:pt x="596584" y="441266"/>
                        <a:pt x="590934" y="446333"/>
                        <a:pt x="590934" y="446333"/>
                      </a:cubicBezTo>
                      <a:cubicBezTo>
                        <a:pt x="589803" y="450386"/>
                        <a:pt x="593194" y="460520"/>
                        <a:pt x="593194" y="460520"/>
                      </a:cubicBezTo>
                      <a:cubicBezTo>
                        <a:pt x="610146" y="455453"/>
                        <a:pt x="633878" y="448359"/>
                        <a:pt x="653090" y="458493"/>
                      </a:cubicBezTo>
                      <a:cubicBezTo>
                        <a:pt x="655350" y="459506"/>
                        <a:pt x="656480" y="466600"/>
                        <a:pt x="658741" y="468626"/>
                      </a:cubicBezTo>
                      <a:cubicBezTo>
                        <a:pt x="663261" y="471667"/>
                        <a:pt x="670042" y="468626"/>
                        <a:pt x="672302" y="473693"/>
                      </a:cubicBezTo>
                      <a:cubicBezTo>
                        <a:pt x="673432" y="476733"/>
                        <a:pt x="671172" y="480787"/>
                        <a:pt x="672302" y="483827"/>
                      </a:cubicBezTo>
                      <a:cubicBezTo>
                        <a:pt x="673432" y="483827"/>
                        <a:pt x="681343" y="482813"/>
                        <a:pt x="683603" y="483827"/>
                      </a:cubicBezTo>
                      <a:cubicBezTo>
                        <a:pt x="684733" y="482813"/>
                        <a:pt x="683603" y="473693"/>
                        <a:pt x="683603" y="471667"/>
                      </a:cubicBezTo>
                      <a:cubicBezTo>
                        <a:pt x="686994" y="470653"/>
                        <a:pt x="688124" y="472680"/>
                        <a:pt x="691514" y="471667"/>
                      </a:cubicBezTo>
                      <a:cubicBezTo>
                        <a:pt x="693774" y="470653"/>
                        <a:pt x="694904" y="465586"/>
                        <a:pt x="697165" y="464573"/>
                      </a:cubicBezTo>
                      <a:cubicBezTo>
                        <a:pt x="681343" y="462546"/>
                        <a:pt x="670042" y="460520"/>
                        <a:pt x="662131" y="452413"/>
                      </a:cubicBezTo>
                      <a:cubicBezTo>
                        <a:pt x="654220" y="444306"/>
                        <a:pt x="649700" y="431132"/>
                        <a:pt x="633878" y="433159"/>
                      </a:cubicBezTo>
                      <a:close/>
                      <a:moveTo>
                        <a:pt x="915278" y="278115"/>
                      </a:moveTo>
                      <a:cubicBezTo>
                        <a:pt x="915278" y="278115"/>
                        <a:pt x="917538" y="285209"/>
                        <a:pt x="917538" y="285209"/>
                      </a:cubicBezTo>
                      <a:cubicBezTo>
                        <a:pt x="924319" y="286222"/>
                        <a:pt x="920928" y="279129"/>
                        <a:pt x="915278" y="278115"/>
                      </a:cubicBezTo>
                      <a:close/>
                      <a:moveTo>
                        <a:pt x="1658896" y="87604"/>
                      </a:moveTo>
                      <a:cubicBezTo>
                        <a:pt x="1657766" y="87604"/>
                        <a:pt x="1656636" y="82537"/>
                        <a:pt x="1656636" y="82537"/>
                      </a:cubicBezTo>
                      <a:cubicBezTo>
                        <a:pt x="1646465" y="78484"/>
                        <a:pt x="1641945" y="78484"/>
                        <a:pt x="1631774" y="75444"/>
                      </a:cubicBezTo>
                      <a:lnTo>
                        <a:pt x="1629513" y="70377"/>
                      </a:lnTo>
                      <a:cubicBezTo>
                        <a:pt x="1619342" y="68350"/>
                        <a:pt x="1613692" y="77471"/>
                        <a:pt x="1602390" y="75444"/>
                      </a:cubicBezTo>
                      <a:cubicBezTo>
                        <a:pt x="1600130" y="74431"/>
                        <a:pt x="1595610" y="68350"/>
                        <a:pt x="1594480" y="68350"/>
                      </a:cubicBezTo>
                      <a:cubicBezTo>
                        <a:pt x="1593350" y="68350"/>
                        <a:pt x="1586569" y="68350"/>
                        <a:pt x="1586569" y="68350"/>
                      </a:cubicBezTo>
                      <a:cubicBezTo>
                        <a:pt x="1585439" y="71391"/>
                        <a:pt x="1584309" y="76457"/>
                        <a:pt x="1580918" y="78484"/>
                      </a:cubicBezTo>
                      <a:cubicBezTo>
                        <a:pt x="1587699" y="80511"/>
                        <a:pt x="1575268" y="83551"/>
                        <a:pt x="1575268" y="83551"/>
                      </a:cubicBezTo>
                      <a:cubicBezTo>
                        <a:pt x="1573007" y="81524"/>
                        <a:pt x="1569617" y="75444"/>
                        <a:pt x="1563966" y="76457"/>
                      </a:cubicBezTo>
                      <a:cubicBezTo>
                        <a:pt x="1561706" y="76457"/>
                        <a:pt x="1562836" y="82537"/>
                        <a:pt x="1556056" y="81524"/>
                      </a:cubicBezTo>
                      <a:cubicBezTo>
                        <a:pt x="1553795" y="81524"/>
                        <a:pt x="1553795" y="76457"/>
                        <a:pt x="1553795" y="74431"/>
                      </a:cubicBezTo>
                      <a:cubicBezTo>
                        <a:pt x="1533453" y="72404"/>
                        <a:pt x="1526673" y="73417"/>
                        <a:pt x="1507461" y="72404"/>
                      </a:cubicBezTo>
                      <a:lnTo>
                        <a:pt x="1505200" y="65310"/>
                      </a:lnTo>
                      <a:cubicBezTo>
                        <a:pt x="1495029" y="63284"/>
                        <a:pt x="1488249" y="67337"/>
                        <a:pt x="1480338" y="67337"/>
                      </a:cubicBezTo>
                      <a:cubicBezTo>
                        <a:pt x="1462256" y="67337"/>
                        <a:pt x="1446434" y="62270"/>
                        <a:pt x="1426092" y="65310"/>
                      </a:cubicBezTo>
                      <a:lnTo>
                        <a:pt x="1423832" y="60244"/>
                      </a:lnTo>
                      <a:cubicBezTo>
                        <a:pt x="1415921" y="59230"/>
                        <a:pt x="1414791" y="64297"/>
                        <a:pt x="1408010" y="62270"/>
                      </a:cubicBezTo>
                      <a:cubicBezTo>
                        <a:pt x="1403490" y="61257"/>
                        <a:pt x="1395579" y="51123"/>
                        <a:pt x="1392188" y="50110"/>
                      </a:cubicBezTo>
                      <a:cubicBezTo>
                        <a:pt x="1385408" y="48083"/>
                        <a:pt x="1387668" y="54164"/>
                        <a:pt x="1380887" y="52137"/>
                      </a:cubicBezTo>
                      <a:lnTo>
                        <a:pt x="1378627" y="47070"/>
                      </a:lnTo>
                      <a:cubicBezTo>
                        <a:pt x="1366196" y="47070"/>
                        <a:pt x="1363935" y="53150"/>
                        <a:pt x="1357155" y="54164"/>
                      </a:cubicBezTo>
                      <a:cubicBezTo>
                        <a:pt x="1351504" y="55177"/>
                        <a:pt x="1345853" y="53150"/>
                        <a:pt x="1341333" y="54164"/>
                      </a:cubicBezTo>
                      <a:cubicBezTo>
                        <a:pt x="1340203" y="54164"/>
                        <a:pt x="1335682" y="59230"/>
                        <a:pt x="1333422" y="59230"/>
                      </a:cubicBezTo>
                      <a:cubicBezTo>
                        <a:pt x="1327771" y="59230"/>
                        <a:pt x="1309690" y="50110"/>
                        <a:pt x="1304039" y="49097"/>
                      </a:cubicBezTo>
                      <a:cubicBezTo>
                        <a:pt x="1298388" y="48083"/>
                        <a:pt x="1292738" y="50110"/>
                        <a:pt x="1288217" y="49097"/>
                      </a:cubicBezTo>
                      <a:lnTo>
                        <a:pt x="1282567" y="44030"/>
                      </a:lnTo>
                      <a:cubicBezTo>
                        <a:pt x="1276916" y="43017"/>
                        <a:pt x="1269005" y="46057"/>
                        <a:pt x="1263355" y="44030"/>
                      </a:cubicBezTo>
                      <a:lnTo>
                        <a:pt x="1263355" y="38963"/>
                      </a:lnTo>
                      <a:cubicBezTo>
                        <a:pt x="1271265" y="39977"/>
                        <a:pt x="1263355" y="33896"/>
                        <a:pt x="1263355" y="33896"/>
                      </a:cubicBezTo>
                      <a:cubicBezTo>
                        <a:pt x="1261094" y="32883"/>
                        <a:pt x="1244143" y="31870"/>
                        <a:pt x="1244143" y="31870"/>
                      </a:cubicBezTo>
                      <a:cubicBezTo>
                        <a:pt x="1231711" y="31870"/>
                        <a:pt x="1213629" y="40990"/>
                        <a:pt x="1201198" y="38963"/>
                      </a:cubicBezTo>
                      <a:cubicBezTo>
                        <a:pt x="1189897" y="36936"/>
                        <a:pt x="1192157" y="29843"/>
                        <a:pt x="1187637" y="21736"/>
                      </a:cubicBezTo>
                      <a:cubicBezTo>
                        <a:pt x="1183116" y="23763"/>
                        <a:pt x="1183116" y="27816"/>
                        <a:pt x="1179726" y="28830"/>
                      </a:cubicBezTo>
                      <a:cubicBezTo>
                        <a:pt x="1177466" y="29843"/>
                        <a:pt x="1171815" y="27816"/>
                        <a:pt x="1168425" y="28830"/>
                      </a:cubicBezTo>
                      <a:cubicBezTo>
                        <a:pt x="1166164" y="29843"/>
                        <a:pt x="1155993" y="35923"/>
                        <a:pt x="1152603" y="38963"/>
                      </a:cubicBezTo>
                      <a:cubicBezTo>
                        <a:pt x="1153733" y="30856"/>
                        <a:pt x="1153733" y="27816"/>
                        <a:pt x="1154863" y="19709"/>
                      </a:cubicBezTo>
                      <a:cubicBezTo>
                        <a:pt x="1143562" y="16669"/>
                        <a:pt x="1125480" y="6536"/>
                        <a:pt x="1111919" y="9576"/>
                      </a:cubicBezTo>
                      <a:lnTo>
                        <a:pt x="1109658" y="14643"/>
                      </a:lnTo>
                      <a:cubicBezTo>
                        <a:pt x="1098357" y="20723"/>
                        <a:pt x="1081405" y="33896"/>
                        <a:pt x="1068974" y="36936"/>
                      </a:cubicBezTo>
                      <a:cubicBezTo>
                        <a:pt x="1061063" y="37950"/>
                        <a:pt x="1049762" y="34910"/>
                        <a:pt x="1041851" y="36936"/>
                      </a:cubicBezTo>
                      <a:cubicBezTo>
                        <a:pt x="1039591" y="37950"/>
                        <a:pt x="1036201" y="43017"/>
                        <a:pt x="1033940" y="44030"/>
                      </a:cubicBezTo>
                      <a:cubicBezTo>
                        <a:pt x="1030550" y="39977"/>
                        <a:pt x="1029420" y="36936"/>
                        <a:pt x="1026030" y="33896"/>
                      </a:cubicBezTo>
                      <a:cubicBezTo>
                        <a:pt x="1022639" y="37950"/>
                        <a:pt x="1022639" y="40990"/>
                        <a:pt x="1020379" y="46057"/>
                      </a:cubicBezTo>
                      <a:lnTo>
                        <a:pt x="1014728" y="46057"/>
                      </a:lnTo>
                      <a:cubicBezTo>
                        <a:pt x="1014728" y="46057"/>
                        <a:pt x="1011338" y="42003"/>
                        <a:pt x="1006817" y="44030"/>
                      </a:cubicBezTo>
                      <a:cubicBezTo>
                        <a:pt x="1006817" y="44030"/>
                        <a:pt x="1006817" y="51123"/>
                        <a:pt x="1006817" y="51123"/>
                      </a:cubicBezTo>
                      <a:cubicBezTo>
                        <a:pt x="1003427" y="52137"/>
                        <a:pt x="997777" y="55177"/>
                        <a:pt x="995516" y="56190"/>
                      </a:cubicBezTo>
                      <a:cubicBezTo>
                        <a:pt x="986475" y="58217"/>
                        <a:pt x="974044" y="54164"/>
                        <a:pt x="966133" y="56190"/>
                      </a:cubicBezTo>
                      <a:cubicBezTo>
                        <a:pt x="960483" y="57204"/>
                        <a:pt x="957092" y="64297"/>
                        <a:pt x="952572" y="66324"/>
                      </a:cubicBezTo>
                      <a:cubicBezTo>
                        <a:pt x="950311" y="66324"/>
                        <a:pt x="945791" y="65310"/>
                        <a:pt x="944661" y="66324"/>
                      </a:cubicBezTo>
                      <a:cubicBezTo>
                        <a:pt x="937880" y="71391"/>
                        <a:pt x="937880" y="82537"/>
                        <a:pt x="931099" y="88618"/>
                      </a:cubicBezTo>
                      <a:cubicBezTo>
                        <a:pt x="926579" y="92671"/>
                        <a:pt x="917538" y="90644"/>
                        <a:pt x="915278" y="95711"/>
                      </a:cubicBezTo>
                      <a:cubicBezTo>
                        <a:pt x="911887" y="100778"/>
                        <a:pt x="915278" y="107871"/>
                        <a:pt x="913018" y="114965"/>
                      </a:cubicBezTo>
                      <a:cubicBezTo>
                        <a:pt x="911887" y="118005"/>
                        <a:pt x="902846" y="122058"/>
                        <a:pt x="901716" y="125099"/>
                      </a:cubicBezTo>
                      <a:cubicBezTo>
                        <a:pt x="898326" y="132192"/>
                        <a:pt x="898326" y="145366"/>
                        <a:pt x="896066" y="151446"/>
                      </a:cubicBezTo>
                      <a:cubicBezTo>
                        <a:pt x="882504" y="153472"/>
                        <a:pt x="866683" y="160566"/>
                        <a:pt x="855382" y="161579"/>
                      </a:cubicBezTo>
                      <a:cubicBezTo>
                        <a:pt x="848601" y="161579"/>
                        <a:pt x="845210" y="156513"/>
                        <a:pt x="836169" y="159553"/>
                      </a:cubicBezTo>
                      <a:lnTo>
                        <a:pt x="830519" y="164619"/>
                      </a:lnTo>
                      <a:cubicBezTo>
                        <a:pt x="814697" y="165633"/>
                        <a:pt x="802266" y="161579"/>
                        <a:pt x="789835" y="162593"/>
                      </a:cubicBezTo>
                      <a:cubicBezTo>
                        <a:pt x="790965" y="173740"/>
                        <a:pt x="793225" y="180833"/>
                        <a:pt x="795485" y="191980"/>
                      </a:cubicBezTo>
                      <a:cubicBezTo>
                        <a:pt x="789835" y="196033"/>
                        <a:pt x="790965" y="192993"/>
                        <a:pt x="787574" y="199074"/>
                      </a:cubicBezTo>
                      <a:cubicBezTo>
                        <a:pt x="781924" y="198060"/>
                        <a:pt x="784184" y="197047"/>
                        <a:pt x="779663" y="199074"/>
                      </a:cubicBezTo>
                      <a:cubicBezTo>
                        <a:pt x="785314" y="200087"/>
                        <a:pt x="795485" y="201100"/>
                        <a:pt x="801136" y="204140"/>
                      </a:cubicBezTo>
                      <a:cubicBezTo>
                        <a:pt x="805656" y="206167"/>
                        <a:pt x="809047" y="214274"/>
                        <a:pt x="814697" y="216301"/>
                      </a:cubicBezTo>
                      <a:cubicBezTo>
                        <a:pt x="821478" y="218327"/>
                        <a:pt x="824868" y="216301"/>
                        <a:pt x="830519" y="218327"/>
                      </a:cubicBezTo>
                      <a:cubicBezTo>
                        <a:pt x="836169" y="220354"/>
                        <a:pt x="853121" y="238594"/>
                        <a:pt x="857642" y="240621"/>
                      </a:cubicBezTo>
                      <a:cubicBezTo>
                        <a:pt x="862162" y="241635"/>
                        <a:pt x="868943" y="238594"/>
                        <a:pt x="873463" y="240621"/>
                      </a:cubicBezTo>
                      <a:cubicBezTo>
                        <a:pt x="873463" y="240621"/>
                        <a:pt x="881374" y="246701"/>
                        <a:pt x="873463" y="245688"/>
                      </a:cubicBezTo>
                      <a:cubicBezTo>
                        <a:pt x="873463" y="249741"/>
                        <a:pt x="875724" y="262915"/>
                        <a:pt x="875724" y="262915"/>
                      </a:cubicBezTo>
                      <a:cubicBezTo>
                        <a:pt x="883634" y="262915"/>
                        <a:pt x="885895" y="266968"/>
                        <a:pt x="894936" y="264942"/>
                      </a:cubicBezTo>
                      <a:lnTo>
                        <a:pt x="894936" y="259875"/>
                      </a:lnTo>
                      <a:cubicBezTo>
                        <a:pt x="900586" y="257848"/>
                        <a:pt x="908497" y="253795"/>
                        <a:pt x="914148" y="254808"/>
                      </a:cubicBezTo>
                      <a:lnTo>
                        <a:pt x="914148" y="259875"/>
                      </a:lnTo>
                      <a:cubicBezTo>
                        <a:pt x="916408" y="259875"/>
                        <a:pt x="918668" y="263928"/>
                        <a:pt x="919798" y="264942"/>
                      </a:cubicBezTo>
                      <a:cubicBezTo>
                        <a:pt x="928839" y="267982"/>
                        <a:pt x="940140" y="261902"/>
                        <a:pt x="946921" y="259875"/>
                      </a:cubicBezTo>
                      <a:cubicBezTo>
                        <a:pt x="946921" y="259875"/>
                        <a:pt x="950311" y="272035"/>
                        <a:pt x="944661" y="270008"/>
                      </a:cubicBezTo>
                      <a:cubicBezTo>
                        <a:pt x="942401" y="272035"/>
                        <a:pt x="940140" y="273049"/>
                        <a:pt x="936750" y="275075"/>
                      </a:cubicBezTo>
                      <a:lnTo>
                        <a:pt x="939010" y="282169"/>
                      </a:lnTo>
                      <a:cubicBezTo>
                        <a:pt x="945791" y="283182"/>
                        <a:pt x="945791" y="280142"/>
                        <a:pt x="950311" y="280142"/>
                      </a:cubicBezTo>
                      <a:lnTo>
                        <a:pt x="952572" y="287236"/>
                      </a:lnTo>
                      <a:cubicBezTo>
                        <a:pt x="962743" y="289262"/>
                        <a:pt x="975174" y="284196"/>
                        <a:pt x="985345" y="287236"/>
                      </a:cubicBezTo>
                      <a:cubicBezTo>
                        <a:pt x="985345" y="287236"/>
                        <a:pt x="983085" y="295342"/>
                        <a:pt x="985345" y="297369"/>
                      </a:cubicBezTo>
                      <a:cubicBezTo>
                        <a:pt x="974044" y="298383"/>
                        <a:pt x="916408" y="298383"/>
                        <a:pt x="946921" y="307503"/>
                      </a:cubicBezTo>
                      <a:cubicBezTo>
                        <a:pt x="943531" y="306489"/>
                        <a:pt x="950311" y="304463"/>
                        <a:pt x="952572" y="305476"/>
                      </a:cubicBezTo>
                      <a:cubicBezTo>
                        <a:pt x="967263" y="307503"/>
                        <a:pt x="958222" y="312570"/>
                        <a:pt x="963873" y="322703"/>
                      </a:cubicBezTo>
                      <a:cubicBezTo>
                        <a:pt x="945791" y="317636"/>
                        <a:pt x="946921" y="314596"/>
                        <a:pt x="936750" y="329797"/>
                      </a:cubicBezTo>
                      <a:lnTo>
                        <a:pt x="936750" y="324730"/>
                      </a:lnTo>
                      <a:cubicBezTo>
                        <a:pt x="920928" y="322703"/>
                        <a:pt x="899456" y="327770"/>
                        <a:pt x="882504" y="322703"/>
                      </a:cubicBezTo>
                      <a:cubicBezTo>
                        <a:pt x="881374" y="321690"/>
                        <a:pt x="879114" y="315610"/>
                        <a:pt x="876854" y="315610"/>
                      </a:cubicBezTo>
                      <a:cubicBezTo>
                        <a:pt x="872333" y="314596"/>
                        <a:pt x="867813" y="316623"/>
                        <a:pt x="863292" y="315610"/>
                      </a:cubicBezTo>
                      <a:cubicBezTo>
                        <a:pt x="865553" y="310543"/>
                        <a:pt x="865553" y="313583"/>
                        <a:pt x="871203" y="310543"/>
                      </a:cubicBezTo>
                      <a:cubicBezTo>
                        <a:pt x="870073" y="301423"/>
                        <a:pt x="871203" y="294329"/>
                        <a:pt x="868943" y="286222"/>
                      </a:cubicBezTo>
                      <a:cubicBezTo>
                        <a:pt x="868943" y="285209"/>
                        <a:pt x="864422" y="284196"/>
                        <a:pt x="863292" y="281155"/>
                      </a:cubicBezTo>
                      <a:cubicBezTo>
                        <a:pt x="857642" y="282169"/>
                        <a:pt x="851991" y="280142"/>
                        <a:pt x="847471" y="281155"/>
                      </a:cubicBezTo>
                      <a:cubicBezTo>
                        <a:pt x="846341" y="281155"/>
                        <a:pt x="844080" y="287236"/>
                        <a:pt x="841820" y="288249"/>
                      </a:cubicBezTo>
                      <a:cubicBezTo>
                        <a:pt x="830519" y="294329"/>
                        <a:pt x="812437" y="298383"/>
                        <a:pt x="801136" y="302436"/>
                      </a:cubicBezTo>
                      <a:cubicBezTo>
                        <a:pt x="801136" y="306489"/>
                        <a:pt x="803396" y="313583"/>
                        <a:pt x="801136" y="316623"/>
                      </a:cubicBezTo>
                      <a:cubicBezTo>
                        <a:pt x="800006" y="318650"/>
                        <a:pt x="796615" y="314596"/>
                        <a:pt x="795485" y="318650"/>
                      </a:cubicBezTo>
                      <a:cubicBezTo>
                        <a:pt x="776273" y="313583"/>
                        <a:pt x="764972" y="315610"/>
                        <a:pt x="749150" y="323716"/>
                      </a:cubicBezTo>
                      <a:cubicBezTo>
                        <a:pt x="743500" y="326756"/>
                        <a:pt x="737849" y="332837"/>
                        <a:pt x="733329" y="335877"/>
                      </a:cubicBezTo>
                      <a:lnTo>
                        <a:pt x="733329" y="346010"/>
                      </a:lnTo>
                      <a:cubicBezTo>
                        <a:pt x="752541" y="343984"/>
                        <a:pt x="755931" y="346010"/>
                        <a:pt x="768362" y="351077"/>
                      </a:cubicBezTo>
                      <a:cubicBezTo>
                        <a:pt x="772883" y="352090"/>
                        <a:pt x="781924" y="353104"/>
                        <a:pt x="784184" y="353104"/>
                      </a:cubicBezTo>
                      <a:lnTo>
                        <a:pt x="784184" y="358171"/>
                      </a:lnTo>
                      <a:cubicBezTo>
                        <a:pt x="774013" y="361211"/>
                        <a:pt x="770623" y="361211"/>
                        <a:pt x="762712" y="363237"/>
                      </a:cubicBezTo>
                      <a:cubicBezTo>
                        <a:pt x="762712" y="364251"/>
                        <a:pt x="761582" y="370331"/>
                        <a:pt x="764972" y="368304"/>
                      </a:cubicBezTo>
                      <a:cubicBezTo>
                        <a:pt x="768362" y="370331"/>
                        <a:pt x="776273" y="375398"/>
                        <a:pt x="778533" y="378438"/>
                      </a:cubicBezTo>
                      <a:cubicBezTo>
                        <a:pt x="780794" y="382491"/>
                        <a:pt x="779663" y="390598"/>
                        <a:pt x="784184" y="392625"/>
                      </a:cubicBezTo>
                      <a:lnTo>
                        <a:pt x="822608" y="402758"/>
                      </a:lnTo>
                      <a:cubicBezTo>
                        <a:pt x="832779" y="402758"/>
                        <a:pt x="830519" y="396678"/>
                        <a:pt x="836169" y="395665"/>
                      </a:cubicBezTo>
                      <a:cubicBezTo>
                        <a:pt x="853121" y="391611"/>
                        <a:pt x="874594" y="391611"/>
                        <a:pt x="890415" y="393638"/>
                      </a:cubicBezTo>
                      <a:cubicBezTo>
                        <a:pt x="891545" y="388571"/>
                        <a:pt x="888155" y="387558"/>
                        <a:pt x="892675" y="386545"/>
                      </a:cubicBezTo>
                      <a:cubicBezTo>
                        <a:pt x="894936" y="388571"/>
                        <a:pt x="905107" y="396678"/>
                        <a:pt x="906237" y="398705"/>
                      </a:cubicBezTo>
                      <a:cubicBezTo>
                        <a:pt x="907367" y="401745"/>
                        <a:pt x="905107" y="403772"/>
                        <a:pt x="906237" y="405798"/>
                      </a:cubicBezTo>
                      <a:cubicBezTo>
                        <a:pt x="907367" y="407825"/>
                        <a:pt x="913018" y="406812"/>
                        <a:pt x="914148" y="407825"/>
                      </a:cubicBezTo>
                      <a:cubicBezTo>
                        <a:pt x="916408" y="406812"/>
                        <a:pt x="924319" y="393638"/>
                        <a:pt x="927709" y="393638"/>
                      </a:cubicBezTo>
                      <a:cubicBezTo>
                        <a:pt x="943531" y="389585"/>
                        <a:pt x="968393" y="389585"/>
                        <a:pt x="981955" y="391611"/>
                      </a:cubicBezTo>
                      <a:cubicBezTo>
                        <a:pt x="980825" y="393638"/>
                        <a:pt x="983085" y="398705"/>
                        <a:pt x="981955" y="401745"/>
                      </a:cubicBezTo>
                      <a:cubicBezTo>
                        <a:pt x="980825" y="404785"/>
                        <a:pt x="971784" y="406812"/>
                        <a:pt x="970654" y="408838"/>
                      </a:cubicBezTo>
                      <a:cubicBezTo>
                        <a:pt x="969524" y="414919"/>
                        <a:pt x="978564" y="427079"/>
                        <a:pt x="978564" y="433159"/>
                      </a:cubicBezTo>
                      <a:cubicBezTo>
                        <a:pt x="979695" y="441266"/>
                        <a:pt x="976304" y="450386"/>
                        <a:pt x="976304" y="455453"/>
                      </a:cubicBezTo>
                      <a:cubicBezTo>
                        <a:pt x="969524" y="458493"/>
                        <a:pt x="957092" y="464573"/>
                        <a:pt x="949181" y="465586"/>
                      </a:cubicBezTo>
                      <a:cubicBezTo>
                        <a:pt x="941271" y="465586"/>
                        <a:pt x="940140" y="460520"/>
                        <a:pt x="933360" y="463560"/>
                      </a:cubicBezTo>
                      <a:cubicBezTo>
                        <a:pt x="931099" y="464573"/>
                        <a:pt x="932230" y="469640"/>
                        <a:pt x="931099" y="470653"/>
                      </a:cubicBezTo>
                      <a:cubicBezTo>
                        <a:pt x="924319" y="475720"/>
                        <a:pt x="905107" y="486867"/>
                        <a:pt x="890415" y="482813"/>
                      </a:cubicBezTo>
                      <a:cubicBezTo>
                        <a:pt x="881374" y="480787"/>
                        <a:pt x="877984" y="466600"/>
                        <a:pt x="863292" y="468626"/>
                      </a:cubicBezTo>
                      <a:cubicBezTo>
                        <a:pt x="859902" y="468626"/>
                        <a:pt x="850861" y="476733"/>
                        <a:pt x="847471" y="478760"/>
                      </a:cubicBezTo>
                      <a:cubicBezTo>
                        <a:pt x="847471" y="479773"/>
                        <a:pt x="846341" y="486867"/>
                        <a:pt x="849731" y="483827"/>
                      </a:cubicBezTo>
                      <a:cubicBezTo>
                        <a:pt x="850861" y="484840"/>
                        <a:pt x="847471" y="488894"/>
                        <a:pt x="851991" y="485854"/>
                      </a:cubicBezTo>
                      <a:cubicBezTo>
                        <a:pt x="856512" y="494974"/>
                        <a:pt x="857642" y="497000"/>
                        <a:pt x="859902" y="512201"/>
                      </a:cubicBezTo>
                      <a:cubicBezTo>
                        <a:pt x="855382" y="509161"/>
                        <a:pt x="858772" y="510174"/>
                        <a:pt x="857642" y="505107"/>
                      </a:cubicBezTo>
                      <a:cubicBezTo>
                        <a:pt x="850861" y="504094"/>
                        <a:pt x="848601" y="505107"/>
                        <a:pt x="844080" y="503081"/>
                      </a:cubicBezTo>
                      <a:lnTo>
                        <a:pt x="838430" y="520308"/>
                      </a:lnTo>
                      <a:cubicBezTo>
                        <a:pt x="837300" y="521321"/>
                        <a:pt x="831649" y="519294"/>
                        <a:pt x="830519" y="520308"/>
                      </a:cubicBezTo>
                      <a:cubicBezTo>
                        <a:pt x="828259" y="521321"/>
                        <a:pt x="812437" y="532468"/>
                        <a:pt x="811307" y="534495"/>
                      </a:cubicBezTo>
                      <a:cubicBezTo>
                        <a:pt x="810177" y="538548"/>
                        <a:pt x="813567" y="545642"/>
                        <a:pt x="811307" y="548682"/>
                      </a:cubicBezTo>
                      <a:cubicBezTo>
                        <a:pt x="811307" y="549695"/>
                        <a:pt x="798876" y="552735"/>
                        <a:pt x="797745" y="553748"/>
                      </a:cubicBezTo>
                      <a:cubicBezTo>
                        <a:pt x="798876" y="554762"/>
                        <a:pt x="795485" y="561855"/>
                        <a:pt x="795485" y="563882"/>
                      </a:cubicBezTo>
                      <a:cubicBezTo>
                        <a:pt x="797745" y="564895"/>
                        <a:pt x="803396" y="562869"/>
                        <a:pt x="806786" y="563882"/>
                      </a:cubicBezTo>
                      <a:cubicBezTo>
                        <a:pt x="807916" y="563882"/>
                        <a:pt x="804526" y="571989"/>
                        <a:pt x="804526" y="574016"/>
                      </a:cubicBezTo>
                      <a:cubicBezTo>
                        <a:pt x="811307" y="574016"/>
                        <a:pt x="815827" y="573002"/>
                        <a:pt x="820348" y="574016"/>
                      </a:cubicBezTo>
                      <a:cubicBezTo>
                        <a:pt x="822608" y="575029"/>
                        <a:pt x="821478" y="581109"/>
                        <a:pt x="822608" y="581109"/>
                      </a:cubicBezTo>
                      <a:cubicBezTo>
                        <a:pt x="828259" y="583136"/>
                        <a:pt x="823738" y="581109"/>
                        <a:pt x="824868" y="586176"/>
                      </a:cubicBezTo>
                      <a:cubicBezTo>
                        <a:pt x="841820" y="586176"/>
                        <a:pt x="850861" y="587189"/>
                        <a:pt x="863292" y="591243"/>
                      </a:cubicBezTo>
                      <a:cubicBezTo>
                        <a:pt x="862162" y="591243"/>
                        <a:pt x="865553" y="587189"/>
                        <a:pt x="865553" y="586176"/>
                      </a:cubicBezTo>
                      <a:cubicBezTo>
                        <a:pt x="867813" y="587189"/>
                        <a:pt x="873463" y="586176"/>
                        <a:pt x="876854" y="586176"/>
                      </a:cubicBezTo>
                      <a:lnTo>
                        <a:pt x="876854" y="591243"/>
                      </a:lnTo>
                      <a:cubicBezTo>
                        <a:pt x="880244" y="588203"/>
                        <a:pt x="872333" y="598336"/>
                        <a:pt x="871203" y="598336"/>
                      </a:cubicBezTo>
                      <a:cubicBezTo>
                        <a:pt x="867813" y="601376"/>
                        <a:pt x="868943" y="604416"/>
                        <a:pt x="865553" y="608470"/>
                      </a:cubicBezTo>
                      <a:cubicBezTo>
                        <a:pt x="864422" y="610496"/>
                        <a:pt x="857642" y="611510"/>
                        <a:pt x="857642" y="613536"/>
                      </a:cubicBezTo>
                      <a:cubicBezTo>
                        <a:pt x="857642" y="616577"/>
                        <a:pt x="858772" y="617590"/>
                        <a:pt x="857642" y="620630"/>
                      </a:cubicBezTo>
                      <a:cubicBezTo>
                        <a:pt x="855382" y="624683"/>
                        <a:pt x="855382" y="627723"/>
                        <a:pt x="855382" y="627723"/>
                      </a:cubicBezTo>
                      <a:cubicBezTo>
                        <a:pt x="861032" y="630764"/>
                        <a:pt x="857642" y="629750"/>
                        <a:pt x="861032" y="634817"/>
                      </a:cubicBezTo>
                      <a:cubicBezTo>
                        <a:pt x="862162" y="634817"/>
                        <a:pt x="868943" y="633804"/>
                        <a:pt x="868943" y="634817"/>
                      </a:cubicBezTo>
                      <a:cubicBezTo>
                        <a:pt x="870073" y="636844"/>
                        <a:pt x="867813" y="641911"/>
                        <a:pt x="868943" y="644951"/>
                      </a:cubicBezTo>
                      <a:cubicBezTo>
                        <a:pt x="870073" y="646977"/>
                        <a:pt x="875724" y="649004"/>
                        <a:pt x="876854" y="652044"/>
                      </a:cubicBezTo>
                      <a:cubicBezTo>
                        <a:pt x="897196" y="651031"/>
                        <a:pt x="911887" y="650017"/>
                        <a:pt x="917538" y="637857"/>
                      </a:cubicBezTo>
                      <a:cubicBezTo>
                        <a:pt x="919798" y="631777"/>
                        <a:pt x="917538" y="623670"/>
                        <a:pt x="917538" y="623670"/>
                      </a:cubicBezTo>
                      <a:lnTo>
                        <a:pt x="919798" y="618603"/>
                      </a:lnTo>
                      <a:lnTo>
                        <a:pt x="927709" y="616577"/>
                      </a:lnTo>
                      <a:cubicBezTo>
                        <a:pt x="926579" y="616577"/>
                        <a:pt x="934490" y="633804"/>
                        <a:pt x="925449" y="630764"/>
                      </a:cubicBezTo>
                      <a:cubicBezTo>
                        <a:pt x="926579" y="634817"/>
                        <a:pt x="924319" y="638870"/>
                        <a:pt x="925449" y="642924"/>
                      </a:cubicBezTo>
                      <a:cubicBezTo>
                        <a:pt x="926579" y="645964"/>
                        <a:pt x="934490" y="647991"/>
                        <a:pt x="936750" y="650017"/>
                      </a:cubicBezTo>
                      <a:cubicBezTo>
                        <a:pt x="942401" y="658124"/>
                        <a:pt x="941271" y="665218"/>
                        <a:pt x="944661" y="674338"/>
                      </a:cubicBezTo>
                      <a:cubicBezTo>
                        <a:pt x="936750" y="677378"/>
                        <a:pt x="941271" y="680418"/>
                        <a:pt x="939010" y="688525"/>
                      </a:cubicBezTo>
                      <a:cubicBezTo>
                        <a:pt x="945791" y="687512"/>
                        <a:pt x="946921" y="685485"/>
                        <a:pt x="954832" y="686498"/>
                      </a:cubicBezTo>
                      <a:cubicBezTo>
                        <a:pt x="953702" y="687512"/>
                        <a:pt x="949181" y="693592"/>
                        <a:pt x="949181" y="693592"/>
                      </a:cubicBezTo>
                      <a:cubicBezTo>
                        <a:pt x="943531" y="693592"/>
                        <a:pt x="939010" y="705752"/>
                        <a:pt x="949181" y="700685"/>
                      </a:cubicBezTo>
                      <a:cubicBezTo>
                        <a:pt x="949181" y="701698"/>
                        <a:pt x="950311" y="708792"/>
                        <a:pt x="946921" y="705752"/>
                      </a:cubicBezTo>
                      <a:cubicBezTo>
                        <a:pt x="946921" y="705752"/>
                        <a:pt x="946921" y="712845"/>
                        <a:pt x="946921" y="712845"/>
                      </a:cubicBezTo>
                      <a:cubicBezTo>
                        <a:pt x="963873" y="715886"/>
                        <a:pt x="966133" y="700685"/>
                        <a:pt x="974044" y="695618"/>
                      </a:cubicBezTo>
                      <a:cubicBezTo>
                        <a:pt x="980825" y="691565"/>
                        <a:pt x="994386" y="685485"/>
                        <a:pt x="1001167" y="683458"/>
                      </a:cubicBezTo>
                      <a:lnTo>
                        <a:pt x="1006817" y="683458"/>
                      </a:lnTo>
                      <a:cubicBezTo>
                        <a:pt x="1006817" y="683458"/>
                        <a:pt x="1009078" y="693592"/>
                        <a:pt x="1014728" y="695618"/>
                      </a:cubicBezTo>
                      <a:lnTo>
                        <a:pt x="1014728" y="697645"/>
                      </a:lnTo>
                      <a:cubicBezTo>
                        <a:pt x="1020379" y="694605"/>
                        <a:pt x="1026030" y="692578"/>
                        <a:pt x="1030550" y="690552"/>
                      </a:cubicBezTo>
                      <a:cubicBezTo>
                        <a:pt x="1035070" y="697645"/>
                        <a:pt x="1035070" y="704739"/>
                        <a:pt x="1041851" y="709805"/>
                      </a:cubicBezTo>
                      <a:cubicBezTo>
                        <a:pt x="1042981" y="710819"/>
                        <a:pt x="1046372" y="713859"/>
                        <a:pt x="1047502" y="714872"/>
                      </a:cubicBezTo>
                      <a:cubicBezTo>
                        <a:pt x="1049762" y="715886"/>
                        <a:pt x="1049762" y="716899"/>
                        <a:pt x="1053152" y="716899"/>
                      </a:cubicBezTo>
                      <a:cubicBezTo>
                        <a:pt x="1066714" y="717912"/>
                        <a:pt x="1048632" y="708792"/>
                        <a:pt x="1055413" y="702712"/>
                      </a:cubicBezTo>
                      <a:cubicBezTo>
                        <a:pt x="1055413" y="702712"/>
                        <a:pt x="1063323" y="704739"/>
                        <a:pt x="1066714" y="704739"/>
                      </a:cubicBezTo>
                      <a:cubicBezTo>
                        <a:pt x="1070104" y="700685"/>
                        <a:pt x="1070104" y="697645"/>
                        <a:pt x="1074625" y="694605"/>
                      </a:cubicBezTo>
                      <a:cubicBezTo>
                        <a:pt x="1075755" y="697645"/>
                        <a:pt x="1076885" y="707779"/>
                        <a:pt x="1076885" y="708792"/>
                      </a:cubicBezTo>
                      <a:cubicBezTo>
                        <a:pt x="1091576" y="705752"/>
                        <a:pt x="1101748" y="705752"/>
                        <a:pt x="1111919" y="698658"/>
                      </a:cubicBezTo>
                      <a:cubicBezTo>
                        <a:pt x="1114179" y="697645"/>
                        <a:pt x="1113049" y="692578"/>
                        <a:pt x="1114179" y="691565"/>
                      </a:cubicBezTo>
                      <a:cubicBezTo>
                        <a:pt x="1117569" y="689538"/>
                        <a:pt x="1122090" y="691565"/>
                        <a:pt x="1125480" y="689538"/>
                      </a:cubicBezTo>
                      <a:cubicBezTo>
                        <a:pt x="1122090" y="696632"/>
                        <a:pt x="1122090" y="707779"/>
                        <a:pt x="1117569" y="713859"/>
                      </a:cubicBezTo>
                      <a:cubicBezTo>
                        <a:pt x="1114179" y="718926"/>
                        <a:pt x="1101748" y="719939"/>
                        <a:pt x="1098357" y="726019"/>
                      </a:cubicBezTo>
                      <a:cubicBezTo>
                        <a:pt x="1096097" y="729059"/>
                        <a:pt x="1099487" y="736153"/>
                        <a:pt x="1098357" y="740206"/>
                      </a:cubicBezTo>
                      <a:lnTo>
                        <a:pt x="1090446" y="742233"/>
                      </a:lnTo>
                      <a:cubicBezTo>
                        <a:pt x="1089316" y="750340"/>
                        <a:pt x="1090446" y="767567"/>
                        <a:pt x="1090446" y="768580"/>
                      </a:cubicBezTo>
                      <a:cubicBezTo>
                        <a:pt x="1089316" y="770607"/>
                        <a:pt x="1083666" y="769593"/>
                        <a:pt x="1082536" y="770607"/>
                      </a:cubicBezTo>
                      <a:cubicBezTo>
                        <a:pt x="1079145" y="772633"/>
                        <a:pt x="1081405" y="778714"/>
                        <a:pt x="1080275" y="782767"/>
                      </a:cubicBezTo>
                      <a:cubicBezTo>
                        <a:pt x="1078015" y="785807"/>
                        <a:pt x="1070104" y="789860"/>
                        <a:pt x="1066714" y="792901"/>
                      </a:cubicBezTo>
                      <a:lnTo>
                        <a:pt x="1064454" y="794927"/>
                      </a:lnTo>
                      <a:cubicBezTo>
                        <a:pt x="1063323" y="796954"/>
                        <a:pt x="1065584" y="803034"/>
                        <a:pt x="1064454" y="805061"/>
                      </a:cubicBezTo>
                      <a:cubicBezTo>
                        <a:pt x="1062193" y="807088"/>
                        <a:pt x="1055413" y="804048"/>
                        <a:pt x="1053152" y="805061"/>
                      </a:cubicBezTo>
                      <a:cubicBezTo>
                        <a:pt x="1048632" y="807088"/>
                        <a:pt x="1044111" y="817221"/>
                        <a:pt x="1039591" y="819248"/>
                      </a:cubicBezTo>
                      <a:cubicBezTo>
                        <a:pt x="1037331" y="820261"/>
                        <a:pt x="1033940" y="819248"/>
                        <a:pt x="1031680" y="819248"/>
                      </a:cubicBezTo>
                      <a:cubicBezTo>
                        <a:pt x="1009078" y="824315"/>
                        <a:pt x="1002297" y="831408"/>
                        <a:pt x="998907" y="855729"/>
                      </a:cubicBezTo>
                      <a:cubicBezTo>
                        <a:pt x="992126" y="856742"/>
                        <a:pt x="984215" y="858769"/>
                        <a:pt x="979695" y="857756"/>
                      </a:cubicBezTo>
                      <a:cubicBezTo>
                        <a:pt x="979695" y="857756"/>
                        <a:pt x="981955" y="852689"/>
                        <a:pt x="981955" y="850662"/>
                      </a:cubicBezTo>
                      <a:cubicBezTo>
                        <a:pt x="968393" y="852689"/>
                        <a:pt x="948051" y="852689"/>
                        <a:pt x="939010" y="857756"/>
                      </a:cubicBezTo>
                      <a:cubicBezTo>
                        <a:pt x="935620" y="859782"/>
                        <a:pt x="937880" y="866876"/>
                        <a:pt x="936750" y="869916"/>
                      </a:cubicBezTo>
                      <a:cubicBezTo>
                        <a:pt x="934490" y="871942"/>
                        <a:pt x="927709" y="871942"/>
                        <a:pt x="925449" y="874983"/>
                      </a:cubicBezTo>
                      <a:cubicBezTo>
                        <a:pt x="923189" y="879036"/>
                        <a:pt x="925449" y="883089"/>
                        <a:pt x="923189" y="887143"/>
                      </a:cubicBezTo>
                      <a:cubicBezTo>
                        <a:pt x="919798" y="892210"/>
                        <a:pt x="905107" y="897276"/>
                        <a:pt x="898326" y="899303"/>
                      </a:cubicBezTo>
                      <a:cubicBezTo>
                        <a:pt x="898326" y="900316"/>
                        <a:pt x="898326" y="906397"/>
                        <a:pt x="898326" y="906397"/>
                      </a:cubicBezTo>
                      <a:cubicBezTo>
                        <a:pt x="900586" y="906397"/>
                        <a:pt x="902846" y="901330"/>
                        <a:pt x="903977" y="901330"/>
                      </a:cubicBezTo>
                      <a:cubicBezTo>
                        <a:pt x="906237" y="900316"/>
                        <a:pt x="909627" y="905383"/>
                        <a:pt x="915278" y="903357"/>
                      </a:cubicBezTo>
                      <a:lnTo>
                        <a:pt x="917538" y="896263"/>
                      </a:lnTo>
                      <a:lnTo>
                        <a:pt x="923189" y="896263"/>
                      </a:lnTo>
                      <a:cubicBezTo>
                        <a:pt x="926579" y="899303"/>
                        <a:pt x="923189" y="899303"/>
                        <a:pt x="931099" y="903357"/>
                      </a:cubicBezTo>
                      <a:cubicBezTo>
                        <a:pt x="937880" y="888156"/>
                        <a:pt x="945791" y="878023"/>
                        <a:pt x="952572" y="864849"/>
                      </a:cubicBezTo>
                      <a:cubicBezTo>
                        <a:pt x="955962" y="865862"/>
                        <a:pt x="961613" y="864849"/>
                        <a:pt x="966133" y="864849"/>
                      </a:cubicBezTo>
                      <a:cubicBezTo>
                        <a:pt x="965003" y="866876"/>
                        <a:pt x="968393" y="870929"/>
                        <a:pt x="963873" y="869916"/>
                      </a:cubicBezTo>
                      <a:lnTo>
                        <a:pt x="961613" y="877009"/>
                      </a:lnTo>
                      <a:cubicBezTo>
                        <a:pt x="966133" y="875996"/>
                        <a:pt x="972914" y="879036"/>
                        <a:pt x="977434" y="877009"/>
                      </a:cubicBezTo>
                      <a:lnTo>
                        <a:pt x="979695" y="869916"/>
                      </a:lnTo>
                      <a:cubicBezTo>
                        <a:pt x="1003427" y="869916"/>
                        <a:pt x="996646" y="870929"/>
                        <a:pt x="1012468" y="857756"/>
                      </a:cubicBezTo>
                      <a:cubicBezTo>
                        <a:pt x="1014728" y="858769"/>
                        <a:pt x="1019249" y="857756"/>
                        <a:pt x="1020379" y="857756"/>
                      </a:cubicBezTo>
                      <a:cubicBezTo>
                        <a:pt x="1020379" y="857756"/>
                        <a:pt x="1020379" y="864849"/>
                        <a:pt x="1020379" y="864849"/>
                      </a:cubicBezTo>
                      <a:cubicBezTo>
                        <a:pt x="1026030" y="860795"/>
                        <a:pt x="1022639" y="861809"/>
                        <a:pt x="1026030" y="854715"/>
                      </a:cubicBezTo>
                      <a:cubicBezTo>
                        <a:pt x="1029420" y="855729"/>
                        <a:pt x="1036201" y="859782"/>
                        <a:pt x="1039591" y="856742"/>
                      </a:cubicBezTo>
                      <a:cubicBezTo>
                        <a:pt x="1045242" y="852689"/>
                        <a:pt x="1042981" y="846609"/>
                        <a:pt x="1045242" y="839515"/>
                      </a:cubicBezTo>
                      <a:cubicBezTo>
                        <a:pt x="1058803" y="844582"/>
                        <a:pt x="1055413" y="852689"/>
                        <a:pt x="1058803" y="832422"/>
                      </a:cubicBezTo>
                      <a:cubicBezTo>
                        <a:pt x="1054283" y="831408"/>
                        <a:pt x="1054283" y="834448"/>
                        <a:pt x="1053152" y="830395"/>
                      </a:cubicBezTo>
                      <a:cubicBezTo>
                        <a:pt x="1053152" y="830395"/>
                        <a:pt x="1061063" y="830395"/>
                        <a:pt x="1055413" y="828368"/>
                      </a:cubicBezTo>
                      <a:cubicBezTo>
                        <a:pt x="1063323" y="826341"/>
                        <a:pt x="1071234" y="822288"/>
                        <a:pt x="1076885" y="821275"/>
                      </a:cubicBezTo>
                      <a:cubicBezTo>
                        <a:pt x="1076885" y="821275"/>
                        <a:pt x="1071234" y="818235"/>
                        <a:pt x="1074625" y="816208"/>
                      </a:cubicBezTo>
                      <a:cubicBezTo>
                        <a:pt x="1078015" y="814181"/>
                        <a:pt x="1087056" y="816208"/>
                        <a:pt x="1090446" y="814181"/>
                      </a:cubicBezTo>
                      <a:cubicBezTo>
                        <a:pt x="1092707" y="813168"/>
                        <a:pt x="1090446" y="803034"/>
                        <a:pt x="1092707" y="802021"/>
                      </a:cubicBezTo>
                      <a:cubicBezTo>
                        <a:pt x="1093837" y="801007"/>
                        <a:pt x="1099487" y="805061"/>
                        <a:pt x="1104008" y="804048"/>
                      </a:cubicBezTo>
                      <a:cubicBezTo>
                        <a:pt x="1108528" y="803034"/>
                        <a:pt x="1118699" y="793914"/>
                        <a:pt x="1123220" y="791887"/>
                      </a:cubicBezTo>
                      <a:cubicBezTo>
                        <a:pt x="1122090" y="788847"/>
                        <a:pt x="1122090" y="777700"/>
                        <a:pt x="1120960" y="777700"/>
                      </a:cubicBezTo>
                      <a:cubicBezTo>
                        <a:pt x="1126610" y="774660"/>
                        <a:pt x="1131131" y="774660"/>
                        <a:pt x="1136781" y="772633"/>
                      </a:cubicBezTo>
                      <a:lnTo>
                        <a:pt x="1136781" y="767567"/>
                      </a:lnTo>
                      <a:cubicBezTo>
                        <a:pt x="1139042" y="766553"/>
                        <a:pt x="1143562" y="768580"/>
                        <a:pt x="1144692" y="767567"/>
                      </a:cubicBezTo>
                      <a:cubicBezTo>
                        <a:pt x="1151473" y="762500"/>
                        <a:pt x="1152603" y="752366"/>
                        <a:pt x="1160514" y="748313"/>
                      </a:cubicBezTo>
                      <a:cubicBezTo>
                        <a:pt x="1163904" y="746286"/>
                        <a:pt x="1168425" y="748313"/>
                        <a:pt x="1171815" y="746286"/>
                      </a:cubicBezTo>
                      <a:cubicBezTo>
                        <a:pt x="1172945" y="745273"/>
                        <a:pt x="1171815" y="740206"/>
                        <a:pt x="1171815" y="739193"/>
                      </a:cubicBezTo>
                      <a:lnTo>
                        <a:pt x="1183116" y="732099"/>
                      </a:lnTo>
                      <a:cubicBezTo>
                        <a:pt x="1188767" y="729059"/>
                        <a:pt x="1200068" y="729059"/>
                        <a:pt x="1207979" y="727032"/>
                      </a:cubicBezTo>
                      <a:cubicBezTo>
                        <a:pt x="1209109" y="723992"/>
                        <a:pt x="1212499" y="721966"/>
                        <a:pt x="1213629" y="719939"/>
                      </a:cubicBezTo>
                      <a:cubicBezTo>
                        <a:pt x="1214760" y="715886"/>
                        <a:pt x="1210239" y="711832"/>
                        <a:pt x="1211369" y="709805"/>
                      </a:cubicBezTo>
                      <a:cubicBezTo>
                        <a:pt x="1212499" y="705752"/>
                        <a:pt x="1223801" y="705752"/>
                        <a:pt x="1224931" y="702712"/>
                      </a:cubicBezTo>
                      <a:lnTo>
                        <a:pt x="1224931" y="697645"/>
                      </a:lnTo>
                      <a:cubicBezTo>
                        <a:pt x="1228321" y="694605"/>
                        <a:pt x="1231711" y="697645"/>
                        <a:pt x="1236232" y="695618"/>
                      </a:cubicBezTo>
                      <a:cubicBezTo>
                        <a:pt x="1236232" y="695618"/>
                        <a:pt x="1236232" y="686498"/>
                        <a:pt x="1236232" y="685485"/>
                      </a:cubicBezTo>
                      <a:cubicBezTo>
                        <a:pt x="1228321" y="684471"/>
                        <a:pt x="1221540" y="685485"/>
                        <a:pt x="1214760" y="685485"/>
                      </a:cubicBezTo>
                      <a:cubicBezTo>
                        <a:pt x="1214760" y="679405"/>
                        <a:pt x="1211369" y="673324"/>
                        <a:pt x="1214760" y="663191"/>
                      </a:cubicBezTo>
                      <a:cubicBezTo>
                        <a:pt x="1215890" y="661164"/>
                        <a:pt x="1222670" y="657111"/>
                        <a:pt x="1222670" y="656097"/>
                      </a:cubicBezTo>
                      <a:cubicBezTo>
                        <a:pt x="1223801" y="653057"/>
                        <a:pt x="1221540" y="649004"/>
                        <a:pt x="1222670" y="645964"/>
                      </a:cubicBezTo>
                      <a:cubicBezTo>
                        <a:pt x="1231711" y="645964"/>
                        <a:pt x="1236232" y="645964"/>
                        <a:pt x="1244143" y="645964"/>
                      </a:cubicBezTo>
                      <a:cubicBezTo>
                        <a:pt x="1245273" y="641911"/>
                        <a:pt x="1244143" y="638870"/>
                        <a:pt x="1246403" y="635830"/>
                      </a:cubicBezTo>
                      <a:cubicBezTo>
                        <a:pt x="1248663" y="633804"/>
                        <a:pt x="1255444" y="632790"/>
                        <a:pt x="1257704" y="630764"/>
                      </a:cubicBezTo>
                      <a:cubicBezTo>
                        <a:pt x="1256574" y="625697"/>
                        <a:pt x="1254314" y="622657"/>
                        <a:pt x="1255444" y="618603"/>
                      </a:cubicBezTo>
                      <a:cubicBezTo>
                        <a:pt x="1258834" y="619617"/>
                        <a:pt x="1264485" y="623670"/>
                        <a:pt x="1266745" y="623670"/>
                      </a:cubicBezTo>
                      <a:cubicBezTo>
                        <a:pt x="1271265" y="623670"/>
                        <a:pt x="1269005" y="619617"/>
                        <a:pt x="1274656" y="621643"/>
                      </a:cubicBezTo>
                      <a:cubicBezTo>
                        <a:pt x="1278046" y="608470"/>
                        <a:pt x="1278046" y="599350"/>
                        <a:pt x="1290478" y="595296"/>
                      </a:cubicBezTo>
                      <a:cubicBezTo>
                        <a:pt x="1296128" y="593269"/>
                        <a:pt x="1299518" y="596309"/>
                        <a:pt x="1304039" y="593269"/>
                      </a:cubicBezTo>
                      <a:cubicBezTo>
                        <a:pt x="1306299" y="591243"/>
                        <a:pt x="1305169" y="583136"/>
                        <a:pt x="1306299" y="581109"/>
                      </a:cubicBezTo>
                      <a:cubicBezTo>
                        <a:pt x="1309690" y="576042"/>
                        <a:pt x="1317600" y="577056"/>
                        <a:pt x="1322121" y="574016"/>
                      </a:cubicBezTo>
                      <a:cubicBezTo>
                        <a:pt x="1328902" y="568949"/>
                        <a:pt x="1334552" y="559829"/>
                        <a:pt x="1341333" y="554762"/>
                      </a:cubicBezTo>
                      <a:cubicBezTo>
                        <a:pt x="1343593" y="556788"/>
                        <a:pt x="1345853" y="561855"/>
                        <a:pt x="1346984" y="564895"/>
                      </a:cubicBezTo>
                      <a:cubicBezTo>
                        <a:pt x="1353764" y="563882"/>
                        <a:pt x="1360545" y="564895"/>
                        <a:pt x="1368456" y="562869"/>
                      </a:cubicBezTo>
                      <a:cubicBezTo>
                        <a:pt x="1369586" y="561855"/>
                        <a:pt x="1371846" y="555775"/>
                        <a:pt x="1374106" y="555775"/>
                      </a:cubicBezTo>
                      <a:cubicBezTo>
                        <a:pt x="1377497" y="554762"/>
                        <a:pt x="1379757" y="556788"/>
                        <a:pt x="1382017" y="555775"/>
                      </a:cubicBezTo>
                      <a:lnTo>
                        <a:pt x="1374106" y="565909"/>
                      </a:lnTo>
                      <a:cubicBezTo>
                        <a:pt x="1369586" y="562869"/>
                        <a:pt x="1369586" y="577056"/>
                        <a:pt x="1371846" y="573002"/>
                      </a:cubicBezTo>
                      <a:cubicBezTo>
                        <a:pt x="1375237" y="576042"/>
                        <a:pt x="1377497" y="579082"/>
                        <a:pt x="1379757" y="583136"/>
                      </a:cubicBezTo>
                      <a:cubicBezTo>
                        <a:pt x="1385408" y="594283"/>
                        <a:pt x="1353764" y="579082"/>
                        <a:pt x="1344723" y="581109"/>
                      </a:cubicBezTo>
                      <a:cubicBezTo>
                        <a:pt x="1343593" y="581109"/>
                        <a:pt x="1340203" y="587189"/>
                        <a:pt x="1339073" y="588203"/>
                      </a:cubicBezTo>
                      <a:cubicBezTo>
                        <a:pt x="1331162" y="593269"/>
                        <a:pt x="1323251" y="594283"/>
                        <a:pt x="1314210" y="598336"/>
                      </a:cubicBezTo>
                      <a:cubicBezTo>
                        <a:pt x="1314210" y="607456"/>
                        <a:pt x="1318731" y="626710"/>
                        <a:pt x="1316470" y="632790"/>
                      </a:cubicBezTo>
                      <a:cubicBezTo>
                        <a:pt x="1315340" y="634817"/>
                        <a:pt x="1305169" y="642924"/>
                        <a:pt x="1302909" y="644951"/>
                      </a:cubicBezTo>
                      <a:cubicBezTo>
                        <a:pt x="1306299" y="650017"/>
                        <a:pt x="1302909" y="654071"/>
                        <a:pt x="1308559" y="657111"/>
                      </a:cubicBezTo>
                      <a:cubicBezTo>
                        <a:pt x="1309690" y="657111"/>
                        <a:pt x="1319861" y="659138"/>
                        <a:pt x="1316470" y="657111"/>
                      </a:cubicBezTo>
                      <a:cubicBezTo>
                        <a:pt x="1323251" y="654071"/>
                        <a:pt x="1319861" y="665218"/>
                        <a:pt x="1316470" y="667244"/>
                      </a:cubicBezTo>
                      <a:cubicBezTo>
                        <a:pt x="1315340" y="668258"/>
                        <a:pt x="1300649" y="669271"/>
                        <a:pt x="1300649" y="669271"/>
                      </a:cubicBezTo>
                      <a:cubicBezTo>
                        <a:pt x="1298388" y="670285"/>
                        <a:pt x="1299518" y="679405"/>
                        <a:pt x="1298388" y="681431"/>
                      </a:cubicBezTo>
                      <a:cubicBezTo>
                        <a:pt x="1306299" y="681431"/>
                        <a:pt x="1308559" y="685485"/>
                        <a:pt x="1317600" y="683458"/>
                      </a:cubicBezTo>
                      <a:cubicBezTo>
                        <a:pt x="1318731" y="683458"/>
                        <a:pt x="1324381" y="676365"/>
                        <a:pt x="1325511" y="676365"/>
                      </a:cubicBezTo>
                      <a:cubicBezTo>
                        <a:pt x="1332292" y="675351"/>
                        <a:pt x="1331162" y="681431"/>
                        <a:pt x="1339073" y="678391"/>
                      </a:cubicBezTo>
                      <a:lnTo>
                        <a:pt x="1339073" y="673324"/>
                      </a:lnTo>
                      <a:cubicBezTo>
                        <a:pt x="1340203" y="669271"/>
                        <a:pt x="1351504" y="669271"/>
                        <a:pt x="1352634" y="666231"/>
                      </a:cubicBezTo>
                      <a:cubicBezTo>
                        <a:pt x="1352634" y="665218"/>
                        <a:pt x="1351504" y="659138"/>
                        <a:pt x="1352634" y="659138"/>
                      </a:cubicBezTo>
                      <a:cubicBezTo>
                        <a:pt x="1359415" y="655084"/>
                        <a:pt x="1366196" y="656097"/>
                        <a:pt x="1374106" y="654071"/>
                      </a:cubicBezTo>
                      <a:cubicBezTo>
                        <a:pt x="1372976" y="647991"/>
                        <a:pt x="1369586" y="643937"/>
                        <a:pt x="1374106" y="641911"/>
                      </a:cubicBezTo>
                      <a:cubicBezTo>
                        <a:pt x="1376367" y="639884"/>
                        <a:pt x="1383147" y="645964"/>
                        <a:pt x="1385408" y="646977"/>
                      </a:cubicBezTo>
                      <a:cubicBezTo>
                        <a:pt x="1385408" y="644951"/>
                        <a:pt x="1384277" y="638870"/>
                        <a:pt x="1385408" y="636844"/>
                      </a:cubicBezTo>
                      <a:cubicBezTo>
                        <a:pt x="1386538" y="634817"/>
                        <a:pt x="1392188" y="632790"/>
                        <a:pt x="1393318" y="629750"/>
                      </a:cubicBezTo>
                      <a:cubicBezTo>
                        <a:pt x="1397839" y="629750"/>
                        <a:pt x="1395579" y="632790"/>
                        <a:pt x="1395579" y="636844"/>
                      </a:cubicBezTo>
                      <a:cubicBezTo>
                        <a:pt x="1400099" y="635830"/>
                        <a:pt x="1402359" y="631777"/>
                        <a:pt x="1403490" y="631777"/>
                      </a:cubicBezTo>
                      <a:cubicBezTo>
                        <a:pt x="1405750" y="631777"/>
                        <a:pt x="1424962" y="635830"/>
                        <a:pt x="1430612" y="636844"/>
                      </a:cubicBezTo>
                      <a:cubicBezTo>
                        <a:pt x="1431743" y="633804"/>
                        <a:pt x="1430612" y="625697"/>
                        <a:pt x="1432873" y="624683"/>
                      </a:cubicBezTo>
                      <a:cubicBezTo>
                        <a:pt x="1435133" y="623670"/>
                        <a:pt x="1440783" y="626710"/>
                        <a:pt x="1444174" y="624683"/>
                      </a:cubicBezTo>
                      <a:cubicBezTo>
                        <a:pt x="1441914" y="612523"/>
                        <a:pt x="1440783" y="615563"/>
                        <a:pt x="1444174" y="602389"/>
                      </a:cubicBezTo>
                      <a:cubicBezTo>
                        <a:pt x="1440783" y="601376"/>
                        <a:pt x="1439653" y="606443"/>
                        <a:pt x="1432873" y="604416"/>
                      </a:cubicBezTo>
                      <a:lnTo>
                        <a:pt x="1432873" y="599350"/>
                      </a:lnTo>
                      <a:cubicBezTo>
                        <a:pt x="1431743" y="598336"/>
                        <a:pt x="1426092" y="599350"/>
                        <a:pt x="1424962" y="599350"/>
                      </a:cubicBezTo>
                      <a:cubicBezTo>
                        <a:pt x="1424962" y="594283"/>
                        <a:pt x="1422702" y="586176"/>
                        <a:pt x="1422702" y="577056"/>
                      </a:cubicBezTo>
                      <a:cubicBezTo>
                        <a:pt x="1441914" y="581109"/>
                        <a:pt x="1443044" y="577056"/>
                        <a:pt x="1461126" y="584149"/>
                      </a:cubicBezTo>
                      <a:cubicBezTo>
                        <a:pt x="1461126" y="584149"/>
                        <a:pt x="1461126" y="577056"/>
                        <a:pt x="1461126" y="577056"/>
                      </a:cubicBezTo>
                      <a:cubicBezTo>
                        <a:pt x="1465646" y="577056"/>
                        <a:pt x="1463386" y="580096"/>
                        <a:pt x="1466776" y="582122"/>
                      </a:cubicBezTo>
                      <a:cubicBezTo>
                        <a:pt x="1472427" y="580096"/>
                        <a:pt x="1475817" y="582122"/>
                        <a:pt x="1480338" y="580096"/>
                      </a:cubicBezTo>
                      <a:cubicBezTo>
                        <a:pt x="1482598" y="578069"/>
                        <a:pt x="1482598" y="574016"/>
                        <a:pt x="1485988" y="573002"/>
                      </a:cubicBezTo>
                      <a:cubicBezTo>
                        <a:pt x="1485988" y="573002"/>
                        <a:pt x="1490509" y="581109"/>
                        <a:pt x="1488249" y="580096"/>
                      </a:cubicBezTo>
                      <a:cubicBezTo>
                        <a:pt x="1483728" y="578069"/>
                        <a:pt x="1485988" y="583136"/>
                        <a:pt x="1485988" y="585162"/>
                      </a:cubicBezTo>
                      <a:cubicBezTo>
                        <a:pt x="1491639" y="586176"/>
                        <a:pt x="1496159" y="588203"/>
                        <a:pt x="1499550" y="590229"/>
                      </a:cubicBezTo>
                      <a:cubicBezTo>
                        <a:pt x="1493899" y="592256"/>
                        <a:pt x="1489379" y="594283"/>
                        <a:pt x="1485988" y="595296"/>
                      </a:cubicBezTo>
                      <a:cubicBezTo>
                        <a:pt x="1491639" y="596309"/>
                        <a:pt x="1498420" y="593269"/>
                        <a:pt x="1505200" y="595296"/>
                      </a:cubicBezTo>
                      <a:lnTo>
                        <a:pt x="1505200" y="600363"/>
                      </a:lnTo>
                      <a:cubicBezTo>
                        <a:pt x="1510851" y="601376"/>
                        <a:pt x="1511981" y="601376"/>
                        <a:pt x="1516501" y="602389"/>
                      </a:cubicBezTo>
                      <a:cubicBezTo>
                        <a:pt x="1515371" y="604416"/>
                        <a:pt x="1514241" y="612523"/>
                        <a:pt x="1514241" y="612523"/>
                      </a:cubicBezTo>
                      <a:lnTo>
                        <a:pt x="1511981" y="612523"/>
                      </a:lnTo>
                      <a:cubicBezTo>
                        <a:pt x="1513111" y="614550"/>
                        <a:pt x="1515371" y="618603"/>
                        <a:pt x="1514241" y="619617"/>
                      </a:cubicBezTo>
                      <a:cubicBezTo>
                        <a:pt x="1524412" y="617590"/>
                        <a:pt x="1527803" y="617590"/>
                        <a:pt x="1531193" y="616577"/>
                      </a:cubicBezTo>
                      <a:cubicBezTo>
                        <a:pt x="1533453" y="615563"/>
                        <a:pt x="1536844" y="614550"/>
                        <a:pt x="1541364" y="612523"/>
                      </a:cubicBezTo>
                      <a:cubicBezTo>
                        <a:pt x="1542494" y="614550"/>
                        <a:pt x="1541364" y="619617"/>
                        <a:pt x="1541364" y="622657"/>
                      </a:cubicBezTo>
                      <a:cubicBezTo>
                        <a:pt x="1543624" y="623670"/>
                        <a:pt x="1548145" y="629750"/>
                        <a:pt x="1549275" y="629750"/>
                      </a:cubicBezTo>
                      <a:cubicBezTo>
                        <a:pt x="1553795" y="630764"/>
                        <a:pt x="1558316" y="628737"/>
                        <a:pt x="1562836" y="629750"/>
                      </a:cubicBezTo>
                      <a:cubicBezTo>
                        <a:pt x="1566227" y="630764"/>
                        <a:pt x="1570747" y="637857"/>
                        <a:pt x="1574137" y="639884"/>
                      </a:cubicBezTo>
                      <a:cubicBezTo>
                        <a:pt x="1577528" y="640897"/>
                        <a:pt x="1605781" y="646977"/>
                        <a:pt x="1606911" y="646977"/>
                      </a:cubicBezTo>
                      <a:cubicBezTo>
                        <a:pt x="1614822" y="645964"/>
                        <a:pt x="1624993" y="635830"/>
                        <a:pt x="1636294" y="636844"/>
                      </a:cubicBezTo>
                      <a:cubicBezTo>
                        <a:pt x="1641945" y="636844"/>
                        <a:pt x="1649856" y="644951"/>
                        <a:pt x="1655506" y="646977"/>
                      </a:cubicBezTo>
                      <a:cubicBezTo>
                        <a:pt x="1662287" y="647991"/>
                        <a:pt x="1661157" y="642924"/>
                        <a:pt x="1669068" y="644951"/>
                      </a:cubicBezTo>
                      <a:cubicBezTo>
                        <a:pt x="1670198" y="644951"/>
                        <a:pt x="1673588" y="652044"/>
                        <a:pt x="1674718" y="652044"/>
                      </a:cubicBezTo>
                      <a:cubicBezTo>
                        <a:pt x="1681499" y="655084"/>
                        <a:pt x="1715402" y="663191"/>
                        <a:pt x="1728964" y="659138"/>
                      </a:cubicBezTo>
                      <a:cubicBezTo>
                        <a:pt x="1730094" y="659138"/>
                        <a:pt x="1738005" y="651031"/>
                        <a:pt x="1740265" y="649004"/>
                      </a:cubicBezTo>
                      <a:cubicBezTo>
                        <a:pt x="1740265" y="655084"/>
                        <a:pt x="1741395" y="661164"/>
                        <a:pt x="1740265" y="666231"/>
                      </a:cubicBezTo>
                      <a:cubicBezTo>
                        <a:pt x="1739135" y="668258"/>
                        <a:pt x="1733484" y="670285"/>
                        <a:pt x="1732354" y="673324"/>
                      </a:cubicBezTo>
                      <a:cubicBezTo>
                        <a:pt x="1734615" y="673324"/>
                        <a:pt x="1740265" y="678391"/>
                        <a:pt x="1740265" y="678391"/>
                      </a:cubicBezTo>
                      <a:cubicBezTo>
                        <a:pt x="1745916" y="679405"/>
                        <a:pt x="1752696" y="675351"/>
                        <a:pt x="1753827" y="676365"/>
                      </a:cubicBezTo>
                      <a:cubicBezTo>
                        <a:pt x="1756087" y="677378"/>
                        <a:pt x="1757217" y="684471"/>
                        <a:pt x="1759477" y="686498"/>
                      </a:cubicBezTo>
                      <a:cubicBezTo>
                        <a:pt x="1762868" y="688525"/>
                        <a:pt x="1767388" y="687512"/>
                        <a:pt x="1770778" y="688525"/>
                      </a:cubicBezTo>
                      <a:cubicBezTo>
                        <a:pt x="1771908" y="683458"/>
                        <a:pt x="1771908" y="688525"/>
                        <a:pt x="1776429" y="686498"/>
                      </a:cubicBezTo>
                      <a:cubicBezTo>
                        <a:pt x="1779819" y="684471"/>
                        <a:pt x="1774169" y="681431"/>
                        <a:pt x="1774169" y="681431"/>
                      </a:cubicBezTo>
                      <a:lnTo>
                        <a:pt x="1774169" y="669271"/>
                      </a:lnTo>
                      <a:cubicBezTo>
                        <a:pt x="1778689" y="669271"/>
                        <a:pt x="1785470" y="670285"/>
                        <a:pt x="1789990" y="669271"/>
                      </a:cubicBezTo>
                      <a:cubicBezTo>
                        <a:pt x="1786600" y="677378"/>
                        <a:pt x="1784340" y="684471"/>
                        <a:pt x="1782080" y="691565"/>
                      </a:cubicBezTo>
                      <a:cubicBezTo>
                        <a:pt x="1785470" y="694605"/>
                        <a:pt x="1811463" y="722979"/>
                        <a:pt x="1811463" y="722979"/>
                      </a:cubicBezTo>
                      <a:cubicBezTo>
                        <a:pt x="1821634" y="726019"/>
                        <a:pt x="1827284" y="719939"/>
                        <a:pt x="1832935" y="722979"/>
                      </a:cubicBezTo>
                      <a:cubicBezTo>
                        <a:pt x="1834065" y="723992"/>
                        <a:pt x="1831805" y="732099"/>
                        <a:pt x="1832935" y="733113"/>
                      </a:cubicBezTo>
                      <a:cubicBezTo>
                        <a:pt x="1834065" y="734126"/>
                        <a:pt x="1838586" y="732099"/>
                        <a:pt x="1840846" y="733113"/>
                      </a:cubicBezTo>
                      <a:lnTo>
                        <a:pt x="1854407" y="747300"/>
                      </a:lnTo>
                      <a:cubicBezTo>
                        <a:pt x="1855537" y="753380"/>
                        <a:pt x="1848757" y="755406"/>
                        <a:pt x="1852147" y="759460"/>
                      </a:cubicBezTo>
                      <a:cubicBezTo>
                        <a:pt x="1855537" y="764527"/>
                        <a:pt x="1865708" y="762500"/>
                        <a:pt x="1871359" y="766553"/>
                      </a:cubicBezTo>
                      <a:cubicBezTo>
                        <a:pt x="1873619" y="768580"/>
                        <a:pt x="1874749" y="776687"/>
                        <a:pt x="1877010" y="778714"/>
                      </a:cubicBezTo>
                      <a:cubicBezTo>
                        <a:pt x="1878140" y="777700"/>
                        <a:pt x="1883790" y="778714"/>
                        <a:pt x="1884920" y="776687"/>
                      </a:cubicBezTo>
                      <a:cubicBezTo>
                        <a:pt x="1886051" y="774660"/>
                        <a:pt x="1884920" y="769593"/>
                        <a:pt x="1884920" y="766553"/>
                      </a:cubicBezTo>
                      <a:cubicBezTo>
                        <a:pt x="1889441" y="769593"/>
                        <a:pt x="1897352" y="777700"/>
                        <a:pt x="1900742" y="778714"/>
                      </a:cubicBezTo>
                      <a:cubicBezTo>
                        <a:pt x="1904133" y="779727"/>
                        <a:pt x="1908653" y="777700"/>
                        <a:pt x="1912043" y="778714"/>
                      </a:cubicBezTo>
                      <a:cubicBezTo>
                        <a:pt x="1910913" y="772633"/>
                        <a:pt x="1910913" y="766553"/>
                        <a:pt x="1909783" y="759460"/>
                      </a:cubicBezTo>
                      <a:cubicBezTo>
                        <a:pt x="1907523" y="759460"/>
                        <a:pt x="1900742" y="760473"/>
                        <a:pt x="1898482" y="759460"/>
                      </a:cubicBezTo>
                      <a:cubicBezTo>
                        <a:pt x="1923345" y="747300"/>
                        <a:pt x="1872489" y="741219"/>
                        <a:pt x="1855537" y="740206"/>
                      </a:cubicBezTo>
                      <a:cubicBezTo>
                        <a:pt x="1854407" y="738179"/>
                        <a:pt x="1854407" y="731086"/>
                        <a:pt x="1853277" y="730073"/>
                      </a:cubicBezTo>
                      <a:cubicBezTo>
                        <a:pt x="1857798" y="731086"/>
                        <a:pt x="1860058" y="734126"/>
                        <a:pt x="1861188" y="735139"/>
                      </a:cubicBezTo>
                      <a:cubicBezTo>
                        <a:pt x="1866839" y="736153"/>
                        <a:pt x="1884920" y="725006"/>
                        <a:pt x="1890571" y="722979"/>
                      </a:cubicBezTo>
                      <a:cubicBezTo>
                        <a:pt x="1892831" y="726019"/>
                        <a:pt x="1891701" y="728046"/>
                        <a:pt x="1892831" y="733113"/>
                      </a:cubicBezTo>
                      <a:lnTo>
                        <a:pt x="1898482" y="733113"/>
                      </a:lnTo>
                      <a:cubicBezTo>
                        <a:pt x="1896222" y="719939"/>
                        <a:pt x="1896222" y="711832"/>
                        <a:pt x="1898482" y="698658"/>
                      </a:cubicBezTo>
                      <a:cubicBezTo>
                        <a:pt x="1898482" y="699672"/>
                        <a:pt x="1903002" y="700685"/>
                        <a:pt x="1904133" y="700685"/>
                      </a:cubicBezTo>
                      <a:cubicBezTo>
                        <a:pt x="1909783" y="713859"/>
                        <a:pt x="1904133" y="727032"/>
                        <a:pt x="1919954" y="730073"/>
                      </a:cubicBezTo>
                      <a:cubicBezTo>
                        <a:pt x="1924475" y="731086"/>
                        <a:pt x="1932386" y="727032"/>
                        <a:pt x="1933516" y="728046"/>
                      </a:cubicBezTo>
                      <a:cubicBezTo>
                        <a:pt x="1935776" y="729059"/>
                        <a:pt x="1938036" y="740206"/>
                        <a:pt x="1939166" y="742233"/>
                      </a:cubicBezTo>
                      <a:cubicBezTo>
                        <a:pt x="1943687" y="741219"/>
                        <a:pt x="1945947" y="738179"/>
                        <a:pt x="1950467" y="740206"/>
                      </a:cubicBezTo>
                      <a:cubicBezTo>
                        <a:pt x="1949337" y="745273"/>
                        <a:pt x="1945947" y="750340"/>
                        <a:pt x="1948207" y="754393"/>
                      </a:cubicBezTo>
                      <a:lnTo>
                        <a:pt x="1961769" y="764527"/>
                      </a:lnTo>
                      <a:cubicBezTo>
                        <a:pt x="1962899" y="767567"/>
                        <a:pt x="1959508" y="784794"/>
                        <a:pt x="1964029" y="790874"/>
                      </a:cubicBezTo>
                      <a:cubicBezTo>
                        <a:pt x="1964029" y="791887"/>
                        <a:pt x="1979851" y="795941"/>
                        <a:pt x="1979851" y="795941"/>
                      </a:cubicBezTo>
                      <a:cubicBezTo>
                        <a:pt x="1982111" y="798981"/>
                        <a:pt x="1977590" y="806074"/>
                        <a:pt x="1977590" y="810128"/>
                      </a:cubicBezTo>
                      <a:cubicBezTo>
                        <a:pt x="1978720" y="811141"/>
                        <a:pt x="1983241" y="812154"/>
                        <a:pt x="1983241" y="815194"/>
                      </a:cubicBezTo>
                      <a:lnTo>
                        <a:pt x="1975330" y="817221"/>
                      </a:lnTo>
                      <a:cubicBezTo>
                        <a:pt x="1975330" y="818235"/>
                        <a:pt x="1976460" y="824315"/>
                        <a:pt x="1975330" y="824315"/>
                      </a:cubicBezTo>
                      <a:lnTo>
                        <a:pt x="1977590" y="824315"/>
                      </a:lnTo>
                      <a:lnTo>
                        <a:pt x="1977590" y="829382"/>
                      </a:lnTo>
                      <a:cubicBezTo>
                        <a:pt x="1978720" y="828368"/>
                        <a:pt x="1984371" y="827355"/>
                        <a:pt x="1985501" y="827355"/>
                      </a:cubicBezTo>
                      <a:cubicBezTo>
                        <a:pt x="1985501" y="826341"/>
                        <a:pt x="1986631" y="816208"/>
                        <a:pt x="1983241" y="820261"/>
                      </a:cubicBezTo>
                      <a:lnTo>
                        <a:pt x="1983241" y="815194"/>
                      </a:lnTo>
                      <a:cubicBezTo>
                        <a:pt x="1984371" y="816208"/>
                        <a:pt x="1988892" y="814181"/>
                        <a:pt x="1991152" y="815194"/>
                      </a:cubicBezTo>
                      <a:cubicBezTo>
                        <a:pt x="1991152" y="815194"/>
                        <a:pt x="2006973" y="831408"/>
                        <a:pt x="2006973" y="832422"/>
                      </a:cubicBezTo>
                      <a:cubicBezTo>
                        <a:pt x="2004713" y="832422"/>
                        <a:pt x="2000193" y="833435"/>
                        <a:pt x="1999063" y="832422"/>
                      </a:cubicBezTo>
                      <a:lnTo>
                        <a:pt x="1999063" y="837488"/>
                      </a:lnTo>
                      <a:cubicBezTo>
                        <a:pt x="2000193" y="837488"/>
                        <a:pt x="2004713" y="839515"/>
                        <a:pt x="2006973" y="839515"/>
                      </a:cubicBezTo>
                      <a:cubicBezTo>
                        <a:pt x="2003583" y="837488"/>
                        <a:pt x="2009234" y="832422"/>
                        <a:pt x="2009234" y="832422"/>
                      </a:cubicBezTo>
                      <a:cubicBezTo>
                        <a:pt x="2010364" y="835462"/>
                        <a:pt x="2012624" y="835462"/>
                        <a:pt x="2014884" y="837488"/>
                      </a:cubicBezTo>
                      <a:cubicBezTo>
                        <a:pt x="2012624" y="851675"/>
                        <a:pt x="2013754" y="856742"/>
                        <a:pt x="2009234" y="868902"/>
                      </a:cubicBezTo>
                      <a:cubicBezTo>
                        <a:pt x="2012624" y="866876"/>
                        <a:pt x="2019405" y="868902"/>
                        <a:pt x="2022795" y="866876"/>
                      </a:cubicBezTo>
                      <a:cubicBezTo>
                        <a:pt x="2023925" y="865862"/>
                        <a:pt x="2022795" y="856742"/>
                        <a:pt x="2022795" y="854715"/>
                      </a:cubicBezTo>
                      <a:cubicBezTo>
                        <a:pt x="2026185" y="853702"/>
                        <a:pt x="2032966" y="854715"/>
                        <a:pt x="2036357" y="852689"/>
                      </a:cubicBezTo>
                      <a:cubicBezTo>
                        <a:pt x="2035226" y="853702"/>
                        <a:pt x="2038617" y="856742"/>
                        <a:pt x="2038617" y="857756"/>
                      </a:cubicBezTo>
                      <a:cubicBezTo>
                        <a:pt x="2038617" y="857756"/>
                        <a:pt x="2030706" y="857756"/>
                        <a:pt x="2030706" y="857756"/>
                      </a:cubicBezTo>
                      <a:cubicBezTo>
                        <a:pt x="2029576" y="860795"/>
                        <a:pt x="2026185" y="874983"/>
                        <a:pt x="2028446" y="871942"/>
                      </a:cubicBezTo>
                      <a:cubicBezTo>
                        <a:pt x="2030706" y="879036"/>
                        <a:pt x="2030706" y="881063"/>
                        <a:pt x="2034096" y="889169"/>
                      </a:cubicBezTo>
                      <a:cubicBezTo>
                        <a:pt x="2054438" y="885116"/>
                        <a:pt x="2048788" y="891196"/>
                        <a:pt x="2047658" y="869916"/>
                      </a:cubicBezTo>
                      <a:cubicBezTo>
                        <a:pt x="2048788" y="870929"/>
                        <a:pt x="2052178" y="870929"/>
                        <a:pt x="2053308" y="871942"/>
                      </a:cubicBezTo>
                      <a:cubicBezTo>
                        <a:pt x="2056699" y="879036"/>
                        <a:pt x="2055569" y="883089"/>
                        <a:pt x="2058959" y="889169"/>
                      </a:cubicBezTo>
                      <a:cubicBezTo>
                        <a:pt x="2054438" y="891196"/>
                        <a:pt x="2056699" y="891196"/>
                        <a:pt x="2056699" y="896263"/>
                      </a:cubicBezTo>
                      <a:cubicBezTo>
                        <a:pt x="2052178" y="897276"/>
                        <a:pt x="2038617" y="894236"/>
                        <a:pt x="2045398" y="898290"/>
                      </a:cubicBezTo>
                      <a:cubicBezTo>
                        <a:pt x="2048788" y="900316"/>
                        <a:pt x="2042007" y="903357"/>
                        <a:pt x="2051048" y="903357"/>
                      </a:cubicBezTo>
                      <a:cubicBezTo>
                        <a:pt x="2045398" y="905383"/>
                        <a:pt x="2056699" y="905383"/>
                        <a:pt x="2056699" y="905383"/>
                      </a:cubicBezTo>
                      <a:cubicBezTo>
                        <a:pt x="2055569" y="908423"/>
                        <a:pt x="2053308" y="908423"/>
                        <a:pt x="2051048" y="910450"/>
                      </a:cubicBezTo>
                      <a:lnTo>
                        <a:pt x="2053308" y="917544"/>
                      </a:lnTo>
                      <a:cubicBezTo>
                        <a:pt x="2060089" y="916530"/>
                        <a:pt x="2061219" y="918557"/>
                        <a:pt x="2066870" y="919570"/>
                      </a:cubicBezTo>
                      <a:cubicBezTo>
                        <a:pt x="2071390" y="913490"/>
                        <a:pt x="2073650" y="905383"/>
                        <a:pt x="2080431" y="902343"/>
                      </a:cubicBezTo>
                      <a:cubicBezTo>
                        <a:pt x="2080431" y="902343"/>
                        <a:pt x="2081561" y="900316"/>
                        <a:pt x="2082691" y="899303"/>
                      </a:cubicBezTo>
                      <a:cubicBezTo>
                        <a:pt x="2082691" y="899303"/>
                        <a:pt x="2082691" y="897276"/>
                        <a:pt x="2082691" y="897276"/>
                      </a:cubicBezTo>
                      <a:cubicBezTo>
                        <a:pt x="2086082" y="894236"/>
                        <a:pt x="2090602" y="889169"/>
                        <a:pt x="2091732" y="886129"/>
                      </a:cubicBezTo>
                      <a:cubicBezTo>
                        <a:pt x="2095123" y="881063"/>
                        <a:pt x="2095123" y="878023"/>
                        <a:pt x="2091732" y="871942"/>
                      </a:cubicBezTo>
                      <a:cubicBezTo>
                        <a:pt x="2088342" y="865862"/>
                        <a:pt x="2103034" y="857756"/>
                        <a:pt x="2096253" y="856742"/>
                      </a:cubicBezTo>
                      <a:cubicBezTo>
                        <a:pt x="2089472" y="855729"/>
                        <a:pt x="2095123" y="841542"/>
                        <a:pt x="2086082" y="836475"/>
                      </a:cubicBezTo>
                      <a:cubicBezTo>
                        <a:pt x="2077041" y="831408"/>
                        <a:pt x="2078171" y="838502"/>
                        <a:pt x="2073650" y="826341"/>
                      </a:cubicBezTo>
                      <a:cubicBezTo>
                        <a:pt x="2069130" y="814181"/>
                        <a:pt x="2063479" y="808101"/>
                        <a:pt x="2063479" y="797967"/>
                      </a:cubicBezTo>
                      <a:cubicBezTo>
                        <a:pt x="2063479" y="787834"/>
                        <a:pt x="2053308" y="804048"/>
                        <a:pt x="2039747" y="797967"/>
                      </a:cubicBezTo>
                      <a:cubicBezTo>
                        <a:pt x="2025055" y="791887"/>
                        <a:pt x="2028446" y="778714"/>
                        <a:pt x="2013754" y="772633"/>
                      </a:cubicBezTo>
                      <a:cubicBezTo>
                        <a:pt x="1999063" y="766553"/>
                        <a:pt x="1999063" y="751353"/>
                        <a:pt x="1991152" y="739193"/>
                      </a:cubicBezTo>
                      <a:cubicBezTo>
                        <a:pt x="1982111" y="728046"/>
                        <a:pt x="1956118" y="704739"/>
                        <a:pt x="1948207" y="695618"/>
                      </a:cubicBezTo>
                      <a:cubicBezTo>
                        <a:pt x="1940296" y="686498"/>
                        <a:pt x="1931255" y="671298"/>
                        <a:pt x="1916564" y="670285"/>
                      </a:cubicBezTo>
                      <a:cubicBezTo>
                        <a:pt x="1901872" y="669271"/>
                        <a:pt x="1901872" y="661164"/>
                        <a:pt x="1901872" y="652044"/>
                      </a:cubicBezTo>
                      <a:cubicBezTo>
                        <a:pt x="1901872" y="642924"/>
                        <a:pt x="1883790" y="643937"/>
                        <a:pt x="1878140" y="633804"/>
                      </a:cubicBezTo>
                      <a:cubicBezTo>
                        <a:pt x="1872489" y="623670"/>
                        <a:pt x="1856667" y="633804"/>
                        <a:pt x="1846496" y="633804"/>
                      </a:cubicBezTo>
                      <a:cubicBezTo>
                        <a:pt x="1836325" y="633804"/>
                        <a:pt x="1851017" y="642924"/>
                        <a:pt x="1846496" y="653057"/>
                      </a:cubicBezTo>
                      <a:cubicBezTo>
                        <a:pt x="1841976" y="663191"/>
                        <a:pt x="1828414" y="661164"/>
                        <a:pt x="1814853" y="668258"/>
                      </a:cubicBezTo>
                      <a:cubicBezTo>
                        <a:pt x="1795641" y="684471"/>
                        <a:pt x="1808072" y="673324"/>
                        <a:pt x="1801292" y="660151"/>
                      </a:cubicBezTo>
                      <a:cubicBezTo>
                        <a:pt x="1794511" y="646977"/>
                        <a:pt x="1767388" y="638870"/>
                        <a:pt x="1760607" y="627723"/>
                      </a:cubicBezTo>
                      <a:cubicBezTo>
                        <a:pt x="1753827" y="616577"/>
                        <a:pt x="1753827" y="616577"/>
                        <a:pt x="1749306" y="606443"/>
                      </a:cubicBezTo>
                      <a:cubicBezTo>
                        <a:pt x="1744786" y="596309"/>
                        <a:pt x="1756087" y="571989"/>
                        <a:pt x="1732354" y="595296"/>
                      </a:cubicBezTo>
                      <a:cubicBezTo>
                        <a:pt x="1727834" y="600363"/>
                        <a:pt x="1715402" y="591243"/>
                        <a:pt x="1709752" y="587189"/>
                      </a:cubicBezTo>
                      <a:cubicBezTo>
                        <a:pt x="1704101" y="583136"/>
                        <a:pt x="1680369" y="595296"/>
                        <a:pt x="1680369" y="595296"/>
                      </a:cubicBezTo>
                      <a:lnTo>
                        <a:pt x="1660027" y="88618"/>
                      </a:lnTo>
                      <a:lnTo>
                        <a:pt x="1658896" y="8760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62" name="Freeform: Shape 461">
                  <a:extLst>
                    <a:ext uri="{FF2B5EF4-FFF2-40B4-BE49-F238E27FC236}">
                      <a16:creationId xmlns:a16="http://schemas.microsoft.com/office/drawing/2014/main" id="{107C4294-A2C6-434F-AE1F-6AABAD5D350E}"/>
                    </a:ext>
                  </a:extLst>
                </p:cNvPr>
                <p:cNvSpPr/>
                <p:nvPr/>
              </p:nvSpPr>
              <p:spPr>
                <a:xfrm>
                  <a:off x="8025830" y="2741629"/>
                  <a:ext cx="485951" cy="344541"/>
                </a:xfrm>
                <a:custGeom>
                  <a:avLst/>
                  <a:gdLst>
                    <a:gd name="connsiteX0" fmla="*/ 482442 w 485951"/>
                    <a:gd name="connsiteY0" fmla="*/ 39414 h 344541"/>
                    <a:gd name="connsiteX1" fmla="*/ 482442 w 485951"/>
                    <a:gd name="connsiteY1" fmla="*/ 52588 h 344541"/>
                    <a:gd name="connsiteX2" fmla="*/ 473401 w 485951"/>
                    <a:gd name="connsiteY2" fmla="*/ 58668 h 344541"/>
                    <a:gd name="connsiteX3" fmla="*/ 462100 w 485951"/>
                    <a:gd name="connsiteY3" fmla="*/ 59681 h 344541"/>
                    <a:gd name="connsiteX4" fmla="*/ 439497 w 485951"/>
                    <a:gd name="connsiteY4" fmla="*/ 58668 h 344541"/>
                    <a:gd name="connsiteX5" fmla="*/ 415765 w 485951"/>
                    <a:gd name="connsiteY5" fmla="*/ 65761 h 344541"/>
                    <a:gd name="connsiteX6" fmla="*/ 394293 w 485951"/>
                    <a:gd name="connsiteY6" fmla="*/ 70828 h 344541"/>
                    <a:gd name="connsiteX7" fmla="*/ 354738 w 485951"/>
                    <a:gd name="connsiteY7" fmla="*/ 93122 h 344541"/>
                    <a:gd name="connsiteX8" fmla="*/ 355868 w 485951"/>
                    <a:gd name="connsiteY8" fmla="*/ 110349 h 344541"/>
                    <a:gd name="connsiteX9" fmla="*/ 342307 w 485951"/>
                    <a:gd name="connsiteY9" fmla="*/ 119469 h 344541"/>
                    <a:gd name="connsiteX10" fmla="*/ 350218 w 485951"/>
                    <a:gd name="connsiteY10" fmla="*/ 130616 h 344541"/>
                    <a:gd name="connsiteX11" fmla="*/ 344567 w 485951"/>
                    <a:gd name="connsiteY11" fmla="*/ 150884 h 344541"/>
                    <a:gd name="connsiteX12" fmla="*/ 326485 w 485951"/>
                    <a:gd name="connsiteY12" fmla="*/ 153923 h 344541"/>
                    <a:gd name="connsiteX13" fmla="*/ 312924 w 485951"/>
                    <a:gd name="connsiteY13" fmla="*/ 150884 h 344541"/>
                    <a:gd name="connsiteX14" fmla="*/ 305013 w 485951"/>
                    <a:gd name="connsiteY14" fmla="*/ 164057 h 344541"/>
                    <a:gd name="connsiteX15" fmla="*/ 318575 w 485951"/>
                    <a:gd name="connsiteY15" fmla="*/ 175204 h 344541"/>
                    <a:gd name="connsiteX16" fmla="*/ 316314 w 485951"/>
                    <a:gd name="connsiteY16" fmla="*/ 192431 h 344541"/>
                    <a:gd name="connsiteX17" fmla="*/ 301623 w 485951"/>
                    <a:gd name="connsiteY17" fmla="*/ 204591 h 344541"/>
                    <a:gd name="connsiteX18" fmla="*/ 302753 w 485951"/>
                    <a:gd name="connsiteY18" fmla="*/ 216752 h 344541"/>
                    <a:gd name="connsiteX19" fmla="*/ 298233 w 485951"/>
                    <a:gd name="connsiteY19" fmla="*/ 230939 h 344541"/>
                    <a:gd name="connsiteX20" fmla="*/ 285801 w 485951"/>
                    <a:gd name="connsiteY20" fmla="*/ 232965 h 344541"/>
                    <a:gd name="connsiteX21" fmla="*/ 269980 w 485951"/>
                    <a:gd name="connsiteY21" fmla="*/ 229925 h 344541"/>
                    <a:gd name="connsiteX22" fmla="*/ 263199 w 485951"/>
                    <a:gd name="connsiteY22" fmla="*/ 221819 h 344541"/>
                    <a:gd name="connsiteX23" fmla="*/ 254158 w 485951"/>
                    <a:gd name="connsiteY23" fmla="*/ 231952 h 344541"/>
                    <a:gd name="connsiteX24" fmla="*/ 236076 w 485951"/>
                    <a:gd name="connsiteY24" fmla="*/ 241072 h 344541"/>
                    <a:gd name="connsiteX25" fmla="*/ 248507 w 485951"/>
                    <a:gd name="connsiteY25" fmla="*/ 255259 h 344541"/>
                    <a:gd name="connsiteX26" fmla="*/ 242856 w 485951"/>
                    <a:gd name="connsiteY26" fmla="*/ 263366 h 344541"/>
                    <a:gd name="connsiteX27" fmla="*/ 233816 w 485951"/>
                    <a:gd name="connsiteY27" fmla="*/ 267420 h 344541"/>
                    <a:gd name="connsiteX28" fmla="*/ 223645 w 485951"/>
                    <a:gd name="connsiteY28" fmla="*/ 263366 h 344541"/>
                    <a:gd name="connsiteX29" fmla="*/ 199912 w 485951"/>
                    <a:gd name="connsiteY29" fmla="*/ 291740 h 344541"/>
                    <a:gd name="connsiteX30" fmla="*/ 182960 w 485951"/>
                    <a:gd name="connsiteY30" fmla="*/ 300860 h 344541"/>
                    <a:gd name="connsiteX31" fmla="*/ 178440 w 485951"/>
                    <a:gd name="connsiteY31" fmla="*/ 314034 h 344541"/>
                    <a:gd name="connsiteX32" fmla="*/ 175049 w 485951"/>
                    <a:gd name="connsiteY32" fmla="*/ 328221 h 344541"/>
                    <a:gd name="connsiteX33" fmla="*/ 155838 w 485951"/>
                    <a:gd name="connsiteY33" fmla="*/ 332274 h 344541"/>
                    <a:gd name="connsiteX34" fmla="*/ 151317 w 485951"/>
                    <a:gd name="connsiteY34" fmla="*/ 344434 h 344541"/>
                    <a:gd name="connsiteX35" fmla="*/ 133235 w 485951"/>
                    <a:gd name="connsiteY35" fmla="*/ 339368 h 344541"/>
                    <a:gd name="connsiteX36" fmla="*/ 100462 w 485951"/>
                    <a:gd name="connsiteY36" fmla="*/ 339368 h 344541"/>
                    <a:gd name="connsiteX37" fmla="*/ 88031 w 485951"/>
                    <a:gd name="connsiteY37" fmla="*/ 341395 h 344541"/>
                    <a:gd name="connsiteX38" fmla="*/ 74469 w 485951"/>
                    <a:gd name="connsiteY38" fmla="*/ 344434 h 344541"/>
                    <a:gd name="connsiteX39" fmla="*/ 38305 w 485951"/>
                    <a:gd name="connsiteY39" fmla="*/ 326194 h 344541"/>
                    <a:gd name="connsiteX40" fmla="*/ 76729 w 485951"/>
                    <a:gd name="connsiteY40" fmla="*/ 286673 h 344541"/>
                    <a:gd name="connsiteX41" fmla="*/ 76729 w 485951"/>
                    <a:gd name="connsiteY41" fmla="*/ 276540 h 344541"/>
                    <a:gd name="connsiteX42" fmla="*/ 68818 w 485951"/>
                    <a:gd name="connsiteY42" fmla="*/ 268433 h 344541"/>
                    <a:gd name="connsiteX43" fmla="*/ 37175 w 485951"/>
                    <a:gd name="connsiteY43" fmla="*/ 265393 h 344541"/>
                    <a:gd name="connsiteX44" fmla="*/ 34915 w 485951"/>
                    <a:gd name="connsiteY44" fmla="*/ 257286 h 344541"/>
                    <a:gd name="connsiteX45" fmla="*/ 33784 w 485951"/>
                    <a:gd name="connsiteY45" fmla="*/ 240059 h 344541"/>
                    <a:gd name="connsiteX46" fmla="*/ 27004 w 485951"/>
                    <a:gd name="connsiteY46" fmla="*/ 220805 h 344541"/>
                    <a:gd name="connsiteX47" fmla="*/ 12312 w 485951"/>
                    <a:gd name="connsiteY47" fmla="*/ 206618 h 344541"/>
                    <a:gd name="connsiteX48" fmla="*/ 10052 w 485951"/>
                    <a:gd name="connsiteY48" fmla="*/ 191418 h 344541"/>
                    <a:gd name="connsiteX49" fmla="*/ 23614 w 485951"/>
                    <a:gd name="connsiteY49" fmla="*/ 182297 h 344541"/>
                    <a:gd name="connsiteX50" fmla="*/ 12312 w 485951"/>
                    <a:gd name="connsiteY50" fmla="*/ 176217 h 344541"/>
                    <a:gd name="connsiteX51" fmla="*/ 10052 w 485951"/>
                    <a:gd name="connsiteY51" fmla="*/ 169124 h 344541"/>
                    <a:gd name="connsiteX52" fmla="*/ 14573 w 485951"/>
                    <a:gd name="connsiteY52" fmla="*/ 144803 h 344541"/>
                    <a:gd name="connsiteX53" fmla="*/ 21353 w 485951"/>
                    <a:gd name="connsiteY53" fmla="*/ 130616 h 344541"/>
                    <a:gd name="connsiteX54" fmla="*/ 29264 w 485951"/>
                    <a:gd name="connsiteY54" fmla="*/ 126563 h 344541"/>
                    <a:gd name="connsiteX55" fmla="*/ 45085 w 485951"/>
                    <a:gd name="connsiteY55" fmla="*/ 124536 h 344541"/>
                    <a:gd name="connsiteX56" fmla="*/ 46216 w 485951"/>
                    <a:gd name="connsiteY56" fmla="*/ 114403 h 344541"/>
                    <a:gd name="connsiteX57" fmla="*/ 55257 w 485951"/>
                    <a:gd name="connsiteY57" fmla="*/ 100216 h 344541"/>
                    <a:gd name="connsiteX58" fmla="*/ 71079 w 485951"/>
                    <a:gd name="connsiteY58" fmla="*/ 104269 h 344541"/>
                    <a:gd name="connsiteX59" fmla="*/ 78989 w 485951"/>
                    <a:gd name="connsiteY59" fmla="*/ 99202 h 344541"/>
                    <a:gd name="connsiteX60" fmla="*/ 93681 w 485951"/>
                    <a:gd name="connsiteY60" fmla="*/ 104269 h 344541"/>
                    <a:gd name="connsiteX61" fmla="*/ 121934 w 485951"/>
                    <a:gd name="connsiteY61" fmla="*/ 89069 h 344541"/>
                    <a:gd name="connsiteX62" fmla="*/ 117413 w 485951"/>
                    <a:gd name="connsiteY62" fmla="*/ 74882 h 344541"/>
                    <a:gd name="connsiteX63" fmla="*/ 136626 w 485951"/>
                    <a:gd name="connsiteY63" fmla="*/ 57655 h 344541"/>
                    <a:gd name="connsiteX64" fmla="*/ 142276 w 485951"/>
                    <a:gd name="connsiteY64" fmla="*/ 44481 h 344541"/>
                    <a:gd name="connsiteX65" fmla="*/ 142276 w 485951"/>
                    <a:gd name="connsiteY65" fmla="*/ 25227 h 344541"/>
                    <a:gd name="connsiteX66" fmla="*/ 150187 w 485951"/>
                    <a:gd name="connsiteY66" fmla="*/ 18134 h 344541"/>
                    <a:gd name="connsiteX67" fmla="*/ 155838 w 485951"/>
                    <a:gd name="connsiteY67" fmla="*/ 9013 h 344541"/>
                    <a:gd name="connsiteX68" fmla="*/ 168269 w 485951"/>
                    <a:gd name="connsiteY68" fmla="*/ 13067 h 344541"/>
                    <a:gd name="connsiteX69" fmla="*/ 179570 w 485951"/>
                    <a:gd name="connsiteY69" fmla="*/ 19147 h 344541"/>
                    <a:gd name="connsiteX70" fmla="*/ 196522 w 485951"/>
                    <a:gd name="connsiteY70" fmla="*/ 20160 h 344541"/>
                    <a:gd name="connsiteX71" fmla="*/ 211213 w 485951"/>
                    <a:gd name="connsiteY71" fmla="*/ 24214 h 344541"/>
                    <a:gd name="connsiteX72" fmla="*/ 223645 w 485951"/>
                    <a:gd name="connsiteY72" fmla="*/ 34347 h 344541"/>
                    <a:gd name="connsiteX73" fmla="*/ 240597 w 485951"/>
                    <a:gd name="connsiteY73" fmla="*/ 33334 h 344541"/>
                    <a:gd name="connsiteX74" fmla="*/ 263199 w 485951"/>
                    <a:gd name="connsiteY74" fmla="*/ 29281 h 344541"/>
                    <a:gd name="connsiteX75" fmla="*/ 275630 w 485951"/>
                    <a:gd name="connsiteY75" fmla="*/ 30294 h 344541"/>
                    <a:gd name="connsiteX76" fmla="*/ 290322 w 485951"/>
                    <a:gd name="connsiteY76" fmla="*/ 24214 h 344541"/>
                    <a:gd name="connsiteX77" fmla="*/ 298233 w 485951"/>
                    <a:gd name="connsiteY77" fmla="*/ 17120 h 344541"/>
                    <a:gd name="connsiteX78" fmla="*/ 307273 w 485951"/>
                    <a:gd name="connsiteY78" fmla="*/ 9013 h 344541"/>
                    <a:gd name="connsiteX79" fmla="*/ 318575 w 485951"/>
                    <a:gd name="connsiteY79" fmla="*/ 13067 h 344541"/>
                    <a:gd name="connsiteX80" fmla="*/ 325356 w 485951"/>
                    <a:gd name="connsiteY80" fmla="*/ 24214 h 344541"/>
                    <a:gd name="connsiteX81" fmla="*/ 335526 w 485951"/>
                    <a:gd name="connsiteY81" fmla="*/ 34347 h 344541"/>
                    <a:gd name="connsiteX82" fmla="*/ 326485 w 485951"/>
                    <a:gd name="connsiteY82" fmla="*/ 47521 h 344541"/>
                    <a:gd name="connsiteX83" fmla="*/ 320835 w 485951"/>
                    <a:gd name="connsiteY83" fmla="*/ 67788 h 344541"/>
                    <a:gd name="connsiteX84" fmla="*/ 337787 w 485951"/>
                    <a:gd name="connsiteY84" fmla="*/ 82989 h 344541"/>
                    <a:gd name="connsiteX85" fmla="*/ 354738 w 485951"/>
                    <a:gd name="connsiteY85" fmla="*/ 77922 h 344541"/>
                    <a:gd name="connsiteX86" fmla="*/ 372820 w 485951"/>
                    <a:gd name="connsiteY86" fmla="*/ 65761 h 344541"/>
                    <a:gd name="connsiteX87" fmla="*/ 379601 w 485951"/>
                    <a:gd name="connsiteY87" fmla="*/ 53601 h 344541"/>
                    <a:gd name="connsiteX88" fmla="*/ 393163 w 485951"/>
                    <a:gd name="connsiteY88" fmla="*/ 50561 h 344541"/>
                    <a:gd name="connsiteX89" fmla="*/ 416895 w 485951"/>
                    <a:gd name="connsiteY89" fmla="*/ 39414 h 344541"/>
                    <a:gd name="connsiteX90" fmla="*/ 429326 w 485951"/>
                    <a:gd name="connsiteY90" fmla="*/ 37387 h 344541"/>
                    <a:gd name="connsiteX91" fmla="*/ 456449 w 485951"/>
                    <a:gd name="connsiteY91" fmla="*/ 43468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85951" h="344541">
                      <a:moveTo>
                        <a:pt x="482442" y="39414"/>
                      </a:moveTo>
                      <a:lnTo>
                        <a:pt x="482442" y="52588"/>
                      </a:lnTo>
                      <a:lnTo>
                        <a:pt x="473401" y="58668"/>
                      </a:lnTo>
                      <a:lnTo>
                        <a:pt x="462100" y="59681"/>
                      </a:lnTo>
                      <a:lnTo>
                        <a:pt x="439497" y="58668"/>
                      </a:lnTo>
                      <a:lnTo>
                        <a:pt x="415765" y="65761"/>
                      </a:lnTo>
                      <a:lnTo>
                        <a:pt x="394293" y="70828"/>
                      </a:lnTo>
                      <a:lnTo>
                        <a:pt x="354738" y="93122"/>
                      </a:lnTo>
                      <a:lnTo>
                        <a:pt x="355868" y="110349"/>
                      </a:lnTo>
                      <a:lnTo>
                        <a:pt x="342307" y="119469"/>
                      </a:lnTo>
                      <a:lnTo>
                        <a:pt x="350218" y="130616"/>
                      </a:lnTo>
                      <a:lnTo>
                        <a:pt x="344567" y="150884"/>
                      </a:lnTo>
                      <a:lnTo>
                        <a:pt x="326485" y="153923"/>
                      </a:lnTo>
                      <a:lnTo>
                        <a:pt x="312924" y="150884"/>
                      </a:lnTo>
                      <a:lnTo>
                        <a:pt x="305013" y="164057"/>
                      </a:lnTo>
                      <a:lnTo>
                        <a:pt x="318575" y="175204"/>
                      </a:lnTo>
                      <a:lnTo>
                        <a:pt x="316314" y="192431"/>
                      </a:lnTo>
                      <a:lnTo>
                        <a:pt x="301623" y="204591"/>
                      </a:lnTo>
                      <a:lnTo>
                        <a:pt x="302753" y="216752"/>
                      </a:lnTo>
                      <a:lnTo>
                        <a:pt x="298233" y="230939"/>
                      </a:lnTo>
                      <a:lnTo>
                        <a:pt x="285801" y="232965"/>
                      </a:lnTo>
                      <a:lnTo>
                        <a:pt x="269980" y="229925"/>
                      </a:lnTo>
                      <a:lnTo>
                        <a:pt x="263199" y="221819"/>
                      </a:lnTo>
                      <a:lnTo>
                        <a:pt x="254158" y="231952"/>
                      </a:lnTo>
                      <a:lnTo>
                        <a:pt x="236076" y="241072"/>
                      </a:lnTo>
                      <a:lnTo>
                        <a:pt x="248507" y="255259"/>
                      </a:lnTo>
                      <a:lnTo>
                        <a:pt x="242856" y="263366"/>
                      </a:lnTo>
                      <a:lnTo>
                        <a:pt x="233816" y="267420"/>
                      </a:lnTo>
                      <a:lnTo>
                        <a:pt x="223645" y="263366"/>
                      </a:lnTo>
                      <a:lnTo>
                        <a:pt x="199912" y="291740"/>
                      </a:lnTo>
                      <a:lnTo>
                        <a:pt x="182960" y="300860"/>
                      </a:lnTo>
                      <a:lnTo>
                        <a:pt x="178440" y="314034"/>
                      </a:lnTo>
                      <a:lnTo>
                        <a:pt x="175049" y="328221"/>
                      </a:lnTo>
                      <a:lnTo>
                        <a:pt x="155838" y="332274"/>
                      </a:lnTo>
                      <a:lnTo>
                        <a:pt x="151317" y="344434"/>
                      </a:lnTo>
                      <a:lnTo>
                        <a:pt x="133235" y="339368"/>
                      </a:lnTo>
                      <a:lnTo>
                        <a:pt x="100462" y="339368"/>
                      </a:lnTo>
                      <a:lnTo>
                        <a:pt x="88031" y="341395"/>
                      </a:lnTo>
                      <a:lnTo>
                        <a:pt x="74469" y="344434"/>
                      </a:lnTo>
                      <a:lnTo>
                        <a:pt x="38305" y="326194"/>
                      </a:lnTo>
                      <a:lnTo>
                        <a:pt x="76729" y="286673"/>
                      </a:lnTo>
                      <a:lnTo>
                        <a:pt x="76729" y="276540"/>
                      </a:lnTo>
                      <a:lnTo>
                        <a:pt x="68818" y="268433"/>
                      </a:lnTo>
                      <a:lnTo>
                        <a:pt x="37175" y="265393"/>
                      </a:lnTo>
                      <a:lnTo>
                        <a:pt x="34915" y="257286"/>
                      </a:lnTo>
                      <a:lnTo>
                        <a:pt x="33784" y="240059"/>
                      </a:lnTo>
                      <a:lnTo>
                        <a:pt x="27004" y="220805"/>
                      </a:lnTo>
                      <a:lnTo>
                        <a:pt x="12312" y="206618"/>
                      </a:lnTo>
                      <a:lnTo>
                        <a:pt x="10052" y="191418"/>
                      </a:lnTo>
                      <a:lnTo>
                        <a:pt x="23614" y="182297"/>
                      </a:lnTo>
                      <a:lnTo>
                        <a:pt x="12312" y="176217"/>
                      </a:lnTo>
                      <a:lnTo>
                        <a:pt x="10052" y="169124"/>
                      </a:lnTo>
                      <a:lnTo>
                        <a:pt x="14573" y="144803"/>
                      </a:lnTo>
                      <a:lnTo>
                        <a:pt x="21353" y="130616"/>
                      </a:lnTo>
                      <a:lnTo>
                        <a:pt x="29264" y="126563"/>
                      </a:lnTo>
                      <a:lnTo>
                        <a:pt x="45085" y="124536"/>
                      </a:lnTo>
                      <a:lnTo>
                        <a:pt x="46216" y="114403"/>
                      </a:lnTo>
                      <a:lnTo>
                        <a:pt x="55257" y="100216"/>
                      </a:lnTo>
                      <a:lnTo>
                        <a:pt x="71079" y="104269"/>
                      </a:lnTo>
                      <a:lnTo>
                        <a:pt x="78989" y="99202"/>
                      </a:lnTo>
                      <a:lnTo>
                        <a:pt x="93681" y="104269"/>
                      </a:lnTo>
                      <a:lnTo>
                        <a:pt x="121934" y="89069"/>
                      </a:lnTo>
                      <a:lnTo>
                        <a:pt x="117413" y="74882"/>
                      </a:lnTo>
                      <a:lnTo>
                        <a:pt x="136626" y="57655"/>
                      </a:lnTo>
                      <a:lnTo>
                        <a:pt x="142276" y="44481"/>
                      </a:lnTo>
                      <a:lnTo>
                        <a:pt x="142276" y="25227"/>
                      </a:lnTo>
                      <a:lnTo>
                        <a:pt x="150187" y="18134"/>
                      </a:lnTo>
                      <a:lnTo>
                        <a:pt x="155838" y="9013"/>
                      </a:lnTo>
                      <a:lnTo>
                        <a:pt x="168269" y="13067"/>
                      </a:lnTo>
                      <a:lnTo>
                        <a:pt x="179570" y="19147"/>
                      </a:lnTo>
                      <a:lnTo>
                        <a:pt x="196522" y="20160"/>
                      </a:lnTo>
                      <a:lnTo>
                        <a:pt x="211213" y="24214"/>
                      </a:lnTo>
                      <a:lnTo>
                        <a:pt x="223645" y="34347"/>
                      </a:lnTo>
                      <a:lnTo>
                        <a:pt x="240597" y="33334"/>
                      </a:lnTo>
                      <a:lnTo>
                        <a:pt x="263199" y="29281"/>
                      </a:lnTo>
                      <a:lnTo>
                        <a:pt x="275630" y="30294"/>
                      </a:lnTo>
                      <a:lnTo>
                        <a:pt x="290322" y="24214"/>
                      </a:lnTo>
                      <a:lnTo>
                        <a:pt x="298233" y="17120"/>
                      </a:lnTo>
                      <a:lnTo>
                        <a:pt x="307273" y="9013"/>
                      </a:lnTo>
                      <a:lnTo>
                        <a:pt x="318575" y="13067"/>
                      </a:lnTo>
                      <a:lnTo>
                        <a:pt x="325356" y="24214"/>
                      </a:lnTo>
                      <a:lnTo>
                        <a:pt x="335526" y="34347"/>
                      </a:lnTo>
                      <a:lnTo>
                        <a:pt x="326485" y="47521"/>
                      </a:lnTo>
                      <a:lnTo>
                        <a:pt x="320835" y="67788"/>
                      </a:lnTo>
                      <a:lnTo>
                        <a:pt x="337787" y="82989"/>
                      </a:lnTo>
                      <a:lnTo>
                        <a:pt x="354738" y="77922"/>
                      </a:lnTo>
                      <a:lnTo>
                        <a:pt x="372820" y="65761"/>
                      </a:lnTo>
                      <a:lnTo>
                        <a:pt x="379601" y="53601"/>
                      </a:lnTo>
                      <a:lnTo>
                        <a:pt x="393163" y="50561"/>
                      </a:lnTo>
                      <a:lnTo>
                        <a:pt x="416895" y="39414"/>
                      </a:lnTo>
                      <a:lnTo>
                        <a:pt x="429326" y="37387"/>
                      </a:lnTo>
                      <a:lnTo>
                        <a:pt x="456449" y="4346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grpSp>
        </p:grpSp>
      </p:grpSp>
      <p:sp>
        <p:nvSpPr>
          <p:cNvPr id="466" name="Oval 465">
            <a:extLst>
              <a:ext uri="{FF2B5EF4-FFF2-40B4-BE49-F238E27FC236}">
                <a16:creationId xmlns:a16="http://schemas.microsoft.com/office/drawing/2014/main" id="{A0E99933-BE0C-4A4C-A9AB-7A90290DB2B0}"/>
              </a:ext>
            </a:extLst>
          </p:cNvPr>
          <p:cNvSpPr/>
          <p:nvPr/>
        </p:nvSpPr>
        <p:spPr bwMode="auto">
          <a:xfrm>
            <a:off x="4076985" y="511817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467" name="Oval 466">
            <a:extLst>
              <a:ext uri="{FF2B5EF4-FFF2-40B4-BE49-F238E27FC236}">
                <a16:creationId xmlns:a16="http://schemas.microsoft.com/office/drawing/2014/main" id="{331F2AA4-52FD-4C4B-8FE1-9C8B3E701990}"/>
              </a:ext>
            </a:extLst>
          </p:cNvPr>
          <p:cNvSpPr/>
          <p:nvPr/>
        </p:nvSpPr>
        <p:spPr bwMode="auto">
          <a:xfrm>
            <a:off x="8545763" y="332455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68" name="Oval 467">
            <a:extLst>
              <a:ext uri="{FF2B5EF4-FFF2-40B4-BE49-F238E27FC236}">
                <a16:creationId xmlns:a16="http://schemas.microsoft.com/office/drawing/2014/main" id="{1522339C-1B6A-4C48-B3E3-663C80B9A0C5}"/>
              </a:ext>
            </a:extLst>
          </p:cNvPr>
          <p:cNvSpPr/>
          <p:nvPr/>
        </p:nvSpPr>
        <p:spPr bwMode="auto">
          <a:xfrm>
            <a:off x="8369193" y="3256121"/>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69" name="Oval 468">
            <a:extLst>
              <a:ext uri="{FF2B5EF4-FFF2-40B4-BE49-F238E27FC236}">
                <a16:creationId xmlns:a16="http://schemas.microsoft.com/office/drawing/2014/main" id="{96DDF770-1A92-4C8B-9DB0-0C047B569CD1}"/>
              </a:ext>
            </a:extLst>
          </p:cNvPr>
          <p:cNvSpPr/>
          <p:nvPr/>
        </p:nvSpPr>
        <p:spPr bwMode="auto">
          <a:xfrm>
            <a:off x="8608508" y="363006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0" name="Oval 469">
            <a:extLst>
              <a:ext uri="{FF2B5EF4-FFF2-40B4-BE49-F238E27FC236}">
                <a16:creationId xmlns:a16="http://schemas.microsoft.com/office/drawing/2014/main" id="{8B20E946-E13C-4DFC-8ADD-D698BADA86A9}"/>
              </a:ext>
            </a:extLst>
          </p:cNvPr>
          <p:cNvSpPr/>
          <p:nvPr/>
        </p:nvSpPr>
        <p:spPr bwMode="auto">
          <a:xfrm>
            <a:off x="9400536" y="403991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1" name="Oval 470">
            <a:extLst>
              <a:ext uri="{FF2B5EF4-FFF2-40B4-BE49-F238E27FC236}">
                <a16:creationId xmlns:a16="http://schemas.microsoft.com/office/drawing/2014/main" id="{8DD408C3-2B0C-4A1F-9425-8F42503872B9}"/>
              </a:ext>
            </a:extLst>
          </p:cNvPr>
          <p:cNvSpPr/>
          <p:nvPr/>
        </p:nvSpPr>
        <p:spPr bwMode="auto">
          <a:xfrm>
            <a:off x="10762280" y="263189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2" name="Oval 471">
            <a:extLst>
              <a:ext uri="{FF2B5EF4-FFF2-40B4-BE49-F238E27FC236}">
                <a16:creationId xmlns:a16="http://schemas.microsoft.com/office/drawing/2014/main" id="{696D666D-42B5-4773-BAA8-17D6D6C9E40D}"/>
              </a:ext>
            </a:extLst>
          </p:cNvPr>
          <p:cNvSpPr/>
          <p:nvPr/>
        </p:nvSpPr>
        <p:spPr bwMode="auto">
          <a:xfrm>
            <a:off x="10597170" y="277553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3" name="Oval 472">
            <a:extLst>
              <a:ext uri="{FF2B5EF4-FFF2-40B4-BE49-F238E27FC236}">
                <a16:creationId xmlns:a16="http://schemas.microsoft.com/office/drawing/2014/main" id="{109A9AC2-8248-4D10-967A-CF16CD6D4F99}"/>
              </a:ext>
            </a:extLst>
          </p:cNvPr>
          <p:cNvSpPr/>
          <p:nvPr/>
        </p:nvSpPr>
        <p:spPr bwMode="auto">
          <a:xfrm>
            <a:off x="10023311" y="304272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4" name="Oval 473">
            <a:extLst>
              <a:ext uri="{FF2B5EF4-FFF2-40B4-BE49-F238E27FC236}">
                <a16:creationId xmlns:a16="http://schemas.microsoft.com/office/drawing/2014/main" id="{17D65AC3-2F4A-4905-8EE4-CB60E3A6D1CC}"/>
              </a:ext>
            </a:extLst>
          </p:cNvPr>
          <p:cNvSpPr/>
          <p:nvPr/>
        </p:nvSpPr>
        <p:spPr bwMode="auto">
          <a:xfrm>
            <a:off x="10332386" y="279340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5" name="Oval 474">
            <a:extLst>
              <a:ext uri="{FF2B5EF4-FFF2-40B4-BE49-F238E27FC236}">
                <a16:creationId xmlns:a16="http://schemas.microsoft.com/office/drawing/2014/main" id="{6609EF8B-6561-42FA-8366-66FE34A32489}"/>
              </a:ext>
            </a:extLst>
          </p:cNvPr>
          <p:cNvSpPr/>
          <p:nvPr/>
        </p:nvSpPr>
        <p:spPr bwMode="auto">
          <a:xfrm>
            <a:off x="9804123" y="3291959"/>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6" name="Oval 475">
            <a:extLst>
              <a:ext uri="{FF2B5EF4-FFF2-40B4-BE49-F238E27FC236}">
                <a16:creationId xmlns:a16="http://schemas.microsoft.com/office/drawing/2014/main" id="{6730941A-6664-4649-8CAE-0CE9A0816545}"/>
              </a:ext>
            </a:extLst>
          </p:cNvPr>
          <p:cNvSpPr/>
          <p:nvPr/>
        </p:nvSpPr>
        <p:spPr bwMode="auto">
          <a:xfrm>
            <a:off x="10275694" y="262704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7" name="Oval 476">
            <a:extLst>
              <a:ext uri="{FF2B5EF4-FFF2-40B4-BE49-F238E27FC236}">
                <a16:creationId xmlns:a16="http://schemas.microsoft.com/office/drawing/2014/main" id="{B14A738E-2A94-4395-B89A-2A3604C141EA}"/>
              </a:ext>
            </a:extLst>
          </p:cNvPr>
          <p:cNvSpPr/>
          <p:nvPr/>
        </p:nvSpPr>
        <p:spPr bwMode="auto">
          <a:xfrm>
            <a:off x="9849619" y="247304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8" name="Oval 477">
            <a:extLst>
              <a:ext uri="{FF2B5EF4-FFF2-40B4-BE49-F238E27FC236}">
                <a16:creationId xmlns:a16="http://schemas.microsoft.com/office/drawing/2014/main" id="{6A7EC1E3-DDCA-42EC-BF42-C4025B8A7F97}"/>
              </a:ext>
            </a:extLst>
          </p:cNvPr>
          <p:cNvSpPr/>
          <p:nvPr/>
        </p:nvSpPr>
        <p:spPr bwMode="auto">
          <a:xfrm>
            <a:off x="5859332" y="1889618"/>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0" name="Oval 479">
            <a:extLst>
              <a:ext uri="{FF2B5EF4-FFF2-40B4-BE49-F238E27FC236}">
                <a16:creationId xmlns:a16="http://schemas.microsoft.com/office/drawing/2014/main" id="{5B1773E9-6A57-4559-86C9-FAD1FD572FE5}"/>
              </a:ext>
            </a:extLst>
          </p:cNvPr>
          <p:cNvSpPr/>
          <p:nvPr/>
        </p:nvSpPr>
        <p:spPr bwMode="auto">
          <a:xfrm>
            <a:off x="5518870" y="195319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1" name="Oval 480">
            <a:extLst>
              <a:ext uri="{FF2B5EF4-FFF2-40B4-BE49-F238E27FC236}">
                <a16:creationId xmlns:a16="http://schemas.microsoft.com/office/drawing/2014/main" id="{4DE7E8C1-CBC8-43BA-A35B-B461868D37FB}"/>
              </a:ext>
            </a:extLst>
          </p:cNvPr>
          <p:cNvSpPr/>
          <p:nvPr/>
        </p:nvSpPr>
        <p:spPr bwMode="auto">
          <a:xfrm>
            <a:off x="3253473" y="216255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2" name="Oval 481">
            <a:extLst>
              <a:ext uri="{FF2B5EF4-FFF2-40B4-BE49-F238E27FC236}">
                <a16:creationId xmlns:a16="http://schemas.microsoft.com/office/drawing/2014/main" id="{31B922DF-03CC-49B7-ACC0-1A4C8CC27200}"/>
              </a:ext>
            </a:extLst>
          </p:cNvPr>
          <p:cNvSpPr/>
          <p:nvPr/>
        </p:nvSpPr>
        <p:spPr bwMode="auto">
          <a:xfrm>
            <a:off x="3061424" y="2319729"/>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3" name="Oval 482">
            <a:extLst>
              <a:ext uri="{FF2B5EF4-FFF2-40B4-BE49-F238E27FC236}">
                <a16:creationId xmlns:a16="http://schemas.microsoft.com/office/drawing/2014/main" id="{BD3D02DC-A299-482F-93A5-3BA1C9EED527}"/>
              </a:ext>
            </a:extLst>
          </p:cNvPr>
          <p:cNvSpPr/>
          <p:nvPr/>
        </p:nvSpPr>
        <p:spPr bwMode="auto">
          <a:xfrm>
            <a:off x="5697912" y="200843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4" name="Oval 483">
            <a:extLst>
              <a:ext uri="{FF2B5EF4-FFF2-40B4-BE49-F238E27FC236}">
                <a16:creationId xmlns:a16="http://schemas.microsoft.com/office/drawing/2014/main" id="{3E4B52F5-EA0A-4D71-9F53-B16CF78B4BBE}"/>
              </a:ext>
            </a:extLst>
          </p:cNvPr>
          <p:cNvSpPr/>
          <p:nvPr/>
        </p:nvSpPr>
        <p:spPr bwMode="auto">
          <a:xfrm>
            <a:off x="5925380" y="208939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5" name="Oval 484">
            <a:extLst>
              <a:ext uri="{FF2B5EF4-FFF2-40B4-BE49-F238E27FC236}">
                <a16:creationId xmlns:a16="http://schemas.microsoft.com/office/drawing/2014/main" id="{624D7B13-DB43-4832-8F86-D1CF97E31D49}"/>
              </a:ext>
            </a:extLst>
          </p:cNvPr>
          <p:cNvSpPr/>
          <p:nvPr/>
        </p:nvSpPr>
        <p:spPr bwMode="auto">
          <a:xfrm>
            <a:off x="5963063" y="2373521"/>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7" name="Oval 486">
            <a:extLst>
              <a:ext uri="{FF2B5EF4-FFF2-40B4-BE49-F238E27FC236}">
                <a16:creationId xmlns:a16="http://schemas.microsoft.com/office/drawing/2014/main" id="{A03C5097-FE61-490F-9B60-2808E8C32B1F}"/>
              </a:ext>
            </a:extLst>
          </p:cNvPr>
          <p:cNvSpPr/>
          <p:nvPr/>
        </p:nvSpPr>
        <p:spPr bwMode="auto">
          <a:xfrm>
            <a:off x="5811647" y="225340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8" name="Oval 487">
            <a:extLst>
              <a:ext uri="{FF2B5EF4-FFF2-40B4-BE49-F238E27FC236}">
                <a16:creationId xmlns:a16="http://schemas.microsoft.com/office/drawing/2014/main" id="{FDBF0805-B738-489A-A94A-AC462AFE5846}"/>
              </a:ext>
            </a:extLst>
          </p:cNvPr>
          <p:cNvSpPr/>
          <p:nvPr/>
        </p:nvSpPr>
        <p:spPr bwMode="auto">
          <a:xfrm>
            <a:off x="6175111" y="2129313"/>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489" name="Oval 488">
            <a:extLst>
              <a:ext uri="{FF2B5EF4-FFF2-40B4-BE49-F238E27FC236}">
                <a16:creationId xmlns:a16="http://schemas.microsoft.com/office/drawing/2014/main" id="{DEC73391-5D09-49D7-8464-E66949040076}"/>
              </a:ext>
            </a:extLst>
          </p:cNvPr>
          <p:cNvSpPr/>
          <p:nvPr/>
        </p:nvSpPr>
        <p:spPr bwMode="auto">
          <a:xfrm>
            <a:off x="6265753" y="197845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490" name="Oval 489">
            <a:extLst>
              <a:ext uri="{FF2B5EF4-FFF2-40B4-BE49-F238E27FC236}">
                <a16:creationId xmlns:a16="http://schemas.microsoft.com/office/drawing/2014/main" id="{FF2C3720-AEAC-4437-B15E-368D0BBD5D0E}"/>
              </a:ext>
            </a:extLst>
          </p:cNvPr>
          <p:cNvSpPr/>
          <p:nvPr/>
        </p:nvSpPr>
        <p:spPr bwMode="auto">
          <a:xfrm>
            <a:off x="3077915" y="261410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1" name="Oval 490">
            <a:extLst>
              <a:ext uri="{FF2B5EF4-FFF2-40B4-BE49-F238E27FC236}">
                <a16:creationId xmlns:a16="http://schemas.microsoft.com/office/drawing/2014/main" id="{B78282AF-75B2-48D1-A500-481AFC95277D}"/>
              </a:ext>
            </a:extLst>
          </p:cNvPr>
          <p:cNvSpPr/>
          <p:nvPr/>
        </p:nvSpPr>
        <p:spPr bwMode="auto">
          <a:xfrm>
            <a:off x="2906672" y="2847473"/>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2" name="Oval 491">
            <a:extLst>
              <a:ext uri="{FF2B5EF4-FFF2-40B4-BE49-F238E27FC236}">
                <a16:creationId xmlns:a16="http://schemas.microsoft.com/office/drawing/2014/main" id="{8E9DB5CF-4881-4EA1-8680-72197427A1E7}"/>
              </a:ext>
            </a:extLst>
          </p:cNvPr>
          <p:cNvSpPr/>
          <p:nvPr/>
        </p:nvSpPr>
        <p:spPr bwMode="auto">
          <a:xfrm>
            <a:off x="2681077" y="2459121"/>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3" name="Oval 492">
            <a:extLst>
              <a:ext uri="{FF2B5EF4-FFF2-40B4-BE49-F238E27FC236}">
                <a16:creationId xmlns:a16="http://schemas.microsoft.com/office/drawing/2014/main" id="{195FC0CA-D9D0-4A96-8409-A8CB690B2AB9}"/>
              </a:ext>
            </a:extLst>
          </p:cNvPr>
          <p:cNvSpPr/>
          <p:nvPr/>
        </p:nvSpPr>
        <p:spPr bwMode="auto">
          <a:xfrm>
            <a:off x="2476432" y="253642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4" name="Oval 493">
            <a:extLst>
              <a:ext uri="{FF2B5EF4-FFF2-40B4-BE49-F238E27FC236}">
                <a16:creationId xmlns:a16="http://schemas.microsoft.com/office/drawing/2014/main" id="{04782F36-0175-46F7-9A2D-D589075F3F4E}"/>
              </a:ext>
            </a:extLst>
          </p:cNvPr>
          <p:cNvSpPr/>
          <p:nvPr/>
        </p:nvSpPr>
        <p:spPr bwMode="auto">
          <a:xfrm>
            <a:off x="2494462" y="230797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5" name="Oval 494">
            <a:extLst>
              <a:ext uri="{FF2B5EF4-FFF2-40B4-BE49-F238E27FC236}">
                <a16:creationId xmlns:a16="http://schemas.microsoft.com/office/drawing/2014/main" id="{37196F4D-4C41-470C-A76B-520551107C56}"/>
              </a:ext>
            </a:extLst>
          </p:cNvPr>
          <p:cNvSpPr/>
          <p:nvPr/>
        </p:nvSpPr>
        <p:spPr bwMode="auto">
          <a:xfrm>
            <a:off x="2523847" y="2905399"/>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6" name="Oval 495">
            <a:extLst>
              <a:ext uri="{FF2B5EF4-FFF2-40B4-BE49-F238E27FC236}">
                <a16:creationId xmlns:a16="http://schemas.microsoft.com/office/drawing/2014/main" id="{0531B4FA-7D25-48ED-BF38-4B1CB4852ADE}"/>
              </a:ext>
            </a:extLst>
          </p:cNvPr>
          <p:cNvSpPr/>
          <p:nvPr/>
        </p:nvSpPr>
        <p:spPr bwMode="auto">
          <a:xfrm>
            <a:off x="2238286" y="300996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7" name="Oval 496">
            <a:extLst>
              <a:ext uri="{FF2B5EF4-FFF2-40B4-BE49-F238E27FC236}">
                <a16:creationId xmlns:a16="http://schemas.microsoft.com/office/drawing/2014/main" id="{64757856-C3C8-4460-9430-6C319108E1B5}"/>
              </a:ext>
            </a:extLst>
          </p:cNvPr>
          <p:cNvSpPr/>
          <p:nvPr/>
        </p:nvSpPr>
        <p:spPr bwMode="auto">
          <a:xfrm>
            <a:off x="1874397" y="274834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8" name="Oval 497">
            <a:extLst>
              <a:ext uri="{FF2B5EF4-FFF2-40B4-BE49-F238E27FC236}">
                <a16:creationId xmlns:a16="http://schemas.microsoft.com/office/drawing/2014/main" id="{CE2D54F9-AA91-4460-A951-FB0DACAB200E}"/>
              </a:ext>
            </a:extLst>
          </p:cNvPr>
          <p:cNvSpPr/>
          <p:nvPr/>
        </p:nvSpPr>
        <p:spPr bwMode="auto">
          <a:xfrm>
            <a:off x="1587512" y="2574381"/>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9" name="Oval 498">
            <a:extLst>
              <a:ext uri="{FF2B5EF4-FFF2-40B4-BE49-F238E27FC236}">
                <a16:creationId xmlns:a16="http://schemas.microsoft.com/office/drawing/2014/main" id="{C5BA7D29-4B6F-447F-A465-7AD90991B03F}"/>
              </a:ext>
            </a:extLst>
          </p:cNvPr>
          <p:cNvSpPr/>
          <p:nvPr/>
        </p:nvSpPr>
        <p:spPr bwMode="auto">
          <a:xfrm>
            <a:off x="1498829" y="236653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01" name="Oval 500">
            <a:extLst>
              <a:ext uri="{FF2B5EF4-FFF2-40B4-BE49-F238E27FC236}">
                <a16:creationId xmlns:a16="http://schemas.microsoft.com/office/drawing/2014/main" id="{ED68A82E-985E-45B0-94E9-242C3EE0E43C}"/>
              </a:ext>
            </a:extLst>
          </p:cNvPr>
          <p:cNvSpPr/>
          <p:nvPr/>
        </p:nvSpPr>
        <p:spPr bwMode="auto">
          <a:xfrm>
            <a:off x="1981277" y="240234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23" name="Oval 222">
            <a:extLst>
              <a:ext uri="{FF2B5EF4-FFF2-40B4-BE49-F238E27FC236}">
                <a16:creationId xmlns:a16="http://schemas.microsoft.com/office/drawing/2014/main" id="{0FAA3626-3E48-45BF-8429-D680EC8C6479}"/>
              </a:ext>
            </a:extLst>
          </p:cNvPr>
          <p:cNvSpPr/>
          <p:nvPr/>
        </p:nvSpPr>
        <p:spPr bwMode="auto">
          <a:xfrm>
            <a:off x="6806827" y="522192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4" name="Oval 223">
            <a:extLst>
              <a:ext uri="{FF2B5EF4-FFF2-40B4-BE49-F238E27FC236}">
                <a16:creationId xmlns:a16="http://schemas.microsoft.com/office/drawing/2014/main" id="{860A0414-8425-418E-8F78-D19B6CD44D45}"/>
              </a:ext>
            </a:extLst>
          </p:cNvPr>
          <p:cNvSpPr/>
          <p:nvPr/>
        </p:nvSpPr>
        <p:spPr bwMode="auto">
          <a:xfrm>
            <a:off x="6511798" y="544238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5" name="Oval 224">
            <a:extLst>
              <a:ext uri="{FF2B5EF4-FFF2-40B4-BE49-F238E27FC236}">
                <a16:creationId xmlns:a16="http://schemas.microsoft.com/office/drawing/2014/main" id="{5DC206C8-5603-4E91-9069-461E1F7B74A1}"/>
              </a:ext>
            </a:extLst>
          </p:cNvPr>
          <p:cNvSpPr/>
          <p:nvPr/>
        </p:nvSpPr>
        <p:spPr bwMode="auto">
          <a:xfrm>
            <a:off x="7669225" y="316643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6" name="Oval 225">
            <a:extLst>
              <a:ext uri="{FF2B5EF4-FFF2-40B4-BE49-F238E27FC236}">
                <a16:creationId xmlns:a16="http://schemas.microsoft.com/office/drawing/2014/main" id="{6C01F77C-7B94-401D-9230-D9FE6F2DBC70}"/>
              </a:ext>
            </a:extLst>
          </p:cNvPr>
          <p:cNvSpPr/>
          <p:nvPr/>
        </p:nvSpPr>
        <p:spPr bwMode="auto">
          <a:xfrm>
            <a:off x="7510362" y="317292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7" name="Oval 226">
            <a:extLst>
              <a:ext uri="{FF2B5EF4-FFF2-40B4-BE49-F238E27FC236}">
                <a16:creationId xmlns:a16="http://schemas.microsoft.com/office/drawing/2014/main" id="{2F52C0FD-85C3-4C60-8019-ADC22E19E096}"/>
              </a:ext>
            </a:extLst>
          </p:cNvPr>
          <p:cNvSpPr/>
          <p:nvPr/>
        </p:nvSpPr>
        <p:spPr bwMode="auto">
          <a:xfrm>
            <a:off x="6067630" y="147730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8" name="Oval 227">
            <a:extLst>
              <a:ext uri="{FF2B5EF4-FFF2-40B4-BE49-F238E27FC236}">
                <a16:creationId xmlns:a16="http://schemas.microsoft.com/office/drawing/2014/main" id="{2AD3F5B9-FA9A-42A5-8C56-6035B92C0C44}"/>
              </a:ext>
            </a:extLst>
          </p:cNvPr>
          <p:cNvSpPr/>
          <p:nvPr/>
        </p:nvSpPr>
        <p:spPr bwMode="auto">
          <a:xfrm>
            <a:off x="6258914" y="141570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9" name="Oval 228">
            <a:extLst>
              <a:ext uri="{FF2B5EF4-FFF2-40B4-BE49-F238E27FC236}">
                <a16:creationId xmlns:a16="http://schemas.microsoft.com/office/drawing/2014/main" id="{ADD98AB2-5E73-48D1-BE8A-88420638E6A2}"/>
              </a:ext>
            </a:extLst>
          </p:cNvPr>
          <p:cNvSpPr/>
          <p:nvPr/>
        </p:nvSpPr>
        <p:spPr bwMode="auto">
          <a:xfrm>
            <a:off x="6113098" y="224545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30" name="Oval 229">
            <a:extLst>
              <a:ext uri="{FF2B5EF4-FFF2-40B4-BE49-F238E27FC236}">
                <a16:creationId xmlns:a16="http://schemas.microsoft.com/office/drawing/2014/main" id="{06239AD5-BE66-4EA0-91AE-05EDCEB34FFF}"/>
              </a:ext>
            </a:extLst>
          </p:cNvPr>
          <p:cNvSpPr/>
          <p:nvPr/>
        </p:nvSpPr>
        <p:spPr bwMode="auto">
          <a:xfrm>
            <a:off x="5986116" y="224907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32" name="Oval 231">
            <a:extLst>
              <a:ext uri="{FF2B5EF4-FFF2-40B4-BE49-F238E27FC236}">
                <a16:creationId xmlns:a16="http://schemas.microsoft.com/office/drawing/2014/main" id="{F0AE1036-2B88-48D8-AF76-57432D3B6377}"/>
              </a:ext>
            </a:extLst>
          </p:cNvPr>
          <p:cNvSpPr/>
          <p:nvPr/>
        </p:nvSpPr>
        <p:spPr bwMode="auto">
          <a:xfrm>
            <a:off x="6044164" y="2143863"/>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33" name="Oval 232">
            <a:extLst>
              <a:ext uri="{FF2B5EF4-FFF2-40B4-BE49-F238E27FC236}">
                <a16:creationId xmlns:a16="http://schemas.microsoft.com/office/drawing/2014/main" id="{FCAAD69F-49B3-41B8-8EBB-4532DF2CF202}"/>
              </a:ext>
            </a:extLst>
          </p:cNvPr>
          <p:cNvSpPr/>
          <p:nvPr/>
        </p:nvSpPr>
        <p:spPr bwMode="auto">
          <a:xfrm>
            <a:off x="6123982" y="198785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36" name="Oval 235">
            <a:extLst>
              <a:ext uri="{FF2B5EF4-FFF2-40B4-BE49-F238E27FC236}">
                <a16:creationId xmlns:a16="http://schemas.microsoft.com/office/drawing/2014/main" id="{C8B94E84-FF2F-43CD-9CE0-F3440D90244A}"/>
              </a:ext>
            </a:extLst>
          </p:cNvPr>
          <p:cNvSpPr/>
          <p:nvPr/>
        </p:nvSpPr>
        <p:spPr bwMode="auto">
          <a:xfrm>
            <a:off x="10800422" y="571084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37" name="Oval 236">
            <a:extLst>
              <a:ext uri="{FF2B5EF4-FFF2-40B4-BE49-F238E27FC236}">
                <a16:creationId xmlns:a16="http://schemas.microsoft.com/office/drawing/2014/main" id="{3C75042F-8445-4E07-83C1-0E2DC8D8F2AB}"/>
              </a:ext>
            </a:extLst>
          </p:cNvPr>
          <p:cNvSpPr/>
          <p:nvPr/>
        </p:nvSpPr>
        <p:spPr bwMode="auto">
          <a:xfrm>
            <a:off x="11115588" y="531817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38" name="Oval 237">
            <a:extLst>
              <a:ext uri="{FF2B5EF4-FFF2-40B4-BE49-F238E27FC236}">
                <a16:creationId xmlns:a16="http://schemas.microsoft.com/office/drawing/2014/main" id="{AACD39A6-D77D-4A31-B830-05346CF41833}"/>
              </a:ext>
            </a:extLst>
          </p:cNvPr>
          <p:cNvSpPr/>
          <p:nvPr/>
        </p:nvSpPr>
        <p:spPr bwMode="auto">
          <a:xfrm>
            <a:off x="11092312" y="5540538"/>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39" name="Oval 238">
            <a:extLst>
              <a:ext uri="{FF2B5EF4-FFF2-40B4-BE49-F238E27FC236}">
                <a16:creationId xmlns:a16="http://schemas.microsoft.com/office/drawing/2014/main" id="{A620FDC5-E1DB-42FC-9E36-B36C9BD84DBE}"/>
              </a:ext>
            </a:extLst>
          </p:cNvPr>
          <p:cNvSpPr/>
          <p:nvPr/>
        </p:nvSpPr>
        <p:spPr bwMode="auto">
          <a:xfrm>
            <a:off x="10991361" y="566244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34" name="Rectangle 233">
            <a:extLst>
              <a:ext uri="{FF2B5EF4-FFF2-40B4-BE49-F238E27FC236}">
                <a16:creationId xmlns:a16="http://schemas.microsoft.com/office/drawing/2014/main" id="{B9E651BA-34B0-4272-9ECB-924A4A403F6D}"/>
              </a:ext>
            </a:extLst>
          </p:cNvPr>
          <p:cNvSpPr/>
          <p:nvPr/>
        </p:nvSpPr>
        <p:spPr bwMode="auto">
          <a:xfrm>
            <a:off x="3460" y="2434"/>
            <a:ext cx="12185085" cy="155591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5" name="Title 5">
            <a:extLst>
              <a:ext uri="{FF2B5EF4-FFF2-40B4-BE49-F238E27FC236}">
                <a16:creationId xmlns:a16="http://schemas.microsoft.com/office/drawing/2014/main" id="{72B14103-0F9C-4392-820F-39D43AB7FF6B}"/>
              </a:ext>
            </a:extLst>
          </p:cNvPr>
          <p:cNvSpPr txBox="1">
            <a:spLocks/>
          </p:cNvSpPr>
          <p:nvPr/>
        </p:nvSpPr>
        <p:spPr>
          <a:xfrm>
            <a:off x="269241" y="289959"/>
            <a:ext cx="11655840" cy="899537"/>
          </a:xfrm>
          <a:prstGeom prst="rect">
            <a:avLst/>
          </a:prstGeom>
        </p:spPr>
        <p:txBody>
          <a:bodyPr/>
          <a:lst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100">
                <a:gradFill>
                  <a:gsLst>
                    <a:gs pos="1250">
                      <a:srgbClr val="FFFFFF"/>
                    </a:gs>
                    <a:gs pos="100000">
                      <a:srgbClr val="FFFFFF"/>
                    </a:gs>
                  </a:gsLst>
                  <a:lin ang="5400000" scaled="0"/>
                </a:gradFill>
                <a:latin typeface="Segoe UI Light"/>
              </a:rPr>
              <a:t>Global scale</a:t>
            </a:r>
          </a:p>
        </p:txBody>
      </p:sp>
    </p:spTree>
    <p:extLst>
      <p:ext uri="{BB962C8B-B14F-4D97-AF65-F5344CB8AC3E}">
        <p14:creationId xmlns:p14="http://schemas.microsoft.com/office/powerpoint/2010/main" val="728966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60"/>
                                  </p:stCondLst>
                                  <p:childTnLst>
                                    <p:set>
                                      <p:cBhvr>
                                        <p:cTn id="6" dur="1" fill="hold">
                                          <p:stCondLst>
                                            <p:cond delay="0"/>
                                          </p:stCondLst>
                                        </p:cTn>
                                        <p:tgtEl>
                                          <p:spTgt spid="245"/>
                                        </p:tgtEl>
                                        <p:attrNameLst>
                                          <p:attrName>style.visibility</p:attrName>
                                        </p:attrNameLst>
                                      </p:cBhvr>
                                      <p:to>
                                        <p:strVal val="visible"/>
                                      </p:to>
                                    </p:set>
                                    <p:animEffect transition="in" filter="fade">
                                      <p:cBhvr>
                                        <p:cTn id="7" dur="500"/>
                                        <p:tgtEl>
                                          <p:spTgt spid="245"/>
                                        </p:tgtEl>
                                      </p:cBhvr>
                                    </p:animEffect>
                                  </p:childTnLst>
                                </p:cTn>
                              </p:par>
                              <p:par>
                                <p:cTn id="8" presetID="53" presetClass="entr" presetSubtype="16" fill="hold" grpId="0" nodeType="withEffect">
                                  <p:stCondLst>
                                    <p:cond delay="1250"/>
                                  </p:stCondLst>
                                  <p:childTnLst>
                                    <p:set>
                                      <p:cBhvr>
                                        <p:cTn id="9" dur="1" fill="hold">
                                          <p:stCondLst>
                                            <p:cond delay="0"/>
                                          </p:stCondLst>
                                        </p:cTn>
                                        <p:tgtEl>
                                          <p:spTgt spid="466"/>
                                        </p:tgtEl>
                                        <p:attrNameLst>
                                          <p:attrName>style.visibility</p:attrName>
                                        </p:attrNameLst>
                                      </p:cBhvr>
                                      <p:to>
                                        <p:strVal val="visible"/>
                                      </p:to>
                                    </p:set>
                                    <p:anim calcmode="lin" valueType="num">
                                      <p:cBhvr>
                                        <p:cTn id="10" dur="500" fill="hold"/>
                                        <p:tgtEl>
                                          <p:spTgt spid="466"/>
                                        </p:tgtEl>
                                        <p:attrNameLst>
                                          <p:attrName>ppt_w</p:attrName>
                                        </p:attrNameLst>
                                      </p:cBhvr>
                                      <p:tavLst>
                                        <p:tav tm="0">
                                          <p:val>
                                            <p:fltVal val="0"/>
                                          </p:val>
                                        </p:tav>
                                        <p:tav tm="100000">
                                          <p:val>
                                            <p:strVal val="#ppt_w"/>
                                          </p:val>
                                        </p:tav>
                                      </p:tavLst>
                                    </p:anim>
                                    <p:anim calcmode="lin" valueType="num">
                                      <p:cBhvr>
                                        <p:cTn id="11" dur="500" fill="hold"/>
                                        <p:tgtEl>
                                          <p:spTgt spid="466"/>
                                        </p:tgtEl>
                                        <p:attrNameLst>
                                          <p:attrName>ppt_h</p:attrName>
                                        </p:attrNameLst>
                                      </p:cBhvr>
                                      <p:tavLst>
                                        <p:tav tm="0">
                                          <p:val>
                                            <p:fltVal val="0"/>
                                          </p:val>
                                        </p:tav>
                                        <p:tav tm="100000">
                                          <p:val>
                                            <p:strVal val="#ppt_h"/>
                                          </p:val>
                                        </p:tav>
                                      </p:tavLst>
                                    </p:anim>
                                    <p:animEffect transition="in" filter="fade">
                                      <p:cBhvr>
                                        <p:cTn id="12" dur="500"/>
                                        <p:tgtEl>
                                          <p:spTgt spid="466"/>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67"/>
                                        </p:tgtEl>
                                        <p:attrNameLst>
                                          <p:attrName>style.visibility</p:attrName>
                                        </p:attrNameLst>
                                      </p:cBhvr>
                                      <p:to>
                                        <p:strVal val="visible"/>
                                      </p:to>
                                    </p:set>
                                    <p:anim calcmode="lin" valueType="num">
                                      <p:cBhvr>
                                        <p:cTn id="15" dur="500" fill="hold"/>
                                        <p:tgtEl>
                                          <p:spTgt spid="467"/>
                                        </p:tgtEl>
                                        <p:attrNameLst>
                                          <p:attrName>ppt_w</p:attrName>
                                        </p:attrNameLst>
                                      </p:cBhvr>
                                      <p:tavLst>
                                        <p:tav tm="0">
                                          <p:val>
                                            <p:fltVal val="0"/>
                                          </p:val>
                                        </p:tav>
                                        <p:tav tm="100000">
                                          <p:val>
                                            <p:strVal val="#ppt_w"/>
                                          </p:val>
                                        </p:tav>
                                      </p:tavLst>
                                    </p:anim>
                                    <p:anim calcmode="lin" valueType="num">
                                      <p:cBhvr>
                                        <p:cTn id="16" dur="500" fill="hold"/>
                                        <p:tgtEl>
                                          <p:spTgt spid="467"/>
                                        </p:tgtEl>
                                        <p:attrNameLst>
                                          <p:attrName>ppt_h</p:attrName>
                                        </p:attrNameLst>
                                      </p:cBhvr>
                                      <p:tavLst>
                                        <p:tav tm="0">
                                          <p:val>
                                            <p:fltVal val="0"/>
                                          </p:val>
                                        </p:tav>
                                        <p:tav tm="100000">
                                          <p:val>
                                            <p:strVal val="#ppt_h"/>
                                          </p:val>
                                        </p:tav>
                                      </p:tavLst>
                                    </p:anim>
                                    <p:animEffect transition="in" filter="fade">
                                      <p:cBhvr>
                                        <p:cTn id="17" dur="500"/>
                                        <p:tgtEl>
                                          <p:spTgt spid="467"/>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468"/>
                                        </p:tgtEl>
                                        <p:attrNameLst>
                                          <p:attrName>style.visibility</p:attrName>
                                        </p:attrNameLst>
                                      </p:cBhvr>
                                      <p:to>
                                        <p:strVal val="visible"/>
                                      </p:to>
                                    </p:set>
                                    <p:anim calcmode="lin" valueType="num">
                                      <p:cBhvr>
                                        <p:cTn id="20" dur="500" fill="hold"/>
                                        <p:tgtEl>
                                          <p:spTgt spid="468"/>
                                        </p:tgtEl>
                                        <p:attrNameLst>
                                          <p:attrName>ppt_w</p:attrName>
                                        </p:attrNameLst>
                                      </p:cBhvr>
                                      <p:tavLst>
                                        <p:tav tm="0">
                                          <p:val>
                                            <p:fltVal val="0"/>
                                          </p:val>
                                        </p:tav>
                                        <p:tav tm="100000">
                                          <p:val>
                                            <p:strVal val="#ppt_w"/>
                                          </p:val>
                                        </p:tav>
                                      </p:tavLst>
                                    </p:anim>
                                    <p:anim calcmode="lin" valueType="num">
                                      <p:cBhvr>
                                        <p:cTn id="21" dur="500" fill="hold"/>
                                        <p:tgtEl>
                                          <p:spTgt spid="468"/>
                                        </p:tgtEl>
                                        <p:attrNameLst>
                                          <p:attrName>ppt_h</p:attrName>
                                        </p:attrNameLst>
                                      </p:cBhvr>
                                      <p:tavLst>
                                        <p:tav tm="0">
                                          <p:val>
                                            <p:fltVal val="0"/>
                                          </p:val>
                                        </p:tav>
                                        <p:tav tm="100000">
                                          <p:val>
                                            <p:strVal val="#ppt_h"/>
                                          </p:val>
                                        </p:tav>
                                      </p:tavLst>
                                    </p:anim>
                                    <p:animEffect transition="in" filter="fade">
                                      <p:cBhvr>
                                        <p:cTn id="22" dur="500"/>
                                        <p:tgtEl>
                                          <p:spTgt spid="468"/>
                                        </p:tgtEl>
                                      </p:cBhvr>
                                    </p:animEffect>
                                  </p:childTnLst>
                                </p:cTn>
                              </p:par>
                              <p:par>
                                <p:cTn id="23" presetID="53" presetClass="entr" presetSubtype="16" fill="hold" grpId="0" nodeType="withEffect">
                                  <p:stCondLst>
                                    <p:cond delay="750"/>
                                  </p:stCondLst>
                                  <p:childTnLst>
                                    <p:set>
                                      <p:cBhvr>
                                        <p:cTn id="24" dur="1" fill="hold">
                                          <p:stCondLst>
                                            <p:cond delay="0"/>
                                          </p:stCondLst>
                                        </p:cTn>
                                        <p:tgtEl>
                                          <p:spTgt spid="469"/>
                                        </p:tgtEl>
                                        <p:attrNameLst>
                                          <p:attrName>style.visibility</p:attrName>
                                        </p:attrNameLst>
                                      </p:cBhvr>
                                      <p:to>
                                        <p:strVal val="visible"/>
                                      </p:to>
                                    </p:set>
                                    <p:anim calcmode="lin" valueType="num">
                                      <p:cBhvr>
                                        <p:cTn id="25" dur="500" fill="hold"/>
                                        <p:tgtEl>
                                          <p:spTgt spid="469"/>
                                        </p:tgtEl>
                                        <p:attrNameLst>
                                          <p:attrName>ppt_w</p:attrName>
                                        </p:attrNameLst>
                                      </p:cBhvr>
                                      <p:tavLst>
                                        <p:tav tm="0">
                                          <p:val>
                                            <p:fltVal val="0"/>
                                          </p:val>
                                        </p:tav>
                                        <p:tav tm="100000">
                                          <p:val>
                                            <p:strVal val="#ppt_w"/>
                                          </p:val>
                                        </p:tav>
                                      </p:tavLst>
                                    </p:anim>
                                    <p:anim calcmode="lin" valueType="num">
                                      <p:cBhvr>
                                        <p:cTn id="26" dur="500" fill="hold"/>
                                        <p:tgtEl>
                                          <p:spTgt spid="469"/>
                                        </p:tgtEl>
                                        <p:attrNameLst>
                                          <p:attrName>ppt_h</p:attrName>
                                        </p:attrNameLst>
                                      </p:cBhvr>
                                      <p:tavLst>
                                        <p:tav tm="0">
                                          <p:val>
                                            <p:fltVal val="0"/>
                                          </p:val>
                                        </p:tav>
                                        <p:tav tm="100000">
                                          <p:val>
                                            <p:strVal val="#ppt_h"/>
                                          </p:val>
                                        </p:tav>
                                      </p:tavLst>
                                    </p:anim>
                                    <p:animEffect transition="in" filter="fade">
                                      <p:cBhvr>
                                        <p:cTn id="27" dur="500"/>
                                        <p:tgtEl>
                                          <p:spTgt spid="469"/>
                                        </p:tgtEl>
                                      </p:cBhvr>
                                    </p:animEffect>
                                  </p:childTnLst>
                                </p:cTn>
                              </p:par>
                              <p:par>
                                <p:cTn id="28" presetID="53" presetClass="entr" presetSubtype="16" fill="hold" grpId="0" nodeType="withEffect">
                                  <p:stCondLst>
                                    <p:cond delay="250"/>
                                  </p:stCondLst>
                                  <p:childTnLst>
                                    <p:set>
                                      <p:cBhvr>
                                        <p:cTn id="29" dur="1" fill="hold">
                                          <p:stCondLst>
                                            <p:cond delay="0"/>
                                          </p:stCondLst>
                                        </p:cTn>
                                        <p:tgtEl>
                                          <p:spTgt spid="470"/>
                                        </p:tgtEl>
                                        <p:attrNameLst>
                                          <p:attrName>style.visibility</p:attrName>
                                        </p:attrNameLst>
                                      </p:cBhvr>
                                      <p:to>
                                        <p:strVal val="visible"/>
                                      </p:to>
                                    </p:set>
                                    <p:anim calcmode="lin" valueType="num">
                                      <p:cBhvr>
                                        <p:cTn id="30" dur="500" fill="hold"/>
                                        <p:tgtEl>
                                          <p:spTgt spid="470"/>
                                        </p:tgtEl>
                                        <p:attrNameLst>
                                          <p:attrName>ppt_w</p:attrName>
                                        </p:attrNameLst>
                                      </p:cBhvr>
                                      <p:tavLst>
                                        <p:tav tm="0">
                                          <p:val>
                                            <p:fltVal val="0"/>
                                          </p:val>
                                        </p:tav>
                                        <p:tav tm="100000">
                                          <p:val>
                                            <p:strVal val="#ppt_w"/>
                                          </p:val>
                                        </p:tav>
                                      </p:tavLst>
                                    </p:anim>
                                    <p:anim calcmode="lin" valueType="num">
                                      <p:cBhvr>
                                        <p:cTn id="31" dur="500" fill="hold"/>
                                        <p:tgtEl>
                                          <p:spTgt spid="470"/>
                                        </p:tgtEl>
                                        <p:attrNameLst>
                                          <p:attrName>ppt_h</p:attrName>
                                        </p:attrNameLst>
                                      </p:cBhvr>
                                      <p:tavLst>
                                        <p:tav tm="0">
                                          <p:val>
                                            <p:fltVal val="0"/>
                                          </p:val>
                                        </p:tav>
                                        <p:tav tm="100000">
                                          <p:val>
                                            <p:strVal val="#ppt_h"/>
                                          </p:val>
                                        </p:tav>
                                      </p:tavLst>
                                    </p:anim>
                                    <p:animEffect transition="in" filter="fade">
                                      <p:cBhvr>
                                        <p:cTn id="32" dur="500"/>
                                        <p:tgtEl>
                                          <p:spTgt spid="470"/>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471"/>
                                        </p:tgtEl>
                                        <p:attrNameLst>
                                          <p:attrName>style.visibility</p:attrName>
                                        </p:attrNameLst>
                                      </p:cBhvr>
                                      <p:to>
                                        <p:strVal val="visible"/>
                                      </p:to>
                                    </p:set>
                                    <p:anim calcmode="lin" valueType="num">
                                      <p:cBhvr>
                                        <p:cTn id="35" dur="500" fill="hold"/>
                                        <p:tgtEl>
                                          <p:spTgt spid="471"/>
                                        </p:tgtEl>
                                        <p:attrNameLst>
                                          <p:attrName>ppt_w</p:attrName>
                                        </p:attrNameLst>
                                      </p:cBhvr>
                                      <p:tavLst>
                                        <p:tav tm="0">
                                          <p:val>
                                            <p:fltVal val="0"/>
                                          </p:val>
                                        </p:tav>
                                        <p:tav tm="100000">
                                          <p:val>
                                            <p:strVal val="#ppt_w"/>
                                          </p:val>
                                        </p:tav>
                                      </p:tavLst>
                                    </p:anim>
                                    <p:anim calcmode="lin" valueType="num">
                                      <p:cBhvr>
                                        <p:cTn id="36" dur="500" fill="hold"/>
                                        <p:tgtEl>
                                          <p:spTgt spid="471"/>
                                        </p:tgtEl>
                                        <p:attrNameLst>
                                          <p:attrName>ppt_h</p:attrName>
                                        </p:attrNameLst>
                                      </p:cBhvr>
                                      <p:tavLst>
                                        <p:tav tm="0">
                                          <p:val>
                                            <p:fltVal val="0"/>
                                          </p:val>
                                        </p:tav>
                                        <p:tav tm="100000">
                                          <p:val>
                                            <p:strVal val="#ppt_h"/>
                                          </p:val>
                                        </p:tav>
                                      </p:tavLst>
                                    </p:anim>
                                    <p:animEffect transition="in" filter="fade">
                                      <p:cBhvr>
                                        <p:cTn id="37" dur="500"/>
                                        <p:tgtEl>
                                          <p:spTgt spid="471"/>
                                        </p:tgtEl>
                                      </p:cBhvr>
                                    </p:animEffect>
                                  </p:childTnLst>
                                </p:cTn>
                              </p:par>
                              <p:par>
                                <p:cTn id="38" presetID="53" presetClass="entr" presetSubtype="16" fill="hold" grpId="0" nodeType="withEffect">
                                  <p:stCondLst>
                                    <p:cond delay="750"/>
                                  </p:stCondLst>
                                  <p:childTnLst>
                                    <p:set>
                                      <p:cBhvr>
                                        <p:cTn id="39" dur="1" fill="hold">
                                          <p:stCondLst>
                                            <p:cond delay="0"/>
                                          </p:stCondLst>
                                        </p:cTn>
                                        <p:tgtEl>
                                          <p:spTgt spid="472"/>
                                        </p:tgtEl>
                                        <p:attrNameLst>
                                          <p:attrName>style.visibility</p:attrName>
                                        </p:attrNameLst>
                                      </p:cBhvr>
                                      <p:to>
                                        <p:strVal val="visible"/>
                                      </p:to>
                                    </p:set>
                                    <p:anim calcmode="lin" valueType="num">
                                      <p:cBhvr>
                                        <p:cTn id="40" dur="500" fill="hold"/>
                                        <p:tgtEl>
                                          <p:spTgt spid="472"/>
                                        </p:tgtEl>
                                        <p:attrNameLst>
                                          <p:attrName>ppt_w</p:attrName>
                                        </p:attrNameLst>
                                      </p:cBhvr>
                                      <p:tavLst>
                                        <p:tav tm="0">
                                          <p:val>
                                            <p:fltVal val="0"/>
                                          </p:val>
                                        </p:tav>
                                        <p:tav tm="100000">
                                          <p:val>
                                            <p:strVal val="#ppt_w"/>
                                          </p:val>
                                        </p:tav>
                                      </p:tavLst>
                                    </p:anim>
                                    <p:anim calcmode="lin" valueType="num">
                                      <p:cBhvr>
                                        <p:cTn id="41" dur="500" fill="hold"/>
                                        <p:tgtEl>
                                          <p:spTgt spid="472"/>
                                        </p:tgtEl>
                                        <p:attrNameLst>
                                          <p:attrName>ppt_h</p:attrName>
                                        </p:attrNameLst>
                                      </p:cBhvr>
                                      <p:tavLst>
                                        <p:tav tm="0">
                                          <p:val>
                                            <p:fltVal val="0"/>
                                          </p:val>
                                        </p:tav>
                                        <p:tav tm="100000">
                                          <p:val>
                                            <p:strVal val="#ppt_h"/>
                                          </p:val>
                                        </p:tav>
                                      </p:tavLst>
                                    </p:anim>
                                    <p:animEffect transition="in" filter="fade">
                                      <p:cBhvr>
                                        <p:cTn id="42" dur="500"/>
                                        <p:tgtEl>
                                          <p:spTgt spid="472"/>
                                        </p:tgtEl>
                                      </p:cBhvr>
                                    </p:animEffect>
                                  </p:childTnLst>
                                </p:cTn>
                              </p:par>
                              <p:par>
                                <p:cTn id="43" presetID="53" presetClass="entr" presetSubtype="16" fill="hold" grpId="0" nodeType="withEffect">
                                  <p:stCondLst>
                                    <p:cond delay="750"/>
                                  </p:stCondLst>
                                  <p:childTnLst>
                                    <p:set>
                                      <p:cBhvr>
                                        <p:cTn id="44" dur="1" fill="hold">
                                          <p:stCondLst>
                                            <p:cond delay="0"/>
                                          </p:stCondLst>
                                        </p:cTn>
                                        <p:tgtEl>
                                          <p:spTgt spid="473"/>
                                        </p:tgtEl>
                                        <p:attrNameLst>
                                          <p:attrName>style.visibility</p:attrName>
                                        </p:attrNameLst>
                                      </p:cBhvr>
                                      <p:to>
                                        <p:strVal val="visible"/>
                                      </p:to>
                                    </p:set>
                                    <p:anim calcmode="lin" valueType="num">
                                      <p:cBhvr>
                                        <p:cTn id="45" dur="500" fill="hold"/>
                                        <p:tgtEl>
                                          <p:spTgt spid="473"/>
                                        </p:tgtEl>
                                        <p:attrNameLst>
                                          <p:attrName>ppt_w</p:attrName>
                                        </p:attrNameLst>
                                      </p:cBhvr>
                                      <p:tavLst>
                                        <p:tav tm="0">
                                          <p:val>
                                            <p:fltVal val="0"/>
                                          </p:val>
                                        </p:tav>
                                        <p:tav tm="100000">
                                          <p:val>
                                            <p:strVal val="#ppt_w"/>
                                          </p:val>
                                        </p:tav>
                                      </p:tavLst>
                                    </p:anim>
                                    <p:anim calcmode="lin" valueType="num">
                                      <p:cBhvr>
                                        <p:cTn id="46" dur="500" fill="hold"/>
                                        <p:tgtEl>
                                          <p:spTgt spid="473"/>
                                        </p:tgtEl>
                                        <p:attrNameLst>
                                          <p:attrName>ppt_h</p:attrName>
                                        </p:attrNameLst>
                                      </p:cBhvr>
                                      <p:tavLst>
                                        <p:tav tm="0">
                                          <p:val>
                                            <p:fltVal val="0"/>
                                          </p:val>
                                        </p:tav>
                                        <p:tav tm="100000">
                                          <p:val>
                                            <p:strVal val="#ppt_h"/>
                                          </p:val>
                                        </p:tav>
                                      </p:tavLst>
                                    </p:anim>
                                    <p:animEffect transition="in" filter="fade">
                                      <p:cBhvr>
                                        <p:cTn id="47" dur="500"/>
                                        <p:tgtEl>
                                          <p:spTgt spid="473"/>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474"/>
                                        </p:tgtEl>
                                        <p:attrNameLst>
                                          <p:attrName>style.visibility</p:attrName>
                                        </p:attrNameLst>
                                      </p:cBhvr>
                                      <p:to>
                                        <p:strVal val="visible"/>
                                      </p:to>
                                    </p:set>
                                    <p:anim calcmode="lin" valueType="num">
                                      <p:cBhvr>
                                        <p:cTn id="50" dur="500" fill="hold"/>
                                        <p:tgtEl>
                                          <p:spTgt spid="474"/>
                                        </p:tgtEl>
                                        <p:attrNameLst>
                                          <p:attrName>ppt_w</p:attrName>
                                        </p:attrNameLst>
                                      </p:cBhvr>
                                      <p:tavLst>
                                        <p:tav tm="0">
                                          <p:val>
                                            <p:fltVal val="0"/>
                                          </p:val>
                                        </p:tav>
                                        <p:tav tm="100000">
                                          <p:val>
                                            <p:strVal val="#ppt_w"/>
                                          </p:val>
                                        </p:tav>
                                      </p:tavLst>
                                    </p:anim>
                                    <p:anim calcmode="lin" valueType="num">
                                      <p:cBhvr>
                                        <p:cTn id="51" dur="500" fill="hold"/>
                                        <p:tgtEl>
                                          <p:spTgt spid="474"/>
                                        </p:tgtEl>
                                        <p:attrNameLst>
                                          <p:attrName>ppt_h</p:attrName>
                                        </p:attrNameLst>
                                      </p:cBhvr>
                                      <p:tavLst>
                                        <p:tav tm="0">
                                          <p:val>
                                            <p:fltVal val="0"/>
                                          </p:val>
                                        </p:tav>
                                        <p:tav tm="100000">
                                          <p:val>
                                            <p:strVal val="#ppt_h"/>
                                          </p:val>
                                        </p:tav>
                                      </p:tavLst>
                                    </p:anim>
                                    <p:animEffect transition="in" filter="fade">
                                      <p:cBhvr>
                                        <p:cTn id="52" dur="500"/>
                                        <p:tgtEl>
                                          <p:spTgt spid="474"/>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475"/>
                                        </p:tgtEl>
                                        <p:attrNameLst>
                                          <p:attrName>style.visibility</p:attrName>
                                        </p:attrNameLst>
                                      </p:cBhvr>
                                      <p:to>
                                        <p:strVal val="visible"/>
                                      </p:to>
                                    </p:set>
                                    <p:anim calcmode="lin" valueType="num">
                                      <p:cBhvr>
                                        <p:cTn id="55" dur="500" fill="hold"/>
                                        <p:tgtEl>
                                          <p:spTgt spid="475"/>
                                        </p:tgtEl>
                                        <p:attrNameLst>
                                          <p:attrName>ppt_w</p:attrName>
                                        </p:attrNameLst>
                                      </p:cBhvr>
                                      <p:tavLst>
                                        <p:tav tm="0">
                                          <p:val>
                                            <p:fltVal val="0"/>
                                          </p:val>
                                        </p:tav>
                                        <p:tav tm="100000">
                                          <p:val>
                                            <p:strVal val="#ppt_w"/>
                                          </p:val>
                                        </p:tav>
                                      </p:tavLst>
                                    </p:anim>
                                    <p:anim calcmode="lin" valueType="num">
                                      <p:cBhvr>
                                        <p:cTn id="56" dur="500" fill="hold"/>
                                        <p:tgtEl>
                                          <p:spTgt spid="475"/>
                                        </p:tgtEl>
                                        <p:attrNameLst>
                                          <p:attrName>ppt_h</p:attrName>
                                        </p:attrNameLst>
                                      </p:cBhvr>
                                      <p:tavLst>
                                        <p:tav tm="0">
                                          <p:val>
                                            <p:fltVal val="0"/>
                                          </p:val>
                                        </p:tav>
                                        <p:tav tm="100000">
                                          <p:val>
                                            <p:strVal val="#ppt_h"/>
                                          </p:val>
                                        </p:tav>
                                      </p:tavLst>
                                    </p:anim>
                                    <p:animEffect transition="in" filter="fade">
                                      <p:cBhvr>
                                        <p:cTn id="57" dur="500"/>
                                        <p:tgtEl>
                                          <p:spTgt spid="475"/>
                                        </p:tgtEl>
                                      </p:cBhvr>
                                    </p:animEffect>
                                  </p:childTnLst>
                                </p:cTn>
                              </p:par>
                              <p:par>
                                <p:cTn id="58" presetID="53" presetClass="entr" presetSubtype="16" fill="hold" grpId="0" nodeType="withEffect">
                                  <p:stCondLst>
                                    <p:cond delay="1000"/>
                                  </p:stCondLst>
                                  <p:childTnLst>
                                    <p:set>
                                      <p:cBhvr>
                                        <p:cTn id="59" dur="1" fill="hold">
                                          <p:stCondLst>
                                            <p:cond delay="0"/>
                                          </p:stCondLst>
                                        </p:cTn>
                                        <p:tgtEl>
                                          <p:spTgt spid="476"/>
                                        </p:tgtEl>
                                        <p:attrNameLst>
                                          <p:attrName>style.visibility</p:attrName>
                                        </p:attrNameLst>
                                      </p:cBhvr>
                                      <p:to>
                                        <p:strVal val="visible"/>
                                      </p:to>
                                    </p:set>
                                    <p:anim calcmode="lin" valueType="num">
                                      <p:cBhvr>
                                        <p:cTn id="60" dur="500" fill="hold"/>
                                        <p:tgtEl>
                                          <p:spTgt spid="476"/>
                                        </p:tgtEl>
                                        <p:attrNameLst>
                                          <p:attrName>ppt_w</p:attrName>
                                        </p:attrNameLst>
                                      </p:cBhvr>
                                      <p:tavLst>
                                        <p:tav tm="0">
                                          <p:val>
                                            <p:fltVal val="0"/>
                                          </p:val>
                                        </p:tav>
                                        <p:tav tm="100000">
                                          <p:val>
                                            <p:strVal val="#ppt_w"/>
                                          </p:val>
                                        </p:tav>
                                      </p:tavLst>
                                    </p:anim>
                                    <p:anim calcmode="lin" valueType="num">
                                      <p:cBhvr>
                                        <p:cTn id="61" dur="500" fill="hold"/>
                                        <p:tgtEl>
                                          <p:spTgt spid="476"/>
                                        </p:tgtEl>
                                        <p:attrNameLst>
                                          <p:attrName>ppt_h</p:attrName>
                                        </p:attrNameLst>
                                      </p:cBhvr>
                                      <p:tavLst>
                                        <p:tav tm="0">
                                          <p:val>
                                            <p:fltVal val="0"/>
                                          </p:val>
                                        </p:tav>
                                        <p:tav tm="100000">
                                          <p:val>
                                            <p:strVal val="#ppt_h"/>
                                          </p:val>
                                        </p:tav>
                                      </p:tavLst>
                                    </p:anim>
                                    <p:animEffect transition="in" filter="fade">
                                      <p:cBhvr>
                                        <p:cTn id="62" dur="500"/>
                                        <p:tgtEl>
                                          <p:spTgt spid="476"/>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477"/>
                                        </p:tgtEl>
                                        <p:attrNameLst>
                                          <p:attrName>style.visibility</p:attrName>
                                        </p:attrNameLst>
                                      </p:cBhvr>
                                      <p:to>
                                        <p:strVal val="visible"/>
                                      </p:to>
                                    </p:set>
                                    <p:anim calcmode="lin" valueType="num">
                                      <p:cBhvr>
                                        <p:cTn id="65" dur="500" fill="hold"/>
                                        <p:tgtEl>
                                          <p:spTgt spid="477"/>
                                        </p:tgtEl>
                                        <p:attrNameLst>
                                          <p:attrName>ppt_w</p:attrName>
                                        </p:attrNameLst>
                                      </p:cBhvr>
                                      <p:tavLst>
                                        <p:tav tm="0">
                                          <p:val>
                                            <p:fltVal val="0"/>
                                          </p:val>
                                        </p:tav>
                                        <p:tav tm="100000">
                                          <p:val>
                                            <p:strVal val="#ppt_w"/>
                                          </p:val>
                                        </p:tav>
                                      </p:tavLst>
                                    </p:anim>
                                    <p:anim calcmode="lin" valueType="num">
                                      <p:cBhvr>
                                        <p:cTn id="66" dur="500" fill="hold"/>
                                        <p:tgtEl>
                                          <p:spTgt spid="477"/>
                                        </p:tgtEl>
                                        <p:attrNameLst>
                                          <p:attrName>ppt_h</p:attrName>
                                        </p:attrNameLst>
                                      </p:cBhvr>
                                      <p:tavLst>
                                        <p:tav tm="0">
                                          <p:val>
                                            <p:fltVal val="0"/>
                                          </p:val>
                                        </p:tav>
                                        <p:tav tm="100000">
                                          <p:val>
                                            <p:strVal val="#ppt_h"/>
                                          </p:val>
                                        </p:tav>
                                      </p:tavLst>
                                    </p:anim>
                                    <p:animEffect transition="in" filter="fade">
                                      <p:cBhvr>
                                        <p:cTn id="67" dur="500"/>
                                        <p:tgtEl>
                                          <p:spTgt spid="477"/>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478"/>
                                        </p:tgtEl>
                                        <p:attrNameLst>
                                          <p:attrName>style.visibility</p:attrName>
                                        </p:attrNameLst>
                                      </p:cBhvr>
                                      <p:to>
                                        <p:strVal val="visible"/>
                                      </p:to>
                                    </p:set>
                                    <p:anim calcmode="lin" valueType="num">
                                      <p:cBhvr>
                                        <p:cTn id="70" dur="500" fill="hold"/>
                                        <p:tgtEl>
                                          <p:spTgt spid="478"/>
                                        </p:tgtEl>
                                        <p:attrNameLst>
                                          <p:attrName>ppt_w</p:attrName>
                                        </p:attrNameLst>
                                      </p:cBhvr>
                                      <p:tavLst>
                                        <p:tav tm="0">
                                          <p:val>
                                            <p:fltVal val="0"/>
                                          </p:val>
                                        </p:tav>
                                        <p:tav tm="100000">
                                          <p:val>
                                            <p:strVal val="#ppt_w"/>
                                          </p:val>
                                        </p:tav>
                                      </p:tavLst>
                                    </p:anim>
                                    <p:anim calcmode="lin" valueType="num">
                                      <p:cBhvr>
                                        <p:cTn id="71" dur="500" fill="hold"/>
                                        <p:tgtEl>
                                          <p:spTgt spid="478"/>
                                        </p:tgtEl>
                                        <p:attrNameLst>
                                          <p:attrName>ppt_h</p:attrName>
                                        </p:attrNameLst>
                                      </p:cBhvr>
                                      <p:tavLst>
                                        <p:tav tm="0">
                                          <p:val>
                                            <p:fltVal val="0"/>
                                          </p:val>
                                        </p:tav>
                                        <p:tav tm="100000">
                                          <p:val>
                                            <p:strVal val="#ppt_h"/>
                                          </p:val>
                                        </p:tav>
                                      </p:tavLst>
                                    </p:anim>
                                    <p:animEffect transition="in" filter="fade">
                                      <p:cBhvr>
                                        <p:cTn id="72" dur="500"/>
                                        <p:tgtEl>
                                          <p:spTgt spid="478"/>
                                        </p:tgtEl>
                                      </p:cBhvr>
                                    </p:animEffect>
                                  </p:childTnLst>
                                </p:cTn>
                              </p:par>
                              <p:par>
                                <p:cTn id="73" presetID="53" presetClass="entr" presetSubtype="16" fill="hold" grpId="0" nodeType="withEffect">
                                  <p:stCondLst>
                                    <p:cond delay="250"/>
                                  </p:stCondLst>
                                  <p:childTnLst>
                                    <p:set>
                                      <p:cBhvr>
                                        <p:cTn id="74" dur="1" fill="hold">
                                          <p:stCondLst>
                                            <p:cond delay="0"/>
                                          </p:stCondLst>
                                        </p:cTn>
                                        <p:tgtEl>
                                          <p:spTgt spid="480"/>
                                        </p:tgtEl>
                                        <p:attrNameLst>
                                          <p:attrName>style.visibility</p:attrName>
                                        </p:attrNameLst>
                                      </p:cBhvr>
                                      <p:to>
                                        <p:strVal val="visible"/>
                                      </p:to>
                                    </p:set>
                                    <p:anim calcmode="lin" valueType="num">
                                      <p:cBhvr>
                                        <p:cTn id="75" dur="500" fill="hold"/>
                                        <p:tgtEl>
                                          <p:spTgt spid="480"/>
                                        </p:tgtEl>
                                        <p:attrNameLst>
                                          <p:attrName>ppt_w</p:attrName>
                                        </p:attrNameLst>
                                      </p:cBhvr>
                                      <p:tavLst>
                                        <p:tav tm="0">
                                          <p:val>
                                            <p:fltVal val="0"/>
                                          </p:val>
                                        </p:tav>
                                        <p:tav tm="100000">
                                          <p:val>
                                            <p:strVal val="#ppt_w"/>
                                          </p:val>
                                        </p:tav>
                                      </p:tavLst>
                                    </p:anim>
                                    <p:anim calcmode="lin" valueType="num">
                                      <p:cBhvr>
                                        <p:cTn id="76" dur="500" fill="hold"/>
                                        <p:tgtEl>
                                          <p:spTgt spid="480"/>
                                        </p:tgtEl>
                                        <p:attrNameLst>
                                          <p:attrName>ppt_h</p:attrName>
                                        </p:attrNameLst>
                                      </p:cBhvr>
                                      <p:tavLst>
                                        <p:tav tm="0">
                                          <p:val>
                                            <p:fltVal val="0"/>
                                          </p:val>
                                        </p:tav>
                                        <p:tav tm="100000">
                                          <p:val>
                                            <p:strVal val="#ppt_h"/>
                                          </p:val>
                                        </p:tav>
                                      </p:tavLst>
                                    </p:anim>
                                    <p:animEffect transition="in" filter="fade">
                                      <p:cBhvr>
                                        <p:cTn id="77" dur="500"/>
                                        <p:tgtEl>
                                          <p:spTgt spid="480"/>
                                        </p:tgtEl>
                                      </p:cBhvr>
                                    </p:animEffect>
                                  </p:childTnLst>
                                </p:cTn>
                              </p:par>
                              <p:par>
                                <p:cTn id="78" presetID="53" presetClass="entr" presetSubtype="16" fill="hold" grpId="0" nodeType="withEffect">
                                  <p:stCondLst>
                                    <p:cond delay="1250"/>
                                  </p:stCondLst>
                                  <p:childTnLst>
                                    <p:set>
                                      <p:cBhvr>
                                        <p:cTn id="79" dur="1" fill="hold">
                                          <p:stCondLst>
                                            <p:cond delay="0"/>
                                          </p:stCondLst>
                                        </p:cTn>
                                        <p:tgtEl>
                                          <p:spTgt spid="481"/>
                                        </p:tgtEl>
                                        <p:attrNameLst>
                                          <p:attrName>style.visibility</p:attrName>
                                        </p:attrNameLst>
                                      </p:cBhvr>
                                      <p:to>
                                        <p:strVal val="visible"/>
                                      </p:to>
                                    </p:set>
                                    <p:anim calcmode="lin" valueType="num">
                                      <p:cBhvr>
                                        <p:cTn id="80" dur="500" fill="hold"/>
                                        <p:tgtEl>
                                          <p:spTgt spid="481"/>
                                        </p:tgtEl>
                                        <p:attrNameLst>
                                          <p:attrName>ppt_w</p:attrName>
                                        </p:attrNameLst>
                                      </p:cBhvr>
                                      <p:tavLst>
                                        <p:tav tm="0">
                                          <p:val>
                                            <p:fltVal val="0"/>
                                          </p:val>
                                        </p:tav>
                                        <p:tav tm="100000">
                                          <p:val>
                                            <p:strVal val="#ppt_w"/>
                                          </p:val>
                                        </p:tav>
                                      </p:tavLst>
                                    </p:anim>
                                    <p:anim calcmode="lin" valueType="num">
                                      <p:cBhvr>
                                        <p:cTn id="81" dur="500" fill="hold"/>
                                        <p:tgtEl>
                                          <p:spTgt spid="481"/>
                                        </p:tgtEl>
                                        <p:attrNameLst>
                                          <p:attrName>ppt_h</p:attrName>
                                        </p:attrNameLst>
                                      </p:cBhvr>
                                      <p:tavLst>
                                        <p:tav tm="0">
                                          <p:val>
                                            <p:fltVal val="0"/>
                                          </p:val>
                                        </p:tav>
                                        <p:tav tm="100000">
                                          <p:val>
                                            <p:strVal val="#ppt_h"/>
                                          </p:val>
                                        </p:tav>
                                      </p:tavLst>
                                    </p:anim>
                                    <p:animEffect transition="in" filter="fade">
                                      <p:cBhvr>
                                        <p:cTn id="82" dur="500"/>
                                        <p:tgtEl>
                                          <p:spTgt spid="481"/>
                                        </p:tgtEl>
                                      </p:cBhvr>
                                    </p:animEffect>
                                  </p:childTnLst>
                                </p:cTn>
                              </p:par>
                              <p:par>
                                <p:cTn id="83" presetID="53" presetClass="entr" presetSubtype="16" fill="hold" grpId="0" nodeType="withEffect">
                                  <p:stCondLst>
                                    <p:cond delay="1000"/>
                                  </p:stCondLst>
                                  <p:childTnLst>
                                    <p:set>
                                      <p:cBhvr>
                                        <p:cTn id="84" dur="1" fill="hold">
                                          <p:stCondLst>
                                            <p:cond delay="0"/>
                                          </p:stCondLst>
                                        </p:cTn>
                                        <p:tgtEl>
                                          <p:spTgt spid="482"/>
                                        </p:tgtEl>
                                        <p:attrNameLst>
                                          <p:attrName>style.visibility</p:attrName>
                                        </p:attrNameLst>
                                      </p:cBhvr>
                                      <p:to>
                                        <p:strVal val="visible"/>
                                      </p:to>
                                    </p:set>
                                    <p:anim calcmode="lin" valueType="num">
                                      <p:cBhvr>
                                        <p:cTn id="85" dur="500" fill="hold"/>
                                        <p:tgtEl>
                                          <p:spTgt spid="482"/>
                                        </p:tgtEl>
                                        <p:attrNameLst>
                                          <p:attrName>ppt_w</p:attrName>
                                        </p:attrNameLst>
                                      </p:cBhvr>
                                      <p:tavLst>
                                        <p:tav tm="0">
                                          <p:val>
                                            <p:fltVal val="0"/>
                                          </p:val>
                                        </p:tav>
                                        <p:tav tm="100000">
                                          <p:val>
                                            <p:strVal val="#ppt_w"/>
                                          </p:val>
                                        </p:tav>
                                      </p:tavLst>
                                    </p:anim>
                                    <p:anim calcmode="lin" valueType="num">
                                      <p:cBhvr>
                                        <p:cTn id="86" dur="500" fill="hold"/>
                                        <p:tgtEl>
                                          <p:spTgt spid="482"/>
                                        </p:tgtEl>
                                        <p:attrNameLst>
                                          <p:attrName>ppt_h</p:attrName>
                                        </p:attrNameLst>
                                      </p:cBhvr>
                                      <p:tavLst>
                                        <p:tav tm="0">
                                          <p:val>
                                            <p:fltVal val="0"/>
                                          </p:val>
                                        </p:tav>
                                        <p:tav tm="100000">
                                          <p:val>
                                            <p:strVal val="#ppt_h"/>
                                          </p:val>
                                        </p:tav>
                                      </p:tavLst>
                                    </p:anim>
                                    <p:animEffect transition="in" filter="fade">
                                      <p:cBhvr>
                                        <p:cTn id="87" dur="500"/>
                                        <p:tgtEl>
                                          <p:spTgt spid="482"/>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483"/>
                                        </p:tgtEl>
                                        <p:attrNameLst>
                                          <p:attrName>style.visibility</p:attrName>
                                        </p:attrNameLst>
                                      </p:cBhvr>
                                      <p:to>
                                        <p:strVal val="visible"/>
                                      </p:to>
                                    </p:set>
                                    <p:anim calcmode="lin" valueType="num">
                                      <p:cBhvr>
                                        <p:cTn id="90" dur="500" fill="hold"/>
                                        <p:tgtEl>
                                          <p:spTgt spid="483"/>
                                        </p:tgtEl>
                                        <p:attrNameLst>
                                          <p:attrName>ppt_w</p:attrName>
                                        </p:attrNameLst>
                                      </p:cBhvr>
                                      <p:tavLst>
                                        <p:tav tm="0">
                                          <p:val>
                                            <p:fltVal val="0"/>
                                          </p:val>
                                        </p:tav>
                                        <p:tav tm="100000">
                                          <p:val>
                                            <p:strVal val="#ppt_w"/>
                                          </p:val>
                                        </p:tav>
                                      </p:tavLst>
                                    </p:anim>
                                    <p:anim calcmode="lin" valueType="num">
                                      <p:cBhvr>
                                        <p:cTn id="91" dur="500" fill="hold"/>
                                        <p:tgtEl>
                                          <p:spTgt spid="483"/>
                                        </p:tgtEl>
                                        <p:attrNameLst>
                                          <p:attrName>ppt_h</p:attrName>
                                        </p:attrNameLst>
                                      </p:cBhvr>
                                      <p:tavLst>
                                        <p:tav tm="0">
                                          <p:val>
                                            <p:fltVal val="0"/>
                                          </p:val>
                                        </p:tav>
                                        <p:tav tm="100000">
                                          <p:val>
                                            <p:strVal val="#ppt_h"/>
                                          </p:val>
                                        </p:tav>
                                      </p:tavLst>
                                    </p:anim>
                                    <p:animEffect transition="in" filter="fade">
                                      <p:cBhvr>
                                        <p:cTn id="92" dur="500"/>
                                        <p:tgtEl>
                                          <p:spTgt spid="483"/>
                                        </p:tgtEl>
                                      </p:cBhvr>
                                    </p:animEffect>
                                  </p:childTnLst>
                                </p:cTn>
                              </p:par>
                              <p:par>
                                <p:cTn id="93" presetID="53" presetClass="entr" presetSubtype="16" fill="hold" grpId="0" nodeType="withEffect">
                                  <p:stCondLst>
                                    <p:cond delay="250"/>
                                  </p:stCondLst>
                                  <p:childTnLst>
                                    <p:set>
                                      <p:cBhvr>
                                        <p:cTn id="94" dur="1" fill="hold">
                                          <p:stCondLst>
                                            <p:cond delay="0"/>
                                          </p:stCondLst>
                                        </p:cTn>
                                        <p:tgtEl>
                                          <p:spTgt spid="484"/>
                                        </p:tgtEl>
                                        <p:attrNameLst>
                                          <p:attrName>style.visibility</p:attrName>
                                        </p:attrNameLst>
                                      </p:cBhvr>
                                      <p:to>
                                        <p:strVal val="visible"/>
                                      </p:to>
                                    </p:set>
                                    <p:anim calcmode="lin" valueType="num">
                                      <p:cBhvr>
                                        <p:cTn id="95" dur="500" fill="hold"/>
                                        <p:tgtEl>
                                          <p:spTgt spid="484"/>
                                        </p:tgtEl>
                                        <p:attrNameLst>
                                          <p:attrName>ppt_w</p:attrName>
                                        </p:attrNameLst>
                                      </p:cBhvr>
                                      <p:tavLst>
                                        <p:tav tm="0">
                                          <p:val>
                                            <p:fltVal val="0"/>
                                          </p:val>
                                        </p:tav>
                                        <p:tav tm="100000">
                                          <p:val>
                                            <p:strVal val="#ppt_w"/>
                                          </p:val>
                                        </p:tav>
                                      </p:tavLst>
                                    </p:anim>
                                    <p:anim calcmode="lin" valueType="num">
                                      <p:cBhvr>
                                        <p:cTn id="96" dur="500" fill="hold"/>
                                        <p:tgtEl>
                                          <p:spTgt spid="484"/>
                                        </p:tgtEl>
                                        <p:attrNameLst>
                                          <p:attrName>ppt_h</p:attrName>
                                        </p:attrNameLst>
                                      </p:cBhvr>
                                      <p:tavLst>
                                        <p:tav tm="0">
                                          <p:val>
                                            <p:fltVal val="0"/>
                                          </p:val>
                                        </p:tav>
                                        <p:tav tm="100000">
                                          <p:val>
                                            <p:strVal val="#ppt_h"/>
                                          </p:val>
                                        </p:tav>
                                      </p:tavLst>
                                    </p:anim>
                                    <p:animEffect transition="in" filter="fade">
                                      <p:cBhvr>
                                        <p:cTn id="97" dur="500"/>
                                        <p:tgtEl>
                                          <p:spTgt spid="484"/>
                                        </p:tgtEl>
                                      </p:cBhvr>
                                    </p:animEffect>
                                  </p:childTnLst>
                                </p:cTn>
                              </p:par>
                              <p:par>
                                <p:cTn id="98" presetID="53" presetClass="entr" presetSubtype="16" fill="hold" grpId="0" nodeType="withEffect">
                                  <p:stCondLst>
                                    <p:cond delay="1000"/>
                                  </p:stCondLst>
                                  <p:childTnLst>
                                    <p:set>
                                      <p:cBhvr>
                                        <p:cTn id="99" dur="1" fill="hold">
                                          <p:stCondLst>
                                            <p:cond delay="0"/>
                                          </p:stCondLst>
                                        </p:cTn>
                                        <p:tgtEl>
                                          <p:spTgt spid="485"/>
                                        </p:tgtEl>
                                        <p:attrNameLst>
                                          <p:attrName>style.visibility</p:attrName>
                                        </p:attrNameLst>
                                      </p:cBhvr>
                                      <p:to>
                                        <p:strVal val="visible"/>
                                      </p:to>
                                    </p:set>
                                    <p:anim calcmode="lin" valueType="num">
                                      <p:cBhvr>
                                        <p:cTn id="100" dur="500" fill="hold"/>
                                        <p:tgtEl>
                                          <p:spTgt spid="485"/>
                                        </p:tgtEl>
                                        <p:attrNameLst>
                                          <p:attrName>ppt_w</p:attrName>
                                        </p:attrNameLst>
                                      </p:cBhvr>
                                      <p:tavLst>
                                        <p:tav tm="0">
                                          <p:val>
                                            <p:fltVal val="0"/>
                                          </p:val>
                                        </p:tav>
                                        <p:tav tm="100000">
                                          <p:val>
                                            <p:strVal val="#ppt_w"/>
                                          </p:val>
                                        </p:tav>
                                      </p:tavLst>
                                    </p:anim>
                                    <p:anim calcmode="lin" valueType="num">
                                      <p:cBhvr>
                                        <p:cTn id="101" dur="500" fill="hold"/>
                                        <p:tgtEl>
                                          <p:spTgt spid="485"/>
                                        </p:tgtEl>
                                        <p:attrNameLst>
                                          <p:attrName>ppt_h</p:attrName>
                                        </p:attrNameLst>
                                      </p:cBhvr>
                                      <p:tavLst>
                                        <p:tav tm="0">
                                          <p:val>
                                            <p:fltVal val="0"/>
                                          </p:val>
                                        </p:tav>
                                        <p:tav tm="100000">
                                          <p:val>
                                            <p:strVal val="#ppt_h"/>
                                          </p:val>
                                        </p:tav>
                                      </p:tavLst>
                                    </p:anim>
                                    <p:animEffect transition="in" filter="fade">
                                      <p:cBhvr>
                                        <p:cTn id="102" dur="500"/>
                                        <p:tgtEl>
                                          <p:spTgt spid="485"/>
                                        </p:tgtEl>
                                      </p:cBhvr>
                                    </p:animEffect>
                                  </p:childTnLst>
                                </p:cTn>
                              </p:par>
                              <p:par>
                                <p:cTn id="103" presetID="53" presetClass="entr" presetSubtype="16" fill="hold" grpId="0" nodeType="withEffect">
                                  <p:stCondLst>
                                    <p:cond delay="0"/>
                                  </p:stCondLst>
                                  <p:childTnLst>
                                    <p:set>
                                      <p:cBhvr>
                                        <p:cTn id="104" dur="1" fill="hold">
                                          <p:stCondLst>
                                            <p:cond delay="0"/>
                                          </p:stCondLst>
                                        </p:cTn>
                                        <p:tgtEl>
                                          <p:spTgt spid="487"/>
                                        </p:tgtEl>
                                        <p:attrNameLst>
                                          <p:attrName>style.visibility</p:attrName>
                                        </p:attrNameLst>
                                      </p:cBhvr>
                                      <p:to>
                                        <p:strVal val="visible"/>
                                      </p:to>
                                    </p:set>
                                    <p:anim calcmode="lin" valueType="num">
                                      <p:cBhvr>
                                        <p:cTn id="105" dur="500" fill="hold"/>
                                        <p:tgtEl>
                                          <p:spTgt spid="487"/>
                                        </p:tgtEl>
                                        <p:attrNameLst>
                                          <p:attrName>ppt_w</p:attrName>
                                        </p:attrNameLst>
                                      </p:cBhvr>
                                      <p:tavLst>
                                        <p:tav tm="0">
                                          <p:val>
                                            <p:fltVal val="0"/>
                                          </p:val>
                                        </p:tav>
                                        <p:tav tm="100000">
                                          <p:val>
                                            <p:strVal val="#ppt_w"/>
                                          </p:val>
                                        </p:tav>
                                      </p:tavLst>
                                    </p:anim>
                                    <p:anim calcmode="lin" valueType="num">
                                      <p:cBhvr>
                                        <p:cTn id="106" dur="500" fill="hold"/>
                                        <p:tgtEl>
                                          <p:spTgt spid="487"/>
                                        </p:tgtEl>
                                        <p:attrNameLst>
                                          <p:attrName>ppt_h</p:attrName>
                                        </p:attrNameLst>
                                      </p:cBhvr>
                                      <p:tavLst>
                                        <p:tav tm="0">
                                          <p:val>
                                            <p:fltVal val="0"/>
                                          </p:val>
                                        </p:tav>
                                        <p:tav tm="100000">
                                          <p:val>
                                            <p:strVal val="#ppt_h"/>
                                          </p:val>
                                        </p:tav>
                                      </p:tavLst>
                                    </p:anim>
                                    <p:animEffect transition="in" filter="fade">
                                      <p:cBhvr>
                                        <p:cTn id="107" dur="500"/>
                                        <p:tgtEl>
                                          <p:spTgt spid="487"/>
                                        </p:tgtEl>
                                      </p:cBhvr>
                                    </p:animEffect>
                                  </p:childTnLst>
                                </p:cTn>
                              </p:par>
                              <p:par>
                                <p:cTn id="108" presetID="53" presetClass="entr" presetSubtype="16" fill="hold" grpId="0" nodeType="withEffect">
                                  <p:stCondLst>
                                    <p:cond delay="1500"/>
                                  </p:stCondLst>
                                  <p:childTnLst>
                                    <p:set>
                                      <p:cBhvr>
                                        <p:cTn id="109" dur="1" fill="hold">
                                          <p:stCondLst>
                                            <p:cond delay="0"/>
                                          </p:stCondLst>
                                        </p:cTn>
                                        <p:tgtEl>
                                          <p:spTgt spid="488"/>
                                        </p:tgtEl>
                                        <p:attrNameLst>
                                          <p:attrName>style.visibility</p:attrName>
                                        </p:attrNameLst>
                                      </p:cBhvr>
                                      <p:to>
                                        <p:strVal val="visible"/>
                                      </p:to>
                                    </p:set>
                                    <p:anim calcmode="lin" valueType="num">
                                      <p:cBhvr>
                                        <p:cTn id="110" dur="500" fill="hold"/>
                                        <p:tgtEl>
                                          <p:spTgt spid="488"/>
                                        </p:tgtEl>
                                        <p:attrNameLst>
                                          <p:attrName>ppt_w</p:attrName>
                                        </p:attrNameLst>
                                      </p:cBhvr>
                                      <p:tavLst>
                                        <p:tav tm="0">
                                          <p:val>
                                            <p:fltVal val="0"/>
                                          </p:val>
                                        </p:tav>
                                        <p:tav tm="100000">
                                          <p:val>
                                            <p:strVal val="#ppt_w"/>
                                          </p:val>
                                        </p:tav>
                                      </p:tavLst>
                                    </p:anim>
                                    <p:anim calcmode="lin" valueType="num">
                                      <p:cBhvr>
                                        <p:cTn id="111" dur="500" fill="hold"/>
                                        <p:tgtEl>
                                          <p:spTgt spid="488"/>
                                        </p:tgtEl>
                                        <p:attrNameLst>
                                          <p:attrName>ppt_h</p:attrName>
                                        </p:attrNameLst>
                                      </p:cBhvr>
                                      <p:tavLst>
                                        <p:tav tm="0">
                                          <p:val>
                                            <p:fltVal val="0"/>
                                          </p:val>
                                        </p:tav>
                                        <p:tav tm="100000">
                                          <p:val>
                                            <p:strVal val="#ppt_h"/>
                                          </p:val>
                                        </p:tav>
                                      </p:tavLst>
                                    </p:anim>
                                    <p:animEffect transition="in" filter="fade">
                                      <p:cBhvr>
                                        <p:cTn id="112" dur="500"/>
                                        <p:tgtEl>
                                          <p:spTgt spid="488"/>
                                        </p:tgtEl>
                                      </p:cBhvr>
                                    </p:animEffect>
                                  </p:childTnLst>
                                </p:cTn>
                              </p:par>
                              <p:par>
                                <p:cTn id="113" presetID="53" presetClass="entr" presetSubtype="16" fill="hold" grpId="0" nodeType="withEffect">
                                  <p:stCondLst>
                                    <p:cond delay="0"/>
                                  </p:stCondLst>
                                  <p:childTnLst>
                                    <p:set>
                                      <p:cBhvr>
                                        <p:cTn id="114" dur="1" fill="hold">
                                          <p:stCondLst>
                                            <p:cond delay="0"/>
                                          </p:stCondLst>
                                        </p:cTn>
                                        <p:tgtEl>
                                          <p:spTgt spid="489"/>
                                        </p:tgtEl>
                                        <p:attrNameLst>
                                          <p:attrName>style.visibility</p:attrName>
                                        </p:attrNameLst>
                                      </p:cBhvr>
                                      <p:to>
                                        <p:strVal val="visible"/>
                                      </p:to>
                                    </p:set>
                                    <p:anim calcmode="lin" valueType="num">
                                      <p:cBhvr>
                                        <p:cTn id="115" dur="500" fill="hold"/>
                                        <p:tgtEl>
                                          <p:spTgt spid="489"/>
                                        </p:tgtEl>
                                        <p:attrNameLst>
                                          <p:attrName>ppt_w</p:attrName>
                                        </p:attrNameLst>
                                      </p:cBhvr>
                                      <p:tavLst>
                                        <p:tav tm="0">
                                          <p:val>
                                            <p:fltVal val="0"/>
                                          </p:val>
                                        </p:tav>
                                        <p:tav tm="100000">
                                          <p:val>
                                            <p:strVal val="#ppt_w"/>
                                          </p:val>
                                        </p:tav>
                                      </p:tavLst>
                                    </p:anim>
                                    <p:anim calcmode="lin" valueType="num">
                                      <p:cBhvr>
                                        <p:cTn id="116" dur="500" fill="hold"/>
                                        <p:tgtEl>
                                          <p:spTgt spid="489"/>
                                        </p:tgtEl>
                                        <p:attrNameLst>
                                          <p:attrName>ppt_h</p:attrName>
                                        </p:attrNameLst>
                                      </p:cBhvr>
                                      <p:tavLst>
                                        <p:tav tm="0">
                                          <p:val>
                                            <p:fltVal val="0"/>
                                          </p:val>
                                        </p:tav>
                                        <p:tav tm="100000">
                                          <p:val>
                                            <p:strVal val="#ppt_h"/>
                                          </p:val>
                                        </p:tav>
                                      </p:tavLst>
                                    </p:anim>
                                    <p:animEffect transition="in" filter="fade">
                                      <p:cBhvr>
                                        <p:cTn id="117" dur="500"/>
                                        <p:tgtEl>
                                          <p:spTgt spid="489"/>
                                        </p:tgtEl>
                                      </p:cBhvr>
                                    </p:animEffect>
                                  </p:childTnLst>
                                </p:cTn>
                              </p:par>
                              <p:par>
                                <p:cTn id="118" presetID="53" presetClass="entr" presetSubtype="16" fill="hold" grpId="0" nodeType="withEffect">
                                  <p:stCondLst>
                                    <p:cond delay="1000"/>
                                  </p:stCondLst>
                                  <p:childTnLst>
                                    <p:set>
                                      <p:cBhvr>
                                        <p:cTn id="119" dur="1" fill="hold">
                                          <p:stCondLst>
                                            <p:cond delay="0"/>
                                          </p:stCondLst>
                                        </p:cTn>
                                        <p:tgtEl>
                                          <p:spTgt spid="490"/>
                                        </p:tgtEl>
                                        <p:attrNameLst>
                                          <p:attrName>style.visibility</p:attrName>
                                        </p:attrNameLst>
                                      </p:cBhvr>
                                      <p:to>
                                        <p:strVal val="visible"/>
                                      </p:to>
                                    </p:set>
                                    <p:anim calcmode="lin" valueType="num">
                                      <p:cBhvr>
                                        <p:cTn id="120" dur="500" fill="hold"/>
                                        <p:tgtEl>
                                          <p:spTgt spid="490"/>
                                        </p:tgtEl>
                                        <p:attrNameLst>
                                          <p:attrName>ppt_w</p:attrName>
                                        </p:attrNameLst>
                                      </p:cBhvr>
                                      <p:tavLst>
                                        <p:tav tm="0">
                                          <p:val>
                                            <p:fltVal val="0"/>
                                          </p:val>
                                        </p:tav>
                                        <p:tav tm="100000">
                                          <p:val>
                                            <p:strVal val="#ppt_w"/>
                                          </p:val>
                                        </p:tav>
                                      </p:tavLst>
                                    </p:anim>
                                    <p:anim calcmode="lin" valueType="num">
                                      <p:cBhvr>
                                        <p:cTn id="121" dur="500" fill="hold"/>
                                        <p:tgtEl>
                                          <p:spTgt spid="490"/>
                                        </p:tgtEl>
                                        <p:attrNameLst>
                                          <p:attrName>ppt_h</p:attrName>
                                        </p:attrNameLst>
                                      </p:cBhvr>
                                      <p:tavLst>
                                        <p:tav tm="0">
                                          <p:val>
                                            <p:fltVal val="0"/>
                                          </p:val>
                                        </p:tav>
                                        <p:tav tm="100000">
                                          <p:val>
                                            <p:strVal val="#ppt_h"/>
                                          </p:val>
                                        </p:tav>
                                      </p:tavLst>
                                    </p:anim>
                                    <p:animEffect transition="in" filter="fade">
                                      <p:cBhvr>
                                        <p:cTn id="122" dur="500"/>
                                        <p:tgtEl>
                                          <p:spTgt spid="490"/>
                                        </p:tgtEl>
                                      </p:cBhvr>
                                    </p:animEffect>
                                  </p:childTnLst>
                                </p:cTn>
                              </p:par>
                              <p:par>
                                <p:cTn id="123" presetID="53" presetClass="entr" presetSubtype="16" fill="hold" grpId="0" nodeType="withEffect">
                                  <p:stCondLst>
                                    <p:cond delay="500"/>
                                  </p:stCondLst>
                                  <p:childTnLst>
                                    <p:set>
                                      <p:cBhvr>
                                        <p:cTn id="124" dur="1" fill="hold">
                                          <p:stCondLst>
                                            <p:cond delay="0"/>
                                          </p:stCondLst>
                                        </p:cTn>
                                        <p:tgtEl>
                                          <p:spTgt spid="491"/>
                                        </p:tgtEl>
                                        <p:attrNameLst>
                                          <p:attrName>style.visibility</p:attrName>
                                        </p:attrNameLst>
                                      </p:cBhvr>
                                      <p:to>
                                        <p:strVal val="visible"/>
                                      </p:to>
                                    </p:set>
                                    <p:anim calcmode="lin" valueType="num">
                                      <p:cBhvr>
                                        <p:cTn id="125" dur="500" fill="hold"/>
                                        <p:tgtEl>
                                          <p:spTgt spid="491"/>
                                        </p:tgtEl>
                                        <p:attrNameLst>
                                          <p:attrName>ppt_w</p:attrName>
                                        </p:attrNameLst>
                                      </p:cBhvr>
                                      <p:tavLst>
                                        <p:tav tm="0">
                                          <p:val>
                                            <p:fltVal val="0"/>
                                          </p:val>
                                        </p:tav>
                                        <p:tav tm="100000">
                                          <p:val>
                                            <p:strVal val="#ppt_w"/>
                                          </p:val>
                                        </p:tav>
                                      </p:tavLst>
                                    </p:anim>
                                    <p:anim calcmode="lin" valueType="num">
                                      <p:cBhvr>
                                        <p:cTn id="126" dur="500" fill="hold"/>
                                        <p:tgtEl>
                                          <p:spTgt spid="491"/>
                                        </p:tgtEl>
                                        <p:attrNameLst>
                                          <p:attrName>ppt_h</p:attrName>
                                        </p:attrNameLst>
                                      </p:cBhvr>
                                      <p:tavLst>
                                        <p:tav tm="0">
                                          <p:val>
                                            <p:fltVal val="0"/>
                                          </p:val>
                                        </p:tav>
                                        <p:tav tm="100000">
                                          <p:val>
                                            <p:strVal val="#ppt_h"/>
                                          </p:val>
                                        </p:tav>
                                      </p:tavLst>
                                    </p:anim>
                                    <p:animEffect transition="in" filter="fade">
                                      <p:cBhvr>
                                        <p:cTn id="127" dur="500"/>
                                        <p:tgtEl>
                                          <p:spTgt spid="491"/>
                                        </p:tgtEl>
                                      </p:cBhvr>
                                    </p:animEffect>
                                  </p:childTnLst>
                                </p:cTn>
                              </p:par>
                              <p:par>
                                <p:cTn id="128" presetID="53" presetClass="entr" presetSubtype="16" fill="hold" grpId="0" nodeType="withEffect">
                                  <p:stCondLst>
                                    <p:cond delay="1000"/>
                                  </p:stCondLst>
                                  <p:childTnLst>
                                    <p:set>
                                      <p:cBhvr>
                                        <p:cTn id="129" dur="1" fill="hold">
                                          <p:stCondLst>
                                            <p:cond delay="0"/>
                                          </p:stCondLst>
                                        </p:cTn>
                                        <p:tgtEl>
                                          <p:spTgt spid="492"/>
                                        </p:tgtEl>
                                        <p:attrNameLst>
                                          <p:attrName>style.visibility</p:attrName>
                                        </p:attrNameLst>
                                      </p:cBhvr>
                                      <p:to>
                                        <p:strVal val="visible"/>
                                      </p:to>
                                    </p:set>
                                    <p:anim calcmode="lin" valueType="num">
                                      <p:cBhvr>
                                        <p:cTn id="130" dur="500" fill="hold"/>
                                        <p:tgtEl>
                                          <p:spTgt spid="492"/>
                                        </p:tgtEl>
                                        <p:attrNameLst>
                                          <p:attrName>ppt_w</p:attrName>
                                        </p:attrNameLst>
                                      </p:cBhvr>
                                      <p:tavLst>
                                        <p:tav tm="0">
                                          <p:val>
                                            <p:fltVal val="0"/>
                                          </p:val>
                                        </p:tav>
                                        <p:tav tm="100000">
                                          <p:val>
                                            <p:strVal val="#ppt_w"/>
                                          </p:val>
                                        </p:tav>
                                      </p:tavLst>
                                    </p:anim>
                                    <p:anim calcmode="lin" valueType="num">
                                      <p:cBhvr>
                                        <p:cTn id="131" dur="500" fill="hold"/>
                                        <p:tgtEl>
                                          <p:spTgt spid="492"/>
                                        </p:tgtEl>
                                        <p:attrNameLst>
                                          <p:attrName>ppt_h</p:attrName>
                                        </p:attrNameLst>
                                      </p:cBhvr>
                                      <p:tavLst>
                                        <p:tav tm="0">
                                          <p:val>
                                            <p:fltVal val="0"/>
                                          </p:val>
                                        </p:tav>
                                        <p:tav tm="100000">
                                          <p:val>
                                            <p:strVal val="#ppt_h"/>
                                          </p:val>
                                        </p:tav>
                                      </p:tavLst>
                                    </p:anim>
                                    <p:animEffect transition="in" filter="fade">
                                      <p:cBhvr>
                                        <p:cTn id="132" dur="500"/>
                                        <p:tgtEl>
                                          <p:spTgt spid="492"/>
                                        </p:tgtEl>
                                      </p:cBhvr>
                                    </p:animEffect>
                                  </p:childTnLst>
                                </p:cTn>
                              </p:par>
                              <p:par>
                                <p:cTn id="133" presetID="53" presetClass="entr" presetSubtype="16" fill="hold" grpId="0" nodeType="withEffect">
                                  <p:stCondLst>
                                    <p:cond delay="1250"/>
                                  </p:stCondLst>
                                  <p:childTnLst>
                                    <p:set>
                                      <p:cBhvr>
                                        <p:cTn id="134" dur="1" fill="hold">
                                          <p:stCondLst>
                                            <p:cond delay="0"/>
                                          </p:stCondLst>
                                        </p:cTn>
                                        <p:tgtEl>
                                          <p:spTgt spid="493"/>
                                        </p:tgtEl>
                                        <p:attrNameLst>
                                          <p:attrName>style.visibility</p:attrName>
                                        </p:attrNameLst>
                                      </p:cBhvr>
                                      <p:to>
                                        <p:strVal val="visible"/>
                                      </p:to>
                                    </p:set>
                                    <p:anim calcmode="lin" valueType="num">
                                      <p:cBhvr>
                                        <p:cTn id="135" dur="500" fill="hold"/>
                                        <p:tgtEl>
                                          <p:spTgt spid="493"/>
                                        </p:tgtEl>
                                        <p:attrNameLst>
                                          <p:attrName>ppt_w</p:attrName>
                                        </p:attrNameLst>
                                      </p:cBhvr>
                                      <p:tavLst>
                                        <p:tav tm="0">
                                          <p:val>
                                            <p:fltVal val="0"/>
                                          </p:val>
                                        </p:tav>
                                        <p:tav tm="100000">
                                          <p:val>
                                            <p:strVal val="#ppt_w"/>
                                          </p:val>
                                        </p:tav>
                                      </p:tavLst>
                                    </p:anim>
                                    <p:anim calcmode="lin" valueType="num">
                                      <p:cBhvr>
                                        <p:cTn id="136" dur="500" fill="hold"/>
                                        <p:tgtEl>
                                          <p:spTgt spid="493"/>
                                        </p:tgtEl>
                                        <p:attrNameLst>
                                          <p:attrName>ppt_h</p:attrName>
                                        </p:attrNameLst>
                                      </p:cBhvr>
                                      <p:tavLst>
                                        <p:tav tm="0">
                                          <p:val>
                                            <p:fltVal val="0"/>
                                          </p:val>
                                        </p:tav>
                                        <p:tav tm="100000">
                                          <p:val>
                                            <p:strVal val="#ppt_h"/>
                                          </p:val>
                                        </p:tav>
                                      </p:tavLst>
                                    </p:anim>
                                    <p:animEffect transition="in" filter="fade">
                                      <p:cBhvr>
                                        <p:cTn id="137" dur="500"/>
                                        <p:tgtEl>
                                          <p:spTgt spid="493"/>
                                        </p:tgtEl>
                                      </p:cBhvr>
                                    </p:animEffect>
                                  </p:childTnLst>
                                </p:cTn>
                              </p:par>
                              <p:par>
                                <p:cTn id="138" presetID="53" presetClass="entr" presetSubtype="16" fill="hold" grpId="0" nodeType="withEffect">
                                  <p:stCondLst>
                                    <p:cond delay="0"/>
                                  </p:stCondLst>
                                  <p:childTnLst>
                                    <p:set>
                                      <p:cBhvr>
                                        <p:cTn id="139" dur="1" fill="hold">
                                          <p:stCondLst>
                                            <p:cond delay="0"/>
                                          </p:stCondLst>
                                        </p:cTn>
                                        <p:tgtEl>
                                          <p:spTgt spid="494"/>
                                        </p:tgtEl>
                                        <p:attrNameLst>
                                          <p:attrName>style.visibility</p:attrName>
                                        </p:attrNameLst>
                                      </p:cBhvr>
                                      <p:to>
                                        <p:strVal val="visible"/>
                                      </p:to>
                                    </p:set>
                                    <p:anim calcmode="lin" valueType="num">
                                      <p:cBhvr>
                                        <p:cTn id="140" dur="500" fill="hold"/>
                                        <p:tgtEl>
                                          <p:spTgt spid="494"/>
                                        </p:tgtEl>
                                        <p:attrNameLst>
                                          <p:attrName>ppt_w</p:attrName>
                                        </p:attrNameLst>
                                      </p:cBhvr>
                                      <p:tavLst>
                                        <p:tav tm="0">
                                          <p:val>
                                            <p:fltVal val="0"/>
                                          </p:val>
                                        </p:tav>
                                        <p:tav tm="100000">
                                          <p:val>
                                            <p:strVal val="#ppt_w"/>
                                          </p:val>
                                        </p:tav>
                                      </p:tavLst>
                                    </p:anim>
                                    <p:anim calcmode="lin" valueType="num">
                                      <p:cBhvr>
                                        <p:cTn id="141" dur="500" fill="hold"/>
                                        <p:tgtEl>
                                          <p:spTgt spid="494"/>
                                        </p:tgtEl>
                                        <p:attrNameLst>
                                          <p:attrName>ppt_h</p:attrName>
                                        </p:attrNameLst>
                                      </p:cBhvr>
                                      <p:tavLst>
                                        <p:tav tm="0">
                                          <p:val>
                                            <p:fltVal val="0"/>
                                          </p:val>
                                        </p:tav>
                                        <p:tav tm="100000">
                                          <p:val>
                                            <p:strVal val="#ppt_h"/>
                                          </p:val>
                                        </p:tav>
                                      </p:tavLst>
                                    </p:anim>
                                    <p:animEffect transition="in" filter="fade">
                                      <p:cBhvr>
                                        <p:cTn id="142" dur="500"/>
                                        <p:tgtEl>
                                          <p:spTgt spid="494"/>
                                        </p:tgtEl>
                                      </p:cBhvr>
                                    </p:animEffect>
                                  </p:childTnLst>
                                </p:cTn>
                              </p:par>
                              <p:par>
                                <p:cTn id="143" presetID="53" presetClass="entr" presetSubtype="16" fill="hold" grpId="0" nodeType="withEffect">
                                  <p:stCondLst>
                                    <p:cond delay="1000"/>
                                  </p:stCondLst>
                                  <p:childTnLst>
                                    <p:set>
                                      <p:cBhvr>
                                        <p:cTn id="144" dur="1" fill="hold">
                                          <p:stCondLst>
                                            <p:cond delay="0"/>
                                          </p:stCondLst>
                                        </p:cTn>
                                        <p:tgtEl>
                                          <p:spTgt spid="495"/>
                                        </p:tgtEl>
                                        <p:attrNameLst>
                                          <p:attrName>style.visibility</p:attrName>
                                        </p:attrNameLst>
                                      </p:cBhvr>
                                      <p:to>
                                        <p:strVal val="visible"/>
                                      </p:to>
                                    </p:set>
                                    <p:anim calcmode="lin" valueType="num">
                                      <p:cBhvr>
                                        <p:cTn id="145" dur="500" fill="hold"/>
                                        <p:tgtEl>
                                          <p:spTgt spid="495"/>
                                        </p:tgtEl>
                                        <p:attrNameLst>
                                          <p:attrName>ppt_w</p:attrName>
                                        </p:attrNameLst>
                                      </p:cBhvr>
                                      <p:tavLst>
                                        <p:tav tm="0">
                                          <p:val>
                                            <p:fltVal val="0"/>
                                          </p:val>
                                        </p:tav>
                                        <p:tav tm="100000">
                                          <p:val>
                                            <p:strVal val="#ppt_w"/>
                                          </p:val>
                                        </p:tav>
                                      </p:tavLst>
                                    </p:anim>
                                    <p:anim calcmode="lin" valueType="num">
                                      <p:cBhvr>
                                        <p:cTn id="146" dur="500" fill="hold"/>
                                        <p:tgtEl>
                                          <p:spTgt spid="495"/>
                                        </p:tgtEl>
                                        <p:attrNameLst>
                                          <p:attrName>ppt_h</p:attrName>
                                        </p:attrNameLst>
                                      </p:cBhvr>
                                      <p:tavLst>
                                        <p:tav tm="0">
                                          <p:val>
                                            <p:fltVal val="0"/>
                                          </p:val>
                                        </p:tav>
                                        <p:tav tm="100000">
                                          <p:val>
                                            <p:strVal val="#ppt_h"/>
                                          </p:val>
                                        </p:tav>
                                      </p:tavLst>
                                    </p:anim>
                                    <p:animEffect transition="in" filter="fade">
                                      <p:cBhvr>
                                        <p:cTn id="147" dur="500"/>
                                        <p:tgtEl>
                                          <p:spTgt spid="495"/>
                                        </p:tgtEl>
                                      </p:cBhvr>
                                    </p:animEffect>
                                  </p:childTnLst>
                                </p:cTn>
                              </p:par>
                              <p:par>
                                <p:cTn id="148" presetID="53" presetClass="entr" presetSubtype="16" fill="hold" grpId="0" nodeType="withEffect">
                                  <p:stCondLst>
                                    <p:cond delay="500"/>
                                  </p:stCondLst>
                                  <p:childTnLst>
                                    <p:set>
                                      <p:cBhvr>
                                        <p:cTn id="149" dur="1" fill="hold">
                                          <p:stCondLst>
                                            <p:cond delay="0"/>
                                          </p:stCondLst>
                                        </p:cTn>
                                        <p:tgtEl>
                                          <p:spTgt spid="496"/>
                                        </p:tgtEl>
                                        <p:attrNameLst>
                                          <p:attrName>style.visibility</p:attrName>
                                        </p:attrNameLst>
                                      </p:cBhvr>
                                      <p:to>
                                        <p:strVal val="visible"/>
                                      </p:to>
                                    </p:set>
                                    <p:anim calcmode="lin" valueType="num">
                                      <p:cBhvr>
                                        <p:cTn id="150" dur="500" fill="hold"/>
                                        <p:tgtEl>
                                          <p:spTgt spid="496"/>
                                        </p:tgtEl>
                                        <p:attrNameLst>
                                          <p:attrName>ppt_w</p:attrName>
                                        </p:attrNameLst>
                                      </p:cBhvr>
                                      <p:tavLst>
                                        <p:tav tm="0">
                                          <p:val>
                                            <p:fltVal val="0"/>
                                          </p:val>
                                        </p:tav>
                                        <p:tav tm="100000">
                                          <p:val>
                                            <p:strVal val="#ppt_w"/>
                                          </p:val>
                                        </p:tav>
                                      </p:tavLst>
                                    </p:anim>
                                    <p:anim calcmode="lin" valueType="num">
                                      <p:cBhvr>
                                        <p:cTn id="151" dur="500" fill="hold"/>
                                        <p:tgtEl>
                                          <p:spTgt spid="496"/>
                                        </p:tgtEl>
                                        <p:attrNameLst>
                                          <p:attrName>ppt_h</p:attrName>
                                        </p:attrNameLst>
                                      </p:cBhvr>
                                      <p:tavLst>
                                        <p:tav tm="0">
                                          <p:val>
                                            <p:fltVal val="0"/>
                                          </p:val>
                                        </p:tav>
                                        <p:tav tm="100000">
                                          <p:val>
                                            <p:strVal val="#ppt_h"/>
                                          </p:val>
                                        </p:tav>
                                      </p:tavLst>
                                    </p:anim>
                                    <p:animEffect transition="in" filter="fade">
                                      <p:cBhvr>
                                        <p:cTn id="152" dur="500"/>
                                        <p:tgtEl>
                                          <p:spTgt spid="496"/>
                                        </p:tgtEl>
                                      </p:cBhvr>
                                    </p:animEffect>
                                  </p:childTnLst>
                                </p:cTn>
                              </p:par>
                              <p:par>
                                <p:cTn id="153" presetID="53" presetClass="entr" presetSubtype="16" fill="hold" grpId="0" nodeType="withEffect">
                                  <p:stCondLst>
                                    <p:cond delay="250"/>
                                  </p:stCondLst>
                                  <p:childTnLst>
                                    <p:set>
                                      <p:cBhvr>
                                        <p:cTn id="154" dur="1" fill="hold">
                                          <p:stCondLst>
                                            <p:cond delay="0"/>
                                          </p:stCondLst>
                                        </p:cTn>
                                        <p:tgtEl>
                                          <p:spTgt spid="497"/>
                                        </p:tgtEl>
                                        <p:attrNameLst>
                                          <p:attrName>style.visibility</p:attrName>
                                        </p:attrNameLst>
                                      </p:cBhvr>
                                      <p:to>
                                        <p:strVal val="visible"/>
                                      </p:to>
                                    </p:set>
                                    <p:anim calcmode="lin" valueType="num">
                                      <p:cBhvr>
                                        <p:cTn id="155" dur="500" fill="hold"/>
                                        <p:tgtEl>
                                          <p:spTgt spid="497"/>
                                        </p:tgtEl>
                                        <p:attrNameLst>
                                          <p:attrName>ppt_w</p:attrName>
                                        </p:attrNameLst>
                                      </p:cBhvr>
                                      <p:tavLst>
                                        <p:tav tm="0">
                                          <p:val>
                                            <p:fltVal val="0"/>
                                          </p:val>
                                        </p:tav>
                                        <p:tav tm="100000">
                                          <p:val>
                                            <p:strVal val="#ppt_w"/>
                                          </p:val>
                                        </p:tav>
                                      </p:tavLst>
                                    </p:anim>
                                    <p:anim calcmode="lin" valueType="num">
                                      <p:cBhvr>
                                        <p:cTn id="156" dur="500" fill="hold"/>
                                        <p:tgtEl>
                                          <p:spTgt spid="497"/>
                                        </p:tgtEl>
                                        <p:attrNameLst>
                                          <p:attrName>ppt_h</p:attrName>
                                        </p:attrNameLst>
                                      </p:cBhvr>
                                      <p:tavLst>
                                        <p:tav tm="0">
                                          <p:val>
                                            <p:fltVal val="0"/>
                                          </p:val>
                                        </p:tav>
                                        <p:tav tm="100000">
                                          <p:val>
                                            <p:strVal val="#ppt_h"/>
                                          </p:val>
                                        </p:tav>
                                      </p:tavLst>
                                    </p:anim>
                                    <p:animEffect transition="in" filter="fade">
                                      <p:cBhvr>
                                        <p:cTn id="157" dur="500"/>
                                        <p:tgtEl>
                                          <p:spTgt spid="497"/>
                                        </p:tgtEl>
                                      </p:cBhvr>
                                    </p:animEffect>
                                  </p:childTnLst>
                                </p:cTn>
                              </p:par>
                              <p:par>
                                <p:cTn id="158" presetID="53" presetClass="entr" presetSubtype="16" fill="hold" grpId="0" nodeType="withEffect">
                                  <p:stCondLst>
                                    <p:cond delay="1250"/>
                                  </p:stCondLst>
                                  <p:childTnLst>
                                    <p:set>
                                      <p:cBhvr>
                                        <p:cTn id="159" dur="1" fill="hold">
                                          <p:stCondLst>
                                            <p:cond delay="0"/>
                                          </p:stCondLst>
                                        </p:cTn>
                                        <p:tgtEl>
                                          <p:spTgt spid="498"/>
                                        </p:tgtEl>
                                        <p:attrNameLst>
                                          <p:attrName>style.visibility</p:attrName>
                                        </p:attrNameLst>
                                      </p:cBhvr>
                                      <p:to>
                                        <p:strVal val="visible"/>
                                      </p:to>
                                    </p:set>
                                    <p:anim calcmode="lin" valueType="num">
                                      <p:cBhvr>
                                        <p:cTn id="160" dur="500" fill="hold"/>
                                        <p:tgtEl>
                                          <p:spTgt spid="498"/>
                                        </p:tgtEl>
                                        <p:attrNameLst>
                                          <p:attrName>ppt_w</p:attrName>
                                        </p:attrNameLst>
                                      </p:cBhvr>
                                      <p:tavLst>
                                        <p:tav tm="0">
                                          <p:val>
                                            <p:fltVal val="0"/>
                                          </p:val>
                                        </p:tav>
                                        <p:tav tm="100000">
                                          <p:val>
                                            <p:strVal val="#ppt_w"/>
                                          </p:val>
                                        </p:tav>
                                      </p:tavLst>
                                    </p:anim>
                                    <p:anim calcmode="lin" valueType="num">
                                      <p:cBhvr>
                                        <p:cTn id="161" dur="500" fill="hold"/>
                                        <p:tgtEl>
                                          <p:spTgt spid="498"/>
                                        </p:tgtEl>
                                        <p:attrNameLst>
                                          <p:attrName>ppt_h</p:attrName>
                                        </p:attrNameLst>
                                      </p:cBhvr>
                                      <p:tavLst>
                                        <p:tav tm="0">
                                          <p:val>
                                            <p:fltVal val="0"/>
                                          </p:val>
                                        </p:tav>
                                        <p:tav tm="100000">
                                          <p:val>
                                            <p:strVal val="#ppt_h"/>
                                          </p:val>
                                        </p:tav>
                                      </p:tavLst>
                                    </p:anim>
                                    <p:animEffect transition="in" filter="fade">
                                      <p:cBhvr>
                                        <p:cTn id="162" dur="500"/>
                                        <p:tgtEl>
                                          <p:spTgt spid="498"/>
                                        </p:tgtEl>
                                      </p:cBhvr>
                                    </p:animEffect>
                                  </p:childTnLst>
                                </p:cTn>
                              </p:par>
                              <p:par>
                                <p:cTn id="163" presetID="53" presetClass="entr" presetSubtype="16" fill="hold" grpId="0" nodeType="withEffect">
                                  <p:stCondLst>
                                    <p:cond delay="250"/>
                                  </p:stCondLst>
                                  <p:childTnLst>
                                    <p:set>
                                      <p:cBhvr>
                                        <p:cTn id="164" dur="1" fill="hold">
                                          <p:stCondLst>
                                            <p:cond delay="0"/>
                                          </p:stCondLst>
                                        </p:cTn>
                                        <p:tgtEl>
                                          <p:spTgt spid="499"/>
                                        </p:tgtEl>
                                        <p:attrNameLst>
                                          <p:attrName>style.visibility</p:attrName>
                                        </p:attrNameLst>
                                      </p:cBhvr>
                                      <p:to>
                                        <p:strVal val="visible"/>
                                      </p:to>
                                    </p:set>
                                    <p:anim calcmode="lin" valueType="num">
                                      <p:cBhvr>
                                        <p:cTn id="165" dur="500" fill="hold"/>
                                        <p:tgtEl>
                                          <p:spTgt spid="499"/>
                                        </p:tgtEl>
                                        <p:attrNameLst>
                                          <p:attrName>ppt_w</p:attrName>
                                        </p:attrNameLst>
                                      </p:cBhvr>
                                      <p:tavLst>
                                        <p:tav tm="0">
                                          <p:val>
                                            <p:fltVal val="0"/>
                                          </p:val>
                                        </p:tav>
                                        <p:tav tm="100000">
                                          <p:val>
                                            <p:strVal val="#ppt_w"/>
                                          </p:val>
                                        </p:tav>
                                      </p:tavLst>
                                    </p:anim>
                                    <p:anim calcmode="lin" valueType="num">
                                      <p:cBhvr>
                                        <p:cTn id="166" dur="500" fill="hold"/>
                                        <p:tgtEl>
                                          <p:spTgt spid="499"/>
                                        </p:tgtEl>
                                        <p:attrNameLst>
                                          <p:attrName>ppt_h</p:attrName>
                                        </p:attrNameLst>
                                      </p:cBhvr>
                                      <p:tavLst>
                                        <p:tav tm="0">
                                          <p:val>
                                            <p:fltVal val="0"/>
                                          </p:val>
                                        </p:tav>
                                        <p:tav tm="100000">
                                          <p:val>
                                            <p:strVal val="#ppt_h"/>
                                          </p:val>
                                        </p:tav>
                                      </p:tavLst>
                                    </p:anim>
                                    <p:animEffect transition="in" filter="fade">
                                      <p:cBhvr>
                                        <p:cTn id="167" dur="500"/>
                                        <p:tgtEl>
                                          <p:spTgt spid="499"/>
                                        </p:tgtEl>
                                      </p:cBhvr>
                                    </p:animEffect>
                                  </p:childTnLst>
                                </p:cTn>
                              </p:par>
                              <p:par>
                                <p:cTn id="168" presetID="53" presetClass="entr" presetSubtype="16" fill="hold" grpId="0" nodeType="withEffect">
                                  <p:stCondLst>
                                    <p:cond delay="1000"/>
                                  </p:stCondLst>
                                  <p:childTnLst>
                                    <p:set>
                                      <p:cBhvr>
                                        <p:cTn id="169" dur="1" fill="hold">
                                          <p:stCondLst>
                                            <p:cond delay="0"/>
                                          </p:stCondLst>
                                        </p:cTn>
                                        <p:tgtEl>
                                          <p:spTgt spid="501"/>
                                        </p:tgtEl>
                                        <p:attrNameLst>
                                          <p:attrName>style.visibility</p:attrName>
                                        </p:attrNameLst>
                                      </p:cBhvr>
                                      <p:to>
                                        <p:strVal val="visible"/>
                                      </p:to>
                                    </p:set>
                                    <p:anim calcmode="lin" valueType="num">
                                      <p:cBhvr>
                                        <p:cTn id="170" dur="500" fill="hold"/>
                                        <p:tgtEl>
                                          <p:spTgt spid="501"/>
                                        </p:tgtEl>
                                        <p:attrNameLst>
                                          <p:attrName>ppt_w</p:attrName>
                                        </p:attrNameLst>
                                      </p:cBhvr>
                                      <p:tavLst>
                                        <p:tav tm="0">
                                          <p:val>
                                            <p:fltVal val="0"/>
                                          </p:val>
                                        </p:tav>
                                        <p:tav tm="100000">
                                          <p:val>
                                            <p:strVal val="#ppt_w"/>
                                          </p:val>
                                        </p:tav>
                                      </p:tavLst>
                                    </p:anim>
                                    <p:anim calcmode="lin" valueType="num">
                                      <p:cBhvr>
                                        <p:cTn id="171" dur="500" fill="hold"/>
                                        <p:tgtEl>
                                          <p:spTgt spid="501"/>
                                        </p:tgtEl>
                                        <p:attrNameLst>
                                          <p:attrName>ppt_h</p:attrName>
                                        </p:attrNameLst>
                                      </p:cBhvr>
                                      <p:tavLst>
                                        <p:tav tm="0">
                                          <p:val>
                                            <p:fltVal val="0"/>
                                          </p:val>
                                        </p:tav>
                                        <p:tav tm="100000">
                                          <p:val>
                                            <p:strVal val="#ppt_h"/>
                                          </p:val>
                                        </p:tav>
                                      </p:tavLst>
                                    </p:anim>
                                    <p:animEffect transition="in" filter="fade">
                                      <p:cBhvr>
                                        <p:cTn id="172" dur="500"/>
                                        <p:tgtEl>
                                          <p:spTgt spid="501"/>
                                        </p:tgtEl>
                                      </p:cBhvr>
                                    </p:animEffect>
                                  </p:childTnLst>
                                </p:cTn>
                              </p:par>
                              <p:par>
                                <p:cTn id="173" presetID="53" presetClass="entr" presetSubtype="16" fill="hold" grpId="0" nodeType="withEffect">
                                  <p:stCondLst>
                                    <p:cond delay="0"/>
                                  </p:stCondLst>
                                  <p:childTnLst>
                                    <p:set>
                                      <p:cBhvr>
                                        <p:cTn id="174" dur="1" fill="hold">
                                          <p:stCondLst>
                                            <p:cond delay="0"/>
                                          </p:stCondLst>
                                        </p:cTn>
                                        <p:tgtEl>
                                          <p:spTgt spid="223"/>
                                        </p:tgtEl>
                                        <p:attrNameLst>
                                          <p:attrName>style.visibility</p:attrName>
                                        </p:attrNameLst>
                                      </p:cBhvr>
                                      <p:to>
                                        <p:strVal val="visible"/>
                                      </p:to>
                                    </p:set>
                                    <p:anim calcmode="lin" valueType="num">
                                      <p:cBhvr>
                                        <p:cTn id="175" dur="500" fill="hold"/>
                                        <p:tgtEl>
                                          <p:spTgt spid="223"/>
                                        </p:tgtEl>
                                        <p:attrNameLst>
                                          <p:attrName>ppt_w</p:attrName>
                                        </p:attrNameLst>
                                      </p:cBhvr>
                                      <p:tavLst>
                                        <p:tav tm="0">
                                          <p:val>
                                            <p:fltVal val="0"/>
                                          </p:val>
                                        </p:tav>
                                        <p:tav tm="100000">
                                          <p:val>
                                            <p:strVal val="#ppt_w"/>
                                          </p:val>
                                        </p:tav>
                                      </p:tavLst>
                                    </p:anim>
                                    <p:anim calcmode="lin" valueType="num">
                                      <p:cBhvr>
                                        <p:cTn id="176" dur="500" fill="hold"/>
                                        <p:tgtEl>
                                          <p:spTgt spid="223"/>
                                        </p:tgtEl>
                                        <p:attrNameLst>
                                          <p:attrName>ppt_h</p:attrName>
                                        </p:attrNameLst>
                                      </p:cBhvr>
                                      <p:tavLst>
                                        <p:tav tm="0">
                                          <p:val>
                                            <p:fltVal val="0"/>
                                          </p:val>
                                        </p:tav>
                                        <p:tav tm="100000">
                                          <p:val>
                                            <p:strVal val="#ppt_h"/>
                                          </p:val>
                                        </p:tav>
                                      </p:tavLst>
                                    </p:anim>
                                    <p:animEffect transition="in" filter="fade">
                                      <p:cBhvr>
                                        <p:cTn id="177" dur="500"/>
                                        <p:tgtEl>
                                          <p:spTgt spid="223"/>
                                        </p:tgtEl>
                                      </p:cBhvr>
                                    </p:animEffect>
                                  </p:childTnLst>
                                </p:cTn>
                              </p:par>
                              <p:par>
                                <p:cTn id="178" presetID="53" presetClass="entr" presetSubtype="16" fill="hold" grpId="0" nodeType="withEffect">
                                  <p:stCondLst>
                                    <p:cond delay="1500"/>
                                  </p:stCondLst>
                                  <p:childTnLst>
                                    <p:set>
                                      <p:cBhvr>
                                        <p:cTn id="179" dur="1" fill="hold">
                                          <p:stCondLst>
                                            <p:cond delay="0"/>
                                          </p:stCondLst>
                                        </p:cTn>
                                        <p:tgtEl>
                                          <p:spTgt spid="224"/>
                                        </p:tgtEl>
                                        <p:attrNameLst>
                                          <p:attrName>style.visibility</p:attrName>
                                        </p:attrNameLst>
                                      </p:cBhvr>
                                      <p:to>
                                        <p:strVal val="visible"/>
                                      </p:to>
                                    </p:set>
                                    <p:anim calcmode="lin" valueType="num">
                                      <p:cBhvr>
                                        <p:cTn id="180" dur="500" fill="hold"/>
                                        <p:tgtEl>
                                          <p:spTgt spid="224"/>
                                        </p:tgtEl>
                                        <p:attrNameLst>
                                          <p:attrName>ppt_w</p:attrName>
                                        </p:attrNameLst>
                                      </p:cBhvr>
                                      <p:tavLst>
                                        <p:tav tm="0">
                                          <p:val>
                                            <p:fltVal val="0"/>
                                          </p:val>
                                        </p:tav>
                                        <p:tav tm="100000">
                                          <p:val>
                                            <p:strVal val="#ppt_w"/>
                                          </p:val>
                                        </p:tav>
                                      </p:tavLst>
                                    </p:anim>
                                    <p:anim calcmode="lin" valueType="num">
                                      <p:cBhvr>
                                        <p:cTn id="181" dur="500" fill="hold"/>
                                        <p:tgtEl>
                                          <p:spTgt spid="224"/>
                                        </p:tgtEl>
                                        <p:attrNameLst>
                                          <p:attrName>ppt_h</p:attrName>
                                        </p:attrNameLst>
                                      </p:cBhvr>
                                      <p:tavLst>
                                        <p:tav tm="0">
                                          <p:val>
                                            <p:fltVal val="0"/>
                                          </p:val>
                                        </p:tav>
                                        <p:tav tm="100000">
                                          <p:val>
                                            <p:strVal val="#ppt_h"/>
                                          </p:val>
                                        </p:tav>
                                      </p:tavLst>
                                    </p:anim>
                                    <p:animEffect transition="in" filter="fade">
                                      <p:cBhvr>
                                        <p:cTn id="182" dur="500"/>
                                        <p:tgtEl>
                                          <p:spTgt spid="224"/>
                                        </p:tgtEl>
                                      </p:cBhvr>
                                    </p:animEffect>
                                  </p:childTnLst>
                                </p:cTn>
                              </p:par>
                              <p:par>
                                <p:cTn id="183" presetID="53" presetClass="entr" presetSubtype="16" fill="hold" grpId="0" nodeType="withEffect">
                                  <p:stCondLst>
                                    <p:cond delay="500"/>
                                  </p:stCondLst>
                                  <p:childTnLst>
                                    <p:set>
                                      <p:cBhvr>
                                        <p:cTn id="184" dur="1" fill="hold">
                                          <p:stCondLst>
                                            <p:cond delay="0"/>
                                          </p:stCondLst>
                                        </p:cTn>
                                        <p:tgtEl>
                                          <p:spTgt spid="225"/>
                                        </p:tgtEl>
                                        <p:attrNameLst>
                                          <p:attrName>style.visibility</p:attrName>
                                        </p:attrNameLst>
                                      </p:cBhvr>
                                      <p:to>
                                        <p:strVal val="visible"/>
                                      </p:to>
                                    </p:set>
                                    <p:anim calcmode="lin" valueType="num">
                                      <p:cBhvr>
                                        <p:cTn id="185" dur="500" fill="hold"/>
                                        <p:tgtEl>
                                          <p:spTgt spid="225"/>
                                        </p:tgtEl>
                                        <p:attrNameLst>
                                          <p:attrName>ppt_w</p:attrName>
                                        </p:attrNameLst>
                                      </p:cBhvr>
                                      <p:tavLst>
                                        <p:tav tm="0">
                                          <p:val>
                                            <p:fltVal val="0"/>
                                          </p:val>
                                        </p:tav>
                                        <p:tav tm="100000">
                                          <p:val>
                                            <p:strVal val="#ppt_w"/>
                                          </p:val>
                                        </p:tav>
                                      </p:tavLst>
                                    </p:anim>
                                    <p:anim calcmode="lin" valueType="num">
                                      <p:cBhvr>
                                        <p:cTn id="186" dur="500" fill="hold"/>
                                        <p:tgtEl>
                                          <p:spTgt spid="225"/>
                                        </p:tgtEl>
                                        <p:attrNameLst>
                                          <p:attrName>ppt_h</p:attrName>
                                        </p:attrNameLst>
                                      </p:cBhvr>
                                      <p:tavLst>
                                        <p:tav tm="0">
                                          <p:val>
                                            <p:fltVal val="0"/>
                                          </p:val>
                                        </p:tav>
                                        <p:tav tm="100000">
                                          <p:val>
                                            <p:strVal val="#ppt_h"/>
                                          </p:val>
                                        </p:tav>
                                      </p:tavLst>
                                    </p:anim>
                                    <p:animEffect transition="in" filter="fade">
                                      <p:cBhvr>
                                        <p:cTn id="187" dur="500"/>
                                        <p:tgtEl>
                                          <p:spTgt spid="225"/>
                                        </p:tgtEl>
                                      </p:cBhvr>
                                    </p:animEffect>
                                  </p:childTnLst>
                                </p:cTn>
                              </p:par>
                              <p:par>
                                <p:cTn id="188" presetID="53" presetClass="entr" presetSubtype="16" fill="hold" grpId="0" nodeType="withEffect">
                                  <p:stCondLst>
                                    <p:cond delay="1000"/>
                                  </p:stCondLst>
                                  <p:childTnLst>
                                    <p:set>
                                      <p:cBhvr>
                                        <p:cTn id="189" dur="1" fill="hold">
                                          <p:stCondLst>
                                            <p:cond delay="0"/>
                                          </p:stCondLst>
                                        </p:cTn>
                                        <p:tgtEl>
                                          <p:spTgt spid="226"/>
                                        </p:tgtEl>
                                        <p:attrNameLst>
                                          <p:attrName>style.visibility</p:attrName>
                                        </p:attrNameLst>
                                      </p:cBhvr>
                                      <p:to>
                                        <p:strVal val="visible"/>
                                      </p:to>
                                    </p:set>
                                    <p:anim calcmode="lin" valueType="num">
                                      <p:cBhvr>
                                        <p:cTn id="190" dur="500" fill="hold"/>
                                        <p:tgtEl>
                                          <p:spTgt spid="226"/>
                                        </p:tgtEl>
                                        <p:attrNameLst>
                                          <p:attrName>ppt_w</p:attrName>
                                        </p:attrNameLst>
                                      </p:cBhvr>
                                      <p:tavLst>
                                        <p:tav tm="0">
                                          <p:val>
                                            <p:fltVal val="0"/>
                                          </p:val>
                                        </p:tav>
                                        <p:tav tm="100000">
                                          <p:val>
                                            <p:strVal val="#ppt_w"/>
                                          </p:val>
                                        </p:tav>
                                      </p:tavLst>
                                    </p:anim>
                                    <p:anim calcmode="lin" valueType="num">
                                      <p:cBhvr>
                                        <p:cTn id="191" dur="500" fill="hold"/>
                                        <p:tgtEl>
                                          <p:spTgt spid="226"/>
                                        </p:tgtEl>
                                        <p:attrNameLst>
                                          <p:attrName>ppt_h</p:attrName>
                                        </p:attrNameLst>
                                      </p:cBhvr>
                                      <p:tavLst>
                                        <p:tav tm="0">
                                          <p:val>
                                            <p:fltVal val="0"/>
                                          </p:val>
                                        </p:tav>
                                        <p:tav tm="100000">
                                          <p:val>
                                            <p:strVal val="#ppt_h"/>
                                          </p:val>
                                        </p:tav>
                                      </p:tavLst>
                                    </p:anim>
                                    <p:animEffect transition="in" filter="fade">
                                      <p:cBhvr>
                                        <p:cTn id="192" dur="500"/>
                                        <p:tgtEl>
                                          <p:spTgt spid="226"/>
                                        </p:tgtEl>
                                      </p:cBhvr>
                                    </p:animEffect>
                                  </p:childTnLst>
                                </p:cTn>
                              </p:par>
                              <p:par>
                                <p:cTn id="193" presetID="53" presetClass="entr" presetSubtype="16" fill="hold" grpId="0" nodeType="withEffect">
                                  <p:stCondLst>
                                    <p:cond delay="750"/>
                                  </p:stCondLst>
                                  <p:childTnLst>
                                    <p:set>
                                      <p:cBhvr>
                                        <p:cTn id="194" dur="1" fill="hold">
                                          <p:stCondLst>
                                            <p:cond delay="0"/>
                                          </p:stCondLst>
                                        </p:cTn>
                                        <p:tgtEl>
                                          <p:spTgt spid="227"/>
                                        </p:tgtEl>
                                        <p:attrNameLst>
                                          <p:attrName>style.visibility</p:attrName>
                                        </p:attrNameLst>
                                      </p:cBhvr>
                                      <p:to>
                                        <p:strVal val="visible"/>
                                      </p:to>
                                    </p:set>
                                    <p:anim calcmode="lin" valueType="num">
                                      <p:cBhvr>
                                        <p:cTn id="195" dur="500" fill="hold"/>
                                        <p:tgtEl>
                                          <p:spTgt spid="227"/>
                                        </p:tgtEl>
                                        <p:attrNameLst>
                                          <p:attrName>ppt_w</p:attrName>
                                        </p:attrNameLst>
                                      </p:cBhvr>
                                      <p:tavLst>
                                        <p:tav tm="0">
                                          <p:val>
                                            <p:fltVal val="0"/>
                                          </p:val>
                                        </p:tav>
                                        <p:tav tm="100000">
                                          <p:val>
                                            <p:strVal val="#ppt_w"/>
                                          </p:val>
                                        </p:tav>
                                      </p:tavLst>
                                    </p:anim>
                                    <p:anim calcmode="lin" valueType="num">
                                      <p:cBhvr>
                                        <p:cTn id="196" dur="500" fill="hold"/>
                                        <p:tgtEl>
                                          <p:spTgt spid="227"/>
                                        </p:tgtEl>
                                        <p:attrNameLst>
                                          <p:attrName>ppt_h</p:attrName>
                                        </p:attrNameLst>
                                      </p:cBhvr>
                                      <p:tavLst>
                                        <p:tav tm="0">
                                          <p:val>
                                            <p:fltVal val="0"/>
                                          </p:val>
                                        </p:tav>
                                        <p:tav tm="100000">
                                          <p:val>
                                            <p:strVal val="#ppt_h"/>
                                          </p:val>
                                        </p:tav>
                                      </p:tavLst>
                                    </p:anim>
                                    <p:animEffect transition="in" filter="fade">
                                      <p:cBhvr>
                                        <p:cTn id="197" dur="500"/>
                                        <p:tgtEl>
                                          <p:spTgt spid="227"/>
                                        </p:tgtEl>
                                      </p:cBhvr>
                                    </p:animEffect>
                                  </p:childTnLst>
                                </p:cTn>
                              </p:par>
                              <p:par>
                                <p:cTn id="198" presetID="53" presetClass="entr" presetSubtype="16" fill="hold" grpId="0" nodeType="withEffect">
                                  <p:stCondLst>
                                    <p:cond delay="500"/>
                                  </p:stCondLst>
                                  <p:childTnLst>
                                    <p:set>
                                      <p:cBhvr>
                                        <p:cTn id="199" dur="1" fill="hold">
                                          <p:stCondLst>
                                            <p:cond delay="0"/>
                                          </p:stCondLst>
                                        </p:cTn>
                                        <p:tgtEl>
                                          <p:spTgt spid="228"/>
                                        </p:tgtEl>
                                        <p:attrNameLst>
                                          <p:attrName>style.visibility</p:attrName>
                                        </p:attrNameLst>
                                      </p:cBhvr>
                                      <p:to>
                                        <p:strVal val="visible"/>
                                      </p:to>
                                    </p:set>
                                    <p:anim calcmode="lin" valueType="num">
                                      <p:cBhvr>
                                        <p:cTn id="200" dur="500" fill="hold"/>
                                        <p:tgtEl>
                                          <p:spTgt spid="228"/>
                                        </p:tgtEl>
                                        <p:attrNameLst>
                                          <p:attrName>ppt_w</p:attrName>
                                        </p:attrNameLst>
                                      </p:cBhvr>
                                      <p:tavLst>
                                        <p:tav tm="0">
                                          <p:val>
                                            <p:fltVal val="0"/>
                                          </p:val>
                                        </p:tav>
                                        <p:tav tm="100000">
                                          <p:val>
                                            <p:strVal val="#ppt_w"/>
                                          </p:val>
                                        </p:tav>
                                      </p:tavLst>
                                    </p:anim>
                                    <p:anim calcmode="lin" valueType="num">
                                      <p:cBhvr>
                                        <p:cTn id="201" dur="500" fill="hold"/>
                                        <p:tgtEl>
                                          <p:spTgt spid="228"/>
                                        </p:tgtEl>
                                        <p:attrNameLst>
                                          <p:attrName>ppt_h</p:attrName>
                                        </p:attrNameLst>
                                      </p:cBhvr>
                                      <p:tavLst>
                                        <p:tav tm="0">
                                          <p:val>
                                            <p:fltVal val="0"/>
                                          </p:val>
                                        </p:tav>
                                        <p:tav tm="100000">
                                          <p:val>
                                            <p:strVal val="#ppt_h"/>
                                          </p:val>
                                        </p:tav>
                                      </p:tavLst>
                                    </p:anim>
                                    <p:animEffect transition="in" filter="fade">
                                      <p:cBhvr>
                                        <p:cTn id="202" dur="500"/>
                                        <p:tgtEl>
                                          <p:spTgt spid="228"/>
                                        </p:tgtEl>
                                      </p:cBhvr>
                                    </p:animEffect>
                                  </p:childTnLst>
                                </p:cTn>
                              </p:par>
                              <p:par>
                                <p:cTn id="203" presetID="53" presetClass="entr" presetSubtype="16" fill="hold" grpId="0" nodeType="withEffect">
                                  <p:stCondLst>
                                    <p:cond delay="1250"/>
                                  </p:stCondLst>
                                  <p:childTnLst>
                                    <p:set>
                                      <p:cBhvr>
                                        <p:cTn id="204" dur="1" fill="hold">
                                          <p:stCondLst>
                                            <p:cond delay="0"/>
                                          </p:stCondLst>
                                        </p:cTn>
                                        <p:tgtEl>
                                          <p:spTgt spid="229"/>
                                        </p:tgtEl>
                                        <p:attrNameLst>
                                          <p:attrName>style.visibility</p:attrName>
                                        </p:attrNameLst>
                                      </p:cBhvr>
                                      <p:to>
                                        <p:strVal val="visible"/>
                                      </p:to>
                                    </p:set>
                                    <p:anim calcmode="lin" valueType="num">
                                      <p:cBhvr>
                                        <p:cTn id="205" dur="500" fill="hold"/>
                                        <p:tgtEl>
                                          <p:spTgt spid="229"/>
                                        </p:tgtEl>
                                        <p:attrNameLst>
                                          <p:attrName>ppt_w</p:attrName>
                                        </p:attrNameLst>
                                      </p:cBhvr>
                                      <p:tavLst>
                                        <p:tav tm="0">
                                          <p:val>
                                            <p:fltVal val="0"/>
                                          </p:val>
                                        </p:tav>
                                        <p:tav tm="100000">
                                          <p:val>
                                            <p:strVal val="#ppt_w"/>
                                          </p:val>
                                        </p:tav>
                                      </p:tavLst>
                                    </p:anim>
                                    <p:anim calcmode="lin" valueType="num">
                                      <p:cBhvr>
                                        <p:cTn id="206" dur="500" fill="hold"/>
                                        <p:tgtEl>
                                          <p:spTgt spid="229"/>
                                        </p:tgtEl>
                                        <p:attrNameLst>
                                          <p:attrName>ppt_h</p:attrName>
                                        </p:attrNameLst>
                                      </p:cBhvr>
                                      <p:tavLst>
                                        <p:tav tm="0">
                                          <p:val>
                                            <p:fltVal val="0"/>
                                          </p:val>
                                        </p:tav>
                                        <p:tav tm="100000">
                                          <p:val>
                                            <p:strVal val="#ppt_h"/>
                                          </p:val>
                                        </p:tav>
                                      </p:tavLst>
                                    </p:anim>
                                    <p:animEffect transition="in" filter="fade">
                                      <p:cBhvr>
                                        <p:cTn id="207" dur="500"/>
                                        <p:tgtEl>
                                          <p:spTgt spid="229"/>
                                        </p:tgtEl>
                                      </p:cBhvr>
                                    </p:animEffect>
                                  </p:childTnLst>
                                </p:cTn>
                              </p:par>
                              <p:par>
                                <p:cTn id="208" presetID="53" presetClass="entr" presetSubtype="16" fill="hold" grpId="0" nodeType="withEffect">
                                  <p:stCondLst>
                                    <p:cond delay="1500"/>
                                  </p:stCondLst>
                                  <p:childTnLst>
                                    <p:set>
                                      <p:cBhvr>
                                        <p:cTn id="209" dur="1" fill="hold">
                                          <p:stCondLst>
                                            <p:cond delay="0"/>
                                          </p:stCondLst>
                                        </p:cTn>
                                        <p:tgtEl>
                                          <p:spTgt spid="230"/>
                                        </p:tgtEl>
                                        <p:attrNameLst>
                                          <p:attrName>style.visibility</p:attrName>
                                        </p:attrNameLst>
                                      </p:cBhvr>
                                      <p:to>
                                        <p:strVal val="visible"/>
                                      </p:to>
                                    </p:set>
                                    <p:anim calcmode="lin" valueType="num">
                                      <p:cBhvr>
                                        <p:cTn id="210" dur="500" fill="hold"/>
                                        <p:tgtEl>
                                          <p:spTgt spid="230"/>
                                        </p:tgtEl>
                                        <p:attrNameLst>
                                          <p:attrName>ppt_w</p:attrName>
                                        </p:attrNameLst>
                                      </p:cBhvr>
                                      <p:tavLst>
                                        <p:tav tm="0">
                                          <p:val>
                                            <p:fltVal val="0"/>
                                          </p:val>
                                        </p:tav>
                                        <p:tav tm="100000">
                                          <p:val>
                                            <p:strVal val="#ppt_w"/>
                                          </p:val>
                                        </p:tav>
                                      </p:tavLst>
                                    </p:anim>
                                    <p:anim calcmode="lin" valueType="num">
                                      <p:cBhvr>
                                        <p:cTn id="211" dur="500" fill="hold"/>
                                        <p:tgtEl>
                                          <p:spTgt spid="230"/>
                                        </p:tgtEl>
                                        <p:attrNameLst>
                                          <p:attrName>ppt_h</p:attrName>
                                        </p:attrNameLst>
                                      </p:cBhvr>
                                      <p:tavLst>
                                        <p:tav tm="0">
                                          <p:val>
                                            <p:fltVal val="0"/>
                                          </p:val>
                                        </p:tav>
                                        <p:tav tm="100000">
                                          <p:val>
                                            <p:strVal val="#ppt_h"/>
                                          </p:val>
                                        </p:tav>
                                      </p:tavLst>
                                    </p:anim>
                                    <p:animEffect transition="in" filter="fade">
                                      <p:cBhvr>
                                        <p:cTn id="212" dur="500"/>
                                        <p:tgtEl>
                                          <p:spTgt spid="230"/>
                                        </p:tgtEl>
                                      </p:cBhvr>
                                    </p:animEffect>
                                  </p:childTnLst>
                                </p:cTn>
                              </p:par>
                              <p:par>
                                <p:cTn id="213" presetID="53" presetClass="entr" presetSubtype="16" fill="hold" grpId="0" nodeType="withEffect">
                                  <p:stCondLst>
                                    <p:cond delay="0"/>
                                  </p:stCondLst>
                                  <p:childTnLst>
                                    <p:set>
                                      <p:cBhvr>
                                        <p:cTn id="214" dur="1" fill="hold">
                                          <p:stCondLst>
                                            <p:cond delay="0"/>
                                          </p:stCondLst>
                                        </p:cTn>
                                        <p:tgtEl>
                                          <p:spTgt spid="232"/>
                                        </p:tgtEl>
                                        <p:attrNameLst>
                                          <p:attrName>style.visibility</p:attrName>
                                        </p:attrNameLst>
                                      </p:cBhvr>
                                      <p:to>
                                        <p:strVal val="visible"/>
                                      </p:to>
                                    </p:set>
                                    <p:anim calcmode="lin" valueType="num">
                                      <p:cBhvr>
                                        <p:cTn id="215" dur="500" fill="hold"/>
                                        <p:tgtEl>
                                          <p:spTgt spid="232"/>
                                        </p:tgtEl>
                                        <p:attrNameLst>
                                          <p:attrName>ppt_w</p:attrName>
                                        </p:attrNameLst>
                                      </p:cBhvr>
                                      <p:tavLst>
                                        <p:tav tm="0">
                                          <p:val>
                                            <p:fltVal val="0"/>
                                          </p:val>
                                        </p:tav>
                                        <p:tav tm="100000">
                                          <p:val>
                                            <p:strVal val="#ppt_w"/>
                                          </p:val>
                                        </p:tav>
                                      </p:tavLst>
                                    </p:anim>
                                    <p:anim calcmode="lin" valueType="num">
                                      <p:cBhvr>
                                        <p:cTn id="216" dur="500" fill="hold"/>
                                        <p:tgtEl>
                                          <p:spTgt spid="232"/>
                                        </p:tgtEl>
                                        <p:attrNameLst>
                                          <p:attrName>ppt_h</p:attrName>
                                        </p:attrNameLst>
                                      </p:cBhvr>
                                      <p:tavLst>
                                        <p:tav tm="0">
                                          <p:val>
                                            <p:fltVal val="0"/>
                                          </p:val>
                                        </p:tav>
                                        <p:tav tm="100000">
                                          <p:val>
                                            <p:strVal val="#ppt_h"/>
                                          </p:val>
                                        </p:tav>
                                      </p:tavLst>
                                    </p:anim>
                                    <p:animEffect transition="in" filter="fade">
                                      <p:cBhvr>
                                        <p:cTn id="217" dur="500"/>
                                        <p:tgtEl>
                                          <p:spTgt spid="232"/>
                                        </p:tgtEl>
                                      </p:cBhvr>
                                    </p:animEffect>
                                  </p:childTnLst>
                                </p:cTn>
                              </p:par>
                              <p:par>
                                <p:cTn id="218" presetID="53" presetClass="entr" presetSubtype="16" fill="hold" grpId="0" nodeType="withEffect">
                                  <p:stCondLst>
                                    <p:cond delay="1000"/>
                                  </p:stCondLst>
                                  <p:childTnLst>
                                    <p:set>
                                      <p:cBhvr>
                                        <p:cTn id="219" dur="1" fill="hold">
                                          <p:stCondLst>
                                            <p:cond delay="0"/>
                                          </p:stCondLst>
                                        </p:cTn>
                                        <p:tgtEl>
                                          <p:spTgt spid="233"/>
                                        </p:tgtEl>
                                        <p:attrNameLst>
                                          <p:attrName>style.visibility</p:attrName>
                                        </p:attrNameLst>
                                      </p:cBhvr>
                                      <p:to>
                                        <p:strVal val="visible"/>
                                      </p:to>
                                    </p:set>
                                    <p:anim calcmode="lin" valueType="num">
                                      <p:cBhvr>
                                        <p:cTn id="220" dur="500" fill="hold"/>
                                        <p:tgtEl>
                                          <p:spTgt spid="233"/>
                                        </p:tgtEl>
                                        <p:attrNameLst>
                                          <p:attrName>ppt_w</p:attrName>
                                        </p:attrNameLst>
                                      </p:cBhvr>
                                      <p:tavLst>
                                        <p:tav tm="0">
                                          <p:val>
                                            <p:fltVal val="0"/>
                                          </p:val>
                                        </p:tav>
                                        <p:tav tm="100000">
                                          <p:val>
                                            <p:strVal val="#ppt_w"/>
                                          </p:val>
                                        </p:tav>
                                      </p:tavLst>
                                    </p:anim>
                                    <p:anim calcmode="lin" valueType="num">
                                      <p:cBhvr>
                                        <p:cTn id="221" dur="500" fill="hold"/>
                                        <p:tgtEl>
                                          <p:spTgt spid="233"/>
                                        </p:tgtEl>
                                        <p:attrNameLst>
                                          <p:attrName>ppt_h</p:attrName>
                                        </p:attrNameLst>
                                      </p:cBhvr>
                                      <p:tavLst>
                                        <p:tav tm="0">
                                          <p:val>
                                            <p:fltVal val="0"/>
                                          </p:val>
                                        </p:tav>
                                        <p:tav tm="100000">
                                          <p:val>
                                            <p:strVal val="#ppt_h"/>
                                          </p:val>
                                        </p:tav>
                                      </p:tavLst>
                                    </p:anim>
                                    <p:animEffect transition="in" filter="fade">
                                      <p:cBhvr>
                                        <p:cTn id="222" dur="500"/>
                                        <p:tgtEl>
                                          <p:spTgt spid="233"/>
                                        </p:tgtEl>
                                      </p:cBhvr>
                                    </p:animEffect>
                                  </p:childTnLst>
                                </p:cTn>
                              </p:par>
                              <p:par>
                                <p:cTn id="223" presetID="53" presetClass="entr" presetSubtype="16" fill="hold" grpId="0" nodeType="withEffect">
                                  <p:stCondLst>
                                    <p:cond delay="250"/>
                                  </p:stCondLst>
                                  <p:childTnLst>
                                    <p:set>
                                      <p:cBhvr>
                                        <p:cTn id="224" dur="1" fill="hold">
                                          <p:stCondLst>
                                            <p:cond delay="0"/>
                                          </p:stCondLst>
                                        </p:cTn>
                                        <p:tgtEl>
                                          <p:spTgt spid="236"/>
                                        </p:tgtEl>
                                        <p:attrNameLst>
                                          <p:attrName>style.visibility</p:attrName>
                                        </p:attrNameLst>
                                      </p:cBhvr>
                                      <p:to>
                                        <p:strVal val="visible"/>
                                      </p:to>
                                    </p:set>
                                    <p:anim calcmode="lin" valueType="num">
                                      <p:cBhvr>
                                        <p:cTn id="225" dur="500" fill="hold"/>
                                        <p:tgtEl>
                                          <p:spTgt spid="236"/>
                                        </p:tgtEl>
                                        <p:attrNameLst>
                                          <p:attrName>ppt_w</p:attrName>
                                        </p:attrNameLst>
                                      </p:cBhvr>
                                      <p:tavLst>
                                        <p:tav tm="0">
                                          <p:val>
                                            <p:fltVal val="0"/>
                                          </p:val>
                                        </p:tav>
                                        <p:tav tm="100000">
                                          <p:val>
                                            <p:strVal val="#ppt_w"/>
                                          </p:val>
                                        </p:tav>
                                      </p:tavLst>
                                    </p:anim>
                                    <p:anim calcmode="lin" valueType="num">
                                      <p:cBhvr>
                                        <p:cTn id="226" dur="500" fill="hold"/>
                                        <p:tgtEl>
                                          <p:spTgt spid="236"/>
                                        </p:tgtEl>
                                        <p:attrNameLst>
                                          <p:attrName>ppt_h</p:attrName>
                                        </p:attrNameLst>
                                      </p:cBhvr>
                                      <p:tavLst>
                                        <p:tav tm="0">
                                          <p:val>
                                            <p:fltVal val="0"/>
                                          </p:val>
                                        </p:tav>
                                        <p:tav tm="100000">
                                          <p:val>
                                            <p:strVal val="#ppt_h"/>
                                          </p:val>
                                        </p:tav>
                                      </p:tavLst>
                                    </p:anim>
                                    <p:animEffect transition="in" filter="fade">
                                      <p:cBhvr>
                                        <p:cTn id="227" dur="500"/>
                                        <p:tgtEl>
                                          <p:spTgt spid="236"/>
                                        </p:tgtEl>
                                      </p:cBhvr>
                                    </p:animEffect>
                                  </p:childTnLst>
                                </p:cTn>
                              </p:par>
                              <p:par>
                                <p:cTn id="228" presetID="53" presetClass="entr" presetSubtype="16" fill="hold" grpId="0" nodeType="withEffect">
                                  <p:stCondLst>
                                    <p:cond delay="750"/>
                                  </p:stCondLst>
                                  <p:childTnLst>
                                    <p:set>
                                      <p:cBhvr>
                                        <p:cTn id="229" dur="1" fill="hold">
                                          <p:stCondLst>
                                            <p:cond delay="0"/>
                                          </p:stCondLst>
                                        </p:cTn>
                                        <p:tgtEl>
                                          <p:spTgt spid="237"/>
                                        </p:tgtEl>
                                        <p:attrNameLst>
                                          <p:attrName>style.visibility</p:attrName>
                                        </p:attrNameLst>
                                      </p:cBhvr>
                                      <p:to>
                                        <p:strVal val="visible"/>
                                      </p:to>
                                    </p:set>
                                    <p:anim calcmode="lin" valueType="num">
                                      <p:cBhvr>
                                        <p:cTn id="230" dur="500" fill="hold"/>
                                        <p:tgtEl>
                                          <p:spTgt spid="237"/>
                                        </p:tgtEl>
                                        <p:attrNameLst>
                                          <p:attrName>ppt_w</p:attrName>
                                        </p:attrNameLst>
                                      </p:cBhvr>
                                      <p:tavLst>
                                        <p:tav tm="0">
                                          <p:val>
                                            <p:fltVal val="0"/>
                                          </p:val>
                                        </p:tav>
                                        <p:tav tm="100000">
                                          <p:val>
                                            <p:strVal val="#ppt_w"/>
                                          </p:val>
                                        </p:tav>
                                      </p:tavLst>
                                    </p:anim>
                                    <p:anim calcmode="lin" valueType="num">
                                      <p:cBhvr>
                                        <p:cTn id="231" dur="500" fill="hold"/>
                                        <p:tgtEl>
                                          <p:spTgt spid="237"/>
                                        </p:tgtEl>
                                        <p:attrNameLst>
                                          <p:attrName>ppt_h</p:attrName>
                                        </p:attrNameLst>
                                      </p:cBhvr>
                                      <p:tavLst>
                                        <p:tav tm="0">
                                          <p:val>
                                            <p:fltVal val="0"/>
                                          </p:val>
                                        </p:tav>
                                        <p:tav tm="100000">
                                          <p:val>
                                            <p:strVal val="#ppt_h"/>
                                          </p:val>
                                        </p:tav>
                                      </p:tavLst>
                                    </p:anim>
                                    <p:animEffect transition="in" filter="fade">
                                      <p:cBhvr>
                                        <p:cTn id="232" dur="500"/>
                                        <p:tgtEl>
                                          <p:spTgt spid="237"/>
                                        </p:tgtEl>
                                      </p:cBhvr>
                                    </p:animEffect>
                                  </p:childTnLst>
                                </p:cTn>
                              </p:par>
                              <p:par>
                                <p:cTn id="233" presetID="53" presetClass="entr" presetSubtype="16" fill="hold" grpId="0" nodeType="withEffect">
                                  <p:stCondLst>
                                    <p:cond delay="0"/>
                                  </p:stCondLst>
                                  <p:childTnLst>
                                    <p:set>
                                      <p:cBhvr>
                                        <p:cTn id="234" dur="1" fill="hold">
                                          <p:stCondLst>
                                            <p:cond delay="0"/>
                                          </p:stCondLst>
                                        </p:cTn>
                                        <p:tgtEl>
                                          <p:spTgt spid="238"/>
                                        </p:tgtEl>
                                        <p:attrNameLst>
                                          <p:attrName>style.visibility</p:attrName>
                                        </p:attrNameLst>
                                      </p:cBhvr>
                                      <p:to>
                                        <p:strVal val="visible"/>
                                      </p:to>
                                    </p:set>
                                    <p:anim calcmode="lin" valueType="num">
                                      <p:cBhvr>
                                        <p:cTn id="235" dur="500" fill="hold"/>
                                        <p:tgtEl>
                                          <p:spTgt spid="238"/>
                                        </p:tgtEl>
                                        <p:attrNameLst>
                                          <p:attrName>ppt_w</p:attrName>
                                        </p:attrNameLst>
                                      </p:cBhvr>
                                      <p:tavLst>
                                        <p:tav tm="0">
                                          <p:val>
                                            <p:fltVal val="0"/>
                                          </p:val>
                                        </p:tav>
                                        <p:tav tm="100000">
                                          <p:val>
                                            <p:strVal val="#ppt_w"/>
                                          </p:val>
                                        </p:tav>
                                      </p:tavLst>
                                    </p:anim>
                                    <p:anim calcmode="lin" valueType="num">
                                      <p:cBhvr>
                                        <p:cTn id="236" dur="500" fill="hold"/>
                                        <p:tgtEl>
                                          <p:spTgt spid="238"/>
                                        </p:tgtEl>
                                        <p:attrNameLst>
                                          <p:attrName>ppt_h</p:attrName>
                                        </p:attrNameLst>
                                      </p:cBhvr>
                                      <p:tavLst>
                                        <p:tav tm="0">
                                          <p:val>
                                            <p:fltVal val="0"/>
                                          </p:val>
                                        </p:tav>
                                        <p:tav tm="100000">
                                          <p:val>
                                            <p:strVal val="#ppt_h"/>
                                          </p:val>
                                        </p:tav>
                                      </p:tavLst>
                                    </p:anim>
                                    <p:animEffect transition="in" filter="fade">
                                      <p:cBhvr>
                                        <p:cTn id="237" dur="500"/>
                                        <p:tgtEl>
                                          <p:spTgt spid="238"/>
                                        </p:tgtEl>
                                      </p:cBhvr>
                                    </p:animEffect>
                                  </p:childTnLst>
                                </p:cTn>
                              </p:par>
                              <p:par>
                                <p:cTn id="238" presetID="53" presetClass="entr" presetSubtype="16" fill="hold" grpId="0" nodeType="withEffect">
                                  <p:stCondLst>
                                    <p:cond delay="500"/>
                                  </p:stCondLst>
                                  <p:childTnLst>
                                    <p:set>
                                      <p:cBhvr>
                                        <p:cTn id="239" dur="1" fill="hold">
                                          <p:stCondLst>
                                            <p:cond delay="0"/>
                                          </p:stCondLst>
                                        </p:cTn>
                                        <p:tgtEl>
                                          <p:spTgt spid="239"/>
                                        </p:tgtEl>
                                        <p:attrNameLst>
                                          <p:attrName>style.visibility</p:attrName>
                                        </p:attrNameLst>
                                      </p:cBhvr>
                                      <p:to>
                                        <p:strVal val="visible"/>
                                      </p:to>
                                    </p:set>
                                    <p:anim calcmode="lin" valueType="num">
                                      <p:cBhvr>
                                        <p:cTn id="240" dur="500" fill="hold"/>
                                        <p:tgtEl>
                                          <p:spTgt spid="239"/>
                                        </p:tgtEl>
                                        <p:attrNameLst>
                                          <p:attrName>ppt_w</p:attrName>
                                        </p:attrNameLst>
                                      </p:cBhvr>
                                      <p:tavLst>
                                        <p:tav tm="0">
                                          <p:val>
                                            <p:fltVal val="0"/>
                                          </p:val>
                                        </p:tav>
                                        <p:tav tm="100000">
                                          <p:val>
                                            <p:strVal val="#ppt_w"/>
                                          </p:val>
                                        </p:tav>
                                      </p:tavLst>
                                    </p:anim>
                                    <p:anim calcmode="lin" valueType="num">
                                      <p:cBhvr>
                                        <p:cTn id="241" dur="500" fill="hold"/>
                                        <p:tgtEl>
                                          <p:spTgt spid="239"/>
                                        </p:tgtEl>
                                        <p:attrNameLst>
                                          <p:attrName>ppt_h</p:attrName>
                                        </p:attrNameLst>
                                      </p:cBhvr>
                                      <p:tavLst>
                                        <p:tav tm="0">
                                          <p:val>
                                            <p:fltVal val="0"/>
                                          </p:val>
                                        </p:tav>
                                        <p:tav tm="100000">
                                          <p:val>
                                            <p:strVal val="#ppt_h"/>
                                          </p:val>
                                        </p:tav>
                                      </p:tavLst>
                                    </p:anim>
                                    <p:animEffect transition="in" filter="fade">
                                      <p:cBhvr>
                                        <p:cTn id="242" dur="500"/>
                                        <p:tgtEl>
                                          <p:spTgt spid="2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6" grpId="0" animBg="1"/>
      <p:bldP spid="467" grpId="0" animBg="1"/>
      <p:bldP spid="468" grpId="0" animBg="1"/>
      <p:bldP spid="469" grpId="0" animBg="1"/>
      <p:bldP spid="470" grpId="0" animBg="1"/>
      <p:bldP spid="471" grpId="0" animBg="1"/>
      <p:bldP spid="472" grpId="0" animBg="1"/>
      <p:bldP spid="473" grpId="0" animBg="1"/>
      <p:bldP spid="474" grpId="0" animBg="1"/>
      <p:bldP spid="475" grpId="0" animBg="1"/>
      <p:bldP spid="476" grpId="0" animBg="1"/>
      <p:bldP spid="477" grpId="0" animBg="1"/>
      <p:bldP spid="478" grpId="0" animBg="1"/>
      <p:bldP spid="480" grpId="0" animBg="1"/>
      <p:bldP spid="481" grpId="0" animBg="1"/>
      <p:bldP spid="482" grpId="0" animBg="1"/>
      <p:bldP spid="483" grpId="0" animBg="1"/>
      <p:bldP spid="484" grpId="0" animBg="1"/>
      <p:bldP spid="485" grpId="0" animBg="1"/>
      <p:bldP spid="487" grpId="0" animBg="1"/>
      <p:bldP spid="488" grpId="0" animBg="1"/>
      <p:bldP spid="489" grpId="0" animBg="1"/>
      <p:bldP spid="490" grpId="0" animBg="1"/>
      <p:bldP spid="491" grpId="0" animBg="1"/>
      <p:bldP spid="492" grpId="0" animBg="1"/>
      <p:bldP spid="493" grpId="0" animBg="1"/>
      <p:bldP spid="494" grpId="0" animBg="1"/>
      <p:bldP spid="495" grpId="0" animBg="1"/>
      <p:bldP spid="496" grpId="0" animBg="1"/>
      <p:bldP spid="497" grpId="0" animBg="1"/>
      <p:bldP spid="498" grpId="0" animBg="1"/>
      <p:bldP spid="499" grpId="0" animBg="1"/>
      <p:bldP spid="501" grpId="0" animBg="1"/>
      <p:bldP spid="223" grpId="0" animBg="1"/>
      <p:bldP spid="224" grpId="0" animBg="1"/>
      <p:bldP spid="225" grpId="0" animBg="1"/>
      <p:bldP spid="226" grpId="0" animBg="1"/>
      <p:bldP spid="227" grpId="0" animBg="1"/>
      <p:bldP spid="228" grpId="0" animBg="1"/>
      <p:bldP spid="229" grpId="0" animBg="1"/>
      <p:bldP spid="230" grpId="0" animBg="1"/>
      <p:bldP spid="232" grpId="0" animBg="1"/>
      <p:bldP spid="233" grpId="0" animBg="1"/>
      <p:bldP spid="236" grpId="0" animBg="1"/>
      <p:bldP spid="237" grpId="0" animBg="1"/>
      <p:bldP spid="238" grpId="0" animBg="1"/>
      <p:bldP spid="23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0" name="Rectangle 39"/>
          <p:cNvSpPr/>
          <p:nvPr/>
        </p:nvSpPr>
        <p:spPr bwMode="auto">
          <a:xfrm rot="2700000">
            <a:off x="6214430" y="3093421"/>
            <a:ext cx="824781" cy="82478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6032046" y="974"/>
            <a:ext cx="6171874" cy="6856055"/>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microsoft"/>
          <p:cNvSpPr/>
          <p:nvPr/>
        </p:nvSpPr>
        <p:spPr>
          <a:xfrm>
            <a:off x="448734" y="663739"/>
            <a:ext cx="4730855" cy="701502"/>
          </a:xfrm>
          <a:prstGeom prst="rect">
            <a:avLst/>
          </a:prstGeom>
        </p:spPr>
        <p:txBody>
          <a:bodyPr wrap="square" anchor="t">
            <a:spAutoFit/>
          </a:bodyPr>
          <a:lstStyle/>
          <a:p>
            <a:pPr defTabSz="896214" fontAlgn="base">
              <a:lnSpc>
                <a:spcPct val="90000"/>
              </a:lnSpc>
              <a:spcBef>
                <a:spcPct val="0"/>
              </a:spcBef>
              <a:spcAft>
                <a:spcPts val="1175"/>
              </a:spcAft>
              <a:defRPr/>
            </a:pPr>
            <a:r>
              <a:rPr lang="en-US" sz="4312" kern="0" spc="-100" dirty="0">
                <a:ln w="3175">
                  <a:noFill/>
                </a:ln>
                <a:solidFill>
                  <a:srgbClr val="FFFFFF"/>
                </a:solidFill>
                <a:latin typeface="Segoe UI Light"/>
                <a:cs typeface="Segoe UI Semilight" panose="020B0402040204020203" pitchFamily="34" charset="0"/>
              </a:rPr>
              <a:t>The trusted cloud</a:t>
            </a:r>
          </a:p>
        </p:txBody>
      </p:sp>
      <p:sp>
        <p:nvSpPr>
          <p:cNvPr id="65" name="TextBox 64"/>
          <p:cNvSpPr txBox="1"/>
          <p:nvPr/>
        </p:nvSpPr>
        <p:spPr>
          <a:xfrm>
            <a:off x="1659920" y="1878955"/>
            <a:ext cx="3521655" cy="861652"/>
          </a:xfrm>
          <a:prstGeom prst="rect">
            <a:avLst/>
          </a:prstGeom>
        </p:spPr>
        <p:txBody>
          <a:bodyPr wrap="square" rtlCol="0" anchor="ctr">
            <a:spAutoFit/>
          </a:bodyPr>
          <a:lstStyle/>
          <a:p>
            <a:pPr defTabSz="896214">
              <a:spcAft>
                <a:spcPts val="588"/>
              </a:spcAft>
              <a:defRPr/>
            </a:pPr>
            <a:r>
              <a:rPr lang="en-US" sz="2451" kern="0" dirty="0">
                <a:solidFill>
                  <a:srgbClr val="FFFFFF"/>
                </a:solidFill>
                <a:latin typeface="Segoe UI Light"/>
                <a:cs typeface="Segoe UI Semilight" panose="020B0402040204020203" pitchFamily="34" charset="0"/>
              </a:rPr>
              <a:t>More certifications than any other cloud provider</a:t>
            </a:r>
          </a:p>
        </p:txBody>
      </p:sp>
      <p:sp>
        <p:nvSpPr>
          <p:cNvPr id="67" name="TextBox 66"/>
          <p:cNvSpPr txBox="1"/>
          <p:nvPr/>
        </p:nvSpPr>
        <p:spPr>
          <a:xfrm>
            <a:off x="1659919" y="3048443"/>
            <a:ext cx="3790857" cy="1246318"/>
          </a:xfrm>
          <a:prstGeom prst="rect">
            <a:avLst/>
          </a:prstGeom>
        </p:spPr>
        <p:txBody>
          <a:bodyPr wrap="square" rtlCol="0" anchor="ctr">
            <a:spAutoFit/>
          </a:bodyPr>
          <a:lstStyle/>
          <a:p>
            <a:pPr defTabSz="896214">
              <a:spcAft>
                <a:spcPts val="588"/>
              </a:spcAft>
              <a:defRPr/>
            </a:pPr>
            <a:r>
              <a:rPr lang="en-US" sz="2451" kern="0" dirty="0">
                <a:solidFill>
                  <a:srgbClr val="FFFFFF"/>
                </a:solidFill>
                <a:latin typeface="Segoe UI Light"/>
                <a:cs typeface="Segoe UI Semilight" panose="020B0402040204020203" pitchFamily="34" charset="0"/>
              </a:rPr>
              <a:t>Industry leader for customer advocacy and rights protection</a:t>
            </a:r>
          </a:p>
        </p:txBody>
      </p:sp>
      <p:sp>
        <p:nvSpPr>
          <p:cNvPr id="69" name="TextBox 68"/>
          <p:cNvSpPr txBox="1"/>
          <p:nvPr/>
        </p:nvSpPr>
        <p:spPr>
          <a:xfrm>
            <a:off x="1659920" y="4557783"/>
            <a:ext cx="3871980" cy="861652"/>
          </a:xfrm>
          <a:prstGeom prst="rect">
            <a:avLst/>
          </a:prstGeom>
        </p:spPr>
        <p:txBody>
          <a:bodyPr wrap="square" rtlCol="0" anchor="ctr">
            <a:spAutoFit/>
          </a:bodyPr>
          <a:lstStyle/>
          <a:p>
            <a:pPr defTabSz="896214">
              <a:spcAft>
                <a:spcPts val="588"/>
              </a:spcAft>
              <a:defRPr/>
            </a:pPr>
            <a:r>
              <a:rPr lang="en-US" sz="2451" kern="0" dirty="0">
                <a:solidFill>
                  <a:srgbClr val="FFFFFF"/>
                </a:solidFill>
                <a:latin typeface="Segoe UI Light"/>
                <a:cs typeface="Segoe UI Semilight" panose="020B0402040204020203" pitchFamily="34" charset="0"/>
              </a:rPr>
              <a:t>More global DC regions than any other provider</a:t>
            </a:r>
          </a:p>
        </p:txBody>
      </p:sp>
      <p:grpSp>
        <p:nvGrpSpPr>
          <p:cNvPr id="15" name="Group 14"/>
          <p:cNvGrpSpPr/>
          <p:nvPr/>
        </p:nvGrpSpPr>
        <p:grpSpPr>
          <a:xfrm>
            <a:off x="570128" y="1951261"/>
            <a:ext cx="761853" cy="761853"/>
            <a:chOff x="7089537" y="2173704"/>
            <a:chExt cx="777240" cy="777240"/>
          </a:xfrm>
          <a:solidFill>
            <a:schemeClr val="tx1"/>
          </a:solidFill>
        </p:grpSpPr>
        <p:sp>
          <p:nvSpPr>
            <p:cNvPr id="66" name="Oval 65"/>
            <p:cNvSpPr/>
            <p:nvPr/>
          </p:nvSpPr>
          <p:spPr bwMode="auto">
            <a:xfrm>
              <a:off x="7089537" y="2173704"/>
              <a:ext cx="777240" cy="777240"/>
            </a:xfrm>
            <a:prstGeom prst="ellips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err="1">
                <a:solidFill>
                  <a:sysClr val="windowText" lastClr="000000"/>
                </a:solidFill>
                <a:latin typeface="Segoe UI Semilight"/>
                <a:ea typeface="Segoe UI" pitchFamily="34" charset="0"/>
                <a:cs typeface="Segoe UI" pitchFamily="34" charset="0"/>
              </a:endParaRPr>
            </a:p>
          </p:txBody>
        </p:sp>
        <p:grpSp>
          <p:nvGrpSpPr>
            <p:cNvPr id="3" name="Group 4"/>
            <p:cNvGrpSpPr>
              <a:grpSpLocks noChangeAspect="1"/>
            </p:cNvGrpSpPr>
            <p:nvPr/>
          </p:nvGrpSpPr>
          <p:grpSpPr bwMode="auto">
            <a:xfrm>
              <a:off x="7294219" y="2438656"/>
              <a:ext cx="367876" cy="265176"/>
              <a:chOff x="4659" y="1565"/>
              <a:chExt cx="240" cy="173"/>
            </a:xfrm>
            <a:grpFill/>
          </p:grpSpPr>
          <p:sp>
            <p:nvSpPr>
              <p:cNvPr id="6" name="Freeform 5"/>
              <p:cNvSpPr>
                <a:spLocks noEditPoints="1"/>
              </p:cNvSpPr>
              <p:nvPr/>
            </p:nvSpPr>
            <p:spPr bwMode="auto">
              <a:xfrm>
                <a:off x="4659" y="1565"/>
                <a:ext cx="240" cy="173"/>
              </a:xfrm>
              <a:custGeom>
                <a:avLst/>
                <a:gdLst>
                  <a:gd name="T0" fmla="*/ 109 w 123"/>
                  <a:gd name="T1" fmla="*/ 0 h 88"/>
                  <a:gd name="T2" fmla="*/ 0 w 123"/>
                  <a:gd name="T3" fmla="*/ 0 h 88"/>
                  <a:gd name="T4" fmla="*/ 0 w 123"/>
                  <a:gd name="T5" fmla="*/ 75 h 88"/>
                  <a:gd name="T6" fmla="*/ 13 w 123"/>
                  <a:gd name="T7" fmla="*/ 88 h 88"/>
                  <a:gd name="T8" fmla="*/ 109 w 123"/>
                  <a:gd name="T9" fmla="*/ 88 h 88"/>
                  <a:gd name="T10" fmla="*/ 123 w 123"/>
                  <a:gd name="T11" fmla="*/ 75 h 88"/>
                  <a:gd name="T12" fmla="*/ 123 w 123"/>
                  <a:gd name="T13" fmla="*/ 13 h 88"/>
                  <a:gd name="T14" fmla="*/ 109 w 123"/>
                  <a:gd name="T15" fmla="*/ 13 h 88"/>
                  <a:gd name="T16" fmla="*/ 109 w 123"/>
                  <a:gd name="T17" fmla="*/ 0 h 88"/>
                  <a:gd name="T18" fmla="*/ 25 w 123"/>
                  <a:gd name="T19" fmla="*/ 82 h 88"/>
                  <a:gd name="T20" fmla="*/ 27 w 123"/>
                  <a:gd name="T21" fmla="*/ 75 h 88"/>
                  <a:gd name="T22" fmla="*/ 27 w 123"/>
                  <a:gd name="T23" fmla="*/ 20 h 88"/>
                  <a:gd name="T24" fmla="*/ 99 w 123"/>
                  <a:gd name="T25" fmla="*/ 20 h 88"/>
                  <a:gd name="T26" fmla="*/ 101 w 123"/>
                  <a:gd name="T27" fmla="*/ 20 h 88"/>
                  <a:gd name="T28" fmla="*/ 116 w 123"/>
                  <a:gd name="T29" fmla="*/ 20 h 88"/>
                  <a:gd name="T30" fmla="*/ 116 w 123"/>
                  <a:gd name="T31" fmla="*/ 75 h 88"/>
                  <a:gd name="T32" fmla="*/ 109 w 123"/>
                  <a:gd name="T33" fmla="*/ 82 h 88"/>
                  <a:gd name="T34" fmla="*/ 25 w 123"/>
                  <a:gd name="T35" fmla="*/ 82 h 88"/>
                  <a:gd name="T36" fmla="*/ 102 w 123"/>
                  <a:gd name="T37" fmla="*/ 6 h 88"/>
                  <a:gd name="T38" fmla="*/ 102 w 123"/>
                  <a:gd name="T39" fmla="*/ 13 h 88"/>
                  <a:gd name="T40" fmla="*/ 99 w 123"/>
                  <a:gd name="T41" fmla="*/ 13 h 88"/>
                  <a:gd name="T42" fmla="*/ 20 w 123"/>
                  <a:gd name="T43" fmla="*/ 13 h 88"/>
                  <a:gd name="T44" fmla="*/ 20 w 123"/>
                  <a:gd name="T45" fmla="*/ 13 h 88"/>
                  <a:gd name="T46" fmla="*/ 20 w 123"/>
                  <a:gd name="T47" fmla="*/ 75 h 88"/>
                  <a:gd name="T48" fmla="*/ 13 w 123"/>
                  <a:gd name="T49" fmla="*/ 82 h 88"/>
                  <a:gd name="T50" fmla="*/ 6 w 123"/>
                  <a:gd name="T51" fmla="*/ 75 h 88"/>
                  <a:gd name="T52" fmla="*/ 6 w 123"/>
                  <a:gd name="T53" fmla="*/ 6 h 88"/>
                  <a:gd name="T54" fmla="*/ 102 w 123"/>
                  <a:gd name="T5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3" h="88">
                    <a:moveTo>
                      <a:pt x="109" y="0"/>
                    </a:moveTo>
                    <a:cubicBezTo>
                      <a:pt x="0" y="0"/>
                      <a:pt x="0" y="0"/>
                      <a:pt x="0" y="0"/>
                    </a:cubicBezTo>
                    <a:cubicBezTo>
                      <a:pt x="0" y="75"/>
                      <a:pt x="0" y="75"/>
                      <a:pt x="0" y="75"/>
                    </a:cubicBezTo>
                    <a:cubicBezTo>
                      <a:pt x="0" y="82"/>
                      <a:pt x="6" y="88"/>
                      <a:pt x="13" y="88"/>
                    </a:cubicBezTo>
                    <a:cubicBezTo>
                      <a:pt x="109" y="88"/>
                      <a:pt x="109" y="88"/>
                      <a:pt x="109" y="88"/>
                    </a:cubicBezTo>
                    <a:cubicBezTo>
                      <a:pt x="116" y="88"/>
                      <a:pt x="123" y="82"/>
                      <a:pt x="123" y="75"/>
                    </a:cubicBezTo>
                    <a:cubicBezTo>
                      <a:pt x="123" y="13"/>
                      <a:pt x="123" y="13"/>
                      <a:pt x="123" y="13"/>
                    </a:cubicBezTo>
                    <a:cubicBezTo>
                      <a:pt x="109" y="13"/>
                      <a:pt x="109" y="13"/>
                      <a:pt x="109" y="13"/>
                    </a:cubicBezTo>
                    <a:lnTo>
                      <a:pt x="109" y="0"/>
                    </a:lnTo>
                    <a:close/>
                    <a:moveTo>
                      <a:pt x="25" y="82"/>
                    </a:moveTo>
                    <a:cubicBezTo>
                      <a:pt x="26" y="80"/>
                      <a:pt x="27" y="77"/>
                      <a:pt x="27" y="75"/>
                    </a:cubicBezTo>
                    <a:cubicBezTo>
                      <a:pt x="27" y="20"/>
                      <a:pt x="27" y="20"/>
                      <a:pt x="27" y="20"/>
                    </a:cubicBezTo>
                    <a:cubicBezTo>
                      <a:pt x="99" y="20"/>
                      <a:pt x="99" y="20"/>
                      <a:pt x="99" y="20"/>
                    </a:cubicBezTo>
                    <a:cubicBezTo>
                      <a:pt x="101" y="20"/>
                      <a:pt x="101" y="20"/>
                      <a:pt x="101" y="20"/>
                    </a:cubicBezTo>
                    <a:cubicBezTo>
                      <a:pt x="116" y="20"/>
                      <a:pt x="116" y="20"/>
                      <a:pt x="116" y="20"/>
                    </a:cubicBezTo>
                    <a:cubicBezTo>
                      <a:pt x="116" y="75"/>
                      <a:pt x="116" y="75"/>
                      <a:pt x="116" y="75"/>
                    </a:cubicBezTo>
                    <a:cubicBezTo>
                      <a:pt x="116" y="79"/>
                      <a:pt x="113" y="82"/>
                      <a:pt x="109" y="82"/>
                    </a:cubicBezTo>
                    <a:lnTo>
                      <a:pt x="25" y="82"/>
                    </a:lnTo>
                    <a:close/>
                    <a:moveTo>
                      <a:pt x="102" y="6"/>
                    </a:moveTo>
                    <a:cubicBezTo>
                      <a:pt x="102" y="13"/>
                      <a:pt x="102" y="13"/>
                      <a:pt x="102" y="13"/>
                    </a:cubicBezTo>
                    <a:cubicBezTo>
                      <a:pt x="99" y="13"/>
                      <a:pt x="99" y="13"/>
                      <a:pt x="99" y="13"/>
                    </a:cubicBezTo>
                    <a:cubicBezTo>
                      <a:pt x="20" y="13"/>
                      <a:pt x="20" y="13"/>
                      <a:pt x="20" y="13"/>
                    </a:cubicBezTo>
                    <a:cubicBezTo>
                      <a:pt x="20" y="13"/>
                      <a:pt x="20" y="13"/>
                      <a:pt x="20" y="13"/>
                    </a:cubicBezTo>
                    <a:cubicBezTo>
                      <a:pt x="20" y="75"/>
                      <a:pt x="20" y="75"/>
                      <a:pt x="20" y="75"/>
                    </a:cubicBezTo>
                    <a:cubicBezTo>
                      <a:pt x="20" y="79"/>
                      <a:pt x="17" y="82"/>
                      <a:pt x="13" y="82"/>
                    </a:cubicBezTo>
                    <a:cubicBezTo>
                      <a:pt x="9" y="82"/>
                      <a:pt x="6" y="79"/>
                      <a:pt x="6" y="75"/>
                    </a:cubicBezTo>
                    <a:cubicBezTo>
                      <a:pt x="6" y="6"/>
                      <a:pt x="6" y="6"/>
                      <a:pt x="6" y="6"/>
                    </a:cubicBezTo>
                    <a:lnTo>
                      <a:pt x="102" y="6"/>
                    </a:lnTo>
                    <a:close/>
                  </a:path>
                </a:pathLst>
              </a:custGeom>
              <a:grpFill/>
              <a:ln w="9525">
                <a:solidFill>
                  <a:srgbClr val="000000"/>
                </a:solidFill>
                <a:round/>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8" name="Rectangle 7"/>
              <p:cNvSpPr>
                <a:spLocks noChangeArrowheads="1"/>
              </p:cNvSpPr>
              <p:nvPr/>
            </p:nvSpPr>
            <p:spPr bwMode="auto">
              <a:xfrm>
                <a:off x="4725" y="1648"/>
                <a:ext cx="147" cy="7"/>
              </a:xfrm>
              <a:prstGeom prst="rect">
                <a:avLst/>
              </a:prstGeom>
              <a:grpFill/>
              <a:ln w="9525">
                <a:solidFill>
                  <a:srgbClr val="000000"/>
                </a:solidFill>
                <a:round/>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9" name="Rectangle 8"/>
              <p:cNvSpPr>
                <a:spLocks noChangeArrowheads="1"/>
              </p:cNvSpPr>
              <p:nvPr/>
            </p:nvSpPr>
            <p:spPr bwMode="auto">
              <a:xfrm>
                <a:off x="4725" y="1669"/>
                <a:ext cx="147" cy="6"/>
              </a:xfrm>
              <a:prstGeom prst="rect">
                <a:avLst/>
              </a:prstGeom>
              <a:grpFill/>
              <a:ln w="9525">
                <a:solidFill>
                  <a:srgbClr val="000000"/>
                </a:solidFill>
                <a:round/>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0" name="Rectangle 9"/>
              <p:cNvSpPr>
                <a:spLocks noChangeArrowheads="1"/>
              </p:cNvSpPr>
              <p:nvPr/>
            </p:nvSpPr>
            <p:spPr bwMode="auto">
              <a:xfrm>
                <a:off x="4725" y="1691"/>
                <a:ext cx="147" cy="6"/>
              </a:xfrm>
              <a:prstGeom prst="rect">
                <a:avLst/>
              </a:prstGeom>
              <a:grpFill/>
              <a:ln w="9525">
                <a:solidFill>
                  <a:srgbClr val="000000"/>
                </a:solidFill>
                <a:round/>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16" name="Group 15"/>
          <p:cNvGrpSpPr/>
          <p:nvPr/>
        </p:nvGrpSpPr>
        <p:grpSpPr>
          <a:xfrm>
            <a:off x="570128" y="3290674"/>
            <a:ext cx="761853" cy="761853"/>
            <a:chOff x="7089537" y="3540169"/>
            <a:chExt cx="777240" cy="777240"/>
          </a:xfrm>
          <a:solidFill>
            <a:schemeClr val="tx1"/>
          </a:solidFill>
        </p:grpSpPr>
        <p:sp>
          <p:nvSpPr>
            <p:cNvPr id="68" name="Oval 67"/>
            <p:cNvSpPr/>
            <p:nvPr/>
          </p:nvSpPr>
          <p:spPr bwMode="auto">
            <a:xfrm>
              <a:off x="7089537" y="3540169"/>
              <a:ext cx="777240" cy="777240"/>
            </a:xfrm>
            <a:prstGeom prst="ellips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err="1">
                <a:solidFill>
                  <a:sysClr val="windowText" lastClr="000000"/>
                </a:solidFill>
                <a:latin typeface="Segoe UI Semilight"/>
                <a:ea typeface="Segoe UI" pitchFamily="34" charset="0"/>
                <a:cs typeface="Segoe UI" pitchFamily="34" charset="0"/>
              </a:endParaRPr>
            </a:p>
          </p:txBody>
        </p:sp>
        <p:sp>
          <p:nvSpPr>
            <p:cNvPr id="49" name="Freeform 5"/>
            <p:cNvSpPr>
              <a:spLocks noEditPoints="1"/>
            </p:cNvSpPr>
            <p:nvPr/>
          </p:nvSpPr>
          <p:spPr bwMode="auto">
            <a:xfrm>
              <a:off x="7363908" y="3748406"/>
              <a:ext cx="245591" cy="326583"/>
            </a:xfrm>
            <a:custGeom>
              <a:avLst/>
              <a:gdLst>
                <a:gd name="T0" fmla="*/ 96 w 96"/>
                <a:gd name="T1" fmla="*/ 56 h 128"/>
                <a:gd name="T2" fmla="*/ 84 w 96"/>
                <a:gd name="T3" fmla="*/ 56 h 128"/>
                <a:gd name="T4" fmla="*/ 84 w 96"/>
                <a:gd name="T5" fmla="*/ 36 h 128"/>
                <a:gd name="T6" fmla="*/ 48 w 96"/>
                <a:gd name="T7" fmla="*/ 0 h 128"/>
                <a:gd name="T8" fmla="*/ 12 w 96"/>
                <a:gd name="T9" fmla="*/ 36 h 128"/>
                <a:gd name="T10" fmla="*/ 12 w 96"/>
                <a:gd name="T11" fmla="*/ 56 h 128"/>
                <a:gd name="T12" fmla="*/ 0 w 96"/>
                <a:gd name="T13" fmla="*/ 56 h 128"/>
                <a:gd name="T14" fmla="*/ 0 w 96"/>
                <a:gd name="T15" fmla="*/ 128 h 128"/>
                <a:gd name="T16" fmla="*/ 96 w 96"/>
                <a:gd name="T17" fmla="*/ 128 h 128"/>
                <a:gd name="T18" fmla="*/ 96 w 96"/>
                <a:gd name="T19" fmla="*/ 56 h 128"/>
                <a:gd name="T20" fmla="*/ 20 w 96"/>
                <a:gd name="T21" fmla="*/ 36 h 128"/>
                <a:gd name="T22" fmla="*/ 48 w 96"/>
                <a:gd name="T23" fmla="*/ 8 h 128"/>
                <a:gd name="T24" fmla="*/ 76 w 96"/>
                <a:gd name="T25" fmla="*/ 36 h 128"/>
                <a:gd name="T26" fmla="*/ 76 w 96"/>
                <a:gd name="T27" fmla="*/ 56 h 128"/>
                <a:gd name="T28" fmla="*/ 20 w 96"/>
                <a:gd name="T29" fmla="*/ 56 h 128"/>
                <a:gd name="T30" fmla="*/ 20 w 96"/>
                <a:gd name="T31" fmla="*/ 36 h 128"/>
                <a:gd name="T32" fmla="*/ 88 w 96"/>
                <a:gd name="T33" fmla="*/ 120 h 128"/>
                <a:gd name="T34" fmla="*/ 8 w 96"/>
                <a:gd name="T35" fmla="*/ 120 h 128"/>
                <a:gd name="T36" fmla="*/ 8 w 96"/>
                <a:gd name="T37" fmla="*/ 64 h 128"/>
                <a:gd name="T38" fmla="*/ 88 w 96"/>
                <a:gd name="T39" fmla="*/ 64 h 128"/>
                <a:gd name="T40" fmla="*/ 88 w 96"/>
                <a:gd name="T4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28">
                  <a:moveTo>
                    <a:pt x="96" y="56"/>
                  </a:moveTo>
                  <a:cubicBezTo>
                    <a:pt x="84" y="56"/>
                    <a:pt x="84" y="56"/>
                    <a:pt x="84" y="56"/>
                  </a:cubicBezTo>
                  <a:cubicBezTo>
                    <a:pt x="84" y="36"/>
                    <a:pt x="84" y="36"/>
                    <a:pt x="84" y="36"/>
                  </a:cubicBezTo>
                  <a:cubicBezTo>
                    <a:pt x="84" y="16"/>
                    <a:pt x="68" y="0"/>
                    <a:pt x="48" y="0"/>
                  </a:cubicBezTo>
                  <a:cubicBezTo>
                    <a:pt x="28" y="0"/>
                    <a:pt x="12" y="16"/>
                    <a:pt x="12" y="36"/>
                  </a:cubicBezTo>
                  <a:cubicBezTo>
                    <a:pt x="12" y="56"/>
                    <a:pt x="12" y="56"/>
                    <a:pt x="12" y="56"/>
                  </a:cubicBezTo>
                  <a:cubicBezTo>
                    <a:pt x="0" y="56"/>
                    <a:pt x="0" y="56"/>
                    <a:pt x="0" y="56"/>
                  </a:cubicBezTo>
                  <a:cubicBezTo>
                    <a:pt x="0" y="128"/>
                    <a:pt x="0" y="128"/>
                    <a:pt x="0" y="128"/>
                  </a:cubicBezTo>
                  <a:cubicBezTo>
                    <a:pt x="96" y="128"/>
                    <a:pt x="96" y="128"/>
                    <a:pt x="96" y="128"/>
                  </a:cubicBezTo>
                  <a:lnTo>
                    <a:pt x="96" y="56"/>
                  </a:lnTo>
                  <a:close/>
                  <a:moveTo>
                    <a:pt x="20" y="36"/>
                  </a:moveTo>
                  <a:cubicBezTo>
                    <a:pt x="20" y="21"/>
                    <a:pt x="33" y="8"/>
                    <a:pt x="48" y="8"/>
                  </a:cubicBezTo>
                  <a:cubicBezTo>
                    <a:pt x="63" y="8"/>
                    <a:pt x="76" y="21"/>
                    <a:pt x="76" y="36"/>
                  </a:cubicBezTo>
                  <a:cubicBezTo>
                    <a:pt x="76" y="56"/>
                    <a:pt x="76" y="56"/>
                    <a:pt x="76" y="56"/>
                  </a:cubicBezTo>
                  <a:cubicBezTo>
                    <a:pt x="20" y="56"/>
                    <a:pt x="20" y="56"/>
                    <a:pt x="20" y="56"/>
                  </a:cubicBezTo>
                  <a:lnTo>
                    <a:pt x="20" y="36"/>
                  </a:lnTo>
                  <a:close/>
                  <a:moveTo>
                    <a:pt x="88" y="120"/>
                  </a:moveTo>
                  <a:cubicBezTo>
                    <a:pt x="8" y="120"/>
                    <a:pt x="8" y="120"/>
                    <a:pt x="8" y="120"/>
                  </a:cubicBezTo>
                  <a:cubicBezTo>
                    <a:pt x="8" y="64"/>
                    <a:pt x="8" y="64"/>
                    <a:pt x="8" y="64"/>
                  </a:cubicBezTo>
                  <a:cubicBezTo>
                    <a:pt x="88" y="64"/>
                    <a:pt x="88" y="64"/>
                    <a:pt x="88" y="64"/>
                  </a:cubicBezTo>
                  <a:lnTo>
                    <a:pt x="88" y="120"/>
                  </a:lnTo>
                  <a:close/>
                </a:path>
              </a:pathLst>
            </a:custGeom>
            <a:grpFill/>
            <a:ln>
              <a:solidFill>
                <a:schemeClr val="accent1"/>
              </a:solidFill>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17" name="Group 16"/>
          <p:cNvGrpSpPr/>
          <p:nvPr/>
        </p:nvGrpSpPr>
        <p:grpSpPr>
          <a:xfrm>
            <a:off x="570128" y="4630088"/>
            <a:ext cx="761853" cy="761853"/>
            <a:chOff x="7089537" y="4906635"/>
            <a:chExt cx="777240" cy="777240"/>
          </a:xfrm>
          <a:solidFill>
            <a:schemeClr val="tx1"/>
          </a:solidFill>
        </p:grpSpPr>
        <p:sp>
          <p:nvSpPr>
            <p:cNvPr id="70" name="Oval 69"/>
            <p:cNvSpPr/>
            <p:nvPr/>
          </p:nvSpPr>
          <p:spPr bwMode="auto">
            <a:xfrm>
              <a:off x="7089537" y="4906635"/>
              <a:ext cx="777240" cy="777240"/>
            </a:xfrm>
            <a:prstGeom prst="ellips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err="1">
                <a:solidFill>
                  <a:sysClr val="windowText" lastClr="000000"/>
                </a:solidFill>
                <a:latin typeface="Segoe UI Semilight"/>
                <a:ea typeface="Segoe UI" pitchFamily="34" charset="0"/>
                <a:cs typeface="Segoe UI" pitchFamily="34" charset="0"/>
              </a:endParaRPr>
            </a:p>
          </p:txBody>
        </p:sp>
        <p:sp>
          <p:nvSpPr>
            <p:cNvPr id="14" name="Freeform 13"/>
            <p:cNvSpPr>
              <a:spLocks noEditPoints="1"/>
            </p:cNvSpPr>
            <p:nvPr/>
          </p:nvSpPr>
          <p:spPr bwMode="auto">
            <a:xfrm>
              <a:off x="7305019" y="5139209"/>
              <a:ext cx="329184" cy="329184"/>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89 w 128"/>
                <a:gd name="T13" fmla="*/ 40 h 128"/>
                <a:gd name="T14" fmla="*/ 79 w 128"/>
                <a:gd name="T15" fmla="*/ 10 h 128"/>
                <a:gd name="T16" fmla="*/ 115 w 128"/>
                <a:gd name="T17" fmla="*/ 40 h 128"/>
                <a:gd name="T18" fmla="*/ 120 w 128"/>
                <a:gd name="T19" fmla="*/ 64 h 128"/>
                <a:gd name="T20" fmla="*/ 118 w 128"/>
                <a:gd name="T21" fmla="*/ 80 h 128"/>
                <a:gd name="T22" fmla="*/ 90 w 128"/>
                <a:gd name="T23" fmla="*/ 80 h 128"/>
                <a:gd name="T24" fmla="*/ 91 w 128"/>
                <a:gd name="T25" fmla="*/ 64 h 128"/>
                <a:gd name="T26" fmla="*/ 90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2 w 128"/>
                <a:gd name="T47" fmla="*/ 48 h 128"/>
                <a:gd name="T48" fmla="*/ 83 w 128"/>
                <a:gd name="T49" fmla="*/ 64 h 128"/>
                <a:gd name="T50" fmla="*/ 82 w 128"/>
                <a:gd name="T51" fmla="*/ 80 h 128"/>
                <a:gd name="T52" fmla="*/ 46 w 128"/>
                <a:gd name="T53" fmla="*/ 80 h 128"/>
                <a:gd name="T54" fmla="*/ 8 w 128"/>
                <a:gd name="T55" fmla="*/ 64 h 128"/>
                <a:gd name="T56" fmla="*/ 10 w 128"/>
                <a:gd name="T57" fmla="*/ 48 h 128"/>
                <a:gd name="T58" fmla="*/ 38 w 128"/>
                <a:gd name="T59" fmla="*/ 48 h 128"/>
                <a:gd name="T60" fmla="*/ 37 w 128"/>
                <a:gd name="T61" fmla="*/ 64 h 128"/>
                <a:gd name="T62" fmla="*/ 38 w 128"/>
                <a:gd name="T63" fmla="*/ 80 h 128"/>
                <a:gd name="T64" fmla="*/ 10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0 h 128"/>
                <a:gd name="T78" fmla="*/ 39 w 128"/>
                <a:gd name="T79" fmla="*/ 40 h 128"/>
                <a:gd name="T80" fmla="*/ 13 w 128"/>
                <a:gd name="T81" fmla="*/ 40 h 128"/>
                <a:gd name="T82" fmla="*/ 49 w 128"/>
                <a:gd name="T83" fmla="*/ 10 h 128"/>
                <a:gd name="T84" fmla="*/ 13 w 128"/>
                <a:gd name="T85" fmla="*/ 88 h 128"/>
                <a:gd name="T86" fmla="*/ 39 w 128"/>
                <a:gd name="T87" fmla="*/ 88 h 128"/>
                <a:gd name="T88" fmla="*/ 49 w 128"/>
                <a:gd name="T89" fmla="*/ 118 h 128"/>
                <a:gd name="T90" fmla="*/ 13 w 128"/>
                <a:gd name="T91" fmla="*/ 88 h 128"/>
                <a:gd name="T92" fmla="*/ 79 w 128"/>
                <a:gd name="T93" fmla="*/ 118 h 128"/>
                <a:gd name="T94" fmla="*/ 89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115" y="40"/>
                  </a:moveTo>
                  <a:cubicBezTo>
                    <a:pt x="89" y="40"/>
                    <a:pt x="89" y="40"/>
                    <a:pt x="89" y="40"/>
                  </a:cubicBezTo>
                  <a:cubicBezTo>
                    <a:pt x="87" y="28"/>
                    <a:pt x="84" y="17"/>
                    <a:pt x="79" y="10"/>
                  </a:cubicBezTo>
                  <a:cubicBezTo>
                    <a:pt x="95" y="14"/>
                    <a:pt x="108" y="26"/>
                    <a:pt x="115" y="40"/>
                  </a:cubicBezTo>
                  <a:moveTo>
                    <a:pt x="120" y="64"/>
                  </a:moveTo>
                  <a:cubicBezTo>
                    <a:pt x="120" y="70"/>
                    <a:pt x="119" y="75"/>
                    <a:pt x="118" y="80"/>
                  </a:cubicBezTo>
                  <a:cubicBezTo>
                    <a:pt x="90" y="80"/>
                    <a:pt x="90" y="80"/>
                    <a:pt x="90" y="80"/>
                  </a:cubicBezTo>
                  <a:cubicBezTo>
                    <a:pt x="91" y="75"/>
                    <a:pt x="91" y="69"/>
                    <a:pt x="91" y="64"/>
                  </a:cubicBezTo>
                  <a:cubicBezTo>
                    <a:pt x="91" y="59"/>
                    <a:pt x="91" y="53"/>
                    <a:pt x="90" y="48"/>
                  </a:cubicBezTo>
                  <a:cubicBezTo>
                    <a:pt x="118" y="48"/>
                    <a:pt x="118" y="48"/>
                    <a:pt x="118" y="48"/>
                  </a:cubicBezTo>
                  <a:cubicBezTo>
                    <a:pt x="119" y="53"/>
                    <a:pt x="120" y="58"/>
                    <a:pt x="120" y="64"/>
                  </a:cubicBezTo>
                  <a:moveTo>
                    <a:pt x="64" y="120"/>
                  </a:moveTo>
                  <a:cubicBezTo>
                    <a:pt x="57" y="120"/>
                    <a:pt x="50" y="107"/>
                    <a:pt x="47" y="88"/>
                  </a:cubicBezTo>
                  <a:cubicBezTo>
                    <a:pt x="81" y="88"/>
                    <a:pt x="81" y="88"/>
                    <a:pt x="81" y="88"/>
                  </a:cubicBezTo>
                  <a:cubicBezTo>
                    <a:pt x="78" y="107"/>
                    <a:pt x="71" y="120"/>
                    <a:pt x="64" y="120"/>
                  </a:cubicBezTo>
                  <a:moveTo>
                    <a:pt x="46" y="80"/>
                  </a:moveTo>
                  <a:cubicBezTo>
                    <a:pt x="45" y="75"/>
                    <a:pt x="45" y="70"/>
                    <a:pt x="45" y="64"/>
                  </a:cubicBezTo>
                  <a:cubicBezTo>
                    <a:pt x="45" y="58"/>
                    <a:pt x="45" y="53"/>
                    <a:pt x="46" y="48"/>
                  </a:cubicBezTo>
                  <a:cubicBezTo>
                    <a:pt x="82" y="48"/>
                    <a:pt x="82" y="48"/>
                    <a:pt x="82" y="48"/>
                  </a:cubicBezTo>
                  <a:cubicBezTo>
                    <a:pt x="83" y="53"/>
                    <a:pt x="83" y="58"/>
                    <a:pt x="83" y="64"/>
                  </a:cubicBezTo>
                  <a:cubicBezTo>
                    <a:pt x="83" y="70"/>
                    <a:pt x="83" y="75"/>
                    <a:pt x="82" y="80"/>
                  </a:cubicBezTo>
                  <a:lnTo>
                    <a:pt x="46" y="80"/>
                  </a:lnTo>
                  <a:close/>
                  <a:moveTo>
                    <a:pt x="8" y="64"/>
                  </a:moveTo>
                  <a:cubicBezTo>
                    <a:pt x="8" y="58"/>
                    <a:pt x="9" y="53"/>
                    <a:pt x="10" y="48"/>
                  </a:cubicBezTo>
                  <a:cubicBezTo>
                    <a:pt x="38" y="48"/>
                    <a:pt x="38" y="48"/>
                    <a:pt x="38" y="48"/>
                  </a:cubicBezTo>
                  <a:cubicBezTo>
                    <a:pt x="37" y="53"/>
                    <a:pt x="37" y="59"/>
                    <a:pt x="37" y="64"/>
                  </a:cubicBezTo>
                  <a:cubicBezTo>
                    <a:pt x="37" y="69"/>
                    <a:pt x="37" y="75"/>
                    <a:pt x="38" y="80"/>
                  </a:cubicBezTo>
                  <a:cubicBezTo>
                    <a:pt x="10" y="80"/>
                    <a:pt x="10" y="80"/>
                    <a:pt x="10" y="80"/>
                  </a:cubicBezTo>
                  <a:cubicBezTo>
                    <a:pt x="9" y="75"/>
                    <a:pt x="8" y="70"/>
                    <a:pt x="8" y="64"/>
                  </a:cubicBezTo>
                  <a:moveTo>
                    <a:pt x="64" y="8"/>
                  </a:moveTo>
                  <a:cubicBezTo>
                    <a:pt x="71" y="8"/>
                    <a:pt x="78" y="21"/>
                    <a:pt x="81" y="40"/>
                  </a:cubicBezTo>
                  <a:cubicBezTo>
                    <a:pt x="47" y="40"/>
                    <a:pt x="47" y="40"/>
                    <a:pt x="47" y="40"/>
                  </a:cubicBezTo>
                  <a:cubicBezTo>
                    <a:pt x="50" y="21"/>
                    <a:pt x="57" y="8"/>
                    <a:pt x="64" y="8"/>
                  </a:cubicBezTo>
                  <a:moveTo>
                    <a:pt x="49" y="10"/>
                  </a:moveTo>
                  <a:cubicBezTo>
                    <a:pt x="44" y="17"/>
                    <a:pt x="41" y="28"/>
                    <a:pt x="39" y="40"/>
                  </a:cubicBezTo>
                  <a:cubicBezTo>
                    <a:pt x="13" y="40"/>
                    <a:pt x="13" y="40"/>
                    <a:pt x="13" y="40"/>
                  </a:cubicBezTo>
                  <a:cubicBezTo>
                    <a:pt x="20" y="26"/>
                    <a:pt x="33" y="14"/>
                    <a:pt x="49" y="10"/>
                  </a:cubicBezTo>
                  <a:moveTo>
                    <a:pt x="13" y="88"/>
                  </a:moveTo>
                  <a:cubicBezTo>
                    <a:pt x="39" y="88"/>
                    <a:pt x="39" y="88"/>
                    <a:pt x="39" y="88"/>
                  </a:cubicBezTo>
                  <a:cubicBezTo>
                    <a:pt x="41" y="100"/>
                    <a:pt x="44" y="111"/>
                    <a:pt x="49" y="118"/>
                  </a:cubicBezTo>
                  <a:cubicBezTo>
                    <a:pt x="33" y="114"/>
                    <a:pt x="20" y="102"/>
                    <a:pt x="13" y="88"/>
                  </a:cubicBezTo>
                  <a:moveTo>
                    <a:pt x="79" y="118"/>
                  </a:moveTo>
                  <a:cubicBezTo>
                    <a:pt x="84" y="111"/>
                    <a:pt x="87" y="100"/>
                    <a:pt x="89" y="88"/>
                  </a:cubicBezTo>
                  <a:cubicBezTo>
                    <a:pt x="115" y="88"/>
                    <a:pt x="115" y="88"/>
                    <a:pt x="115" y="88"/>
                  </a:cubicBezTo>
                  <a:cubicBezTo>
                    <a:pt x="108" y="102"/>
                    <a:pt x="95" y="114"/>
                    <a:pt x="79" y="118"/>
                  </a:cubicBezTo>
                </a:path>
              </a:pathLst>
            </a:custGeom>
            <a:grpFill/>
            <a:ln>
              <a:solidFill>
                <a:schemeClr val="accent1"/>
              </a:solidFill>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79" name="Group 78"/>
          <p:cNvGrpSpPr/>
          <p:nvPr/>
        </p:nvGrpSpPr>
        <p:grpSpPr>
          <a:xfrm>
            <a:off x="6452862" y="580765"/>
            <a:ext cx="5355606" cy="5762936"/>
            <a:chOff x="456914" y="591500"/>
            <a:chExt cx="5463772" cy="5879329"/>
          </a:xfrm>
        </p:grpSpPr>
        <p:grpSp>
          <p:nvGrpSpPr>
            <p:cNvPr id="80" name="Group 79"/>
            <p:cNvGrpSpPr/>
            <p:nvPr/>
          </p:nvGrpSpPr>
          <p:grpSpPr>
            <a:xfrm>
              <a:off x="456914" y="591500"/>
              <a:ext cx="5382698" cy="5806321"/>
              <a:chOff x="456914" y="591500"/>
              <a:chExt cx="5382698" cy="5806321"/>
            </a:xfrm>
          </p:grpSpPr>
          <p:pic>
            <p:nvPicPr>
              <p:cNvPr id="122"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19912" r="16881" b="43417"/>
              <a:stretch/>
            </p:blipFill>
            <p:spPr>
              <a:xfrm>
                <a:off x="3296220" y="1918383"/>
                <a:ext cx="715356" cy="618342"/>
              </a:xfrm>
              <a:prstGeom prst="rect">
                <a:avLst/>
              </a:prstGeom>
            </p:spPr>
          </p:pic>
          <p:pic>
            <p:nvPicPr>
              <p:cNvPr id="123" name="Picture 122" descr="http://1.bp.blogspot.com/-zsub2Ach6i8/T3qyuPps54I/AAAAAAAAAVY/2DAjv_gntto/s1600/irs-logo.jpeg.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40374" y="3295629"/>
                <a:ext cx="627048" cy="608432"/>
              </a:xfrm>
              <a:prstGeom prst="rect">
                <a:avLst/>
              </a:prstGeom>
              <a:noFill/>
              <a:ln>
                <a:noFill/>
              </a:ln>
            </p:spPr>
          </p:pic>
          <p:pic>
            <p:nvPicPr>
              <p:cNvPr id="124" name="Picture 6" descr="image00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6865" y="3295998"/>
                <a:ext cx="626290" cy="607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 name="Picture 14" descr="http://www.theauditpeople.com/sites/default/files/pictures/iso-logo.png"/>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801" r="4084"/>
              <a:stretch/>
            </p:blipFill>
            <p:spPr bwMode="auto">
              <a:xfrm>
                <a:off x="1424314" y="641806"/>
                <a:ext cx="608521" cy="479108"/>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p:cNvPicPr>
                <a:picLocks noChangeAspect="1"/>
              </p:cNvPicPr>
              <p:nvPr/>
            </p:nvPicPr>
            <p:blipFill>
              <a:blip r:embed="rId8"/>
              <a:stretch>
                <a:fillRect/>
              </a:stretch>
            </p:blipFill>
            <p:spPr>
              <a:xfrm>
                <a:off x="562120" y="591500"/>
                <a:ext cx="596196" cy="579721"/>
              </a:xfrm>
              <a:prstGeom prst="rect">
                <a:avLst/>
              </a:prstGeom>
            </p:spPr>
          </p:pic>
          <p:pic>
            <p:nvPicPr>
              <p:cNvPr id="127" name="Picture 126"/>
              <p:cNvPicPr>
                <a:picLocks noChangeAspect="1"/>
              </p:cNvPicPr>
              <p:nvPr/>
            </p:nvPicPr>
            <p:blipFill>
              <a:blip r:embed="rId9"/>
              <a:stretch>
                <a:fillRect/>
              </a:stretch>
            </p:blipFill>
            <p:spPr>
              <a:xfrm>
                <a:off x="3217442" y="591500"/>
                <a:ext cx="652611" cy="579721"/>
              </a:xfrm>
              <a:prstGeom prst="rect">
                <a:avLst/>
              </a:prstGeom>
            </p:spPr>
          </p:pic>
          <p:pic>
            <p:nvPicPr>
              <p:cNvPr id="128" name="Picture 127"/>
              <p:cNvPicPr>
                <a:picLocks noChangeAspect="1"/>
              </p:cNvPicPr>
              <p:nvPr/>
            </p:nvPicPr>
            <p:blipFill>
              <a:blip r:embed="rId9"/>
              <a:stretch>
                <a:fillRect/>
              </a:stretch>
            </p:blipFill>
            <p:spPr>
              <a:xfrm>
                <a:off x="2298833" y="591500"/>
                <a:ext cx="652611" cy="579721"/>
              </a:xfrm>
              <a:prstGeom prst="rect">
                <a:avLst/>
              </a:prstGeom>
            </p:spPr>
          </p:pic>
          <p:pic>
            <p:nvPicPr>
              <p:cNvPr id="129" name="Picture 128"/>
              <p:cNvPicPr>
                <a:picLocks noChangeAspect="1"/>
              </p:cNvPicPr>
              <p:nvPr/>
            </p:nvPicPr>
            <p:blipFill>
              <a:blip r:embed="rId10"/>
              <a:stretch>
                <a:fillRect/>
              </a:stretch>
            </p:blipFill>
            <p:spPr>
              <a:xfrm>
                <a:off x="4136051" y="679329"/>
                <a:ext cx="654581" cy="404063"/>
              </a:xfrm>
              <a:prstGeom prst="rect">
                <a:avLst/>
              </a:prstGeom>
            </p:spPr>
          </p:pic>
          <p:pic>
            <p:nvPicPr>
              <p:cNvPr id="130" name="Picture 129"/>
              <p:cNvPicPr>
                <a:picLocks noChangeAspect="1"/>
              </p:cNvPicPr>
              <p:nvPr/>
            </p:nvPicPr>
            <p:blipFill>
              <a:blip r:embed="rId11"/>
              <a:stretch>
                <a:fillRect/>
              </a:stretch>
            </p:blipFill>
            <p:spPr>
              <a:xfrm>
                <a:off x="5056632" y="735704"/>
                <a:ext cx="782980" cy="291312"/>
              </a:xfrm>
              <a:prstGeom prst="rect">
                <a:avLst/>
              </a:prstGeom>
            </p:spPr>
          </p:pic>
          <p:pic>
            <p:nvPicPr>
              <p:cNvPr id="131" name="Picture 1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61489" y="1937694"/>
                <a:ext cx="597462" cy="579721"/>
              </a:xfrm>
              <a:prstGeom prst="rect">
                <a:avLst/>
              </a:prstGeom>
            </p:spPr>
          </p:pic>
          <p:pic>
            <p:nvPicPr>
              <p:cNvPr id="132" name="Picture 1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3371660" y="4791625"/>
                <a:ext cx="564474" cy="355471"/>
              </a:xfrm>
              <a:prstGeom prst="rect">
                <a:avLst/>
              </a:prstGeom>
            </p:spPr>
          </p:pic>
          <p:pic>
            <p:nvPicPr>
              <p:cNvPr id="133" name="Picture 13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56914" y="6032646"/>
                <a:ext cx="806610" cy="256144"/>
              </a:xfrm>
              <a:prstGeom prst="rect">
                <a:avLst/>
              </a:prstGeom>
            </p:spPr>
          </p:pic>
          <p:pic>
            <p:nvPicPr>
              <p:cNvPr id="134" name="Picture 4" descr="image00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218665" y="4787871"/>
                <a:ext cx="602690" cy="36297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 name="Picture 13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479735" y="4735411"/>
                <a:ext cx="482213" cy="467898"/>
              </a:xfrm>
              <a:prstGeom prst="rect">
                <a:avLst/>
              </a:prstGeom>
            </p:spPr>
          </p:pic>
          <p:pic>
            <p:nvPicPr>
              <p:cNvPr id="136" name="Picture 13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438199" y="4830164"/>
                <a:ext cx="699175" cy="278392"/>
              </a:xfrm>
              <a:prstGeom prst="rect">
                <a:avLst/>
              </a:prstGeom>
            </p:spPr>
          </p:pic>
          <p:pic>
            <p:nvPicPr>
              <p:cNvPr id="137" name="Picture 13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59020" y="4749964"/>
                <a:ext cx="652584" cy="438792"/>
              </a:xfrm>
              <a:prstGeom prst="rect">
                <a:avLst/>
              </a:prstGeom>
            </p:spPr>
          </p:pic>
          <p:pic>
            <p:nvPicPr>
              <p:cNvPr id="138" name="Picture 13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261153" y="5923605"/>
                <a:ext cx="517718" cy="474216"/>
              </a:xfrm>
              <a:prstGeom prst="rect">
                <a:avLst/>
              </a:prstGeom>
            </p:spPr>
          </p:pic>
          <p:sp>
            <p:nvSpPr>
              <p:cNvPr id="139" name="Rectangle 138"/>
              <p:cNvSpPr>
                <a:spLocks/>
              </p:cNvSpPr>
              <p:nvPr/>
            </p:nvSpPr>
            <p:spPr>
              <a:xfrm>
                <a:off x="1403723" y="1265343"/>
                <a:ext cx="645884" cy="155143"/>
              </a:xfrm>
              <a:prstGeom prst="rect">
                <a:avLst/>
              </a:prstGeom>
              <a:noFill/>
            </p:spPr>
            <p:txBody>
              <a:bodyPr wrap="none" lIns="0" tIns="0" rIns="0" bIns="0">
                <a:spAutoFit/>
              </a:bodyPr>
              <a:lstStyle/>
              <a:p>
                <a:pPr algn="ctr" defTabSz="596803" fontAlgn="ctr">
                  <a:lnSpc>
                    <a:spcPct val="90000"/>
                  </a:lnSpc>
                  <a:defRPr/>
                </a:pPr>
                <a:r>
                  <a:rPr lang="en-US" sz="1076" kern="0" dirty="0">
                    <a:gradFill>
                      <a:gsLst>
                        <a:gs pos="92857">
                          <a:srgbClr val="FFFFFF"/>
                        </a:gs>
                        <a:gs pos="79464">
                          <a:srgbClr val="FFFFFF"/>
                        </a:gs>
                      </a:gsLst>
                      <a:lin ang="5400000" scaled="0"/>
                    </a:gradFill>
                    <a:latin typeface="Segoe UI"/>
                  </a:rPr>
                  <a:t>ISO 27018</a:t>
                </a:r>
              </a:p>
            </p:txBody>
          </p:sp>
        </p:grpSp>
        <p:pic>
          <p:nvPicPr>
            <p:cNvPr id="81" name="Picture 80"/>
            <p:cNvPicPr>
              <a:picLocks noChangeAspect="1"/>
            </p:cNvPicPr>
            <p:nvPr/>
          </p:nvPicPr>
          <p:blipFill>
            <a:blip r:embed="rId20"/>
            <a:stretch>
              <a:fillRect/>
            </a:stretch>
          </p:blipFill>
          <p:spPr>
            <a:xfrm>
              <a:off x="1263524" y="1962202"/>
              <a:ext cx="968254" cy="484127"/>
            </a:xfrm>
            <a:prstGeom prst="rect">
              <a:avLst/>
            </a:prstGeom>
          </p:spPr>
        </p:pic>
        <p:pic>
          <p:nvPicPr>
            <p:cNvPr id="82" name="Picture 81"/>
            <p:cNvPicPr>
              <a:picLocks noChangeAspect="1"/>
            </p:cNvPicPr>
            <p:nvPr/>
          </p:nvPicPr>
          <p:blipFill>
            <a:blip r:embed="rId21"/>
            <a:stretch>
              <a:fillRect/>
            </a:stretch>
          </p:blipFill>
          <p:spPr>
            <a:xfrm>
              <a:off x="5132160" y="2020831"/>
              <a:ext cx="788526" cy="366867"/>
            </a:xfrm>
            <a:prstGeom prst="rect">
              <a:avLst/>
            </a:prstGeom>
          </p:spPr>
        </p:pic>
        <p:pic>
          <p:nvPicPr>
            <p:cNvPr id="83" name="Picture 82"/>
            <p:cNvPicPr>
              <a:picLocks noChangeAspect="1"/>
            </p:cNvPicPr>
            <p:nvPr/>
          </p:nvPicPr>
          <p:blipFill>
            <a:blip r:embed="rId22"/>
            <a:stretch>
              <a:fillRect/>
            </a:stretch>
          </p:blipFill>
          <p:spPr>
            <a:xfrm>
              <a:off x="1487807" y="3308512"/>
              <a:ext cx="608974" cy="608379"/>
            </a:xfrm>
            <a:prstGeom prst="rect">
              <a:avLst/>
            </a:prstGeom>
          </p:spPr>
        </p:pic>
        <p:pic>
          <p:nvPicPr>
            <p:cNvPr id="84" name="Picture 83"/>
            <p:cNvPicPr>
              <a:picLocks noChangeAspect="1"/>
            </p:cNvPicPr>
            <p:nvPr/>
          </p:nvPicPr>
          <p:blipFill>
            <a:blip r:embed="rId23"/>
            <a:stretch>
              <a:fillRect/>
            </a:stretch>
          </p:blipFill>
          <p:spPr>
            <a:xfrm>
              <a:off x="548741" y="3301779"/>
              <a:ext cx="608842" cy="608842"/>
            </a:xfrm>
            <a:prstGeom prst="rect">
              <a:avLst/>
            </a:prstGeom>
          </p:spPr>
        </p:pic>
        <p:pic>
          <p:nvPicPr>
            <p:cNvPr id="85" name="Picture 84"/>
            <p:cNvPicPr>
              <a:picLocks noChangeAspect="1"/>
            </p:cNvPicPr>
            <p:nvPr/>
          </p:nvPicPr>
          <p:blipFill>
            <a:blip r:embed="rId24"/>
            <a:stretch>
              <a:fillRect/>
            </a:stretch>
          </p:blipFill>
          <p:spPr>
            <a:xfrm>
              <a:off x="2280817" y="3258719"/>
              <a:ext cx="924980" cy="707966"/>
            </a:xfrm>
            <a:prstGeom prst="rect">
              <a:avLst/>
            </a:prstGeom>
          </p:spPr>
        </p:pic>
        <p:pic>
          <p:nvPicPr>
            <p:cNvPr id="86" name="Picture 85"/>
            <p:cNvPicPr>
              <a:picLocks noChangeAspect="1"/>
            </p:cNvPicPr>
            <p:nvPr/>
          </p:nvPicPr>
          <p:blipFill>
            <a:blip r:embed="rId25"/>
            <a:stretch>
              <a:fillRect/>
            </a:stretch>
          </p:blipFill>
          <p:spPr>
            <a:xfrm>
              <a:off x="3083936" y="5850596"/>
              <a:ext cx="605105" cy="620233"/>
            </a:xfrm>
            <a:prstGeom prst="rect">
              <a:avLst/>
            </a:prstGeom>
          </p:spPr>
        </p:pic>
        <p:pic>
          <p:nvPicPr>
            <p:cNvPr id="87" name="Picture 86"/>
            <p:cNvPicPr>
              <a:picLocks noChangeAspect="1"/>
            </p:cNvPicPr>
            <p:nvPr/>
          </p:nvPicPr>
          <p:blipFill>
            <a:blip r:embed="rId26"/>
            <a:stretch>
              <a:fillRect/>
            </a:stretch>
          </p:blipFill>
          <p:spPr>
            <a:xfrm>
              <a:off x="2161471" y="1895288"/>
              <a:ext cx="1084418" cy="630317"/>
            </a:xfrm>
            <a:prstGeom prst="rect">
              <a:avLst/>
            </a:prstGeom>
          </p:spPr>
        </p:pic>
        <p:pic>
          <p:nvPicPr>
            <p:cNvPr id="117" name="Picture 116"/>
            <p:cNvPicPr>
              <a:picLocks noChangeAspect="1"/>
            </p:cNvPicPr>
            <p:nvPr/>
          </p:nvPicPr>
          <p:blipFill>
            <a:blip r:embed="rId27"/>
            <a:stretch>
              <a:fillRect/>
            </a:stretch>
          </p:blipFill>
          <p:spPr>
            <a:xfrm>
              <a:off x="4177391" y="1895288"/>
              <a:ext cx="755165" cy="577991"/>
            </a:xfrm>
            <a:prstGeom prst="rect">
              <a:avLst/>
            </a:prstGeom>
          </p:spPr>
        </p:pic>
        <p:pic>
          <p:nvPicPr>
            <p:cNvPr id="118" name="Picture 117"/>
            <p:cNvPicPr>
              <a:picLocks noChangeAspect="1"/>
            </p:cNvPicPr>
            <p:nvPr/>
          </p:nvPicPr>
          <p:blipFill>
            <a:blip r:embed="rId28"/>
            <a:stretch>
              <a:fillRect/>
            </a:stretch>
          </p:blipFill>
          <p:spPr>
            <a:xfrm>
              <a:off x="1826920" y="5936017"/>
              <a:ext cx="619969" cy="387553"/>
            </a:xfrm>
            <a:prstGeom prst="rect">
              <a:avLst/>
            </a:prstGeom>
          </p:spPr>
        </p:pic>
        <p:pic>
          <p:nvPicPr>
            <p:cNvPr id="119" name="Picture 118"/>
            <p:cNvPicPr>
              <a:picLocks noChangeAspect="1"/>
            </p:cNvPicPr>
            <p:nvPr/>
          </p:nvPicPr>
          <p:blipFill>
            <a:blip r:embed="rId29"/>
            <a:stretch>
              <a:fillRect/>
            </a:stretch>
          </p:blipFill>
          <p:spPr>
            <a:xfrm>
              <a:off x="4336976" y="3295629"/>
              <a:ext cx="614992" cy="614992"/>
            </a:xfrm>
            <a:prstGeom prst="rect">
              <a:avLst/>
            </a:prstGeom>
          </p:spPr>
        </p:pic>
        <p:pic>
          <p:nvPicPr>
            <p:cNvPr id="120" name="Picture 119"/>
            <p:cNvPicPr>
              <a:picLocks noChangeAspect="1"/>
            </p:cNvPicPr>
            <p:nvPr/>
          </p:nvPicPr>
          <p:blipFill>
            <a:blip r:embed="rId30"/>
            <a:stretch>
              <a:fillRect/>
            </a:stretch>
          </p:blipFill>
          <p:spPr>
            <a:xfrm>
              <a:off x="4213159" y="6065462"/>
              <a:ext cx="523875" cy="190500"/>
            </a:xfrm>
            <a:prstGeom prst="rect">
              <a:avLst/>
            </a:prstGeom>
          </p:spPr>
        </p:pic>
        <p:pic>
          <p:nvPicPr>
            <p:cNvPr id="121" name="Picture 120"/>
            <p:cNvPicPr>
              <a:picLocks noChangeAspect="1"/>
            </p:cNvPicPr>
            <p:nvPr/>
          </p:nvPicPr>
          <p:blipFill>
            <a:blip r:embed="rId31"/>
            <a:stretch>
              <a:fillRect/>
            </a:stretch>
          </p:blipFill>
          <p:spPr>
            <a:xfrm>
              <a:off x="4321188" y="4692628"/>
              <a:ext cx="542925" cy="523875"/>
            </a:xfrm>
            <a:prstGeom prst="rect">
              <a:avLst/>
            </a:prstGeom>
          </p:spPr>
        </p:pic>
      </p:grpSp>
    </p:spTree>
    <p:extLst>
      <p:ext uri="{BB962C8B-B14F-4D97-AF65-F5344CB8AC3E}">
        <p14:creationId xmlns:p14="http://schemas.microsoft.com/office/powerpoint/2010/main" val="4025753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1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15"/>
                                        </p:tgtEl>
                                      </p:cBhvr>
                                      <p:by x="0" y="0"/>
                                    </p:animScale>
                                  </p:childTnLst>
                                </p:cTn>
                              </p:par>
                              <p:par>
                                <p:cTn id="9" presetID="10" presetClass="entr" presetSubtype="0" fill="hold" grpId="0" nodeType="withEffect">
                                  <p:stCondLst>
                                    <p:cond delay="500"/>
                                  </p:stCondLst>
                                  <p:childTnLst>
                                    <p:set>
                                      <p:cBhvr>
                                        <p:cTn id="10" dur="1" fill="hold">
                                          <p:stCondLst>
                                            <p:cond delay="0"/>
                                          </p:stCondLst>
                                        </p:cTn>
                                        <p:tgtEl>
                                          <p:spTgt spid="65"/>
                                        </p:tgtEl>
                                        <p:attrNameLst>
                                          <p:attrName>style.visibility</p:attrName>
                                        </p:attrNameLst>
                                      </p:cBhvr>
                                      <p:to>
                                        <p:strVal val="visible"/>
                                      </p:to>
                                    </p:set>
                                    <p:animEffect transition="in" filter="fade">
                                      <p:cBhvr>
                                        <p:cTn id="11" dur="300"/>
                                        <p:tgtEl>
                                          <p:spTgt spid="65"/>
                                        </p:tgtEl>
                                      </p:cBhvr>
                                    </p:animEffect>
                                  </p:childTnLst>
                                </p:cTn>
                              </p:par>
                              <p:par>
                                <p:cTn id="12" presetID="35" presetClass="path" presetSubtype="0" decel="100000" fill="hold" grpId="1" nodeType="withEffect">
                                  <p:stCondLst>
                                    <p:cond delay="400"/>
                                  </p:stCondLst>
                                  <p:childTnLst>
                                    <p:animMotion origin="layout" path="M -0.05552 0.00023 L -4.21751E-6 0.00023 " pathEditMode="relative" rAng="0" ptsTypes="AA">
                                      <p:cBhvr>
                                        <p:cTn id="13" dur="400" fill="hold"/>
                                        <p:tgtEl>
                                          <p:spTgt spid="65"/>
                                        </p:tgtEl>
                                        <p:attrNameLst>
                                          <p:attrName>ppt_x</p:attrName>
                                          <p:attrName>ppt_y</p:attrName>
                                        </p:attrNameLst>
                                      </p:cBhvr>
                                      <p:rCtr x="2770" y="0"/>
                                    </p:animMotion>
                                  </p:childTnLst>
                                </p:cTn>
                              </p:par>
                              <p:par>
                                <p:cTn id="14" presetID="1" presetClass="entr" presetSubtype="0" fill="hold" nodeType="withEffect">
                                  <p:stCondLst>
                                    <p:cond delay="550"/>
                                  </p:stCondLst>
                                  <p:childTnLst>
                                    <p:set>
                                      <p:cBhvr>
                                        <p:cTn id="15" dur="1" fill="hold">
                                          <p:stCondLst>
                                            <p:cond delay="0"/>
                                          </p:stCondLst>
                                        </p:cTn>
                                        <p:tgtEl>
                                          <p:spTgt spid="16"/>
                                        </p:tgtEl>
                                        <p:attrNameLst>
                                          <p:attrName>style.visibility</p:attrName>
                                        </p:attrNameLst>
                                      </p:cBhvr>
                                      <p:to>
                                        <p:strVal val="visible"/>
                                      </p:to>
                                    </p:set>
                                  </p:childTnLst>
                                </p:cTn>
                              </p:par>
                              <p:par>
                                <p:cTn id="16" presetID="6" presetClass="emph" presetSubtype="0" accel="100000" autoRev="1" fill="hold" nodeType="withEffect">
                                  <p:stCondLst>
                                    <p:cond delay="50"/>
                                  </p:stCondLst>
                                  <p:childTnLst>
                                    <p:animScale>
                                      <p:cBhvr>
                                        <p:cTn id="17" dur="500" fill="hold"/>
                                        <p:tgtEl>
                                          <p:spTgt spid="16"/>
                                        </p:tgtEl>
                                      </p:cBhvr>
                                      <p:by x="0" y="0"/>
                                    </p:animScale>
                                  </p:childTnLst>
                                </p:cTn>
                              </p:par>
                              <p:par>
                                <p:cTn id="18" presetID="10" presetClass="entr" presetSubtype="0" fill="hold" grpId="0" nodeType="withEffect">
                                  <p:stCondLst>
                                    <p:cond delay="600"/>
                                  </p:stCondLst>
                                  <p:childTnLst>
                                    <p:set>
                                      <p:cBhvr>
                                        <p:cTn id="19" dur="1" fill="hold">
                                          <p:stCondLst>
                                            <p:cond delay="0"/>
                                          </p:stCondLst>
                                        </p:cTn>
                                        <p:tgtEl>
                                          <p:spTgt spid="67"/>
                                        </p:tgtEl>
                                        <p:attrNameLst>
                                          <p:attrName>style.visibility</p:attrName>
                                        </p:attrNameLst>
                                      </p:cBhvr>
                                      <p:to>
                                        <p:strVal val="visible"/>
                                      </p:to>
                                    </p:set>
                                    <p:animEffect transition="in" filter="fade">
                                      <p:cBhvr>
                                        <p:cTn id="20" dur="300"/>
                                        <p:tgtEl>
                                          <p:spTgt spid="67"/>
                                        </p:tgtEl>
                                      </p:cBhvr>
                                    </p:animEffect>
                                  </p:childTnLst>
                                </p:cTn>
                              </p:par>
                              <p:par>
                                <p:cTn id="21" presetID="35" presetClass="path" presetSubtype="0" decel="100000" fill="hold" grpId="1" nodeType="withEffect">
                                  <p:stCondLst>
                                    <p:cond delay="500"/>
                                  </p:stCondLst>
                                  <p:childTnLst>
                                    <p:animMotion origin="layout" path="M -0.05553 0.00022 L 3.44652E-7 0.00022 " pathEditMode="relative" rAng="0" ptsTypes="AA">
                                      <p:cBhvr>
                                        <p:cTn id="22" dur="400" fill="hold"/>
                                        <p:tgtEl>
                                          <p:spTgt spid="67"/>
                                        </p:tgtEl>
                                        <p:attrNameLst>
                                          <p:attrName>ppt_x</p:attrName>
                                          <p:attrName>ppt_y</p:attrName>
                                        </p:attrNameLst>
                                      </p:cBhvr>
                                      <p:rCtr x="2770" y="0"/>
                                    </p:animMotion>
                                  </p:childTnLst>
                                </p:cTn>
                              </p:par>
                              <p:par>
                                <p:cTn id="23" presetID="1" presetClass="entr" presetSubtype="0" fill="hold" nodeType="withEffect">
                                  <p:stCondLst>
                                    <p:cond delay="700"/>
                                  </p:stCondLst>
                                  <p:childTnLst>
                                    <p:set>
                                      <p:cBhvr>
                                        <p:cTn id="24" dur="1" fill="hold">
                                          <p:stCondLst>
                                            <p:cond delay="0"/>
                                          </p:stCondLst>
                                        </p:cTn>
                                        <p:tgtEl>
                                          <p:spTgt spid="17"/>
                                        </p:tgtEl>
                                        <p:attrNameLst>
                                          <p:attrName>style.visibility</p:attrName>
                                        </p:attrNameLst>
                                      </p:cBhvr>
                                      <p:to>
                                        <p:strVal val="visible"/>
                                      </p:to>
                                    </p:set>
                                  </p:childTnLst>
                                </p:cTn>
                              </p:par>
                              <p:par>
                                <p:cTn id="25" presetID="6" presetClass="emph" presetSubtype="0" accel="100000" autoRev="1" fill="hold" nodeType="withEffect">
                                  <p:stCondLst>
                                    <p:cond delay="200"/>
                                  </p:stCondLst>
                                  <p:childTnLst>
                                    <p:animScale>
                                      <p:cBhvr>
                                        <p:cTn id="26" dur="500" fill="hold"/>
                                        <p:tgtEl>
                                          <p:spTgt spid="17"/>
                                        </p:tgtEl>
                                      </p:cBhvr>
                                      <p:by x="0" y="0"/>
                                    </p:animScale>
                                  </p:childTnLst>
                                </p:cTn>
                              </p:par>
                              <p:par>
                                <p:cTn id="27" presetID="10" presetClass="entr" presetSubtype="0" fill="hold" grpId="0" nodeType="withEffect">
                                  <p:stCondLst>
                                    <p:cond delay="700"/>
                                  </p:stCondLst>
                                  <p:childTnLst>
                                    <p:set>
                                      <p:cBhvr>
                                        <p:cTn id="28" dur="1" fill="hold">
                                          <p:stCondLst>
                                            <p:cond delay="0"/>
                                          </p:stCondLst>
                                        </p:cTn>
                                        <p:tgtEl>
                                          <p:spTgt spid="69"/>
                                        </p:tgtEl>
                                        <p:attrNameLst>
                                          <p:attrName>style.visibility</p:attrName>
                                        </p:attrNameLst>
                                      </p:cBhvr>
                                      <p:to>
                                        <p:strVal val="visible"/>
                                      </p:to>
                                    </p:set>
                                    <p:animEffect transition="in" filter="fade">
                                      <p:cBhvr>
                                        <p:cTn id="29" dur="300"/>
                                        <p:tgtEl>
                                          <p:spTgt spid="69"/>
                                        </p:tgtEl>
                                      </p:cBhvr>
                                    </p:animEffect>
                                  </p:childTnLst>
                                </p:cTn>
                              </p:par>
                              <p:par>
                                <p:cTn id="30" presetID="35" presetClass="path" presetSubtype="0" decel="100000" fill="hold" grpId="1" nodeType="withEffect">
                                  <p:stCondLst>
                                    <p:cond delay="600"/>
                                  </p:stCondLst>
                                  <p:childTnLst>
                                    <p:animMotion origin="layout" path="M -0.05553 0.00022 L 1.47817E-6 0.00022 " pathEditMode="relative" rAng="0" ptsTypes="AA">
                                      <p:cBhvr>
                                        <p:cTn id="31" dur="400" fill="hold"/>
                                        <p:tgtEl>
                                          <p:spTgt spid="69"/>
                                        </p:tgtEl>
                                        <p:attrNameLst>
                                          <p:attrName>ppt_x</p:attrName>
                                          <p:attrName>ppt_y</p:attrName>
                                        </p:attrNameLst>
                                      </p:cBhvr>
                                      <p:rCtr x="2770" y="0"/>
                                    </p:animMotion>
                                  </p:childTnLst>
                                </p:cTn>
                              </p:par>
                              <p:par>
                                <p:cTn id="32" presetID="10" presetClass="entr" presetSubtype="0" fill="hold" grpId="0" nodeType="withEffect">
                                  <p:stCondLst>
                                    <p:cond delay="10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300"/>
                                        <p:tgtEl>
                                          <p:spTgt spid="40"/>
                                        </p:tgtEl>
                                      </p:cBhvr>
                                    </p:animEffect>
                                  </p:childTnLst>
                                </p:cTn>
                              </p:par>
                              <p:par>
                                <p:cTn id="35" presetID="35" presetClass="path" presetSubtype="0" accel="50000" decel="50000" fill="hold" grpId="1" nodeType="withEffect">
                                  <p:stCondLst>
                                    <p:cond delay="0"/>
                                  </p:stCondLst>
                                  <p:childTnLst>
                                    <p:animMotion origin="layout" path="M 1.78963E-6 -1.19837E-6 L -0.03064 0.00091 " pathEditMode="relative" rAng="0" ptsTypes="AA">
                                      <p:cBhvr>
                                        <p:cTn id="36" dur="500" fill="hold"/>
                                        <p:tgtEl>
                                          <p:spTgt spid="40"/>
                                        </p:tgtEl>
                                        <p:attrNameLst>
                                          <p:attrName>ppt_x</p:attrName>
                                          <p:attrName>ppt_y</p:attrName>
                                        </p:attrNameLst>
                                      </p:cBhvr>
                                      <p:rCtr x="-1532" y="45"/>
                                    </p:animMotion>
                                  </p:childTnLst>
                                </p:cTn>
                              </p:par>
                              <p:par>
                                <p:cTn id="37" presetID="10" presetClass="entr" presetSubtype="0" fill="hold" grpId="0" nodeType="withEffect">
                                  <p:stCondLst>
                                    <p:cond delay="200"/>
                                  </p:stCondLst>
                                  <p:childTnLst>
                                    <p:set>
                                      <p:cBhvr>
                                        <p:cTn id="38" dur="1" fill="hold">
                                          <p:stCondLst>
                                            <p:cond delay="0"/>
                                          </p:stCondLst>
                                        </p:cTn>
                                        <p:tgtEl>
                                          <p:spTgt spid="64"/>
                                        </p:tgtEl>
                                        <p:attrNameLst>
                                          <p:attrName>style.visibility</p:attrName>
                                        </p:attrNameLst>
                                      </p:cBhvr>
                                      <p:to>
                                        <p:strVal val="visible"/>
                                      </p:to>
                                    </p:set>
                                    <p:animEffect transition="in" filter="fade">
                                      <p:cBhvr>
                                        <p:cTn id="39" dur="300"/>
                                        <p:tgtEl>
                                          <p:spTgt spid="64"/>
                                        </p:tgtEl>
                                      </p:cBhvr>
                                    </p:animEffect>
                                  </p:childTnLst>
                                </p:cTn>
                              </p:par>
                              <p:par>
                                <p:cTn id="40" presetID="35" presetClass="path" presetSubtype="0" decel="100000" fill="hold" grpId="1" nodeType="withEffect">
                                  <p:stCondLst>
                                    <p:cond delay="100"/>
                                  </p:stCondLst>
                                  <p:childTnLst>
                                    <p:animMotion origin="layout" path="M -0.05553 0.00022 L 1.13097E-6 0.00022 " pathEditMode="relative" rAng="0" ptsTypes="AA">
                                      <p:cBhvr>
                                        <p:cTn id="41" dur="400" fill="hold"/>
                                        <p:tgtEl>
                                          <p:spTgt spid="64"/>
                                        </p:tgtEl>
                                        <p:attrNameLst>
                                          <p:attrName>ppt_x</p:attrName>
                                          <p:attrName>ppt_y</p:attrName>
                                        </p:attrNameLst>
                                      </p:cBhvr>
                                      <p:rCtr x="2770" y="0"/>
                                    </p:animMotion>
                                  </p:childTnLst>
                                </p:cTn>
                              </p:par>
                              <p:par>
                                <p:cTn id="42" presetID="10" presetClass="entr" presetSubtype="0" fill="hold" nodeType="withEffect">
                                  <p:stCondLst>
                                    <p:cond delay="100"/>
                                  </p:stCondLst>
                                  <p:childTnLst>
                                    <p:set>
                                      <p:cBhvr>
                                        <p:cTn id="43" dur="1" fill="hold">
                                          <p:stCondLst>
                                            <p:cond delay="0"/>
                                          </p:stCondLst>
                                        </p:cTn>
                                        <p:tgtEl>
                                          <p:spTgt spid="79"/>
                                        </p:tgtEl>
                                        <p:attrNameLst>
                                          <p:attrName>style.visibility</p:attrName>
                                        </p:attrNameLst>
                                      </p:cBhvr>
                                      <p:to>
                                        <p:strVal val="visible"/>
                                      </p:to>
                                    </p:set>
                                    <p:animEffect transition="in" filter="fade">
                                      <p:cBhvr>
                                        <p:cTn id="44" dur="300"/>
                                        <p:tgtEl>
                                          <p:spTgt spid="79"/>
                                        </p:tgtEl>
                                      </p:cBhvr>
                                    </p:animEffect>
                                  </p:childTnLst>
                                </p:cTn>
                              </p:par>
                              <p:par>
                                <p:cTn id="45" presetID="35" presetClass="path" presetSubtype="0" decel="100000" fill="hold" nodeType="withEffect">
                                  <p:stCondLst>
                                    <p:cond delay="0"/>
                                  </p:stCondLst>
                                  <p:childTnLst>
                                    <p:animMotion origin="layout" path="M -0.05552 0.00022 L -4.98596E-6 0.00022 " pathEditMode="relative" rAng="0" ptsTypes="AA">
                                      <p:cBhvr>
                                        <p:cTn id="46" dur="400" fill="hold"/>
                                        <p:tgtEl>
                                          <p:spTgt spid="79"/>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0" grpId="1" animBg="1"/>
      <p:bldP spid="64" grpId="0"/>
      <p:bldP spid="64" grpId="1"/>
      <p:bldP spid="65" grpId="0"/>
      <p:bldP spid="65" grpId="1"/>
      <p:bldP spid="67" grpId="0"/>
      <p:bldP spid="67" grpId="1"/>
      <p:bldP spid="69" grpId="0"/>
      <p:bldP spid="69" grpId="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919" dirty="0"/>
              <a:t>Unique point of view: cloud is a model, not just a place</a:t>
            </a:r>
          </a:p>
        </p:txBody>
      </p:sp>
      <p:sp>
        <p:nvSpPr>
          <p:cNvPr id="33" name="TextBox 32"/>
          <p:cNvSpPr txBox="1"/>
          <p:nvPr/>
        </p:nvSpPr>
        <p:spPr bwMode="auto">
          <a:xfrm>
            <a:off x="491605" y="2297469"/>
            <a:ext cx="6094271" cy="2320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79234" tIns="143387" rIns="179234" bIns="143387" numCol="1" rtlCol="0" anchor="t" anchorCtr="0" compatLnSpc="1">
            <a:prstTxWarp prst="textNoShape">
              <a:avLst/>
            </a:prstTxWarp>
            <a:spAutoFit/>
          </a:bodyPr>
          <a:lstStyle/>
          <a:p>
            <a:pPr defTabSz="913841">
              <a:spcAft>
                <a:spcPts val="600"/>
              </a:spcAft>
              <a:defRPr/>
            </a:pPr>
            <a:r>
              <a:rPr lang="en-US" sz="3135"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Cloud model </a:t>
            </a: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is geared for speed</a:t>
            </a:r>
          </a:p>
          <a:p>
            <a:pPr defTabSz="913841">
              <a:spcAft>
                <a:spcPts val="600"/>
              </a:spcAft>
              <a:defRPr/>
            </a:pP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Developers have a critical business role</a:t>
            </a:r>
          </a:p>
          <a:p>
            <a:pPr defTabSz="913841">
              <a:spcAft>
                <a:spcPts val="600"/>
              </a:spcAft>
              <a:defRPr/>
            </a:pP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Services and apps create new complexity</a:t>
            </a:r>
          </a:p>
          <a:p>
            <a:pPr defTabSz="913841">
              <a:spcAft>
                <a:spcPts val="600"/>
              </a:spcAft>
              <a:defRPr/>
            </a:pP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Server is no longer the center point</a:t>
            </a:r>
          </a:p>
          <a:p>
            <a:pPr defTabSz="913841">
              <a:spcAft>
                <a:spcPts val="600"/>
              </a:spcAft>
              <a:defRPr/>
            </a:pP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App is king—app data is business data</a:t>
            </a:r>
          </a:p>
        </p:txBody>
      </p:sp>
      <p:grpSp>
        <p:nvGrpSpPr>
          <p:cNvPr id="5" name="Group 4"/>
          <p:cNvGrpSpPr/>
          <p:nvPr/>
        </p:nvGrpSpPr>
        <p:grpSpPr>
          <a:xfrm>
            <a:off x="7263807" y="1865047"/>
            <a:ext cx="2941977" cy="2037490"/>
            <a:chOff x="8486775" y="1542890"/>
            <a:chExt cx="2023303" cy="1401254"/>
          </a:xfrm>
        </p:grpSpPr>
        <p:sp>
          <p:nvSpPr>
            <p:cNvPr id="9" name="Freeform 5"/>
            <p:cNvSpPr>
              <a:spLocks noChangeAspect="1"/>
            </p:cNvSpPr>
            <p:nvPr/>
          </p:nvSpPr>
          <p:spPr bwMode="auto">
            <a:xfrm>
              <a:off x="8579009" y="1626345"/>
              <a:ext cx="1841500" cy="128016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188F"/>
            </a:solidFill>
            <a:ln w="0">
              <a:noFill/>
            </a:ln>
          </p:spPr>
          <p:txBody>
            <a:bodyPr vert="horz" wrap="square" lIns="89617" tIns="44808" rIns="89617" bIns="44808" numCol="1" anchor="t" anchorCtr="0" compatLnSpc="1">
              <a:prstTxWarp prst="textNoShape">
                <a:avLst/>
              </a:prstTxWarp>
            </a:bodyPr>
            <a:lstStyle/>
            <a:p>
              <a:pPr algn="ctr" defTabSz="896042">
                <a:defRPr/>
              </a:pPr>
              <a:endParaRPr lang="en-US" sz="2353" kern="0">
                <a:solidFill>
                  <a:sysClr val="windowText" lastClr="000000"/>
                </a:solidFill>
                <a:latin typeface="Segoe UI"/>
              </a:endParaRPr>
            </a:p>
          </p:txBody>
        </p:sp>
        <p:sp>
          <p:nvSpPr>
            <p:cNvPr id="34" name="Freeform 21"/>
            <p:cNvSpPr>
              <a:spLocks noEditPoints="1"/>
            </p:cNvSpPr>
            <p:nvPr/>
          </p:nvSpPr>
          <p:spPr bwMode="auto">
            <a:xfrm>
              <a:off x="8486775" y="1542890"/>
              <a:ext cx="2023303" cy="140125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rgbClr val="00BCF2"/>
            </a:solidFill>
            <a:ln>
              <a:noFill/>
            </a:ln>
          </p:spPr>
          <p:txBody>
            <a:bodyPr vert="horz" wrap="square" lIns="89617" tIns="44808" rIns="89617" bIns="44808" numCol="1" anchor="t" anchorCtr="0" compatLnSpc="1">
              <a:prstTxWarp prst="textNoShape">
                <a:avLst/>
              </a:prstTxWarp>
            </a:bodyPr>
            <a:lstStyle/>
            <a:p>
              <a:pPr algn="ctr" defTabSz="896042">
                <a:defRPr/>
              </a:pPr>
              <a:endParaRPr lang="en-US" sz="2353" kern="0" dirty="0">
                <a:solidFill>
                  <a:sysClr val="windowText" lastClr="000000"/>
                </a:solidFill>
                <a:latin typeface="Segoe UI"/>
              </a:endParaRPr>
            </a:p>
          </p:txBody>
        </p:sp>
        <p:sp>
          <p:nvSpPr>
            <p:cNvPr id="2" name="TextBox 1"/>
            <p:cNvSpPr txBox="1"/>
            <p:nvPr/>
          </p:nvSpPr>
          <p:spPr>
            <a:xfrm>
              <a:off x="9052178" y="2194427"/>
              <a:ext cx="953200" cy="503779"/>
            </a:xfrm>
            <a:prstGeom prst="rect">
              <a:avLst/>
            </a:prstGeom>
            <a:noFill/>
          </p:spPr>
          <p:txBody>
            <a:bodyPr wrap="none" lIns="179234" tIns="143387" rIns="179234" bIns="143387" rtlCol="0">
              <a:spAutoFit/>
            </a:bodyPr>
            <a:lstStyle/>
            <a:p>
              <a:pPr algn="ctr" defTabSz="896042">
                <a:lnSpc>
                  <a:spcPct val="90000"/>
                </a:lnSpc>
                <a:spcAft>
                  <a:spcPts val="588"/>
                </a:spcAft>
                <a:defRPr/>
              </a:pPr>
              <a:r>
                <a:rPr lang="en-US" sz="3135" b="1" kern="0" dirty="0">
                  <a:gradFill>
                    <a:gsLst>
                      <a:gs pos="2917">
                        <a:srgbClr val="FFFFFF"/>
                      </a:gs>
                      <a:gs pos="100000">
                        <a:srgbClr val="FFFFFF"/>
                      </a:gs>
                    </a:gsLst>
                    <a:lin ang="5400000" scaled="0"/>
                  </a:gradFill>
                  <a:latin typeface="Segoe UI Light"/>
                </a:rPr>
                <a:t>Public</a:t>
              </a:r>
            </a:p>
          </p:txBody>
        </p:sp>
      </p:grpSp>
      <p:grpSp>
        <p:nvGrpSpPr>
          <p:cNvPr id="6" name="Group 5"/>
          <p:cNvGrpSpPr/>
          <p:nvPr/>
        </p:nvGrpSpPr>
        <p:grpSpPr>
          <a:xfrm>
            <a:off x="8263544" y="3521964"/>
            <a:ext cx="2941977" cy="2037490"/>
            <a:chOff x="8486775" y="3162808"/>
            <a:chExt cx="2023303" cy="1401254"/>
          </a:xfrm>
        </p:grpSpPr>
        <p:sp>
          <p:nvSpPr>
            <p:cNvPr id="36" name="Freeform 5"/>
            <p:cNvSpPr>
              <a:spLocks noChangeAspect="1"/>
            </p:cNvSpPr>
            <p:nvPr/>
          </p:nvSpPr>
          <p:spPr bwMode="auto">
            <a:xfrm>
              <a:off x="8579009" y="3223355"/>
              <a:ext cx="1841500" cy="128016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188F"/>
            </a:solidFill>
            <a:ln w="0">
              <a:noFill/>
            </a:ln>
          </p:spPr>
          <p:txBody>
            <a:bodyPr vert="horz" wrap="square" lIns="89617" tIns="44808" rIns="89617" bIns="44808" numCol="1" anchor="t" anchorCtr="0" compatLnSpc="1">
              <a:prstTxWarp prst="textNoShape">
                <a:avLst/>
              </a:prstTxWarp>
            </a:bodyPr>
            <a:lstStyle/>
            <a:p>
              <a:pPr algn="ctr" defTabSz="896042">
                <a:defRPr/>
              </a:pPr>
              <a:endParaRPr lang="en-US" sz="2353" kern="0">
                <a:solidFill>
                  <a:sysClr val="windowText" lastClr="000000"/>
                </a:solidFill>
                <a:latin typeface="Segoe UI"/>
              </a:endParaRPr>
            </a:p>
          </p:txBody>
        </p:sp>
        <p:sp>
          <p:nvSpPr>
            <p:cNvPr id="35" name="Freeform 21"/>
            <p:cNvSpPr>
              <a:spLocks noEditPoints="1"/>
            </p:cNvSpPr>
            <p:nvPr/>
          </p:nvSpPr>
          <p:spPr bwMode="auto">
            <a:xfrm>
              <a:off x="8486775" y="3162808"/>
              <a:ext cx="2023303" cy="140125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rgbClr val="00BCF2"/>
            </a:solidFill>
            <a:ln>
              <a:noFill/>
            </a:ln>
          </p:spPr>
          <p:txBody>
            <a:bodyPr vert="horz" wrap="square" lIns="89617" tIns="44808" rIns="89617" bIns="44808" numCol="1" anchor="t" anchorCtr="0" compatLnSpc="1">
              <a:prstTxWarp prst="textNoShape">
                <a:avLst/>
              </a:prstTxWarp>
            </a:bodyPr>
            <a:lstStyle/>
            <a:p>
              <a:pPr algn="ctr" defTabSz="896042">
                <a:defRPr/>
              </a:pPr>
              <a:endParaRPr lang="en-US" sz="2353" kern="0" dirty="0">
                <a:solidFill>
                  <a:sysClr val="windowText" lastClr="000000"/>
                </a:solidFill>
                <a:latin typeface="Segoe UI"/>
              </a:endParaRPr>
            </a:p>
          </p:txBody>
        </p:sp>
        <p:sp>
          <p:nvSpPr>
            <p:cNvPr id="40" name="TextBox 39"/>
            <p:cNvSpPr txBox="1"/>
            <p:nvPr/>
          </p:nvSpPr>
          <p:spPr>
            <a:xfrm>
              <a:off x="8983296" y="3816171"/>
              <a:ext cx="1090966" cy="503779"/>
            </a:xfrm>
            <a:prstGeom prst="rect">
              <a:avLst/>
            </a:prstGeom>
            <a:noFill/>
          </p:spPr>
          <p:txBody>
            <a:bodyPr wrap="none" lIns="179234" tIns="143387" rIns="179234" bIns="143387" rtlCol="0">
              <a:spAutoFit/>
            </a:bodyPr>
            <a:lstStyle/>
            <a:p>
              <a:pPr algn="ctr" defTabSz="896042">
                <a:lnSpc>
                  <a:spcPct val="90000"/>
                </a:lnSpc>
                <a:spcAft>
                  <a:spcPts val="588"/>
                </a:spcAft>
                <a:defRPr/>
              </a:pPr>
              <a:r>
                <a:rPr lang="en-US" sz="3135" b="1" kern="0" dirty="0">
                  <a:gradFill>
                    <a:gsLst>
                      <a:gs pos="2917">
                        <a:srgbClr val="FFFFFF"/>
                      </a:gs>
                      <a:gs pos="100000">
                        <a:srgbClr val="FFFFFF"/>
                      </a:gs>
                    </a:gsLst>
                    <a:lin ang="5400000" scaled="0"/>
                  </a:gradFill>
                  <a:latin typeface="Segoe UI Light"/>
                </a:rPr>
                <a:t>Hosted</a:t>
              </a:r>
            </a:p>
          </p:txBody>
        </p:sp>
      </p:grpSp>
      <p:grpSp>
        <p:nvGrpSpPr>
          <p:cNvPr id="7" name="Group 6"/>
          <p:cNvGrpSpPr/>
          <p:nvPr/>
        </p:nvGrpSpPr>
        <p:grpSpPr>
          <a:xfrm>
            <a:off x="5588997" y="3245029"/>
            <a:ext cx="2941977" cy="2037490"/>
            <a:chOff x="8486775" y="4763008"/>
            <a:chExt cx="2023303" cy="1401254"/>
          </a:xfrm>
        </p:grpSpPr>
        <p:sp>
          <p:nvSpPr>
            <p:cNvPr id="37" name="Freeform 5"/>
            <p:cNvSpPr>
              <a:spLocks noChangeAspect="1"/>
            </p:cNvSpPr>
            <p:nvPr/>
          </p:nvSpPr>
          <p:spPr bwMode="auto">
            <a:xfrm>
              <a:off x="8579009" y="4823555"/>
              <a:ext cx="1841500" cy="128016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188F"/>
            </a:solidFill>
            <a:ln w="0">
              <a:noFill/>
            </a:ln>
          </p:spPr>
          <p:txBody>
            <a:bodyPr vert="horz" wrap="square" lIns="89617" tIns="44808" rIns="89617" bIns="44808" numCol="1" anchor="t" anchorCtr="0" compatLnSpc="1">
              <a:prstTxWarp prst="textNoShape">
                <a:avLst/>
              </a:prstTxWarp>
            </a:bodyPr>
            <a:lstStyle/>
            <a:p>
              <a:pPr algn="ctr" defTabSz="896042">
                <a:defRPr/>
              </a:pPr>
              <a:endParaRPr lang="en-US" sz="2353" kern="0">
                <a:solidFill>
                  <a:sysClr val="windowText" lastClr="000000"/>
                </a:solidFill>
                <a:latin typeface="Segoe UI"/>
              </a:endParaRPr>
            </a:p>
          </p:txBody>
        </p:sp>
        <p:sp>
          <p:nvSpPr>
            <p:cNvPr id="39" name="Freeform 21"/>
            <p:cNvSpPr>
              <a:spLocks noEditPoints="1"/>
            </p:cNvSpPr>
            <p:nvPr/>
          </p:nvSpPr>
          <p:spPr bwMode="auto">
            <a:xfrm>
              <a:off x="8486775" y="4763008"/>
              <a:ext cx="2023303" cy="140125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rgbClr val="00BCF2"/>
            </a:solidFill>
            <a:ln>
              <a:noFill/>
            </a:ln>
          </p:spPr>
          <p:txBody>
            <a:bodyPr vert="horz" wrap="square" lIns="89617" tIns="44808" rIns="89617" bIns="44808" numCol="1" anchor="t" anchorCtr="0" compatLnSpc="1">
              <a:prstTxWarp prst="textNoShape">
                <a:avLst/>
              </a:prstTxWarp>
            </a:bodyPr>
            <a:lstStyle/>
            <a:p>
              <a:pPr algn="ctr" defTabSz="896042">
                <a:defRPr/>
              </a:pPr>
              <a:endParaRPr lang="en-US" sz="2353" kern="0" dirty="0">
                <a:solidFill>
                  <a:sysClr val="windowText" lastClr="000000"/>
                </a:solidFill>
                <a:latin typeface="Segoe UI"/>
              </a:endParaRPr>
            </a:p>
          </p:txBody>
        </p:sp>
        <p:sp>
          <p:nvSpPr>
            <p:cNvPr id="41" name="TextBox 40"/>
            <p:cNvSpPr txBox="1"/>
            <p:nvPr/>
          </p:nvSpPr>
          <p:spPr>
            <a:xfrm>
              <a:off x="9004787" y="5415988"/>
              <a:ext cx="1047983" cy="503779"/>
            </a:xfrm>
            <a:prstGeom prst="rect">
              <a:avLst/>
            </a:prstGeom>
            <a:noFill/>
          </p:spPr>
          <p:txBody>
            <a:bodyPr wrap="none" lIns="179234" tIns="143387" rIns="179234" bIns="143387" rtlCol="0">
              <a:spAutoFit/>
            </a:bodyPr>
            <a:lstStyle/>
            <a:p>
              <a:pPr algn="ctr" defTabSz="896042">
                <a:lnSpc>
                  <a:spcPct val="90000"/>
                </a:lnSpc>
                <a:spcAft>
                  <a:spcPts val="588"/>
                </a:spcAft>
                <a:defRPr/>
              </a:pPr>
              <a:r>
                <a:rPr lang="en-US" sz="3135" b="1" kern="0" dirty="0">
                  <a:gradFill>
                    <a:gsLst>
                      <a:gs pos="2917">
                        <a:srgbClr val="FFFFFF"/>
                      </a:gs>
                      <a:gs pos="100000">
                        <a:srgbClr val="FFFFFF"/>
                      </a:gs>
                    </a:gsLst>
                    <a:lin ang="5400000" scaled="0"/>
                  </a:gradFill>
                  <a:latin typeface="Segoe UI Light"/>
                </a:rPr>
                <a:t>Private</a:t>
              </a:r>
            </a:p>
          </p:txBody>
        </p:sp>
      </p:grpSp>
    </p:spTree>
    <p:extLst>
      <p:ext uri="{BB962C8B-B14F-4D97-AF65-F5344CB8AC3E}">
        <p14:creationId xmlns:p14="http://schemas.microsoft.com/office/powerpoint/2010/main" val="3404313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9849" y="2440950"/>
            <a:ext cx="302853" cy="362022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08702" y="1244773"/>
            <a:ext cx="8719451" cy="5139135"/>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endParaRPr lang="en-US" sz="2200" kern="0" dirty="0">
              <a:gradFill>
                <a:gsLst>
                  <a:gs pos="0">
                    <a:srgbClr val="FFFFFF"/>
                  </a:gs>
                  <a:gs pos="100000">
                    <a:srgbClr val="FFFFFF"/>
                  </a:gs>
                </a:gsLst>
                <a:lin ang="5400000" scaled="0"/>
              </a:gradFill>
              <a:latin typeface="Segoe UI"/>
            </a:endParaRPr>
          </a:p>
        </p:txBody>
      </p:sp>
      <p:sp>
        <p:nvSpPr>
          <p:cNvPr id="2" name="Title 1"/>
          <p:cNvSpPr>
            <a:spLocks noGrp="1"/>
          </p:cNvSpPr>
          <p:nvPr>
            <p:ph type="title"/>
          </p:nvPr>
        </p:nvSpPr>
        <p:spPr/>
        <p:txBody>
          <a:bodyPr/>
          <a:lstStyle/>
          <a:p>
            <a:r>
              <a:rPr lang="en-US" dirty="0">
                <a:solidFill>
                  <a:schemeClr val="tx1"/>
                </a:solidFill>
              </a:rPr>
              <a:t>Azure Cloud Computing Capabilities</a:t>
            </a:r>
          </a:p>
        </p:txBody>
      </p:sp>
      <p:grpSp>
        <p:nvGrpSpPr>
          <p:cNvPr id="4" name="Group 3"/>
          <p:cNvGrpSpPr/>
          <p:nvPr/>
        </p:nvGrpSpPr>
        <p:grpSpPr>
          <a:xfrm>
            <a:off x="797719" y="1539077"/>
            <a:ext cx="2427568" cy="4497103"/>
            <a:chOff x="855665" y="1876063"/>
            <a:chExt cx="2427913" cy="4497741"/>
          </a:xfrm>
        </p:grpSpPr>
        <p:sp>
          <p:nvSpPr>
            <p:cNvPr id="124" name="Rectangle 123"/>
            <p:cNvSpPr/>
            <p:nvPr/>
          </p:nvSpPr>
          <p:spPr>
            <a:xfrm>
              <a:off x="1416806" y="187606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000000"/>
                  </a:solidFill>
                  <a:latin typeface="Segoe UI"/>
                  <a:ea typeface="Kozuka Gothic Pro R" pitchFamily="34" charset="-128"/>
                </a:rPr>
                <a:t>On-Premises</a:t>
              </a:r>
            </a:p>
            <a:p>
              <a:pPr marL="0" lvl="1" defTabSz="1218602" fontAlgn="base">
                <a:spcAft>
                  <a:spcPct val="0"/>
                </a:spcAft>
                <a:defRPr/>
              </a:pPr>
              <a:r>
                <a:rPr lang="en-US" sz="1600" dirty="0">
                  <a:solidFill>
                    <a:srgbClr val="000000"/>
                  </a:solidFill>
                  <a:latin typeface="Segoe UI"/>
                  <a:ea typeface="Kozuka Gothic Pro R" pitchFamily="34" charset="-128"/>
                </a:rPr>
                <a:t>( Private Cloud )</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Networking</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Compute</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Storage</a:t>
              </a:r>
            </a:p>
          </p:txBody>
        </p:sp>
        <p:sp>
          <p:nvSpPr>
            <p:cNvPr id="131" name="Rectangle 130"/>
            <p:cNvSpPr/>
            <p:nvPr/>
          </p:nvSpPr>
          <p:spPr>
            <a:xfrm>
              <a:off x="1396458" y="461728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Virtual Machine</a:t>
              </a:r>
            </a:p>
          </p:txBody>
        </p:sp>
        <p:sp>
          <p:nvSpPr>
            <p:cNvPr id="132" name="Rectangle 131"/>
            <p:cNvSpPr/>
            <p:nvPr/>
          </p:nvSpPr>
          <p:spPr>
            <a:xfrm>
              <a:off x="1396458" y="416246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Operating System</a:t>
              </a:r>
            </a:p>
          </p:txBody>
        </p:sp>
        <p:sp>
          <p:nvSpPr>
            <p:cNvPr id="134" name="Rectangle 133"/>
            <p:cNvSpPr/>
            <p:nvPr/>
          </p:nvSpPr>
          <p:spPr>
            <a:xfrm>
              <a:off x="1396458" y="325282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Applications</a:t>
              </a:r>
            </a:p>
          </p:txBody>
        </p:sp>
        <p:sp>
          <p:nvSpPr>
            <p:cNvPr id="135" name="Rectangle 134"/>
            <p:cNvSpPr/>
            <p:nvPr/>
          </p:nvSpPr>
          <p:spPr>
            <a:xfrm>
              <a:off x="1396458" y="279800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Data &amp; Access</a:t>
              </a:r>
            </a:p>
          </p:txBody>
        </p:sp>
        <p:sp>
          <p:nvSpPr>
            <p:cNvPr id="136" name="Rectangle 135"/>
            <p:cNvSpPr/>
            <p:nvPr/>
          </p:nvSpPr>
          <p:spPr>
            <a:xfrm>
              <a:off x="1396458" y="370764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Runtime</a:t>
              </a:r>
            </a:p>
          </p:txBody>
        </p:sp>
        <p:sp>
          <p:nvSpPr>
            <p:cNvPr id="127" name="TextBox 52"/>
            <p:cNvSpPr txBox="1"/>
            <p:nvPr/>
          </p:nvSpPr>
          <p:spPr>
            <a:xfrm>
              <a:off x="855665" y="3333018"/>
              <a:ext cx="400167" cy="204617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000000">
                      <a:alpha val="99000"/>
                    </a:srgbClr>
                  </a:solidFill>
                  <a:latin typeface="Segoe UI"/>
                  <a:ea typeface="Kozuka Gothic Pro R" pitchFamily="34" charset="-128"/>
                </a:rPr>
                <a:t>You Provision &amp; Manage</a:t>
              </a:r>
            </a:p>
          </p:txBody>
        </p:sp>
      </p:grpSp>
      <p:sp>
        <p:nvSpPr>
          <p:cNvPr id="138" name="Rectangle 137"/>
          <p:cNvSpPr/>
          <p:nvPr/>
        </p:nvSpPr>
        <p:spPr>
          <a:xfrm>
            <a:off x="4382135" y="1511930"/>
            <a:ext cx="2108206" cy="639989"/>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595959">
                    <a:alpha val="99000"/>
                  </a:srgbClr>
                </a:solidFill>
                <a:latin typeface="Segoe UI"/>
                <a:ea typeface="Kozuka Gothic Pro R" pitchFamily="34" charset="-128"/>
              </a:rPr>
              <a:t>Infrastructure</a:t>
            </a:r>
          </a:p>
          <a:p>
            <a:pPr defTabSz="1218702">
              <a:defRPr/>
            </a:pPr>
            <a:r>
              <a:rPr lang="en-US" sz="1600" dirty="0">
                <a:solidFill>
                  <a:srgbClr val="595959">
                    <a:alpha val="99000"/>
                  </a:srgbClr>
                </a:solidFill>
                <a:latin typeface="Segoe UI"/>
                <a:ea typeface="Kozuka Gothic Pro R" pitchFamily="34" charset="-128"/>
              </a:rPr>
              <a:t>( as a Service )</a:t>
            </a:r>
          </a:p>
        </p:txBody>
      </p:sp>
      <p:grpSp>
        <p:nvGrpSpPr>
          <p:cNvPr id="5" name="Group 4"/>
          <p:cNvGrpSpPr/>
          <p:nvPr/>
        </p:nvGrpSpPr>
        <p:grpSpPr>
          <a:xfrm>
            <a:off x="4412275" y="2460892"/>
            <a:ext cx="1644912" cy="3575292"/>
            <a:chOff x="4410447" y="2460753"/>
            <a:chExt cx="1645145" cy="3575799"/>
          </a:xfrm>
        </p:grpSpPr>
        <p:sp>
          <p:nvSpPr>
            <p:cNvPr id="144" name="Rectangle 143"/>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Networking</a:t>
              </a:r>
            </a:p>
          </p:txBody>
        </p:sp>
        <p:sp>
          <p:nvSpPr>
            <p:cNvPr id="145" name="Rectangle 144"/>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Compute</a:t>
              </a:r>
            </a:p>
          </p:txBody>
        </p:sp>
        <p:sp>
          <p:nvSpPr>
            <p:cNvPr id="146" name="Rectangle 145"/>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Storage</a:t>
              </a:r>
            </a:p>
          </p:txBody>
        </p:sp>
        <p:sp>
          <p:nvSpPr>
            <p:cNvPr id="147" name="Rectangle 146"/>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Virtual Machine</a:t>
              </a:r>
            </a:p>
          </p:txBody>
        </p:sp>
        <p:sp>
          <p:nvSpPr>
            <p:cNvPr id="148" name="Rectangle 147"/>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Operating System</a:t>
              </a:r>
            </a:p>
          </p:txBody>
        </p:sp>
        <p:sp>
          <p:nvSpPr>
            <p:cNvPr id="150" name="Rectangle 149"/>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Applications</a:t>
              </a:r>
            </a:p>
          </p:txBody>
        </p:sp>
        <p:sp>
          <p:nvSpPr>
            <p:cNvPr id="151" name="Rectangle 150"/>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Data &amp; Access</a:t>
              </a:r>
            </a:p>
          </p:txBody>
        </p:sp>
        <p:sp>
          <p:nvSpPr>
            <p:cNvPr id="152" name="Rectangle 151"/>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Runtime</a:t>
              </a:r>
            </a:p>
          </p:txBody>
        </p:sp>
      </p:grpSp>
      <p:sp>
        <p:nvSpPr>
          <p:cNvPr id="140" name="Left Brace 139"/>
          <p:cNvSpPr/>
          <p:nvPr/>
        </p:nvSpPr>
        <p:spPr>
          <a:xfrm flipH="1">
            <a:off x="6059512" y="4724640"/>
            <a:ext cx="228568" cy="132513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246122" y="4446791"/>
            <a:ext cx="615553" cy="170649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Physical Fabric</a:t>
            </a:r>
            <a:br>
              <a:rPr lang="en-US" sz="1400" dirty="0">
                <a:solidFill>
                  <a:srgbClr val="595959">
                    <a:alpha val="99000"/>
                  </a:srgbClr>
                </a:solidFill>
                <a:latin typeface="Segoe UI"/>
                <a:ea typeface="Kozuka Gothic Pro R" pitchFamily="34" charset="-128"/>
              </a:rPr>
            </a:br>
            <a:r>
              <a:rPr lang="en-US" sz="1400" dirty="0">
                <a:solidFill>
                  <a:srgbClr val="595959">
                    <a:alpha val="99000"/>
                  </a:srgbClr>
                </a:solidFill>
                <a:latin typeface="Segoe UI"/>
                <a:ea typeface="Kozuka Gothic Pro R" pitchFamily="34" charset="-128"/>
              </a:rPr>
              <a:t>Managed by Vendor</a:t>
            </a:r>
          </a:p>
        </p:txBody>
      </p:sp>
      <p:sp>
        <p:nvSpPr>
          <p:cNvPr id="142" name="Left Brace 141"/>
          <p:cNvSpPr/>
          <p:nvPr/>
        </p:nvSpPr>
        <p:spPr>
          <a:xfrm>
            <a:off x="4210835" y="2447445"/>
            <a:ext cx="179408" cy="219996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143" name="TextBox 58"/>
          <p:cNvSpPr txBox="1"/>
          <p:nvPr/>
        </p:nvSpPr>
        <p:spPr>
          <a:xfrm>
            <a:off x="3798624" y="2520274"/>
            <a:ext cx="400110" cy="204588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You Provision &amp; Manage</a:t>
            </a:r>
          </a:p>
        </p:txBody>
      </p:sp>
      <p:sp>
        <p:nvSpPr>
          <p:cNvPr id="154" name="Rectangle 153"/>
          <p:cNvSpPr/>
          <p:nvPr/>
        </p:nvSpPr>
        <p:spPr>
          <a:xfrm>
            <a:off x="6889518" y="1501884"/>
            <a:ext cx="2000027" cy="639989"/>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595959">
                    <a:alpha val="99000"/>
                  </a:srgbClr>
                </a:solidFill>
                <a:latin typeface="Segoe UI"/>
                <a:ea typeface="Kozuka Gothic Pro R" pitchFamily="34" charset="-128"/>
              </a:rPr>
              <a:t>Platform</a:t>
            </a:r>
          </a:p>
          <a:p>
            <a:pPr defTabSz="1218702">
              <a:defRPr/>
            </a:pPr>
            <a:r>
              <a:rPr lang="en-US" sz="1600" dirty="0">
                <a:solidFill>
                  <a:srgbClr val="595959">
                    <a:alpha val="99000"/>
                  </a:srgbClr>
                </a:solidFill>
                <a:latin typeface="Segoe UI"/>
                <a:ea typeface="Kozuka Gothic Pro R" pitchFamily="34" charset="-128"/>
              </a:rPr>
              <a:t>( as a Service )</a:t>
            </a:r>
          </a:p>
        </p:txBody>
      </p:sp>
      <p:sp>
        <p:nvSpPr>
          <p:cNvPr id="155" name="Left Brace 154"/>
          <p:cNvSpPr/>
          <p:nvPr/>
        </p:nvSpPr>
        <p:spPr>
          <a:xfrm flipH="1">
            <a:off x="8615275" y="3370397"/>
            <a:ext cx="182503" cy="2665783"/>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769188" y="3238025"/>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Provisioned &amp; Managed by Vendor</a:t>
            </a:r>
          </a:p>
        </p:txBody>
      </p:sp>
      <p:sp>
        <p:nvSpPr>
          <p:cNvPr id="157" name="Left Brace 156"/>
          <p:cNvSpPr/>
          <p:nvPr/>
        </p:nvSpPr>
        <p:spPr>
          <a:xfrm>
            <a:off x="6806202" y="2441843"/>
            <a:ext cx="152378" cy="84760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158" name="TextBox 60"/>
          <p:cNvSpPr txBox="1"/>
          <p:nvPr/>
        </p:nvSpPr>
        <p:spPr>
          <a:xfrm>
            <a:off x="6463261" y="2323266"/>
            <a:ext cx="400110" cy="107843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You Manage</a:t>
            </a:r>
          </a:p>
        </p:txBody>
      </p:sp>
      <p:grpSp>
        <p:nvGrpSpPr>
          <p:cNvPr id="9" name="Group 8"/>
          <p:cNvGrpSpPr/>
          <p:nvPr/>
        </p:nvGrpSpPr>
        <p:grpSpPr>
          <a:xfrm>
            <a:off x="6968007" y="2460891"/>
            <a:ext cx="1638008" cy="3575292"/>
            <a:chOff x="6966542" y="2460752"/>
            <a:chExt cx="1638240" cy="3575799"/>
          </a:xfrm>
        </p:grpSpPr>
        <p:sp>
          <p:nvSpPr>
            <p:cNvPr id="160" name="Rectangle 159"/>
            <p:cNvSpPr/>
            <p:nvPr/>
          </p:nvSpPr>
          <p:spPr>
            <a:xfrm>
              <a:off x="6966542" y="520073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Networking</a:t>
              </a:r>
            </a:p>
          </p:txBody>
        </p:sp>
        <p:sp>
          <p:nvSpPr>
            <p:cNvPr id="161" name="Rectangle 160"/>
            <p:cNvSpPr/>
            <p:nvPr/>
          </p:nvSpPr>
          <p:spPr>
            <a:xfrm>
              <a:off x="6966542" y="474591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Compute</a:t>
              </a:r>
            </a:p>
          </p:txBody>
        </p:sp>
        <p:sp>
          <p:nvSpPr>
            <p:cNvPr id="162" name="Rectangle 161"/>
            <p:cNvSpPr/>
            <p:nvPr/>
          </p:nvSpPr>
          <p:spPr>
            <a:xfrm>
              <a:off x="6966542" y="565555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Storage</a:t>
              </a:r>
            </a:p>
          </p:txBody>
        </p:sp>
        <p:sp>
          <p:nvSpPr>
            <p:cNvPr id="163" name="Rectangle 162"/>
            <p:cNvSpPr/>
            <p:nvPr/>
          </p:nvSpPr>
          <p:spPr>
            <a:xfrm>
              <a:off x="6966542" y="428002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Virtual Machine</a:t>
              </a:r>
            </a:p>
          </p:txBody>
        </p:sp>
        <p:sp>
          <p:nvSpPr>
            <p:cNvPr id="164" name="Rectangle 163"/>
            <p:cNvSpPr/>
            <p:nvPr/>
          </p:nvSpPr>
          <p:spPr>
            <a:xfrm>
              <a:off x="6966542" y="382520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Operating System</a:t>
              </a:r>
            </a:p>
          </p:txBody>
        </p:sp>
        <p:sp>
          <p:nvSpPr>
            <p:cNvPr id="166" name="Rectangle 165"/>
            <p:cNvSpPr/>
            <p:nvPr/>
          </p:nvSpPr>
          <p:spPr>
            <a:xfrm>
              <a:off x="6966542" y="2460752"/>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Data &amp; Access</a:t>
              </a:r>
            </a:p>
          </p:txBody>
        </p:sp>
        <p:sp>
          <p:nvSpPr>
            <p:cNvPr id="167" name="Rectangle 166"/>
            <p:cNvSpPr/>
            <p:nvPr/>
          </p:nvSpPr>
          <p:spPr>
            <a:xfrm>
              <a:off x="6966542" y="33703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Runtime</a:t>
              </a:r>
            </a:p>
          </p:txBody>
        </p:sp>
        <p:sp>
          <p:nvSpPr>
            <p:cNvPr id="168" name="Rectangle 167"/>
            <p:cNvSpPr/>
            <p:nvPr/>
          </p:nvSpPr>
          <p:spPr>
            <a:xfrm>
              <a:off x="6966542" y="2915571"/>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Applications</a:t>
              </a:r>
            </a:p>
          </p:txBody>
        </p:sp>
      </p:grpSp>
      <p:sp>
        <p:nvSpPr>
          <p:cNvPr id="170" name="Rectangle 169"/>
          <p:cNvSpPr/>
          <p:nvPr/>
        </p:nvSpPr>
        <p:spPr>
          <a:xfrm>
            <a:off x="9464247" y="1501884"/>
            <a:ext cx="2027969" cy="639989"/>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595959">
                    <a:alpha val="99000"/>
                  </a:srgbClr>
                </a:solidFill>
                <a:latin typeface="Segoe UI"/>
                <a:ea typeface="Kozuka Gothic Pro R" pitchFamily="34" charset="-128"/>
              </a:rPr>
              <a:t>Software</a:t>
            </a:r>
          </a:p>
          <a:p>
            <a:pPr defTabSz="1218702">
              <a:defRPr/>
            </a:pPr>
            <a:r>
              <a:rPr lang="en-US" sz="1600" dirty="0">
                <a:solidFill>
                  <a:srgbClr val="595959">
                    <a:alpha val="99000"/>
                  </a:srgbClr>
                </a:solidFill>
                <a:latin typeface="Segoe UI"/>
                <a:ea typeface="Kozuka Gothic Pro R" pitchFamily="34" charset="-128"/>
              </a:rPr>
              <a:t>( as a Service )</a:t>
            </a:r>
          </a:p>
        </p:txBody>
      </p:sp>
      <p:sp>
        <p:nvSpPr>
          <p:cNvPr id="172" name="TextBox 64"/>
          <p:cNvSpPr txBox="1"/>
          <p:nvPr/>
        </p:nvSpPr>
        <p:spPr>
          <a:xfrm flipH="1">
            <a:off x="11386903" y="3008197"/>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Provisioned &amp; Managed by Vendor</a:t>
            </a:r>
          </a:p>
        </p:txBody>
      </p:sp>
      <p:grpSp>
        <p:nvGrpSpPr>
          <p:cNvPr id="11" name="Group 10"/>
          <p:cNvGrpSpPr/>
          <p:nvPr/>
        </p:nvGrpSpPr>
        <p:grpSpPr>
          <a:xfrm>
            <a:off x="9524212" y="2460888"/>
            <a:ext cx="1638008" cy="3575292"/>
            <a:chOff x="9523110" y="2460749"/>
            <a:chExt cx="1638240" cy="3575799"/>
          </a:xfrm>
        </p:grpSpPr>
        <p:sp>
          <p:nvSpPr>
            <p:cNvPr id="174" name="Rectangle 173"/>
            <p:cNvSpPr/>
            <p:nvPr/>
          </p:nvSpPr>
          <p:spPr>
            <a:xfrm>
              <a:off x="9523110" y="520073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Networking</a:t>
              </a:r>
            </a:p>
          </p:txBody>
        </p:sp>
        <p:sp>
          <p:nvSpPr>
            <p:cNvPr id="175" name="Rectangle 174"/>
            <p:cNvSpPr/>
            <p:nvPr/>
          </p:nvSpPr>
          <p:spPr>
            <a:xfrm>
              <a:off x="9523110" y="474591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Compute</a:t>
              </a:r>
            </a:p>
          </p:txBody>
        </p:sp>
        <p:sp>
          <p:nvSpPr>
            <p:cNvPr id="177" name="Rectangle 176"/>
            <p:cNvSpPr/>
            <p:nvPr/>
          </p:nvSpPr>
          <p:spPr>
            <a:xfrm>
              <a:off x="9523110" y="428002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Virtual Machine</a:t>
              </a:r>
            </a:p>
          </p:txBody>
        </p:sp>
        <p:sp>
          <p:nvSpPr>
            <p:cNvPr id="178" name="Rectangle 177"/>
            <p:cNvSpPr/>
            <p:nvPr/>
          </p:nvSpPr>
          <p:spPr>
            <a:xfrm>
              <a:off x="9523110" y="3825206"/>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Operating System</a:t>
              </a:r>
            </a:p>
          </p:txBody>
        </p:sp>
        <p:sp>
          <p:nvSpPr>
            <p:cNvPr id="180" name="Rectangle 179"/>
            <p:cNvSpPr/>
            <p:nvPr/>
          </p:nvSpPr>
          <p:spPr>
            <a:xfrm>
              <a:off x="9523110" y="2460749"/>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Data &amp; Access</a:t>
              </a:r>
            </a:p>
          </p:txBody>
        </p:sp>
        <p:sp>
          <p:nvSpPr>
            <p:cNvPr id="181" name="Rectangle 180"/>
            <p:cNvSpPr/>
            <p:nvPr/>
          </p:nvSpPr>
          <p:spPr>
            <a:xfrm>
              <a:off x="9523110" y="33703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Runtime</a:t>
              </a:r>
            </a:p>
          </p:txBody>
        </p:sp>
        <p:sp>
          <p:nvSpPr>
            <p:cNvPr id="182" name="Rectangle 181"/>
            <p:cNvSpPr/>
            <p:nvPr/>
          </p:nvSpPr>
          <p:spPr>
            <a:xfrm>
              <a:off x="9523110" y="29155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Applications</a:t>
              </a:r>
            </a:p>
          </p:txBody>
        </p:sp>
        <p:sp>
          <p:nvSpPr>
            <p:cNvPr id="176" name="Rectangle 175"/>
            <p:cNvSpPr/>
            <p:nvPr/>
          </p:nvSpPr>
          <p:spPr>
            <a:xfrm>
              <a:off x="9523110" y="565554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Storage</a:t>
              </a:r>
            </a:p>
          </p:txBody>
        </p:sp>
      </p:grpSp>
      <p:sp>
        <p:nvSpPr>
          <p:cNvPr id="64" name="Left Brace 63"/>
          <p:cNvSpPr/>
          <p:nvPr/>
        </p:nvSpPr>
        <p:spPr>
          <a:xfrm flipH="1">
            <a:off x="11180741" y="2861184"/>
            <a:ext cx="206217" cy="321325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67" name="Rectangle 66"/>
          <p:cNvSpPr/>
          <p:nvPr/>
        </p:nvSpPr>
        <p:spPr bwMode="auto">
          <a:xfrm flipH="1">
            <a:off x="253626" y="1244773"/>
            <a:ext cx="2955077" cy="5139135"/>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endParaRPr lang="en-US" sz="2200" kern="0" dirty="0">
              <a:gradFill>
                <a:gsLst>
                  <a:gs pos="0">
                    <a:srgbClr val="FFFFFF"/>
                  </a:gs>
                  <a:gs pos="100000">
                    <a:srgbClr val="FFFFFF"/>
                  </a:gs>
                </a:gsLst>
                <a:lin ang="5400000" scaled="0"/>
              </a:gradFill>
              <a:latin typeface="Segoe UI"/>
            </a:endParaRPr>
          </a:p>
        </p:txBody>
      </p:sp>
      <p:sp>
        <p:nvSpPr>
          <p:cNvPr id="69" name="TextBox 58"/>
          <p:cNvSpPr txBox="1"/>
          <p:nvPr/>
        </p:nvSpPr>
        <p:spPr>
          <a:xfrm>
            <a:off x="3661637" y="4690535"/>
            <a:ext cx="615553" cy="125367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You Provision</a:t>
            </a:r>
            <a:br>
              <a:rPr lang="en-US" sz="1400" dirty="0">
                <a:solidFill>
                  <a:srgbClr val="595959">
                    <a:alpha val="99000"/>
                  </a:srgbClr>
                </a:solidFill>
                <a:latin typeface="Segoe UI"/>
                <a:ea typeface="Kozuka Gothic Pro R" pitchFamily="34" charset="-128"/>
              </a:rPr>
            </a:br>
            <a:r>
              <a:rPr lang="en-US" sz="1400" dirty="0">
                <a:solidFill>
                  <a:srgbClr val="595959">
                    <a:alpha val="99000"/>
                  </a:srgbClr>
                </a:solidFill>
                <a:latin typeface="Segoe UI"/>
                <a:ea typeface="Kozuka Gothic Pro R" pitchFamily="34" charset="-128"/>
              </a:rPr>
              <a:t>Cloud Services</a:t>
            </a:r>
          </a:p>
        </p:txBody>
      </p:sp>
      <p:sp>
        <p:nvSpPr>
          <p:cNvPr id="8" name="Left Bracket 7"/>
          <p:cNvSpPr/>
          <p:nvPr/>
        </p:nvSpPr>
        <p:spPr>
          <a:xfrm>
            <a:off x="4286333" y="4724640"/>
            <a:ext cx="95801" cy="1333455"/>
          </a:xfrm>
          <a:prstGeom prst="leftBracket">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836" kern="0">
              <a:solidFill>
                <a:srgbClr val="505050"/>
              </a:solidFill>
              <a:latin typeface="Segoe UI"/>
            </a:endParaRPr>
          </a:p>
        </p:txBody>
      </p:sp>
      <p:cxnSp>
        <p:nvCxnSpPr>
          <p:cNvPr id="10" name="Straight Connector 9"/>
          <p:cNvCxnSpPr/>
          <p:nvPr/>
        </p:nvCxnSpPr>
        <p:spPr>
          <a:xfrm>
            <a:off x="4187972" y="5364260"/>
            <a:ext cx="107664"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 name="Left Brace 78"/>
          <p:cNvSpPr/>
          <p:nvPr/>
        </p:nvSpPr>
        <p:spPr>
          <a:xfrm>
            <a:off x="9321434" y="2413228"/>
            <a:ext cx="184256" cy="47380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80" name="TextBox 60"/>
          <p:cNvSpPr txBox="1"/>
          <p:nvPr/>
        </p:nvSpPr>
        <p:spPr>
          <a:xfrm>
            <a:off x="8969271" y="2099189"/>
            <a:ext cx="400110" cy="107843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You Manage</a:t>
            </a:r>
          </a:p>
        </p:txBody>
      </p:sp>
      <p:sp>
        <p:nvSpPr>
          <p:cNvPr id="76" name="Rectangle 75"/>
          <p:cNvSpPr/>
          <p:nvPr/>
        </p:nvSpPr>
        <p:spPr bwMode="auto">
          <a:xfrm>
            <a:off x="4382134" y="6383907"/>
            <a:ext cx="1668149" cy="4810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r>
              <a:rPr lang="en-US" sz="1836" kern="0" dirty="0">
                <a:gradFill>
                  <a:gsLst>
                    <a:gs pos="0">
                      <a:srgbClr val="FFFFFF"/>
                    </a:gs>
                    <a:gs pos="100000">
                      <a:srgbClr val="FFFFFF"/>
                    </a:gs>
                  </a:gsLst>
                  <a:lin ang="5400000" scaled="0"/>
                </a:gradFill>
                <a:latin typeface="Segoe UI"/>
              </a:rPr>
              <a:t>Host</a:t>
            </a:r>
          </a:p>
        </p:txBody>
      </p:sp>
      <p:sp>
        <p:nvSpPr>
          <p:cNvPr id="77" name="Rectangle 76"/>
          <p:cNvSpPr/>
          <p:nvPr/>
        </p:nvSpPr>
        <p:spPr bwMode="auto">
          <a:xfrm>
            <a:off x="6937865" y="6400513"/>
            <a:ext cx="1668149" cy="4810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r>
              <a:rPr lang="en-US" sz="1836" kern="0" dirty="0">
                <a:gradFill>
                  <a:gsLst>
                    <a:gs pos="0">
                      <a:srgbClr val="FFFFFF"/>
                    </a:gs>
                    <a:gs pos="100000">
                      <a:srgbClr val="FFFFFF"/>
                    </a:gs>
                  </a:gsLst>
                  <a:lin ang="5400000" scaled="0"/>
                </a:gradFill>
                <a:latin typeface="Segoe UI"/>
              </a:rPr>
              <a:t>Develop</a:t>
            </a:r>
          </a:p>
        </p:txBody>
      </p:sp>
      <p:sp>
        <p:nvSpPr>
          <p:cNvPr id="78" name="Rectangle 77"/>
          <p:cNvSpPr/>
          <p:nvPr/>
        </p:nvSpPr>
        <p:spPr bwMode="auto">
          <a:xfrm>
            <a:off x="9493597" y="6383907"/>
            <a:ext cx="1668149" cy="4810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r>
              <a:rPr lang="en-US" sz="1836" kern="0" dirty="0">
                <a:gradFill>
                  <a:gsLst>
                    <a:gs pos="0">
                      <a:srgbClr val="FFFFFF"/>
                    </a:gs>
                    <a:gs pos="100000">
                      <a:srgbClr val="FFFFFF"/>
                    </a:gs>
                  </a:gsLst>
                  <a:lin ang="5400000" scaled="0"/>
                </a:gradFill>
                <a:latin typeface="Segoe UI"/>
              </a:rPr>
              <a:t>Consume</a:t>
            </a:r>
          </a:p>
        </p:txBody>
      </p:sp>
    </p:spTree>
    <p:extLst>
      <p:ext uri="{BB962C8B-B14F-4D97-AF65-F5344CB8AC3E}">
        <p14:creationId xmlns:p14="http://schemas.microsoft.com/office/powerpoint/2010/main" val="25870377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wipe(down)">
                                      <p:cBhvr>
                                        <p:cTn id="10" dur="500"/>
                                        <p:tgtEl>
                                          <p:spTgt spid="140"/>
                                        </p:tgtEl>
                                      </p:cBhvr>
                                    </p:animEffect>
                                  </p:childTnLst>
                                </p:cTn>
                              </p:par>
                              <p:par>
                                <p:cTn id="11" presetID="22" presetClass="entr" presetSubtype="4"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down)">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wipe(down)">
                                      <p:cBhvr>
                                        <p:cTn id="18" dur="500"/>
                                        <p:tgtEl>
                                          <p:spTgt spid="69"/>
                                        </p:tgtEl>
                                      </p:cBhvr>
                                    </p:animEffect>
                                  </p:childTnLst>
                                </p:cTn>
                              </p:par>
                              <p:par>
                                <p:cTn id="19" presetID="16" presetClass="entr" presetSubtype="21"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barn(inVertical)">
                                      <p:cBhvr>
                                        <p:cTn id="21" dur="500"/>
                                        <p:tgtEl>
                                          <p:spTgt spid="10"/>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wipe(down)">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142"/>
                                        </p:tgtEl>
                                        <p:attrNameLst>
                                          <p:attrName>style.visibility</p:attrName>
                                        </p:attrNameLst>
                                      </p:cBhvr>
                                      <p:to>
                                        <p:strVal val="visible"/>
                                      </p:to>
                                    </p:set>
                                    <p:animEffect transition="in" filter="wipe(down)">
                                      <p:cBhvr>
                                        <p:cTn id="29" dur="500"/>
                                        <p:tgtEl>
                                          <p:spTgt spid="142"/>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143"/>
                                        </p:tgtEl>
                                        <p:attrNameLst>
                                          <p:attrName>style.visibility</p:attrName>
                                        </p:attrNameLst>
                                      </p:cBhvr>
                                      <p:to>
                                        <p:strVal val="visible"/>
                                      </p:to>
                                    </p:set>
                                    <p:animEffect transition="in" filter="wipe(down)">
                                      <p:cBhvr>
                                        <p:cTn id="32" dur="500"/>
                                        <p:tgtEl>
                                          <p:spTgt spid="143"/>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156"/>
                                        </p:tgtEl>
                                        <p:attrNameLst>
                                          <p:attrName>style.visibility</p:attrName>
                                        </p:attrNameLst>
                                      </p:cBhvr>
                                      <p:to>
                                        <p:strVal val="visible"/>
                                      </p:to>
                                    </p:set>
                                    <p:animEffect transition="in" filter="wipe(down)">
                                      <p:cBhvr>
                                        <p:cTn id="37" dur="500"/>
                                        <p:tgtEl>
                                          <p:spTgt spid="156"/>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wipe(down)">
                                      <p:cBhvr>
                                        <p:cTn id="40" dur="500"/>
                                        <p:tgtEl>
                                          <p:spTgt spid="155"/>
                                        </p:tgtEl>
                                      </p:cBhvr>
                                    </p:animEffect>
                                  </p:childTnLst>
                                </p:cTn>
                              </p:par>
                              <p:par>
                                <p:cTn id="41" presetID="22" presetClass="entr" presetSubtype="4"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down)">
                                      <p:cBhvr>
                                        <p:cTn id="43" dur="500"/>
                                        <p:tgtEl>
                                          <p:spTgt spid="9"/>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grpId="0" nodeType="clickEffect">
                                  <p:stCondLst>
                                    <p:cond delay="0"/>
                                  </p:stCondLst>
                                  <p:childTnLst>
                                    <p:set>
                                      <p:cBhvr>
                                        <p:cTn id="47" dur="1" fill="hold">
                                          <p:stCondLst>
                                            <p:cond delay="0"/>
                                          </p:stCondLst>
                                        </p:cTn>
                                        <p:tgtEl>
                                          <p:spTgt spid="157"/>
                                        </p:tgtEl>
                                        <p:attrNameLst>
                                          <p:attrName>style.visibility</p:attrName>
                                        </p:attrNameLst>
                                      </p:cBhvr>
                                      <p:to>
                                        <p:strVal val="visible"/>
                                      </p:to>
                                    </p:set>
                                    <p:animEffect transition="in" filter="wipe(down)">
                                      <p:cBhvr>
                                        <p:cTn id="48" dur="500"/>
                                        <p:tgtEl>
                                          <p:spTgt spid="157"/>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158"/>
                                        </p:tgtEl>
                                        <p:attrNameLst>
                                          <p:attrName>style.visibility</p:attrName>
                                        </p:attrNameLst>
                                      </p:cBhvr>
                                      <p:to>
                                        <p:strVal val="visible"/>
                                      </p:to>
                                    </p:set>
                                    <p:animEffect transition="in" filter="wipe(down)">
                                      <p:cBhvr>
                                        <p:cTn id="51" dur="500"/>
                                        <p:tgtEl>
                                          <p:spTgt spid="158"/>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172"/>
                                        </p:tgtEl>
                                        <p:attrNameLst>
                                          <p:attrName>style.visibility</p:attrName>
                                        </p:attrNameLst>
                                      </p:cBhvr>
                                      <p:to>
                                        <p:strVal val="visible"/>
                                      </p:to>
                                    </p:set>
                                    <p:animEffect transition="in" filter="wipe(down)">
                                      <p:cBhvr>
                                        <p:cTn id="56" dur="500"/>
                                        <p:tgtEl>
                                          <p:spTgt spid="172"/>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animEffect transition="in" filter="wipe(down)">
                                      <p:cBhvr>
                                        <p:cTn id="59" dur="500"/>
                                        <p:tgtEl>
                                          <p:spTgt spid="64"/>
                                        </p:tgtEl>
                                      </p:cBhvr>
                                    </p:animEffect>
                                  </p:childTnLst>
                                </p:cTn>
                              </p:par>
                              <p:par>
                                <p:cTn id="60" presetID="22" presetClass="entr" presetSubtype="4" fill="hold" nodeType="with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wipe(down)">
                                      <p:cBhvr>
                                        <p:cTn id="62" dur="500"/>
                                        <p:tgtEl>
                                          <p:spTgt spid="1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79"/>
                                        </p:tgtEl>
                                        <p:attrNameLst>
                                          <p:attrName>style.visibility</p:attrName>
                                        </p:attrNameLst>
                                      </p:cBhvr>
                                      <p:to>
                                        <p:strVal val="visible"/>
                                      </p:to>
                                    </p:set>
                                    <p:animEffect transition="in" filter="wipe(down)">
                                      <p:cBhvr>
                                        <p:cTn id="67" dur="500"/>
                                        <p:tgtEl>
                                          <p:spTgt spid="79"/>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80"/>
                                        </p:tgtEl>
                                        <p:attrNameLst>
                                          <p:attrName>style.visibility</p:attrName>
                                        </p:attrNameLst>
                                      </p:cBhvr>
                                      <p:to>
                                        <p:strVal val="visible"/>
                                      </p:to>
                                    </p:set>
                                    <p:animEffect transition="in" filter="wipe(down)">
                                      <p:cBhvr>
                                        <p:cTn id="70"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p:bldP spid="142" grpId="0" animBg="1"/>
      <p:bldP spid="143" grpId="0"/>
      <p:bldP spid="155" grpId="0" animBg="1"/>
      <p:bldP spid="156" grpId="0"/>
      <p:bldP spid="157" grpId="0" animBg="1"/>
      <p:bldP spid="158" grpId="0"/>
      <p:bldP spid="172" grpId="0"/>
      <p:bldP spid="64" grpId="0" animBg="1"/>
      <p:bldP spid="69" grpId="0"/>
      <p:bldP spid="8" grpId="0" animBg="1"/>
      <p:bldP spid="79" grpId="0" animBg="1"/>
      <p:bldP spid="8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IaaS – beyond traditional virtualization</a:t>
            </a:r>
          </a:p>
        </p:txBody>
      </p:sp>
      <p:grpSp>
        <p:nvGrpSpPr>
          <p:cNvPr id="90" name="Group 89">
            <a:extLst>
              <a:ext uri="{FF2B5EF4-FFF2-40B4-BE49-F238E27FC236}">
                <a16:creationId xmlns:a16="http://schemas.microsoft.com/office/drawing/2014/main" id="{710A1021-D14A-43D2-89DE-6086609C92FF}"/>
              </a:ext>
            </a:extLst>
          </p:cNvPr>
          <p:cNvGrpSpPr/>
          <p:nvPr/>
        </p:nvGrpSpPr>
        <p:grpSpPr>
          <a:xfrm>
            <a:off x="9677740" y="1739963"/>
            <a:ext cx="2290766" cy="4003439"/>
            <a:chOff x="9678247" y="1655441"/>
            <a:chExt cx="2291091" cy="4004007"/>
          </a:xfrm>
          <a:solidFill>
            <a:srgbClr val="0078D7"/>
          </a:solidFill>
        </p:grpSpPr>
        <p:sp>
          <p:nvSpPr>
            <p:cNvPr id="91" name="Rectangle 90">
              <a:extLst>
                <a:ext uri="{FF2B5EF4-FFF2-40B4-BE49-F238E27FC236}">
                  <a16:creationId xmlns:a16="http://schemas.microsoft.com/office/drawing/2014/main" id="{081AA9E9-3395-4EFC-AE72-4EF0AA0BC7A6}"/>
                </a:ext>
              </a:extLst>
            </p:cNvPr>
            <p:cNvSpPr/>
            <p:nvPr/>
          </p:nvSpPr>
          <p:spPr bwMode="auto">
            <a:xfrm>
              <a:off x="9678247" y="1655441"/>
              <a:ext cx="2291091" cy="4004007"/>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Key Vault</a:t>
              </a:r>
            </a:p>
          </p:txBody>
        </p:sp>
        <p:grpSp>
          <p:nvGrpSpPr>
            <p:cNvPr id="92" name="Group 8">
              <a:extLst>
                <a:ext uri="{FF2B5EF4-FFF2-40B4-BE49-F238E27FC236}">
                  <a16:creationId xmlns:a16="http://schemas.microsoft.com/office/drawing/2014/main" id="{6D9117BC-CFE0-4C2D-9D5B-EF39E584704E}"/>
                </a:ext>
              </a:extLst>
            </p:cNvPr>
            <p:cNvGrpSpPr>
              <a:grpSpLocks noChangeAspect="1"/>
            </p:cNvGrpSpPr>
            <p:nvPr/>
          </p:nvGrpSpPr>
          <p:grpSpPr bwMode="auto">
            <a:xfrm>
              <a:off x="10484290" y="1858770"/>
              <a:ext cx="679010" cy="935126"/>
              <a:chOff x="5359" y="-672"/>
              <a:chExt cx="228" cy="314"/>
            </a:xfrm>
            <a:grpFill/>
          </p:grpSpPr>
          <p:sp>
            <p:nvSpPr>
              <p:cNvPr id="93" name="Freeform 9">
                <a:extLst>
                  <a:ext uri="{FF2B5EF4-FFF2-40B4-BE49-F238E27FC236}">
                    <a16:creationId xmlns:a16="http://schemas.microsoft.com/office/drawing/2014/main" id="{4E0B2FF6-41B2-4216-AF53-677D9646543E}"/>
                  </a:ext>
                </a:extLst>
              </p:cNvPr>
              <p:cNvSpPr>
                <a:spLocks/>
              </p:cNvSpPr>
              <p:nvPr/>
            </p:nvSpPr>
            <p:spPr bwMode="auto">
              <a:xfrm>
                <a:off x="5359" y="-578"/>
                <a:ext cx="228" cy="220"/>
              </a:xfrm>
              <a:custGeom>
                <a:avLst/>
                <a:gdLst>
                  <a:gd name="T0" fmla="*/ 69 w 104"/>
                  <a:gd name="T1" fmla="*/ 0 h 101"/>
                  <a:gd name="T2" fmla="*/ 66 w 104"/>
                  <a:gd name="T3" fmla="*/ 8 h 101"/>
                  <a:gd name="T4" fmla="*/ 96 w 104"/>
                  <a:gd name="T5" fmla="*/ 49 h 101"/>
                  <a:gd name="T6" fmla="*/ 52 w 104"/>
                  <a:gd name="T7" fmla="*/ 93 h 101"/>
                  <a:gd name="T8" fmla="*/ 8 w 104"/>
                  <a:gd name="T9" fmla="*/ 49 h 101"/>
                  <a:gd name="T10" fmla="*/ 37 w 104"/>
                  <a:gd name="T11" fmla="*/ 8 h 101"/>
                  <a:gd name="T12" fmla="*/ 34 w 104"/>
                  <a:gd name="T13" fmla="*/ 0 h 101"/>
                  <a:gd name="T14" fmla="*/ 0 w 104"/>
                  <a:gd name="T15" fmla="*/ 49 h 101"/>
                  <a:gd name="T16" fmla="*/ 52 w 104"/>
                  <a:gd name="T17" fmla="*/ 101 h 101"/>
                  <a:gd name="T18" fmla="*/ 104 w 104"/>
                  <a:gd name="T19" fmla="*/ 49 h 101"/>
                  <a:gd name="T20" fmla="*/ 69 w 104"/>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01">
                    <a:moveTo>
                      <a:pt x="69" y="0"/>
                    </a:moveTo>
                    <a:cubicBezTo>
                      <a:pt x="66" y="8"/>
                      <a:pt x="66" y="8"/>
                      <a:pt x="66" y="8"/>
                    </a:cubicBezTo>
                    <a:cubicBezTo>
                      <a:pt x="84" y="14"/>
                      <a:pt x="96" y="30"/>
                      <a:pt x="96" y="49"/>
                    </a:cubicBezTo>
                    <a:cubicBezTo>
                      <a:pt x="96" y="73"/>
                      <a:pt x="76" y="93"/>
                      <a:pt x="52" y="93"/>
                    </a:cubicBezTo>
                    <a:cubicBezTo>
                      <a:pt x="27" y="93"/>
                      <a:pt x="8" y="73"/>
                      <a:pt x="8" y="49"/>
                    </a:cubicBezTo>
                    <a:cubicBezTo>
                      <a:pt x="8" y="30"/>
                      <a:pt x="19" y="14"/>
                      <a:pt x="37" y="8"/>
                    </a:cubicBezTo>
                    <a:cubicBezTo>
                      <a:pt x="34" y="0"/>
                      <a:pt x="34" y="0"/>
                      <a:pt x="34" y="0"/>
                    </a:cubicBezTo>
                    <a:cubicBezTo>
                      <a:pt x="13" y="7"/>
                      <a:pt x="0" y="27"/>
                      <a:pt x="0" y="49"/>
                    </a:cubicBezTo>
                    <a:cubicBezTo>
                      <a:pt x="0" y="78"/>
                      <a:pt x="23" y="101"/>
                      <a:pt x="52" y="101"/>
                    </a:cubicBezTo>
                    <a:cubicBezTo>
                      <a:pt x="80" y="101"/>
                      <a:pt x="104" y="78"/>
                      <a:pt x="104" y="49"/>
                    </a:cubicBezTo>
                    <a:cubicBezTo>
                      <a:pt x="104" y="27"/>
                      <a:pt x="90" y="7"/>
                      <a:pt x="69" y="0"/>
                    </a:cubicBezTo>
                    <a:close/>
                  </a:path>
                </a:pathLst>
              </a:custGeom>
              <a:grpFill/>
              <a:ln w="9525">
                <a:solidFill>
                  <a:srgbClr val="000000"/>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4" name="Freeform 10">
                <a:extLst>
                  <a:ext uri="{FF2B5EF4-FFF2-40B4-BE49-F238E27FC236}">
                    <a16:creationId xmlns:a16="http://schemas.microsoft.com/office/drawing/2014/main" id="{0C1620DB-F339-4C88-94A7-DB7D7508C4FD}"/>
                  </a:ext>
                </a:extLst>
              </p:cNvPr>
              <p:cNvSpPr>
                <a:spLocks noEditPoints="1"/>
              </p:cNvSpPr>
              <p:nvPr/>
            </p:nvSpPr>
            <p:spPr bwMode="auto">
              <a:xfrm>
                <a:off x="5431" y="-672"/>
                <a:ext cx="86" cy="226"/>
              </a:xfrm>
              <a:custGeom>
                <a:avLst/>
                <a:gdLst>
                  <a:gd name="T0" fmla="*/ 20 w 39"/>
                  <a:gd name="T1" fmla="*/ 0 h 104"/>
                  <a:gd name="T2" fmla="*/ 0 w 39"/>
                  <a:gd name="T3" fmla="*/ 19 h 104"/>
                  <a:gd name="T4" fmla="*/ 16 w 39"/>
                  <a:gd name="T5" fmla="*/ 38 h 104"/>
                  <a:gd name="T6" fmla="*/ 16 w 39"/>
                  <a:gd name="T7" fmla="*/ 65 h 104"/>
                  <a:gd name="T8" fmla="*/ 10 w 39"/>
                  <a:gd name="T9" fmla="*/ 65 h 104"/>
                  <a:gd name="T10" fmla="*/ 10 w 39"/>
                  <a:gd name="T11" fmla="*/ 78 h 104"/>
                  <a:gd name="T12" fmla="*/ 16 w 39"/>
                  <a:gd name="T13" fmla="*/ 78 h 104"/>
                  <a:gd name="T14" fmla="*/ 16 w 39"/>
                  <a:gd name="T15" fmla="*/ 84 h 104"/>
                  <a:gd name="T16" fmla="*/ 10 w 39"/>
                  <a:gd name="T17" fmla="*/ 84 h 104"/>
                  <a:gd name="T18" fmla="*/ 10 w 39"/>
                  <a:gd name="T19" fmla="*/ 91 h 104"/>
                  <a:gd name="T20" fmla="*/ 16 w 39"/>
                  <a:gd name="T21" fmla="*/ 91 h 104"/>
                  <a:gd name="T22" fmla="*/ 16 w 39"/>
                  <a:gd name="T23" fmla="*/ 97 h 104"/>
                  <a:gd name="T24" fmla="*/ 10 w 39"/>
                  <a:gd name="T25" fmla="*/ 97 h 104"/>
                  <a:gd name="T26" fmla="*/ 10 w 39"/>
                  <a:gd name="T27" fmla="*/ 104 h 104"/>
                  <a:gd name="T28" fmla="*/ 23 w 39"/>
                  <a:gd name="T29" fmla="*/ 104 h 104"/>
                  <a:gd name="T30" fmla="*/ 23 w 39"/>
                  <a:gd name="T31" fmla="*/ 38 h 104"/>
                  <a:gd name="T32" fmla="*/ 39 w 39"/>
                  <a:gd name="T33" fmla="*/ 19 h 104"/>
                  <a:gd name="T34" fmla="*/ 20 w 39"/>
                  <a:gd name="T35" fmla="*/ 0 h 104"/>
                  <a:gd name="T36" fmla="*/ 20 w 39"/>
                  <a:gd name="T37" fmla="*/ 32 h 104"/>
                  <a:gd name="T38" fmla="*/ 7 w 39"/>
                  <a:gd name="T39" fmla="*/ 19 h 104"/>
                  <a:gd name="T40" fmla="*/ 20 w 39"/>
                  <a:gd name="T41" fmla="*/ 6 h 104"/>
                  <a:gd name="T42" fmla="*/ 33 w 39"/>
                  <a:gd name="T43" fmla="*/ 19 h 104"/>
                  <a:gd name="T44" fmla="*/ 20 w 39"/>
                  <a:gd name="T45"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104">
                    <a:moveTo>
                      <a:pt x="20" y="0"/>
                    </a:moveTo>
                    <a:cubicBezTo>
                      <a:pt x="9" y="0"/>
                      <a:pt x="0" y="8"/>
                      <a:pt x="0" y="19"/>
                    </a:cubicBezTo>
                    <a:cubicBezTo>
                      <a:pt x="0" y="29"/>
                      <a:pt x="7" y="37"/>
                      <a:pt x="16" y="38"/>
                    </a:cubicBezTo>
                    <a:cubicBezTo>
                      <a:pt x="16" y="65"/>
                      <a:pt x="16" y="65"/>
                      <a:pt x="16" y="65"/>
                    </a:cubicBezTo>
                    <a:cubicBezTo>
                      <a:pt x="10" y="65"/>
                      <a:pt x="10" y="65"/>
                      <a:pt x="10" y="65"/>
                    </a:cubicBezTo>
                    <a:cubicBezTo>
                      <a:pt x="10" y="78"/>
                      <a:pt x="10" y="78"/>
                      <a:pt x="10" y="78"/>
                    </a:cubicBezTo>
                    <a:cubicBezTo>
                      <a:pt x="16" y="78"/>
                      <a:pt x="16" y="78"/>
                      <a:pt x="16" y="78"/>
                    </a:cubicBezTo>
                    <a:cubicBezTo>
                      <a:pt x="16" y="84"/>
                      <a:pt x="16" y="84"/>
                      <a:pt x="16" y="84"/>
                    </a:cubicBezTo>
                    <a:cubicBezTo>
                      <a:pt x="10" y="84"/>
                      <a:pt x="10" y="84"/>
                      <a:pt x="10" y="84"/>
                    </a:cubicBezTo>
                    <a:cubicBezTo>
                      <a:pt x="10" y="91"/>
                      <a:pt x="10" y="91"/>
                      <a:pt x="10" y="91"/>
                    </a:cubicBezTo>
                    <a:cubicBezTo>
                      <a:pt x="16" y="91"/>
                      <a:pt x="16" y="91"/>
                      <a:pt x="16" y="91"/>
                    </a:cubicBezTo>
                    <a:cubicBezTo>
                      <a:pt x="16" y="97"/>
                      <a:pt x="16" y="97"/>
                      <a:pt x="16" y="97"/>
                    </a:cubicBezTo>
                    <a:cubicBezTo>
                      <a:pt x="10" y="97"/>
                      <a:pt x="10" y="97"/>
                      <a:pt x="10" y="97"/>
                    </a:cubicBezTo>
                    <a:cubicBezTo>
                      <a:pt x="10" y="104"/>
                      <a:pt x="10" y="104"/>
                      <a:pt x="10" y="104"/>
                    </a:cubicBezTo>
                    <a:cubicBezTo>
                      <a:pt x="23" y="104"/>
                      <a:pt x="23" y="104"/>
                      <a:pt x="23" y="104"/>
                    </a:cubicBezTo>
                    <a:cubicBezTo>
                      <a:pt x="23" y="38"/>
                      <a:pt x="23" y="38"/>
                      <a:pt x="23" y="38"/>
                    </a:cubicBezTo>
                    <a:cubicBezTo>
                      <a:pt x="32" y="37"/>
                      <a:pt x="39" y="29"/>
                      <a:pt x="39" y="19"/>
                    </a:cubicBezTo>
                    <a:cubicBezTo>
                      <a:pt x="39" y="8"/>
                      <a:pt x="30" y="0"/>
                      <a:pt x="20" y="0"/>
                    </a:cubicBezTo>
                    <a:close/>
                    <a:moveTo>
                      <a:pt x="20" y="32"/>
                    </a:moveTo>
                    <a:cubicBezTo>
                      <a:pt x="12" y="32"/>
                      <a:pt x="7" y="26"/>
                      <a:pt x="7" y="19"/>
                    </a:cubicBezTo>
                    <a:cubicBezTo>
                      <a:pt x="7" y="12"/>
                      <a:pt x="12" y="6"/>
                      <a:pt x="20" y="6"/>
                    </a:cubicBezTo>
                    <a:cubicBezTo>
                      <a:pt x="27" y="6"/>
                      <a:pt x="33" y="12"/>
                      <a:pt x="33" y="19"/>
                    </a:cubicBezTo>
                    <a:cubicBezTo>
                      <a:pt x="33" y="26"/>
                      <a:pt x="27" y="32"/>
                      <a:pt x="20" y="32"/>
                    </a:cubicBezTo>
                    <a:close/>
                  </a:path>
                </a:pathLst>
              </a:custGeom>
              <a:solidFill>
                <a:srgbClr val="FFFFFF"/>
              </a:solidFill>
              <a:ln w="9525">
                <a:solidFill>
                  <a:srgbClr val="000000"/>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grpSp>
        <p:nvGrpSpPr>
          <p:cNvPr id="95" name="Group 94">
            <a:extLst>
              <a:ext uri="{FF2B5EF4-FFF2-40B4-BE49-F238E27FC236}">
                <a16:creationId xmlns:a16="http://schemas.microsoft.com/office/drawing/2014/main" id="{A9BA9594-343E-432C-9E38-BEFCAF85A9C0}"/>
              </a:ext>
            </a:extLst>
          </p:cNvPr>
          <p:cNvGrpSpPr/>
          <p:nvPr/>
        </p:nvGrpSpPr>
        <p:grpSpPr>
          <a:xfrm>
            <a:off x="277518" y="1739963"/>
            <a:ext cx="2290767" cy="4003440"/>
            <a:chOff x="1464545" y="1908516"/>
            <a:chExt cx="2337033" cy="4084296"/>
          </a:xfrm>
          <a:solidFill>
            <a:srgbClr val="0078D7"/>
          </a:solidFill>
        </p:grpSpPr>
        <p:sp>
          <p:nvSpPr>
            <p:cNvPr id="96" name="Rectangle 95">
              <a:extLst>
                <a:ext uri="{FF2B5EF4-FFF2-40B4-BE49-F238E27FC236}">
                  <a16:creationId xmlns:a16="http://schemas.microsoft.com/office/drawing/2014/main" id="{C039ECB5-C961-41F5-8092-0A095E9D7B6D}"/>
                </a:ext>
              </a:extLst>
            </p:cNvPr>
            <p:cNvSpPr/>
            <p:nvPr/>
          </p:nvSpPr>
          <p:spPr bwMode="auto">
            <a:xfrm>
              <a:off x="1464545" y="1908516"/>
              <a:ext cx="2337033" cy="4084296"/>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Virtual </a:t>
              </a:r>
            </a:p>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machines (VM), </a:t>
              </a:r>
            </a:p>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VM scale s</a:t>
              </a:r>
              <a:r>
                <a:rPr kumimoji="0" lang="en-US" sz="1961" b="0" i="0" u="none" strike="noStrike" kern="0" cap="none" spc="0" normalizeH="0" baseline="0" noProof="0" dirty="0" err="1">
                  <a:ln>
                    <a:noFill/>
                  </a:ln>
                  <a:solidFill>
                    <a:srgbClr val="FFFFFF"/>
                  </a:solidFill>
                  <a:effectLst/>
                  <a:uLnTx/>
                  <a:uFillTx/>
                  <a:latin typeface="Segoe UI"/>
                  <a:ea typeface="+mn-ea"/>
                  <a:cs typeface="Segoe UI" pitchFamily="34" charset="0"/>
                </a:rPr>
                <a:t>ets</a:t>
              </a:r>
              <a:endPar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endParaRPr>
            </a:p>
          </p:txBody>
        </p:sp>
        <p:pic>
          <p:nvPicPr>
            <p:cNvPr id="97" name="Picture 96">
              <a:extLst>
                <a:ext uri="{FF2B5EF4-FFF2-40B4-BE49-F238E27FC236}">
                  <a16:creationId xmlns:a16="http://schemas.microsoft.com/office/drawing/2014/main" id="{13A8E913-5927-4E9B-B7F2-A2BAE7A2A5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21523" y="2198028"/>
              <a:ext cx="822843" cy="822843"/>
            </a:xfrm>
            <a:prstGeom prst="rect">
              <a:avLst/>
            </a:prstGeom>
            <a:solidFill>
              <a:srgbClr val="FFFFFF"/>
            </a:solidFill>
            <a:ln>
              <a:solidFill>
                <a:srgbClr val="FFFFFF"/>
              </a:solidFill>
            </a:ln>
          </p:spPr>
        </p:pic>
      </p:grpSp>
      <p:grpSp>
        <p:nvGrpSpPr>
          <p:cNvPr id="98" name="Group 97">
            <a:extLst>
              <a:ext uri="{FF2B5EF4-FFF2-40B4-BE49-F238E27FC236}">
                <a16:creationId xmlns:a16="http://schemas.microsoft.com/office/drawing/2014/main" id="{2581BF94-77B5-466F-BBE9-08A0C9B05251}"/>
              </a:ext>
            </a:extLst>
          </p:cNvPr>
          <p:cNvGrpSpPr/>
          <p:nvPr/>
        </p:nvGrpSpPr>
        <p:grpSpPr>
          <a:xfrm>
            <a:off x="2627575" y="1739963"/>
            <a:ext cx="2290766" cy="4003440"/>
            <a:chOff x="3854663" y="1908516"/>
            <a:chExt cx="2337032" cy="4084296"/>
          </a:xfrm>
          <a:solidFill>
            <a:srgbClr val="0078D7"/>
          </a:solidFill>
        </p:grpSpPr>
        <p:sp>
          <p:nvSpPr>
            <p:cNvPr id="99" name="Rectangle 98">
              <a:extLst>
                <a:ext uri="{FF2B5EF4-FFF2-40B4-BE49-F238E27FC236}">
                  <a16:creationId xmlns:a16="http://schemas.microsoft.com/office/drawing/2014/main" id="{617BF0F5-DC18-42C4-8933-A957214716BF}"/>
                </a:ext>
              </a:extLst>
            </p:cNvPr>
            <p:cNvSpPr/>
            <p:nvPr/>
          </p:nvSpPr>
          <p:spPr bwMode="auto">
            <a:xfrm>
              <a:off x="3854663" y="1908516"/>
              <a:ext cx="2337032" cy="4084296"/>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Containers </a:t>
              </a:r>
            </a:p>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with Docker</a:t>
              </a:r>
            </a:p>
          </p:txBody>
        </p:sp>
        <p:pic>
          <p:nvPicPr>
            <p:cNvPr id="100" name="Picture 99">
              <a:extLst>
                <a:ext uri="{FF2B5EF4-FFF2-40B4-BE49-F238E27FC236}">
                  <a16:creationId xmlns:a16="http://schemas.microsoft.com/office/drawing/2014/main" id="{FF8E22F4-1185-4FBC-858E-5268645B1A8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66044" y="2056906"/>
              <a:ext cx="914270" cy="1071908"/>
            </a:xfrm>
            <a:prstGeom prst="rect">
              <a:avLst/>
            </a:prstGeom>
            <a:solidFill>
              <a:srgbClr val="FFFFFF"/>
            </a:solidFill>
            <a:ln>
              <a:solidFill>
                <a:srgbClr val="FFFFFF"/>
              </a:solidFill>
            </a:ln>
          </p:spPr>
        </p:pic>
      </p:grpSp>
      <p:grpSp>
        <p:nvGrpSpPr>
          <p:cNvPr id="101" name="Group 100">
            <a:extLst>
              <a:ext uri="{FF2B5EF4-FFF2-40B4-BE49-F238E27FC236}">
                <a16:creationId xmlns:a16="http://schemas.microsoft.com/office/drawing/2014/main" id="{19FDCDDF-A884-449C-9209-3AA5D144CF71}"/>
              </a:ext>
            </a:extLst>
          </p:cNvPr>
          <p:cNvGrpSpPr/>
          <p:nvPr/>
        </p:nvGrpSpPr>
        <p:grpSpPr>
          <a:xfrm>
            <a:off x="4977630" y="1739963"/>
            <a:ext cx="2290766" cy="4003441"/>
            <a:chOff x="6244780" y="1908515"/>
            <a:chExt cx="2337032" cy="4084297"/>
          </a:xfrm>
          <a:solidFill>
            <a:srgbClr val="0078D7"/>
          </a:solidFill>
        </p:grpSpPr>
        <p:sp>
          <p:nvSpPr>
            <p:cNvPr id="102" name="Rectangle 101">
              <a:extLst>
                <a:ext uri="{FF2B5EF4-FFF2-40B4-BE49-F238E27FC236}">
                  <a16:creationId xmlns:a16="http://schemas.microsoft.com/office/drawing/2014/main" id="{0C93B4E8-721D-4F5D-9C72-3D7967C4E1B7}"/>
                </a:ext>
              </a:extLst>
            </p:cNvPr>
            <p:cNvSpPr/>
            <p:nvPr/>
          </p:nvSpPr>
          <p:spPr bwMode="auto">
            <a:xfrm>
              <a:off x="6244780" y="1908515"/>
              <a:ext cx="2337032" cy="4084297"/>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Networking</a:t>
              </a:r>
            </a:p>
          </p:txBody>
        </p:sp>
        <p:sp>
          <p:nvSpPr>
            <p:cNvPr id="103" name="Freeform 5">
              <a:extLst>
                <a:ext uri="{FF2B5EF4-FFF2-40B4-BE49-F238E27FC236}">
                  <a16:creationId xmlns:a16="http://schemas.microsoft.com/office/drawing/2014/main" id="{C0E1D8FF-B2D2-4C22-B533-4F8483A80A0C}"/>
                </a:ext>
              </a:extLst>
            </p:cNvPr>
            <p:cNvSpPr>
              <a:spLocks noEditPoints="1"/>
            </p:cNvSpPr>
            <p:nvPr/>
          </p:nvSpPr>
          <p:spPr bwMode="auto">
            <a:xfrm>
              <a:off x="7109038" y="2154363"/>
              <a:ext cx="598213" cy="849077"/>
            </a:xfrm>
            <a:custGeom>
              <a:avLst/>
              <a:gdLst>
                <a:gd name="T0" fmla="*/ 64 w 88"/>
                <a:gd name="T1" fmla="*/ 30 h 126"/>
                <a:gd name="T2" fmla="*/ 64 w 88"/>
                <a:gd name="T3" fmla="*/ 11 h 126"/>
                <a:gd name="T4" fmla="*/ 64 w 88"/>
                <a:gd name="T5" fmla="*/ 50 h 126"/>
                <a:gd name="T6" fmla="*/ 69 w 88"/>
                <a:gd name="T7" fmla="*/ 56 h 126"/>
                <a:gd name="T8" fmla="*/ 88 w 88"/>
                <a:gd name="T9" fmla="*/ 30 h 126"/>
                <a:gd name="T10" fmla="*/ 69 w 88"/>
                <a:gd name="T11" fmla="*/ 5 h 126"/>
                <a:gd name="T12" fmla="*/ 69 w 88"/>
                <a:gd name="T13" fmla="*/ 56 h 126"/>
                <a:gd name="T14" fmla="*/ 30 w 88"/>
                <a:gd name="T15" fmla="*/ 44 h 126"/>
                <a:gd name="T16" fmla="*/ 30 w 88"/>
                <a:gd name="T17" fmla="*/ 17 h 126"/>
                <a:gd name="T18" fmla="*/ 16 w 88"/>
                <a:gd name="T19" fmla="*/ 30 h 126"/>
                <a:gd name="T20" fmla="*/ 19 w 88"/>
                <a:gd name="T21" fmla="*/ 56 h 126"/>
                <a:gd name="T22" fmla="*/ 19 w 88"/>
                <a:gd name="T23" fmla="*/ 5 h 126"/>
                <a:gd name="T24" fmla="*/ 0 w 88"/>
                <a:gd name="T25" fmla="*/ 30 h 126"/>
                <a:gd name="T26" fmla="*/ 19 w 88"/>
                <a:gd name="T27" fmla="*/ 56 h 126"/>
                <a:gd name="T28" fmla="*/ 32 w 88"/>
                <a:gd name="T29" fmla="*/ 30 h 126"/>
                <a:gd name="T30" fmla="*/ 56 w 88"/>
                <a:gd name="T31" fmla="*/ 30 h 126"/>
                <a:gd name="T32" fmla="*/ 84 w 88"/>
                <a:gd name="T33" fmla="*/ 113 h 126"/>
                <a:gd name="T34" fmla="*/ 69 w 88"/>
                <a:gd name="T35" fmla="*/ 98 h 126"/>
                <a:gd name="T36" fmla="*/ 48 w 88"/>
                <a:gd name="T37" fmla="*/ 126 h 126"/>
                <a:gd name="T38" fmla="*/ 40 w 88"/>
                <a:gd name="T39" fmla="*/ 109 h 126"/>
                <a:gd name="T40" fmla="*/ 12 w 88"/>
                <a:gd name="T41" fmla="*/ 120 h 126"/>
                <a:gd name="T42" fmla="*/ 36 w 88"/>
                <a:gd name="T43" fmla="*/ 39 h 126"/>
                <a:gd name="T44" fmla="*/ 56 w 88"/>
                <a:gd name="T45" fmla="*/ 68 h 126"/>
                <a:gd name="T46" fmla="*/ 48 w 88"/>
                <a:gd name="T47" fmla="*/ 72 h 126"/>
                <a:gd name="T48" fmla="*/ 32 w 88"/>
                <a:gd name="T49" fmla="*/ 68 h 126"/>
                <a:gd name="T50" fmla="*/ 40 w 88"/>
                <a:gd name="T51" fmla="*/ 49 h 126"/>
                <a:gd name="T52" fmla="*/ 40 w 88"/>
                <a:gd name="T53" fmla="*/ 81 h 126"/>
                <a:gd name="T54" fmla="*/ 23 w 88"/>
                <a:gd name="T55" fmla="*/ 92 h 126"/>
                <a:gd name="T56" fmla="*/ 66 w 88"/>
                <a:gd name="T57" fmla="*/ 91 h 126"/>
                <a:gd name="T58" fmla="*/ 48 w 88"/>
                <a:gd name="T59" fmla="*/ 81 h 126"/>
                <a:gd name="T60" fmla="*/ 66 w 88"/>
                <a:gd name="T61" fmla="*/ 91 h 126"/>
                <a:gd name="T62" fmla="*/ 44 w 88"/>
                <a:gd name="T63" fmla="*/ 34 h 126"/>
                <a:gd name="T64" fmla="*/ 44 w 88"/>
                <a:gd name="T65" fmla="*/ 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126">
                  <a:moveTo>
                    <a:pt x="58" y="44"/>
                  </a:moveTo>
                  <a:cubicBezTo>
                    <a:pt x="62" y="40"/>
                    <a:pt x="64" y="36"/>
                    <a:pt x="64" y="30"/>
                  </a:cubicBezTo>
                  <a:cubicBezTo>
                    <a:pt x="64" y="25"/>
                    <a:pt x="62" y="20"/>
                    <a:pt x="58" y="17"/>
                  </a:cubicBezTo>
                  <a:cubicBezTo>
                    <a:pt x="64" y="11"/>
                    <a:pt x="64" y="11"/>
                    <a:pt x="64" y="11"/>
                  </a:cubicBezTo>
                  <a:cubicBezTo>
                    <a:pt x="69" y="16"/>
                    <a:pt x="72" y="23"/>
                    <a:pt x="72" y="30"/>
                  </a:cubicBezTo>
                  <a:cubicBezTo>
                    <a:pt x="72" y="38"/>
                    <a:pt x="69" y="45"/>
                    <a:pt x="64" y="50"/>
                  </a:cubicBezTo>
                  <a:lnTo>
                    <a:pt x="58" y="44"/>
                  </a:lnTo>
                  <a:close/>
                  <a:moveTo>
                    <a:pt x="69" y="56"/>
                  </a:moveTo>
                  <a:cubicBezTo>
                    <a:pt x="75" y="61"/>
                    <a:pt x="75" y="61"/>
                    <a:pt x="75" y="61"/>
                  </a:cubicBezTo>
                  <a:cubicBezTo>
                    <a:pt x="83" y="53"/>
                    <a:pt x="88" y="42"/>
                    <a:pt x="88" y="30"/>
                  </a:cubicBezTo>
                  <a:cubicBezTo>
                    <a:pt x="88" y="19"/>
                    <a:pt x="83" y="8"/>
                    <a:pt x="75" y="0"/>
                  </a:cubicBezTo>
                  <a:cubicBezTo>
                    <a:pt x="69" y="5"/>
                    <a:pt x="69" y="5"/>
                    <a:pt x="69" y="5"/>
                  </a:cubicBezTo>
                  <a:cubicBezTo>
                    <a:pt x="76" y="12"/>
                    <a:pt x="80" y="21"/>
                    <a:pt x="80" y="30"/>
                  </a:cubicBezTo>
                  <a:cubicBezTo>
                    <a:pt x="80" y="40"/>
                    <a:pt x="76" y="49"/>
                    <a:pt x="69" y="56"/>
                  </a:cubicBezTo>
                  <a:close/>
                  <a:moveTo>
                    <a:pt x="24" y="50"/>
                  </a:moveTo>
                  <a:cubicBezTo>
                    <a:pt x="30" y="44"/>
                    <a:pt x="30" y="44"/>
                    <a:pt x="30" y="44"/>
                  </a:cubicBezTo>
                  <a:cubicBezTo>
                    <a:pt x="26" y="40"/>
                    <a:pt x="24" y="36"/>
                    <a:pt x="24" y="30"/>
                  </a:cubicBezTo>
                  <a:cubicBezTo>
                    <a:pt x="24" y="25"/>
                    <a:pt x="26" y="20"/>
                    <a:pt x="30" y="17"/>
                  </a:cubicBezTo>
                  <a:cubicBezTo>
                    <a:pt x="24" y="11"/>
                    <a:pt x="24" y="11"/>
                    <a:pt x="24" y="11"/>
                  </a:cubicBezTo>
                  <a:cubicBezTo>
                    <a:pt x="19" y="16"/>
                    <a:pt x="16" y="23"/>
                    <a:pt x="16" y="30"/>
                  </a:cubicBezTo>
                  <a:cubicBezTo>
                    <a:pt x="16" y="38"/>
                    <a:pt x="19" y="45"/>
                    <a:pt x="24" y="50"/>
                  </a:cubicBezTo>
                  <a:close/>
                  <a:moveTo>
                    <a:pt x="19" y="56"/>
                  </a:moveTo>
                  <a:cubicBezTo>
                    <a:pt x="12" y="49"/>
                    <a:pt x="8" y="40"/>
                    <a:pt x="8" y="30"/>
                  </a:cubicBezTo>
                  <a:cubicBezTo>
                    <a:pt x="8" y="21"/>
                    <a:pt x="12" y="12"/>
                    <a:pt x="19" y="5"/>
                  </a:cubicBezTo>
                  <a:cubicBezTo>
                    <a:pt x="13" y="0"/>
                    <a:pt x="13" y="0"/>
                    <a:pt x="13" y="0"/>
                  </a:cubicBezTo>
                  <a:cubicBezTo>
                    <a:pt x="5" y="8"/>
                    <a:pt x="0" y="19"/>
                    <a:pt x="0" y="30"/>
                  </a:cubicBezTo>
                  <a:cubicBezTo>
                    <a:pt x="0" y="42"/>
                    <a:pt x="5" y="53"/>
                    <a:pt x="13" y="61"/>
                  </a:cubicBezTo>
                  <a:lnTo>
                    <a:pt x="19" y="56"/>
                  </a:lnTo>
                  <a:close/>
                  <a:moveTo>
                    <a:pt x="36" y="39"/>
                  </a:moveTo>
                  <a:cubicBezTo>
                    <a:pt x="33" y="37"/>
                    <a:pt x="32" y="34"/>
                    <a:pt x="32" y="30"/>
                  </a:cubicBezTo>
                  <a:cubicBezTo>
                    <a:pt x="32" y="24"/>
                    <a:pt x="37" y="18"/>
                    <a:pt x="44" y="18"/>
                  </a:cubicBezTo>
                  <a:cubicBezTo>
                    <a:pt x="51" y="18"/>
                    <a:pt x="56" y="24"/>
                    <a:pt x="56" y="30"/>
                  </a:cubicBezTo>
                  <a:cubicBezTo>
                    <a:pt x="56" y="34"/>
                    <a:pt x="55" y="37"/>
                    <a:pt x="53" y="39"/>
                  </a:cubicBezTo>
                  <a:cubicBezTo>
                    <a:pt x="84" y="113"/>
                    <a:pt x="84" y="113"/>
                    <a:pt x="84" y="113"/>
                  </a:cubicBezTo>
                  <a:cubicBezTo>
                    <a:pt x="76" y="116"/>
                    <a:pt x="76" y="116"/>
                    <a:pt x="76" y="116"/>
                  </a:cubicBezTo>
                  <a:cubicBezTo>
                    <a:pt x="69" y="98"/>
                    <a:pt x="69" y="98"/>
                    <a:pt x="69" y="98"/>
                  </a:cubicBezTo>
                  <a:cubicBezTo>
                    <a:pt x="48" y="109"/>
                    <a:pt x="48" y="109"/>
                    <a:pt x="48" y="109"/>
                  </a:cubicBezTo>
                  <a:cubicBezTo>
                    <a:pt x="48" y="126"/>
                    <a:pt x="48" y="126"/>
                    <a:pt x="48" y="126"/>
                  </a:cubicBezTo>
                  <a:cubicBezTo>
                    <a:pt x="40" y="126"/>
                    <a:pt x="40" y="126"/>
                    <a:pt x="40" y="126"/>
                  </a:cubicBezTo>
                  <a:cubicBezTo>
                    <a:pt x="40" y="109"/>
                    <a:pt x="40" y="109"/>
                    <a:pt x="40" y="109"/>
                  </a:cubicBezTo>
                  <a:cubicBezTo>
                    <a:pt x="20" y="99"/>
                    <a:pt x="20" y="99"/>
                    <a:pt x="20" y="99"/>
                  </a:cubicBezTo>
                  <a:cubicBezTo>
                    <a:pt x="12" y="120"/>
                    <a:pt x="12" y="120"/>
                    <a:pt x="12" y="120"/>
                  </a:cubicBezTo>
                  <a:cubicBezTo>
                    <a:pt x="4" y="117"/>
                    <a:pt x="4" y="117"/>
                    <a:pt x="4" y="117"/>
                  </a:cubicBezTo>
                  <a:lnTo>
                    <a:pt x="36" y="39"/>
                  </a:lnTo>
                  <a:close/>
                  <a:moveTo>
                    <a:pt x="48" y="72"/>
                  </a:moveTo>
                  <a:cubicBezTo>
                    <a:pt x="56" y="68"/>
                    <a:pt x="56" y="68"/>
                    <a:pt x="56" y="68"/>
                  </a:cubicBezTo>
                  <a:cubicBezTo>
                    <a:pt x="48" y="49"/>
                    <a:pt x="48" y="49"/>
                    <a:pt x="48" y="49"/>
                  </a:cubicBezTo>
                  <a:lnTo>
                    <a:pt x="48" y="72"/>
                  </a:lnTo>
                  <a:close/>
                  <a:moveTo>
                    <a:pt x="40" y="49"/>
                  </a:moveTo>
                  <a:cubicBezTo>
                    <a:pt x="32" y="68"/>
                    <a:pt x="32" y="68"/>
                    <a:pt x="32" y="68"/>
                  </a:cubicBezTo>
                  <a:cubicBezTo>
                    <a:pt x="40" y="72"/>
                    <a:pt x="40" y="72"/>
                    <a:pt x="40" y="72"/>
                  </a:cubicBezTo>
                  <a:lnTo>
                    <a:pt x="40" y="49"/>
                  </a:lnTo>
                  <a:close/>
                  <a:moveTo>
                    <a:pt x="40" y="100"/>
                  </a:moveTo>
                  <a:cubicBezTo>
                    <a:pt x="40" y="81"/>
                    <a:pt x="40" y="81"/>
                    <a:pt x="40" y="81"/>
                  </a:cubicBezTo>
                  <a:cubicBezTo>
                    <a:pt x="29" y="76"/>
                    <a:pt x="29" y="76"/>
                    <a:pt x="29" y="76"/>
                  </a:cubicBezTo>
                  <a:cubicBezTo>
                    <a:pt x="23" y="92"/>
                    <a:pt x="23" y="92"/>
                    <a:pt x="23" y="92"/>
                  </a:cubicBezTo>
                  <a:lnTo>
                    <a:pt x="40" y="100"/>
                  </a:lnTo>
                  <a:close/>
                  <a:moveTo>
                    <a:pt x="66" y="91"/>
                  </a:moveTo>
                  <a:cubicBezTo>
                    <a:pt x="59" y="75"/>
                    <a:pt x="59" y="75"/>
                    <a:pt x="59" y="75"/>
                  </a:cubicBezTo>
                  <a:cubicBezTo>
                    <a:pt x="48" y="81"/>
                    <a:pt x="48" y="81"/>
                    <a:pt x="48" y="81"/>
                  </a:cubicBezTo>
                  <a:cubicBezTo>
                    <a:pt x="48" y="100"/>
                    <a:pt x="48" y="100"/>
                    <a:pt x="48" y="100"/>
                  </a:cubicBezTo>
                  <a:lnTo>
                    <a:pt x="66" y="91"/>
                  </a:lnTo>
                  <a:close/>
                  <a:moveTo>
                    <a:pt x="40" y="30"/>
                  </a:moveTo>
                  <a:cubicBezTo>
                    <a:pt x="40" y="33"/>
                    <a:pt x="42" y="34"/>
                    <a:pt x="44" y="34"/>
                  </a:cubicBezTo>
                  <a:cubicBezTo>
                    <a:pt x="46" y="34"/>
                    <a:pt x="48" y="33"/>
                    <a:pt x="48" y="30"/>
                  </a:cubicBezTo>
                  <a:cubicBezTo>
                    <a:pt x="48" y="28"/>
                    <a:pt x="46" y="26"/>
                    <a:pt x="44" y="26"/>
                  </a:cubicBezTo>
                  <a:cubicBezTo>
                    <a:pt x="42" y="26"/>
                    <a:pt x="40" y="28"/>
                    <a:pt x="40" y="30"/>
                  </a:cubicBezTo>
                  <a:close/>
                </a:path>
              </a:pathLst>
            </a:custGeom>
            <a:solidFill>
              <a:srgbClr val="FFFFFF"/>
            </a:solidFill>
            <a:ln>
              <a:solidFill>
                <a:srgbClr val="FFFFFF"/>
              </a:solidFill>
            </a:ln>
          </p:spPr>
          <p:txBody>
            <a:bodyPr vert="horz" wrap="square" lIns="89630" tIns="44814" rIns="89630" bIns="44814" numCol="1" anchor="t" anchorCtr="0" compatLnSpc="1">
              <a:prstTxWarp prst="textNoShape">
                <a:avLst/>
              </a:prstTxWarp>
            </a:bodyP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104" name="Group 103">
            <a:extLst>
              <a:ext uri="{FF2B5EF4-FFF2-40B4-BE49-F238E27FC236}">
                <a16:creationId xmlns:a16="http://schemas.microsoft.com/office/drawing/2014/main" id="{FA4048A1-3767-4FAB-8310-7C8A9EB84EBE}"/>
              </a:ext>
            </a:extLst>
          </p:cNvPr>
          <p:cNvGrpSpPr/>
          <p:nvPr/>
        </p:nvGrpSpPr>
        <p:grpSpPr>
          <a:xfrm>
            <a:off x="7327686" y="1739963"/>
            <a:ext cx="2290766" cy="4003440"/>
            <a:chOff x="8634897" y="1908516"/>
            <a:chExt cx="2337032" cy="4084296"/>
          </a:xfrm>
          <a:solidFill>
            <a:srgbClr val="0078D7"/>
          </a:solidFill>
        </p:grpSpPr>
        <p:sp>
          <p:nvSpPr>
            <p:cNvPr id="105" name="Rectangle 104">
              <a:extLst>
                <a:ext uri="{FF2B5EF4-FFF2-40B4-BE49-F238E27FC236}">
                  <a16:creationId xmlns:a16="http://schemas.microsoft.com/office/drawing/2014/main" id="{B02DDE08-5D37-48D4-92DF-C8AA53636790}"/>
                </a:ext>
              </a:extLst>
            </p:cNvPr>
            <p:cNvSpPr/>
            <p:nvPr/>
          </p:nvSpPr>
          <p:spPr bwMode="auto">
            <a:xfrm>
              <a:off x="8634897" y="1908516"/>
              <a:ext cx="2337032" cy="4084296"/>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Storage</a:t>
              </a:r>
            </a:p>
          </p:txBody>
        </p:sp>
        <p:sp>
          <p:nvSpPr>
            <p:cNvPr id="106" name="Freeform 9">
              <a:extLst>
                <a:ext uri="{FF2B5EF4-FFF2-40B4-BE49-F238E27FC236}">
                  <a16:creationId xmlns:a16="http://schemas.microsoft.com/office/drawing/2014/main" id="{44D9D26E-09D8-43A5-9277-D008CF2837E5}"/>
                </a:ext>
              </a:extLst>
            </p:cNvPr>
            <p:cNvSpPr>
              <a:spLocks noEditPoints="1"/>
            </p:cNvSpPr>
            <p:nvPr/>
          </p:nvSpPr>
          <p:spPr bwMode="auto">
            <a:xfrm>
              <a:off x="9372442" y="2144674"/>
              <a:ext cx="861941" cy="861941"/>
            </a:xfrm>
            <a:custGeom>
              <a:avLst/>
              <a:gdLst>
                <a:gd name="T0" fmla="*/ 134 w 268"/>
                <a:gd name="T1" fmla="*/ 0 h 268"/>
                <a:gd name="T2" fmla="*/ 40 w 268"/>
                <a:gd name="T3" fmla="*/ 59 h 268"/>
                <a:gd name="T4" fmla="*/ 0 w 268"/>
                <a:gd name="T5" fmla="*/ 59 h 268"/>
                <a:gd name="T6" fmla="*/ 0 w 268"/>
                <a:gd name="T7" fmla="*/ 268 h 268"/>
                <a:gd name="T8" fmla="*/ 268 w 268"/>
                <a:gd name="T9" fmla="*/ 268 h 268"/>
                <a:gd name="T10" fmla="*/ 268 w 268"/>
                <a:gd name="T11" fmla="*/ 59 h 268"/>
                <a:gd name="T12" fmla="*/ 228 w 268"/>
                <a:gd name="T13" fmla="*/ 59 h 268"/>
                <a:gd name="T14" fmla="*/ 134 w 268"/>
                <a:gd name="T15" fmla="*/ 0 h 268"/>
                <a:gd name="T16" fmla="*/ 50 w 268"/>
                <a:gd name="T17" fmla="*/ 84 h 268"/>
                <a:gd name="T18" fmla="*/ 126 w 268"/>
                <a:gd name="T19" fmla="*/ 138 h 268"/>
                <a:gd name="T20" fmla="*/ 126 w 268"/>
                <a:gd name="T21" fmla="*/ 212 h 268"/>
                <a:gd name="T22" fmla="*/ 50 w 268"/>
                <a:gd name="T23" fmla="*/ 159 h 268"/>
                <a:gd name="T24" fmla="*/ 50 w 268"/>
                <a:gd name="T25" fmla="*/ 84 h 268"/>
                <a:gd name="T26" fmla="*/ 142 w 268"/>
                <a:gd name="T27" fmla="*/ 138 h 268"/>
                <a:gd name="T28" fmla="*/ 218 w 268"/>
                <a:gd name="T29" fmla="*/ 84 h 268"/>
                <a:gd name="T30" fmla="*/ 218 w 268"/>
                <a:gd name="T31" fmla="*/ 159 h 268"/>
                <a:gd name="T32" fmla="*/ 142 w 268"/>
                <a:gd name="T33" fmla="*/ 212 h 268"/>
                <a:gd name="T34" fmla="*/ 142 w 268"/>
                <a:gd name="T35" fmla="*/ 138 h 268"/>
                <a:gd name="T36" fmla="*/ 212 w 268"/>
                <a:gd name="T37" fmla="*/ 69 h 268"/>
                <a:gd name="T38" fmla="*/ 134 w 268"/>
                <a:gd name="T39" fmla="*/ 124 h 268"/>
                <a:gd name="T40" fmla="*/ 56 w 268"/>
                <a:gd name="T41" fmla="*/ 69 h 268"/>
                <a:gd name="T42" fmla="*/ 134 w 268"/>
                <a:gd name="T43" fmla="*/ 19 h 268"/>
                <a:gd name="T44" fmla="*/ 212 w 268"/>
                <a:gd name="T45" fmla="*/ 69 h 268"/>
                <a:gd name="T46" fmla="*/ 251 w 268"/>
                <a:gd name="T47" fmla="*/ 251 h 268"/>
                <a:gd name="T48" fmla="*/ 17 w 268"/>
                <a:gd name="T49" fmla="*/ 251 h 268"/>
                <a:gd name="T50" fmla="*/ 17 w 268"/>
                <a:gd name="T51" fmla="*/ 75 h 268"/>
                <a:gd name="T52" fmla="*/ 33 w 268"/>
                <a:gd name="T53" fmla="*/ 75 h 268"/>
                <a:gd name="T54" fmla="*/ 33 w 268"/>
                <a:gd name="T55" fmla="*/ 168 h 268"/>
                <a:gd name="T56" fmla="*/ 134 w 268"/>
                <a:gd name="T57" fmla="*/ 237 h 268"/>
                <a:gd name="T58" fmla="*/ 235 w 268"/>
                <a:gd name="T59" fmla="*/ 168 h 268"/>
                <a:gd name="T60" fmla="*/ 235 w 268"/>
                <a:gd name="T61" fmla="*/ 75 h 268"/>
                <a:gd name="T62" fmla="*/ 251 w 268"/>
                <a:gd name="T63" fmla="*/ 75 h 268"/>
                <a:gd name="T64" fmla="*/ 251 w 268"/>
                <a:gd name="T65" fmla="*/ 25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8" h="268">
                  <a:moveTo>
                    <a:pt x="134" y="0"/>
                  </a:moveTo>
                  <a:lnTo>
                    <a:pt x="40" y="59"/>
                  </a:lnTo>
                  <a:lnTo>
                    <a:pt x="0" y="59"/>
                  </a:lnTo>
                  <a:lnTo>
                    <a:pt x="0" y="268"/>
                  </a:lnTo>
                  <a:lnTo>
                    <a:pt x="268" y="268"/>
                  </a:lnTo>
                  <a:lnTo>
                    <a:pt x="268" y="59"/>
                  </a:lnTo>
                  <a:lnTo>
                    <a:pt x="228" y="59"/>
                  </a:lnTo>
                  <a:lnTo>
                    <a:pt x="134" y="0"/>
                  </a:lnTo>
                  <a:close/>
                  <a:moveTo>
                    <a:pt x="50" y="84"/>
                  </a:moveTo>
                  <a:lnTo>
                    <a:pt x="126" y="138"/>
                  </a:lnTo>
                  <a:lnTo>
                    <a:pt x="126" y="212"/>
                  </a:lnTo>
                  <a:lnTo>
                    <a:pt x="50" y="159"/>
                  </a:lnTo>
                  <a:lnTo>
                    <a:pt x="50" y="84"/>
                  </a:lnTo>
                  <a:close/>
                  <a:moveTo>
                    <a:pt x="142" y="138"/>
                  </a:moveTo>
                  <a:lnTo>
                    <a:pt x="218" y="84"/>
                  </a:lnTo>
                  <a:lnTo>
                    <a:pt x="218" y="159"/>
                  </a:lnTo>
                  <a:lnTo>
                    <a:pt x="142" y="212"/>
                  </a:lnTo>
                  <a:lnTo>
                    <a:pt x="142" y="138"/>
                  </a:lnTo>
                  <a:close/>
                  <a:moveTo>
                    <a:pt x="212" y="69"/>
                  </a:moveTo>
                  <a:lnTo>
                    <a:pt x="134" y="124"/>
                  </a:lnTo>
                  <a:lnTo>
                    <a:pt x="56" y="69"/>
                  </a:lnTo>
                  <a:lnTo>
                    <a:pt x="134" y="19"/>
                  </a:lnTo>
                  <a:lnTo>
                    <a:pt x="212" y="69"/>
                  </a:lnTo>
                  <a:close/>
                  <a:moveTo>
                    <a:pt x="251" y="251"/>
                  </a:moveTo>
                  <a:lnTo>
                    <a:pt x="17" y="251"/>
                  </a:lnTo>
                  <a:lnTo>
                    <a:pt x="17" y="75"/>
                  </a:lnTo>
                  <a:lnTo>
                    <a:pt x="33" y="75"/>
                  </a:lnTo>
                  <a:lnTo>
                    <a:pt x="33" y="168"/>
                  </a:lnTo>
                  <a:lnTo>
                    <a:pt x="134" y="237"/>
                  </a:lnTo>
                  <a:lnTo>
                    <a:pt x="235" y="168"/>
                  </a:lnTo>
                  <a:lnTo>
                    <a:pt x="235" y="75"/>
                  </a:lnTo>
                  <a:lnTo>
                    <a:pt x="251" y="75"/>
                  </a:lnTo>
                  <a:lnTo>
                    <a:pt x="251" y="251"/>
                  </a:lnTo>
                  <a:close/>
                </a:path>
              </a:pathLst>
            </a:custGeom>
            <a:solidFill>
              <a:srgbClr val="FFFFFF"/>
            </a:solidFill>
            <a:ln>
              <a:solidFill>
                <a:srgbClr val="FFFFFF"/>
              </a:solidFill>
            </a:ln>
          </p:spPr>
          <p:txBody>
            <a:bodyPr vert="horz" wrap="square" lIns="89630" tIns="44814" rIns="89630" bIns="44814" numCol="1" anchor="t" anchorCtr="0" compatLnSpc="1">
              <a:prstTxWarp prst="textNoShape">
                <a:avLst/>
              </a:prstTxWarp>
            </a:bodyP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07" name="Rectangle 106">
            <a:extLst>
              <a:ext uri="{FF2B5EF4-FFF2-40B4-BE49-F238E27FC236}">
                <a16:creationId xmlns:a16="http://schemas.microsoft.com/office/drawing/2014/main" id="{6603F5FF-7718-4D10-B33B-B9B7AEC789A7}"/>
              </a:ext>
            </a:extLst>
          </p:cNvPr>
          <p:cNvSpPr/>
          <p:nvPr/>
        </p:nvSpPr>
        <p:spPr bwMode="auto">
          <a:xfrm>
            <a:off x="277518" y="4178947"/>
            <a:ext cx="2290767"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Rapid deployment with automated scaling</a:t>
            </a:r>
          </a:p>
        </p:txBody>
      </p:sp>
      <p:sp>
        <p:nvSpPr>
          <p:cNvPr id="108" name="Rectangle 107">
            <a:extLst>
              <a:ext uri="{FF2B5EF4-FFF2-40B4-BE49-F238E27FC236}">
                <a16:creationId xmlns:a16="http://schemas.microsoft.com/office/drawing/2014/main" id="{04ADD3E0-B297-450B-91B0-F99A233511D9}"/>
              </a:ext>
            </a:extLst>
          </p:cNvPr>
          <p:cNvSpPr/>
          <p:nvPr/>
        </p:nvSpPr>
        <p:spPr bwMode="auto">
          <a:xfrm>
            <a:off x="2627575" y="4178947"/>
            <a:ext cx="2290766"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Linux and Windows Server containers </a:t>
            </a:r>
          </a:p>
        </p:txBody>
      </p:sp>
      <p:sp>
        <p:nvSpPr>
          <p:cNvPr id="109" name="Rectangle 108">
            <a:extLst>
              <a:ext uri="{FF2B5EF4-FFF2-40B4-BE49-F238E27FC236}">
                <a16:creationId xmlns:a16="http://schemas.microsoft.com/office/drawing/2014/main" id="{4A3357ED-2ECD-4ED5-9EE8-1E13E74F64FF}"/>
              </a:ext>
            </a:extLst>
          </p:cNvPr>
          <p:cNvSpPr/>
          <p:nvPr/>
        </p:nvSpPr>
        <p:spPr bwMode="auto">
          <a:xfrm>
            <a:off x="4977630" y="4178947"/>
            <a:ext cx="2290766"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Virtual network, load balancer, </a:t>
            </a:r>
            <a:br>
              <a:rPr lang="en-US" dirty="0">
                <a:gradFill>
                  <a:gsLst>
                    <a:gs pos="2917">
                      <a:srgbClr val="FFFFFF"/>
                    </a:gs>
                    <a:gs pos="30000">
                      <a:srgbClr val="FFFFFF"/>
                    </a:gs>
                  </a:gsLst>
                  <a:lin ang="5400000" scaled="0"/>
                </a:gradFill>
                <a:latin typeface="Segoe UI"/>
                <a:ea typeface="Segoe UI" pitchFamily="34" charset="0"/>
                <a:cs typeface="Segoe UI" pitchFamily="34" charset="0"/>
              </a:rPr>
            </a:br>
            <a:r>
              <a:rPr lang="en-US" dirty="0">
                <a:gradFill>
                  <a:gsLst>
                    <a:gs pos="2917">
                      <a:srgbClr val="FFFFFF"/>
                    </a:gs>
                    <a:gs pos="30000">
                      <a:srgbClr val="FFFFFF"/>
                    </a:gs>
                  </a:gsLst>
                  <a:lin ang="5400000" scaled="0"/>
                </a:gradFill>
                <a:latin typeface="Segoe UI"/>
                <a:ea typeface="Segoe UI" pitchFamily="34" charset="0"/>
                <a:cs typeface="Segoe UI" pitchFamily="34" charset="0"/>
              </a:rPr>
              <a:t>VPN gateway</a:t>
            </a:r>
          </a:p>
        </p:txBody>
      </p:sp>
      <p:sp>
        <p:nvSpPr>
          <p:cNvPr id="110" name="Rectangle 109">
            <a:extLst>
              <a:ext uri="{FF2B5EF4-FFF2-40B4-BE49-F238E27FC236}">
                <a16:creationId xmlns:a16="http://schemas.microsoft.com/office/drawing/2014/main" id="{AEB898E4-7991-4CD6-BC44-E27631C21CE3}"/>
              </a:ext>
            </a:extLst>
          </p:cNvPr>
          <p:cNvSpPr/>
          <p:nvPr/>
        </p:nvSpPr>
        <p:spPr bwMode="auto">
          <a:xfrm>
            <a:off x="7327686" y="4178947"/>
            <a:ext cx="2290766"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Blobs, tables, queues</a:t>
            </a:r>
          </a:p>
        </p:txBody>
      </p:sp>
      <p:sp>
        <p:nvSpPr>
          <p:cNvPr id="111" name="Rectangle 110">
            <a:extLst>
              <a:ext uri="{FF2B5EF4-FFF2-40B4-BE49-F238E27FC236}">
                <a16:creationId xmlns:a16="http://schemas.microsoft.com/office/drawing/2014/main" id="{A30E7F03-A58A-4B42-9570-2FDA32E3F3AA}"/>
              </a:ext>
            </a:extLst>
          </p:cNvPr>
          <p:cNvSpPr/>
          <p:nvPr/>
        </p:nvSpPr>
        <p:spPr bwMode="auto">
          <a:xfrm>
            <a:off x="9677740" y="4178947"/>
            <a:ext cx="2290766"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Securely protect application keys and secrets</a:t>
            </a:r>
          </a:p>
        </p:txBody>
      </p:sp>
    </p:spTree>
    <p:extLst>
      <p:ext uri="{BB962C8B-B14F-4D97-AF65-F5344CB8AC3E}">
        <p14:creationId xmlns:p14="http://schemas.microsoft.com/office/powerpoint/2010/main" val="2591040914"/>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PaaS – high productivity development</a:t>
            </a:r>
          </a:p>
        </p:txBody>
      </p:sp>
      <p:grpSp>
        <p:nvGrpSpPr>
          <p:cNvPr id="25" name="Group 24">
            <a:extLst>
              <a:ext uri="{FF2B5EF4-FFF2-40B4-BE49-F238E27FC236}">
                <a16:creationId xmlns:a16="http://schemas.microsoft.com/office/drawing/2014/main" id="{30D11434-AFD7-4A11-BD21-3478F87193BA}"/>
              </a:ext>
            </a:extLst>
          </p:cNvPr>
          <p:cNvGrpSpPr/>
          <p:nvPr/>
        </p:nvGrpSpPr>
        <p:grpSpPr>
          <a:xfrm>
            <a:off x="2612868" y="1759334"/>
            <a:ext cx="2290766" cy="4115811"/>
            <a:chOff x="2664756" y="1793875"/>
            <a:chExt cx="2337032" cy="4198937"/>
          </a:xfrm>
          <a:solidFill>
            <a:srgbClr val="0070C0"/>
          </a:solidFill>
        </p:grpSpPr>
        <p:sp>
          <p:nvSpPr>
            <p:cNvPr id="26" name="Rectangle 25">
              <a:extLst>
                <a:ext uri="{FF2B5EF4-FFF2-40B4-BE49-F238E27FC236}">
                  <a16:creationId xmlns:a16="http://schemas.microsoft.com/office/drawing/2014/main" id="{A84B5AAF-9485-4706-9883-CE84AC5304D7}"/>
                </a:ext>
              </a:extLst>
            </p:cNvPr>
            <p:cNvSpPr/>
            <p:nvPr/>
          </p:nvSpPr>
          <p:spPr bwMode="auto">
            <a:xfrm>
              <a:off x="2664756" y="1793875"/>
              <a:ext cx="2337032"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Azure Functions</a:t>
              </a:r>
            </a:p>
          </p:txBody>
        </p:sp>
        <p:pic>
          <p:nvPicPr>
            <p:cNvPr id="27" name="Picture 26">
              <a:extLst>
                <a:ext uri="{FF2B5EF4-FFF2-40B4-BE49-F238E27FC236}">
                  <a16:creationId xmlns:a16="http://schemas.microsoft.com/office/drawing/2014/main" id="{358F9861-E843-4657-8740-174C354CBA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26191" y="2085780"/>
              <a:ext cx="1014162" cy="1014160"/>
            </a:xfrm>
            <a:prstGeom prst="rect">
              <a:avLst/>
            </a:prstGeom>
            <a:solidFill>
              <a:schemeClr val="tx1"/>
            </a:solidFill>
            <a:ln>
              <a:solidFill>
                <a:schemeClr val="tx1"/>
              </a:solidFill>
            </a:ln>
          </p:spPr>
        </p:pic>
      </p:grpSp>
      <p:grpSp>
        <p:nvGrpSpPr>
          <p:cNvPr id="28" name="Group 27">
            <a:extLst>
              <a:ext uri="{FF2B5EF4-FFF2-40B4-BE49-F238E27FC236}">
                <a16:creationId xmlns:a16="http://schemas.microsoft.com/office/drawing/2014/main" id="{654FA6A7-3FA7-44D8-88D7-D74BA32DCC3B}"/>
              </a:ext>
            </a:extLst>
          </p:cNvPr>
          <p:cNvGrpSpPr/>
          <p:nvPr/>
        </p:nvGrpSpPr>
        <p:grpSpPr>
          <a:xfrm>
            <a:off x="9837863" y="1759334"/>
            <a:ext cx="2290767" cy="4115811"/>
            <a:chOff x="9835107" y="1793875"/>
            <a:chExt cx="2337033" cy="4198937"/>
          </a:xfrm>
          <a:solidFill>
            <a:srgbClr val="0070C0"/>
          </a:solidFill>
        </p:grpSpPr>
        <p:sp>
          <p:nvSpPr>
            <p:cNvPr id="29" name="Rectangle 28">
              <a:extLst>
                <a:ext uri="{FF2B5EF4-FFF2-40B4-BE49-F238E27FC236}">
                  <a16:creationId xmlns:a16="http://schemas.microsoft.com/office/drawing/2014/main" id="{37FDEA01-ECB1-4B16-9A51-7FF95C8F46EB}"/>
                </a:ext>
              </a:extLst>
            </p:cNvPr>
            <p:cNvSpPr/>
            <p:nvPr/>
          </p:nvSpPr>
          <p:spPr bwMode="auto">
            <a:xfrm>
              <a:off x="9835107" y="1793875"/>
              <a:ext cx="2337033"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Cloud Foundry</a:t>
              </a:r>
            </a:p>
          </p:txBody>
        </p:sp>
        <p:grpSp>
          <p:nvGrpSpPr>
            <p:cNvPr id="30" name="Group 29">
              <a:extLst>
                <a:ext uri="{FF2B5EF4-FFF2-40B4-BE49-F238E27FC236}">
                  <a16:creationId xmlns:a16="http://schemas.microsoft.com/office/drawing/2014/main" id="{454E14E1-6B22-489D-B092-9F3DD9AA2014}"/>
                </a:ext>
              </a:extLst>
            </p:cNvPr>
            <p:cNvGrpSpPr>
              <a:grpSpLocks noChangeAspect="1"/>
            </p:cNvGrpSpPr>
            <p:nvPr/>
          </p:nvGrpSpPr>
          <p:grpSpPr>
            <a:xfrm>
              <a:off x="10644099" y="2227152"/>
              <a:ext cx="719047" cy="731416"/>
              <a:chOff x="9212942" y="2075755"/>
              <a:chExt cx="633663" cy="644562"/>
            </a:xfrm>
            <a:grpFill/>
          </p:grpSpPr>
          <p:sp>
            <p:nvSpPr>
              <p:cNvPr id="31" name="Freeform 9">
                <a:extLst>
                  <a:ext uri="{FF2B5EF4-FFF2-40B4-BE49-F238E27FC236}">
                    <a16:creationId xmlns:a16="http://schemas.microsoft.com/office/drawing/2014/main" id="{CB95E995-552D-4756-A97B-10FF692E518D}"/>
                  </a:ext>
                </a:extLst>
              </p:cNvPr>
              <p:cNvSpPr>
                <a:spLocks/>
              </p:cNvSpPr>
              <p:nvPr/>
            </p:nvSpPr>
            <p:spPr bwMode="auto">
              <a:xfrm>
                <a:off x="9212953" y="2075755"/>
                <a:ext cx="290693" cy="296333"/>
              </a:xfrm>
              <a:custGeom>
                <a:avLst/>
                <a:gdLst>
                  <a:gd name="T0" fmla="*/ 0 w 1546"/>
                  <a:gd name="T1" fmla="*/ 0 h 1576"/>
                  <a:gd name="T2" fmla="*/ 0 w 1546"/>
                  <a:gd name="T3" fmla="*/ 1198 h 1576"/>
                  <a:gd name="T4" fmla="*/ 360 w 1546"/>
                  <a:gd name="T5" fmla="*/ 830 h 1576"/>
                  <a:gd name="T6" fmla="*/ 1092 w 1546"/>
                  <a:gd name="T7" fmla="*/ 1576 h 1576"/>
                  <a:gd name="T8" fmla="*/ 1546 w 1546"/>
                  <a:gd name="T9" fmla="*/ 1115 h 1576"/>
                  <a:gd name="T10" fmla="*/ 814 w 1546"/>
                  <a:gd name="T11" fmla="*/ 370 h 1576"/>
                  <a:gd name="T12" fmla="*/ 1181 w 1546"/>
                  <a:gd name="T13" fmla="*/ 0 h 1576"/>
                  <a:gd name="T14" fmla="*/ 0 w 1546"/>
                  <a:gd name="T15" fmla="*/ 0 h 1576"/>
                  <a:gd name="T16" fmla="*/ 0 w 1546"/>
                  <a:gd name="T17" fmla="*/ 0 h 1576"/>
                  <a:gd name="T18" fmla="*/ 0 w 1546"/>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76">
                    <a:moveTo>
                      <a:pt x="0" y="0"/>
                    </a:moveTo>
                    <a:lnTo>
                      <a:pt x="0" y="1198"/>
                    </a:lnTo>
                    <a:lnTo>
                      <a:pt x="360" y="830"/>
                    </a:lnTo>
                    <a:lnTo>
                      <a:pt x="1092" y="1576"/>
                    </a:lnTo>
                    <a:lnTo>
                      <a:pt x="1546" y="1115"/>
                    </a:lnTo>
                    <a:lnTo>
                      <a:pt x="814" y="370"/>
                    </a:lnTo>
                    <a:lnTo>
                      <a:pt x="1181" y="0"/>
                    </a:lnTo>
                    <a:lnTo>
                      <a:pt x="0" y="0"/>
                    </a:lnTo>
                    <a:lnTo>
                      <a:pt x="0" y="0"/>
                    </a:lnTo>
                    <a:lnTo>
                      <a:pt x="0" y="0"/>
                    </a:lnTo>
                    <a:close/>
                  </a:path>
                </a:pathLst>
              </a:custGeom>
              <a:solidFill>
                <a:schemeClr val="tx1"/>
              </a:solidFill>
              <a:ln w="9525">
                <a:solidFill>
                  <a:schemeClr val="tx1"/>
                </a:solidFill>
                <a:round/>
                <a:headEnd/>
                <a:tailEnd/>
              </a:ln>
              <a:extLst/>
            </p:spPr>
            <p:txBody>
              <a:bodyPr vert="horz" wrap="square" lIns="87843" tIns="43920" rIns="87843" bIns="43920" numCol="1" anchor="t" anchorCtr="0" compatLnSpc="1">
                <a:prstTxWarp prst="textNoShape">
                  <a:avLst/>
                </a:prstTxWarp>
              </a:bodyPr>
              <a:lstStyle/>
              <a:p>
                <a:pPr defTabSz="878221">
                  <a:defRPr/>
                </a:pPr>
                <a:endParaRPr lang="en-US" sz="1567" b="1" kern="0">
                  <a:latin typeface="Segoe UI Light"/>
                </a:endParaRPr>
              </a:p>
            </p:txBody>
          </p:sp>
          <p:sp>
            <p:nvSpPr>
              <p:cNvPr id="32" name="Freeform 10">
                <a:extLst>
                  <a:ext uri="{FF2B5EF4-FFF2-40B4-BE49-F238E27FC236}">
                    <a16:creationId xmlns:a16="http://schemas.microsoft.com/office/drawing/2014/main" id="{6727D142-5AAB-4563-A066-9B42BD73A05C}"/>
                  </a:ext>
                </a:extLst>
              </p:cNvPr>
              <p:cNvSpPr>
                <a:spLocks/>
              </p:cNvSpPr>
              <p:nvPr/>
            </p:nvSpPr>
            <p:spPr bwMode="auto">
              <a:xfrm>
                <a:off x="9555536" y="2075755"/>
                <a:ext cx="291069" cy="296333"/>
              </a:xfrm>
              <a:custGeom>
                <a:avLst/>
                <a:gdLst>
                  <a:gd name="T0" fmla="*/ 1548 w 1548"/>
                  <a:gd name="T1" fmla="*/ 0 h 1576"/>
                  <a:gd name="T2" fmla="*/ 1548 w 1548"/>
                  <a:gd name="T3" fmla="*/ 1198 h 1576"/>
                  <a:gd name="T4" fmla="*/ 1181 w 1548"/>
                  <a:gd name="T5" fmla="*/ 830 h 1576"/>
                  <a:gd name="T6" fmla="*/ 449 w 1548"/>
                  <a:gd name="T7" fmla="*/ 1576 h 1576"/>
                  <a:gd name="T8" fmla="*/ 0 w 1548"/>
                  <a:gd name="T9" fmla="*/ 1115 h 1576"/>
                  <a:gd name="T10" fmla="*/ 727 w 1548"/>
                  <a:gd name="T11" fmla="*/ 370 h 1576"/>
                  <a:gd name="T12" fmla="*/ 362 w 1548"/>
                  <a:gd name="T13" fmla="*/ 0 h 1576"/>
                  <a:gd name="T14" fmla="*/ 1548 w 1548"/>
                  <a:gd name="T15" fmla="*/ 0 h 1576"/>
                  <a:gd name="T16" fmla="*/ 1548 w 1548"/>
                  <a:gd name="T17" fmla="*/ 0 h 1576"/>
                  <a:gd name="T18" fmla="*/ 1548 w 1548"/>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76">
                    <a:moveTo>
                      <a:pt x="1548" y="0"/>
                    </a:moveTo>
                    <a:lnTo>
                      <a:pt x="1548" y="1198"/>
                    </a:lnTo>
                    <a:lnTo>
                      <a:pt x="1181" y="830"/>
                    </a:lnTo>
                    <a:lnTo>
                      <a:pt x="449" y="1576"/>
                    </a:lnTo>
                    <a:lnTo>
                      <a:pt x="0" y="1115"/>
                    </a:lnTo>
                    <a:lnTo>
                      <a:pt x="727" y="370"/>
                    </a:lnTo>
                    <a:lnTo>
                      <a:pt x="362" y="0"/>
                    </a:lnTo>
                    <a:lnTo>
                      <a:pt x="1548" y="0"/>
                    </a:lnTo>
                    <a:lnTo>
                      <a:pt x="1548" y="0"/>
                    </a:lnTo>
                    <a:lnTo>
                      <a:pt x="1548" y="0"/>
                    </a:lnTo>
                    <a:close/>
                  </a:path>
                </a:pathLst>
              </a:custGeom>
              <a:solidFill>
                <a:schemeClr val="tx1"/>
              </a:solidFill>
              <a:ln w="9525">
                <a:solidFill>
                  <a:schemeClr val="tx1"/>
                </a:solidFill>
                <a:round/>
                <a:headEnd/>
                <a:tailEnd/>
              </a:ln>
              <a:extLst/>
            </p:spPr>
            <p:txBody>
              <a:bodyPr vert="horz" wrap="square" lIns="87843" tIns="43920" rIns="87843" bIns="43920" numCol="1" anchor="t" anchorCtr="0" compatLnSpc="1">
                <a:prstTxWarp prst="textNoShape">
                  <a:avLst/>
                </a:prstTxWarp>
              </a:bodyPr>
              <a:lstStyle/>
              <a:p>
                <a:pPr defTabSz="878221">
                  <a:defRPr/>
                </a:pPr>
                <a:endParaRPr lang="en-US" sz="1567" b="1" kern="0">
                  <a:latin typeface="Segoe UI Light"/>
                </a:endParaRPr>
              </a:p>
            </p:txBody>
          </p:sp>
          <p:sp>
            <p:nvSpPr>
              <p:cNvPr id="33" name="Freeform 11">
                <a:extLst>
                  <a:ext uri="{FF2B5EF4-FFF2-40B4-BE49-F238E27FC236}">
                    <a16:creationId xmlns:a16="http://schemas.microsoft.com/office/drawing/2014/main" id="{1038DDC8-EA6D-456F-BE38-6F9CA3895CD1}"/>
                  </a:ext>
                </a:extLst>
              </p:cNvPr>
              <p:cNvSpPr>
                <a:spLocks/>
              </p:cNvSpPr>
              <p:nvPr/>
            </p:nvSpPr>
            <p:spPr bwMode="auto">
              <a:xfrm>
                <a:off x="9212942" y="2421539"/>
                <a:ext cx="290693" cy="298777"/>
              </a:xfrm>
              <a:custGeom>
                <a:avLst/>
                <a:gdLst>
                  <a:gd name="T0" fmla="*/ 0 w 1546"/>
                  <a:gd name="T1" fmla="*/ 1589 h 1589"/>
                  <a:gd name="T2" fmla="*/ 0 w 1546"/>
                  <a:gd name="T3" fmla="*/ 385 h 1589"/>
                  <a:gd name="T4" fmla="*/ 360 w 1546"/>
                  <a:gd name="T5" fmla="*/ 756 h 1589"/>
                  <a:gd name="T6" fmla="*/ 1092 w 1546"/>
                  <a:gd name="T7" fmla="*/ 0 h 1589"/>
                  <a:gd name="T8" fmla="*/ 1546 w 1546"/>
                  <a:gd name="T9" fmla="*/ 469 h 1589"/>
                  <a:gd name="T10" fmla="*/ 814 w 1546"/>
                  <a:gd name="T11" fmla="*/ 1219 h 1589"/>
                  <a:gd name="T12" fmla="*/ 1181 w 1546"/>
                  <a:gd name="T13" fmla="*/ 1589 h 1589"/>
                  <a:gd name="T14" fmla="*/ 0 w 1546"/>
                  <a:gd name="T15" fmla="*/ 1589 h 1589"/>
                  <a:gd name="T16" fmla="*/ 0 w 1546"/>
                  <a:gd name="T17" fmla="*/ 1589 h 1589"/>
                  <a:gd name="T18" fmla="*/ 0 w 1546"/>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89">
                    <a:moveTo>
                      <a:pt x="0" y="1589"/>
                    </a:moveTo>
                    <a:lnTo>
                      <a:pt x="0" y="385"/>
                    </a:lnTo>
                    <a:lnTo>
                      <a:pt x="360" y="756"/>
                    </a:lnTo>
                    <a:lnTo>
                      <a:pt x="1092" y="0"/>
                    </a:lnTo>
                    <a:lnTo>
                      <a:pt x="1546" y="469"/>
                    </a:lnTo>
                    <a:lnTo>
                      <a:pt x="814" y="1219"/>
                    </a:lnTo>
                    <a:lnTo>
                      <a:pt x="1181" y="1589"/>
                    </a:lnTo>
                    <a:lnTo>
                      <a:pt x="0" y="1589"/>
                    </a:lnTo>
                    <a:lnTo>
                      <a:pt x="0" y="1589"/>
                    </a:lnTo>
                    <a:lnTo>
                      <a:pt x="0" y="1589"/>
                    </a:lnTo>
                    <a:close/>
                  </a:path>
                </a:pathLst>
              </a:custGeom>
              <a:solidFill>
                <a:schemeClr val="tx1"/>
              </a:solidFill>
              <a:ln w="9525">
                <a:solidFill>
                  <a:schemeClr val="tx1"/>
                </a:solidFill>
                <a:round/>
                <a:headEnd/>
                <a:tailEnd/>
              </a:ln>
              <a:extLst/>
            </p:spPr>
            <p:txBody>
              <a:bodyPr vert="horz" wrap="square" lIns="87843" tIns="43920" rIns="87843" bIns="43920" numCol="1" anchor="t" anchorCtr="0" compatLnSpc="1">
                <a:prstTxWarp prst="textNoShape">
                  <a:avLst/>
                </a:prstTxWarp>
              </a:bodyPr>
              <a:lstStyle/>
              <a:p>
                <a:pPr defTabSz="878221">
                  <a:defRPr/>
                </a:pPr>
                <a:endParaRPr lang="en-US" sz="1567" b="1" kern="0" dirty="0">
                  <a:latin typeface="Segoe UI Light"/>
                </a:endParaRPr>
              </a:p>
            </p:txBody>
          </p:sp>
          <p:sp>
            <p:nvSpPr>
              <p:cNvPr id="34" name="Freeform 12">
                <a:extLst>
                  <a:ext uri="{FF2B5EF4-FFF2-40B4-BE49-F238E27FC236}">
                    <a16:creationId xmlns:a16="http://schemas.microsoft.com/office/drawing/2014/main" id="{A0153533-297C-4AC0-8820-6B8F58EE775F}"/>
                  </a:ext>
                </a:extLst>
              </p:cNvPr>
              <p:cNvSpPr>
                <a:spLocks/>
              </p:cNvSpPr>
              <p:nvPr/>
            </p:nvSpPr>
            <p:spPr bwMode="auto">
              <a:xfrm>
                <a:off x="9555518" y="2421540"/>
                <a:ext cx="291069" cy="298777"/>
              </a:xfrm>
              <a:custGeom>
                <a:avLst/>
                <a:gdLst>
                  <a:gd name="T0" fmla="*/ 1548 w 1548"/>
                  <a:gd name="T1" fmla="*/ 1589 h 1589"/>
                  <a:gd name="T2" fmla="*/ 1548 w 1548"/>
                  <a:gd name="T3" fmla="*/ 385 h 1589"/>
                  <a:gd name="T4" fmla="*/ 1181 w 1548"/>
                  <a:gd name="T5" fmla="*/ 756 h 1589"/>
                  <a:gd name="T6" fmla="*/ 449 w 1548"/>
                  <a:gd name="T7" fmla="*/ 0 h 1589"/>
                  <a:gd name="T8" fmla="*/ 0 w 1548"/>
                  <a:gd name="T9" fmla="*/ 469 h 1589"/>
                  <a:gd name="T10" fmla="*/ 727 w 1548"/>
                  <a:gd name="T11" fmla="*/ 1219 h 1589"/>
                  <a:gd name="T12" fmla="*/ 362 w 1548"/>
                  <a:gd name="T13" fmla="*/ 1589 h 1589"/>
                  <a:gd name="T14" fmla="*/ 1548 w 1548"/>
                  <a:gd name="T15" fmla="*/ 1589 h 1589"/>
                  <a:gd name="T16" fmla="*/ 1548 w 1548"/>
                  <a:gd name="T17" fmla="*/ 1589 h 1589"/>
                  <a:gd name="T18" fmla="*/ 1548 w 1548"/>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89">
                    <a:moveTo>
                      <a:pt x="1548" y="1589"/>
                    </a:moveTo>
                    <a:lnTo>
                      <a:pt x="1548" y="385"/>
                    </a:lnTo>
                    <a:lnTo>
                      <a:pt x="1181" y="756"/>
                    </a:lnTo>
                    <a:lnTo>
                      <a:pt x="449" y="0"/>
                    </a:lnTo>
                    <a:lnTo>
                      <a:pt x="0" y="469"/>
                    </a:lnTo>
                    <a:lnTo>
                      <a:pt x="727" y="1219"/>
                    </a:lnTo>
                    <a:lnTo>
                      <a:pt x="362" y="1589"/>
                    </a:lnTo>
                    <a:lnTo>
                      <a:pt x="1548" y="1589"/>
                    </a:lnTo>
                    <a:lnTo>
                      <a:pt x="1548" y="1589"/>
                    </a:lnTo>
                    <a:lnTo>
                      <a:pt x="1548" y="1589"/>
                    </a:lnTo>
                    <a:close/>
                  </a:path>
                </a:pathLst>
              </a:custGeom>
              <a:solidFill>
                <a:schemeClr val="tx1"/>
              </a:solidFill>
              <a:ln w="9525">
                <a:solidFill>
                  <a:schemeClr val="tx1"/>
                </a:solidFill>
                <a:round/>
                <a:headEnd/>
                <a:tailEnd/>
              </a:ln>
              <a:extLst/>
            </p:spPr>
            <p:txBody>
              <a:bodyPr vert="horz" wrap="square" lIns="87843" tIns="43920" rIns="87843" bIns="43920" numCol="1" anchor="t" anchorCtr="0" compatLnSpc="1">
                <a:prstTxWarp prst="textNoShape">
                  <a:avLst/>
                </a:prstTxWarp>
              </a:bodyPr>
              <a:lstStyle/>
              <a:p>
                <a:pPr defTabSz="878221">
                  <a:defRPr/>
                </a:pPr>
                <a:endParaRPr lang="en-US" sz="1567" b="1" kern="0" dirty="0">
                  <a:latin typeface="Segoe UI Light"/>
                </a:endParaRPr>
              </a:p>
            </p:txBody>
          </p:sp>
        </p:grpSp>
      </p:grpSp>
      <p:grpSp>
        <p:nvGrpSpPr>
          <p:cNvPr id="35" name="Group 34">
            <a:extLst>
              <a:ext uri="{FF2B5EF4-FFF2-40B4-BE49-F238E27FC236}">
                <a16:creationId xmlns:a16="http://schemas.microsoft.com/office/drawing/2014/main" id="{608C49B0-8F21-4169-BFE8-EDAEE5CCB4B3}"/>
              </a:ext>
            </a:extLst>
          </p:cNvPr>
          <p:cNvGrpSpPr/>
          <p:nvPr/>
        </p:nvGrpSpPr>
        <p:grpSpPr>
          <a:xfrm>
            <a:off x="4955668" y="1759334"/>
            <a:ext cx="2290766" cy="4115811"/>
            <a:chOff x="5054873" y="1793875"/>
            <a:chExt cx="2337032" cy="4198937"/>
          </a:xfrm>
          <a:solidFill>
            <a:srgbClr val="0070C0"/>
          </a:solidFill>
        </p:grpSpPr>
        <p:sp>
          <p:nvSpPr>
            <p:cNvPr id="36" name="Rectangle 35">
              <a:extLst>
                <a:ext uri="{FF2B5EF4-FFF2-40B4-BE49-F238E27FC236}">
                  <a16:creationId xmlns:a16="http://schemas.microsoft.com/office/drawing/2014/main" id="{F53833D9-DEE3-4515-81F7-F3B23A988CA2}"/>
                </a:ext>
              </a:extLst>
            </p:cNvPr>
            <p:cNvSpPr/>
            <p:nvPr/>
          </p:nvSpPr>
          <p:spPr bwMode="auto">
            <a:xfrm>
              <a:off x="5054873" y="1793875"/>
              <a:ext cx="2337032"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Azure Service Fabric</a:t>
              </a:r>
            </a:p>
          </p:txBody>
        </p:sp>
        <p:pic>
          <p:nvPicPr>
            <p:cNvPr id="37" name="Picture 36">
              <a:extLst>
                <a:ext uri="{FF2B5EF4-FFF2-40B4-BE49-F238E27FC236}">
                  <a16:creationId xmlns:a16="http://schemas.microsoft.com/office/drawing/2014/main" id="{0C651B4B-3017-473F-BCF8-B1F907077F2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61103" y="2135725"/>
              <a:ext cx="914270" cy="914270"/>
            </a:xfrm>
            <a:prstGeom prst="rect">
              <a:avLst/>
            </a:prstGeom>
            <a:solidFill>
              <a:schemeClr val="tx1"/>
            </a:solidFill>
            <a:ln>
              <a:solidFill>
                <a:schemeClr val="tx1"/>
              </a:solidFill>
            </a:ln>
          </p:spPr>
        </p:pic>
      </p:grpSp>
      <p:grpSp>
        <p:nvGrpSpPr>
          <p:cNvPr id="38" name="Group 37">
            <a:extLst>
              <a:ext uri="{FF2B5EF4-FFF2-40B4-BE49-F238E27FC236}">
                <a16:creationId xmlns:a16="http://schemas.microsoft.com/office/drawing/2014/main" id="{26996DDF-0EB2-4092-B873-2D7D4DBB9986}"/>
              </a:ext>
            </a:extLst>
          </p:cNvPr>
          <p:cNvGrpSpPr/>
          <p:nvPr/>
        </p:nvGrpSpPr>
        <p:grpSpPr>
          <a:xfrm>
            <a:off x="7298468" y="1759334"/>
            <a:ext cx="2474970" cy="4115811"/>
            <a:chOff x="7444990" y="1793875"/>
            <a:chExt cx="2337032" cy="4198937"/>
          </a:xfrm>
          <a:solidFill>
            <a:srgbClr val="0070C0"/>
          </a:solidFill>
        </p:grpSpPr>
        <p:sp>
          <p:nvSpPr>
            <p:cNvPr id="39" name="Rectangle 38">
              <a:extLst>
                <a:ext uri="{FF2B5EF4-FFF2-40B4-BE49-F238E27FC236}">
                  <a16:creationId xmlns:a16="http://schemas.microsoft.com/office/drawing/2014/main" id="{498C4391-33C7-4F36-8112-EAF50DA0ADE3}"/>
                </a:ext>
              </a:extLst>
            </p:cNvPr>
            <p:cNvSpPr/>
            <p:nvPr/>
          </p:nvSpPr>
          <p:spPr bwMode="auto">
            <a:xfrm>
              <a:off x="7444990" y="1793875"/>
              <a:ext cx="2337032"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Azure Container Service (ACS)</a:t>
              </a:r>
            </a:p>
          </p:txBody>
        </p:sp>
        <p:pic>
          <p:nvPicPr>
            <p:cNvPr id="40" name="Picture 39">
              <a:extLst>
                <a:ext uri="{FF2B5EF4-FFF2-40B4-BE49-F238E27FC236}">
                  <a16:creationId xmlns:a16="http://schemas.microsoft.com/office/drawing/2014/main" id="{0DAC3A93-E5C1-4326-A4AD-3DCED801276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56371" y="2056906"/>
              <a:ext cx="914270" cy="1071908"/>
            </a:xfrm>
            <a:prstGeom prst="rect">
              <a:avLst/>
            </a:prstGeom>
            <a:solidFill>
              <a:schemeClr val="tx1"/>
            </a:solidFill>
            <a:ln>
              <a:solidFill>
                <a:schemeClr val="tx2"/>
              </a:solidFill>
            </a:ln>
          </p:spPr>
        </p:pic>
      </p:grpSp>
      <p:grpSp>
        <p:nvGrpSpPr>
          <p:cNvPr id="41" name="Group 40">
            <a:extLst>
              <a:ext uri="{FF2B5EF4-FFF2-40B4-BE49-F238E27FC236}">
                <a16:creationId xmlns:a16="http://schemas.microsoft.com/office/drawing/2014/main" id="{87AA78FE-5016-4FF3-8DD7-ED7A44223BEB}"/>
              </a:ext>
            </a:extLst>
          </p:cNvPr>
          <p:cNvGrpSpPr/>
          <p:nvPr/>
        </p:nvGrpSpPr>
        <p:grpSpPr>
          <a:xfrm>
            <a:off x="270066" y="1759334"/>
            <a:ext cx="2290767" cy="4115811"/>
            <a:chOff x="274638" y="1793875"/>
            <a:chExt cx="2337033" cy="4198937"/>
          </a:xfrm>
          <a:solidFill>
            <a:srgbClr val="0070C0"/>
          </a:solidFill>
        </p:grpSpPr>
        <p:sp>
          <p:nvSpPr>
            <p:cNvPr id="42" name="Rectangle 41">
              <a:extLst>
                <a:ext uri="{FF2B5EF4-FFF2-40B4-BE49-F238E27FC236}">
                  <a16:creationId xmlns:a16="http://schemas.microsoft.com/office/drawing/2014/main" id="{3EF56745-7F83-4697-843C-50691C89F63C}"/>
                </a:ext>
              </a:extLst>
            </p:cNvPr>
            <p:cNvSpPr/>
            <p:nvPr/>
          </p:nvSpPr>
          <p:spPr bwMode="auto">
            <a:xfrm>
              <a:off x="274638" y="1793875"/>
              <a:ext cx="2337033"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Azure App Service</a:t>
              </a:r>
            </a:p>
          </p:txBody>
        </p:sp>
        <p:sp>
          <p:nvSpPr>
            <p:cNvPr id="43" name="Freeform 5">
              <a:extLst>
                <a:ext uri="{FF2B5EF4-FFF2-40B4-BE49-F238E27FC236}">
                  <a16:creationId xmlns:a16="http://schemas.microsoft.com/office/drawing/2014/main" id="{A10BCD60-88A2-4FB6-9464-1CE214DB024A}"/>
                </a:ext>
              </a:extLst>
            </p:cNvPr>
            <p:cNvSpPr>
              <a:spLocks noEditPoints="1"/>
            </p:cNvSpPr>
            <p:nvPr/>
          </p:nvSpPr>
          <p:spPr bwMode="auto">
            <a:xfrm>
              <a:off x="1077913" y="2227735"/>
              <a:ext cx="730250" cy="730250"/>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tx1"/>
            </a:solidFill>
            <a:ln w="9525">
              <a:solidFill>
                <a:schemeClr val="tx1"/>
              </a:solidFill>
              <a:round/>
              <a:headEnd/>
              <a:tailEnd/>
            </a:ln>
            <a:extLst/>
          </p:spPr>
          <p:txBody>
            <a:bodyPr vert="horz" wrap="square" lIns="89630" tIns="44814" rIns="89630" bIns="44814" numCol="1" anchor="t" anchorCtr="0" compatLnSpc="1">
              <a:prstTxWarp prst="textNoShape">
                <a:avLst/>
              </a:prstTxWarp>
            </a:bodyPr>
            <a:lstStyle/>
            <a:p>
              <a:pPr defTabSz="914139">
                <a:defRPr/>
              </a:pPr>
              <a:endParaRPr lang="en-US" dirty="0">
                <a:latin typeface="Segoe UI"/>
              </a:endParaRPr>
            </a:p>
          </p:txBody>
        </p:sp>
      </p:grpSp>
      <p:sp>
        <p:nvSpPr>
          <p:cNvPr id="44" name="Rectangle 43">
            <a:extLst>
              <a:ext uri="{FF2B5EF4-FFF2-40B4-BE49-F238E27FC236}">
                <a16:creationId xmlns:a16="http://schemas.microsoft.com/office/drawing/2014/main" id="{B525ABA0-67AB-4862-868C-9D28A94EA5CB}"/>
              </a:ext>
            </a:extLst>
          </p:cNvPr>
          <p:cNvSpPr/>
          <p:nvPr/>
        </p:nvSpPr>
        <p:spPr bwMode="auto">
          <a:xfrm>
            <a:off x="270066" y="3904023"/>
            <a:ext cx="2290767"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Web, Mobile, and API apps</a:t>
            </a:r>
          </a:p>
        </p:txBody>
      </p:sp>
      <p:sp>
        <p:nvSpPr>
          <p:cNvPr id="45" name="Rectangle 44">
            <a:extLst>
              <a:ext uri="{FF2B5EF4-FFF2-40B4-BE49-F238E27FC236}">
                <a16:creationId xmlns:a16="http://schemas.microsoft.com/office/drawing/2014/main" id="{585D0128-D968-4BB6-9A7F-2333D0FA08B0}"/>
              </a:ext>
            </a:extLst>
          </p:cNvPr>
          <p:cNvSpPr/>
          <p:nvPr/>
        </p:nvSpPr>
        <p:spPr bwMode="auto">
          <a:xfrm>
            <a:off x="2612868" y="3904023"/>
            <a:ext cx="2290766"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err="1">
                <a:gradFill>
                  <a:gsLst>
                    <a:gs pos="0">
                      <a:srgbClr val="FFFFFF"/>
                    </a:gs>
                    <a:gs pos="100000">
                      <a:srgbClr val="FFFFFF"/>
                    </a:gs>
                  </a:gsLst>
                  <a:lin ang="5400000" scaled="0"/>
                </a:gradFill>
                <a:latin typeface="Segoe UI"/>
                <a:ea typeface="Segoe UI" pitchFamily="34" charset="0"/>
                <a:cs typeface="Segoe UI" pitchFamily="34" charset="0"/>
              </a:rPr>
              <a:t>Serverless</a:t>
            </a:r>
            <a:r>
              <a:rPr lang="en-US" dirty="0">
                <a:gradFill>
                  <a:gsLst>
                    <a:gs pos="0">
                      <a:srgbClr val="FFFFFF"/>
                    </a:gs>
                    <a:gs pos="100000">
                      <a:srgbClr val="FFFFFF"/>
                    </a:gs>
                  </a:gsLst>
                  <a:lin ang="5400000" scaled="0"/>
                </a:gradFill>
                <a:latin typeface="Segoe UI"/>
                <a:ea typeface="Segoe UI" pitchFamily="34" charset="0"/>
                <a:cs typeface="Segoe UI" pitchFamily="34" charset="0"/>
              </a:rPr>
              <a:t> Computing</a:t>
            </a:r>
          </a:p>
        </p:txBody>
      </p:sp>
      <p:sp>
        <p:nvSpPr>
          <p:cNvPr id="46" name="Rectangle 45">
            <a:extLst>
              <a:ext uri="{FF2B5EF4-FFF2-40B4-BE49-F238E27FC236}">
                <a16:creationId xmlns:a16="http://schemas.microsoft.com/office/drawing/2014/main" id="{79D4148D-A74A-4F7E-A13A-EB834F73FB89}"/>
              </a:ext>
            </a:extLst>
          </p:cNvPr>
          <p:cNvSpPr/>
          <p:nvPr/>
        </p:nvSpPr>
        <p:spPr bwMode="auto">
          <a:xfrm>
            <a:off x="4955668" y="3904023"/>
            <a:ext cx="2290766"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Scalable distributed applications, deploy standalone Service Fabric clusters initially </a:t>
            </a:r>
          </a:p>
        </p:txBody>
      </p:sp>
      <p:sp>
        <p:nvSpPr>
          <p:cNvPr id="47" name="Rectangle 46">
            <a:extLst>
              <a:ext uri="{FF2B5EF4-FFF2-40B4-BE49-F238E27FC236}">
                <a16:creationId xmlns:a16="http://schemas.microsoft.com/office/drawing/2014/main" id="{C9E826EE-D2E3-4B78-9E83-670FC887E8C1}"/>
              </a:ext>
            </a:extLst>
          </p:cNvPr>
          <p:cNvSpPr/>
          <p:nvPr/>
        </p:nvSpPr>
        <p:spPr bwMode="auto">
          <a:xfrm>
            <a:off x="7298467" y="3904023"/>
            <a:ext cx="2487361"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Container management, with ACS engine support for Docker Swarm, Kubernetes, and Mesosphere DC/OS</a:t>
            </a:r>
          </a:p>
        </p:txBody>
      </p:sp>
      <p:sp>
        <p:nvSpPr>
          <p:cNvPr id="48" name="Rectangle 47">
            <a:extLst>
              <a:ext uri="{FF2B5EF4-FFF2-40B4-BE49-F238E27FC236}">
                <a16:creationId xmlns:a16="http://schemas.microsoft.com/office/drawing/2014/main" id="{69F19C0E-B2CB-4702-BA63-80730F797FA6}"/>
              </a:ext>
            </a:extLst>
          </p:cNvPr>
          <p:cNvSpPr/>
          <p:nvPr/>
        </p:nvSpPr>
        <p:spPr bwMode="auto">
          <a:xfrm>
            <a:off x="9831155" y="3904023"/>
            <a:ext cx="2290767"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Open source platform </a:t>
            </a:r>
          </a:p>
        </p:txBody>
      </p:sp>
    </p:spTree>
    <p:extLst>
      <p:ext uri="{BB962C8B-B14F-4D97-AF65-F5344CB8AC3E}">
        <p14:creationId xmlns:p14="http://schemas.microsoft.com/office/powerpoint/2010/main" val="159432553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nodeType="withEffect">
                                  <p:stCondLst>
                                    <p:cond delay="0"/>
                                  </p:stCondLst>
                                  <p:childTnLst>
                                    <p:animMotion origin="layout" path="M 2.25428E-6 0.04607 L 2.25428E-6 2.41943E-6 " pathEditMode="relative" rAng="0" ptsTypes="AA">
                                      <p:cBhvr>
                                        <p:cTn id="9" dur="500" fill="hold"/>
                                        <p:tgtEl>
                                          <p:spTgt spid="41"/>
                                        </p:tgtEl>
                                        <p:attrNameLst>
                                          <p:attrName>ppt_x</p:attrName>
                                          <p:attrName>ppt_y</p:attrName>
                                        </p:attrNameLst>
                                      </p:cBhvr>
                                      <p:rCtr x="0" y="-2315"/>
                                    </p:animMotion>
                                  </p:childTnLst>
                                </p:cTn>
                              </p:par>
                              <p:par>
                                <p:cTn id="10" presetID="2" presetClass="entr" presetSubtype="4" decel="100000" fill="hold" grpId="0" nodeType="withEffect">
                                  <p:stCondLst>
                                    <p:cond delay="25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ppt_x"/>
                                          </p:val>
                                        </p:tav>
                                        <p:tav tm="100000">
                                          <p:val>
                                            <p:strVal val="#ppt_x"/>
                                          </p:val>
                                        </p:tav>
                                      </p:tavLst>
                                    </p:anim>
                                    <p:anim calcmode="lin" valueType="num">
                                      <p:cBhvr additive="base">
                                        <p:cTn id="13" dur="500" fill="hold"/>
                                        <p:tgtEl>
                                          <p:spTgt spid="44"/>
                                        </p:tgtEl>
                                        <p:attrNameLst>
                                          <p:attrName>ppt_y</p:attrName>
                                        </p:attrNameLst>
                                      </p:cBhvr>
                                      <p:tavLst>
                                        <p:tav tm="0">
                                          <p:val>
                                            <p:strVal val="1+#ppt_h/2"/>
                                          </p:val>
                                        </p:tav>
                                        <p:tav tm="100000">
                                          <p:val>
                                            <p:strVal val="#ppt_y"/>
                                          </p:val>
                                        </p:tav>
                                      </p:tavLst>
                                    </p:anim>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50"/>
                                        <p:tgtEl>
                                          <p:spTgt spid="25"/>
                                        </p:tgtEl>
                                      </p:cBhvr>
                                    </p:animEffect>
                                  </p:childTnLst>
                                </p:cTn>
                              </p:par>
                              <p:par>
                                <p:cTn id="17" presetID="42" presetClass="path" presetSubtype="0" decel="100000" fill="hold" nodeType="withEffect">
                                  <p:stCondLst>
                                    <p:cond delay="250"/>
                                  </p:stCondLst>
                                  <p:childTnLst>
                                    <p:animMotion origin="layout" path="M 2.25428E-6 0.04607 L 2.25428E-6 2.41943E-6 " pathEditMode="relative" rAng="0" ptsTypes="AA">
                                      <p:cBhvr>
                                        <p:cTn id="18" dur="500" fill="hold"/>
                                        <p:tgtEl>
                                          <p:spTgt spid="25"/>
                                        </p:tgtEl>
                                        <p:attrNameLst>
                                          <p:attrName>ppt_x</p:attrName>
                                          <p:attrName>ppt_y</p:attrName>
                                        </p:attrNameLst>
                                      </p:cBhvr>
                                      <p:rCtr x="0" y="-2315"/>
                                    </p:animMotion>
                                  </p:childTnLst>
                                </p:cTn>
                              </p:par>
                              <p:par>
                                <p:cTn id="19" presetID="2" presetClass="entr" presetSubtype="4" decel="100000" fill="hold" grpId="0" nodeType="withEffect">
                                  <p:stCondLst>
                                    <p:cond delay="500"/>
                                  </p:stCondLst>
                                  <p:childTnLst>
                                    <p:set>
                                      <p:cBhvr>
                                        <p:cTn id="20" dur="1" fill="hold">
                                          <p:stCondLst>
                                            <p:cond delay="0"/>
                                          </p:stCondLst>
                                        </p:cTn>
                                        <p:tgtEl>
                                          <p:spTgt spid="45"/>
                                        </p:tgtEl>
                                        <p:attrNameLst>
                                          <p:attrName>style.visibility</p:attrName>
                                        </p:attrNameLst>
                                      </p:cBhvr>
                                      <p:to>
                                        <p:strVal val="visible"/>
                                      </p:to>
                                    </p:set>
                                    <p:anim calcmode="lin" valueType="num">
                                      <p:cBhvr additive="base">
                                        <p:cTn id="21" dur="500" fill="hold"/>
                                        <p:tgtEl>
                                          <p:spTgt spid="45"/>
                                        </p:tgtEl>
                                        <p:attrNameLst>
                                          <p:attrName>ppt_x</p:attrName>
                                        </p:attrNameLst>
                                      </p:cBhvr>
                                      <p:tavLst>
                                        <p:tav tm="0">
                                          <p:val>
                                            <p:strVal val="#ppt_x"/>
                                          </p:val>
                                        </p:tav>
                                        <p:tav tm="100000">
                                          <p:val>
                                            <p:strVal val="#ppt_x"/>
                                          </p:val>
                                        </p:tav>
                                      </p:tavLst>
                                    </p:anim>
                                    <p:anim calcmode="lin" valueType="num">
                                      <p:cBhvr additive="base">
                                        <p:cTn id="22" dur="500" fill="hold"/>
                                        <p:tgtEl>
                                          <p:spTgt spid="45"/>
                                        </p:tgtEl>
                                        <p:attrNameLst>
                                          <p:attrName>ppt_y</p:attrName>
                                        </p:attrNameLst>
                                      </p:cBhvr>
                                      <p:tavLst>
                                        <p:tav tm="0">
                                          <p:val>
                                            <p:strVal val="1+#ppt_h/2"/>
                                          </p:val>
                                        </p:tav>
                                        <p:tav tm="100000">
                                          <p:val>
                                            <p:strVal val="#ppt_y"/>
                                          </p:val>
                                        </p:tav>
                                      </p:tavLst>
                                    </p:anim>
                                  </p:childTnLst>
                                </p:cTn>
                              </p:par>
                              <p:par>
                                <p:cTn id="23" presetID="10" presetClass="entr" presetSubtype="0" fill="hold" nodeType="withEffect">
                                  <p:stCondLst>
                                    <p:cond delay="75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250"/>
                                        <p:tgtEl>
                                          <p:spTgt spid="35"/>
                                        </p:tgtEl>
                                      </p:cBhvr>
                                    </p:animEffect>
                                  </p:childTnLst>
                                </p:cTn>
                              </p:par>
                              <p:par>
                                <p:cTn id="26" presetID="42" presetClass="path" presetSubtype="0" decel="100000" fill="hold" nodeType="withEffect">
                                  <p:stCondLst>
                                    <p:cond delay="500"/>
                                  </p:stCondLst>
                                  <p:childTnLst>
                                    <p:animMotion origin="layout" path="M 2.25428E-6 0.04607 L 2.25428E-6 2.41943E-6 " pathEditMode="relative" rAng="0" ptsTypes="AA">
                                      <p:cBhvr>
                                        <p:cTn id="27" dur="500" fill="hold"/>
                                        <p:tgtEl>
                                          <p:spTgt spid="35"/>
                                        </p:tgtEl>
                                        <p:attrNameLst>
                                          <p:attrName>ppt_x</p:attrName>
                                          <p:attrName>ppt_y</p:attrName>
                                        </p:attrNameLst>
                                      </p:cBhvr>
                                      <p:rCtr x="0" y="-2315"/>
                                    </p:animMotion>
                                  </p:childTnLst>
                                </p:cTn>
                              </p:par>
                              <p:par>
                                <p:cTn id="28" presetID="2" presetClass="entr" presetSubtype="4" decel="100000" fill="hold" grpId="0" nodeType="withEffect">
                                  <p:stCondLst>
                                    <p:cond delay="750"/>
                                  </p:stCondLst>
                                  <p:childTnLst>
                                    <p:set>
                                      <p:cBhvr>
                                        <p:cTn id="29" dur="1" fill="hold">
                                          <p:stCondLst>
                                            <p:cond delay="0"/>
                                          </p:stCondLst>
                                        </p:cTn>
                                        <p:tgtEl>
                                          <p:spTgt spid="46"/>
                                        </p:tgtEl>
                                        <p:attrNameLst>
                                          <p:attrName>style.visibility</p:attrName>
                                        </p:attrNameLst>
                                      </p:cBhvr>
                                      <p:to>
                                        <p:strVal val="visible"/>
                                      </p:to>
                                    </p:set>
                                    <p:anim calcmode="lin" valueType="num">
                                      <p:cBhvr additive="base">
                                        <p:cTn id="30" dur="500" fill="hold"/>
                                        <p:tgtEl>
                                          <p:spTgt spid="46"/>
                                        </p:tgtEl>
                                        <p:attrNameLst>
                                          <p:attrName>ppt_x</p:attrName>
                                        </p:attrNameLst>
                                      </p:cBhvr>
                                      <p:tavLst>
                                        <p:tav tm="0">
                                          <p:val>
                                            <p:strVal val="#ppt_x"/>
                                          </p:val>
                                        </p:tav>
                                        <p:tav tm="100000">
                                          <p:val>
                                            <p:strVal val="#ppt_x"/>
                                          </p:val>
                                        </p:tav>
                                      </p:tavLst>
                                    </p:anim>
                                    <p:anim calcmode="lin" valueType="num">
                                      <p:cBhvr additive="base">
                                        <p:cTn id="31" dur="500" fill="hold"/>
                                        <p:tgtEl>
                                          <p:spTgt spid="46"/>
                                        </p:tgtEl>
                                        <p:attrNameLst>
                                          <p:attrName>ppt_y</p:attrName>
                                        </p:attrNameLst>
                                      </p:cBhvr>
                                      <p:tavLst>
                                        <p:tav tm="0">
                                          <p:val>
                                            <p:strVal val="1+#ppt_h/2"/>
                                          </p:val>
                                        </p:tav>
                                        <p:tav tm="100000">
                                          <p:val>
                                            <p:strVal val="#ppt_y"/>
                                          </p:val>
                                        </p:tav>
                                      </p:tavLst>
                                    </p:anim>
                                  </p:childTnLst>
                                </p:cTn>
                              </p:par>
                              <p:par>
                                <p:cTn id="32" presetID="10" presetClass="entr" presetSubtype="0" fill="hold" nodeType="withEffect">
                                  <p:stCondLst>
                                    <p:cond delay="100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250"/>
                                        <p:tgtEl>
                                          <p:spTgt spid="38"/>
                                        </p:tgtEl>
                                      </p:cBhvr>
                                    </p:animEffect>
                                  </p:childTnLst>
                                </p:cTn>
                              </p:par>
                              <p:par>
                                <p:cTn id="35" presetID="42" presetClass="path" presetSubtype="0" decel="100000" fill="hold" nodeType="withEffect">
                                  <p:stCondLst>
                                    <p:cond delay="750"/>
                                  </p:stCondLst>
                                  <p:childTnLst>
                                    <p:animMotion origin="layout" path="M 2.25428E-6 0.04607 L 2.25428E-6 2.41943E-6 " pathEditMode="relative" rAng="0" ptsTypes="AA">
                                      <p:cBhvr>
                                        <p:cTn id="36" dur="500" fill="hold"/>
                                        <p:tgtEl>
                                          <p:spTgt spid="38"/>
                                        </p:tgtEl>
                                        <p:attrNameLst>
                                          <p:attrName>ppt_x</p:attrName>
                                          <p:attrName>ppt_y</p:attrName>
                                        </p:attrNameLst>
                                      </p:cBhvr>
                                      <p:rCtr x="0" y="-2315"/>
                                    </p:animMotion>
                                  </p:childTnLst>
                                </p:cTn>
                              </p:par>
                              <p:par>
                                <p:cTn id="37" presetID="2" presetClass="entr" presetSubtype="4" decel="100000" fill="hold" grpId="0" nodeType="withEffect">
                                  <p:stCondLst>
                                    <p:cond delay="1000"/>
                                  </p:stCondLst>
                                  <p:childTnLst>
                                    <p:set>
                                      <p:cBhvr>
                                        <p:cTn id="38" dur="1" fill="hold">
                                          <p:stCondLst>
                                            <p:cond delay="0"/>
                                          </p:stCondLst>
                                        </p:cTn>
                                        <p:tgtEl>
                                          <p:spTgt spid="47"/>
                                        </p:tgtEl>
                                        <p:attrNameLst>
                                          <p:attrName>style.visibility</p:attrName>
                                        </p:attrNameLst>
                                      </p:cBhvr>
                                      <p:to>
                                        <p:strVal val="visible"/>
                                      </p:to>
                                    </p:set>
                                    <p:anim calcmode="lin" valueType="num">
                                      <p:cBhvr additive="base">
                                        <p:cTn id="39" dur="500" fill="hold"/>
                                        <p:tgtEl>
                                          <p:spTgt spid="47"/>
                                        </p:tgtEl>
                                        <p:attrNameLst>
                                          <p:attrName>ppt_x</p:attrName>
                                        </p:attrNameLst>
                                      </p:cBhvr>
                                      <p:tavLst>
                                        <p:tav tm="0">
                                          <p:val>
                                            <p:strVal val="#ppt_x"/>
                                          </p:val>
                                        </p:tav>
                                        <p:tav tm="100000">
                                          <p:val>
                                            <p:strVal val="#ppt_x"/>
                                          </p:val>
                                        </p:tav>
                                      </p:tavLst>
                                    </p:anim>
                                    <p:anim calcmode="lin" valueType="num">
                                      <p:cBhvr additive="base">
                                        <p:cTn id="40" dur="500" fill="hold"/>
                                        <p:tgtEl>
                                          <p:spTgt spid="47"/>
                                        </p:tgtEl>
                                        <p:attrNameLst>
                                          <p:attrName>ppt_y</p:attrName>
                                        </p:attrNameLst>
                                      </p:cBhvr>
                                      <p:tavLst>
                                        <p:tav tm="0">
                                          <p:val>
                                            <p:strVal val="1+#ppt_h/2"/>
                                          </p:val>
                                        </p:tav>
                                        <p:tav tm="100000">
                                          <p:val>
                                            <p:strVal val="#ppt_y"/>
                                          </p:val>
                                        </p:tav>
                                      </p:tavLst>
                                    </p:anim>
                                  </p:childTnLst>
                                </p:cTn>
                              </p:par>
                              <p:par>
                                <p:cTn id="41" presetID="10" presetClass="entr" presetSubtype="0" fill="hold" nodeType="withEffect">
                                  <p:stCondLst>
                                    <p:cond delay="125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250"/>
                                        <p:tgtEl>
                                          <p:spTgt spid="28"/>
                                        </p:tgtEl>
                                      </p:cBhvr>
                                    </p:animEffect>
                                  </p:childTnLst>
                                </p:cTn>
                              </p:par>
                              <p:par>
                                <p:cTn id="44" presetID="42" presetClass="path" presetSubtype="0" decel="100000" fill="hold" nodeType="withEffect">
                                  <p:stCondLst>
                                    <p:cond delay="1000"/>
                                  </p:stCondLst>
                                  <p:childTnLst>
                                    <p:animMotion origin="layout" path="M -1.45833E-6 0.04607 L -1.45833E-6 -1.48148E-6 " pathEditMode="relative" rAng="0" ptsTypes="AA">
                                      <p:cBhvr>
                                        <p:cTn id="45" dur="500" fill="hold"/>
                                        <p:tgtEl>
                                          <p:spTgt spid="28"/>
                                        </p:tgtEl>
                                        <p:attrNameLst>
                                          <p:attrName>ppt_x</p:attrName>
                                          <p:attrName>ppt_y</p:attrName>
                                        </p:attrNameLst>
                                      </p:cBhvr>
                                      <p:rCtr x="0" y="-2315"/>
                                    </p:animMotion>
                                  </p:childTnLst>
                                </p:cTn>
                              </p:par>
                              <p:par>
                                <p:cTn id="46" presetID="2" presetClass="entr" presetSubtype="4" decel="100000" fill="hold" grpId="0" nodeType="withEffect">
                                  <p:stCondLst>
                                    <p:cond delay="1250"/>
                                  </p:stCondLst>
                                  <p:childTnLst>
                                    <p:set>
                                      <p:cBhvr>
                                        <p:cTn id="47" dur="1" fill="hold">
                                          <p:stCondLst>
                                            <p:cond delay="0"/>
                                          </p:stCondLst>
                                        </p:cTn>
                                        <p:tgtEl>
                                          <p:spTgt spid="48"/>
                                        </p:tgtEl>
                                        <p:attrNameLst>
                                          <p:attrName>style.visibility</p:attrName>
                                        </p:attrNameLst>
                                      </p:cBhvr>
                                      <p:to>
                                        <p:strVal val="visible"/>
                                      </p:to>
                                    </p:set>
                                    <p:anim calcmode="lin" valueType="num">
                                      <p:cBhvr additive="base">
                                        <p:cTn id="48" dur="500" fill="hold"/>
                                        <p:tgtEl>
                                          <p:spTgt spid="48"/>
                                        </p:tgtEl>
                                        <p:attrNameLst>
                                          <p:attrName>ppt_x</p:attrName>
                                        </p:attrNameLst>
                                      </p:cBhvr>
                                      <p:tavLst>
                                        <p:tav tm="0">
                                          <p:val>
                                            <p:strVal val="#ppt_x"/>
                                          </p:val>
                                        </p:tav>
                                        <p:tav tm="100000">
                                          <p:val>
                                            <p:strVal val="#ppt_x"/>
                                          </p:val>
                                        </p:tav>
                                      </p:tavLst>
                                    </p:anim>
                                    <p:anim calcmode="lin" valueType="num">
                                      <p:cBhvr additive="base">
                                        <p:cTn id="49"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31" name="Group 30"/>
          <p:cNvGrpSpPr/>
          <p:nvPr/>
        </p:nvGrpSpPr>
        <p:grpSpPr>
          <a:xfrm>
            <a:off x="979485" y="2282872"/>
            <a:ext cx="10090448" cy="3387058"/>
            <a:chOff x="622459" y="2171556"/>
            <a:chExt cx="11081400" cy="3457352"/>
          </a:xfrm>
        </p:grpSpPr>
        <p:cxnSp>
          <p:nvCxnSpPr>
            <p:cNvPr id="123" name="Straight Connector 122"/>
            <p:cNvCxnSpPr/>
            <p:nvPr/>
          </p:nvCxnSpPr>
          <p:spPr>
            <a:xfrm>
              <a:off x="622459" y="217155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010094"/>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3772402"/>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val="0"/>
              </a:ext>
            </a:extLst>
          </a:blip>
          <a:srcRect t="7295" b="8644"/>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8594700"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875370" y="5923265"/>
            <a:ext cx="1278581" cy="434265"/>
          </a:xfrm>
          <a:prstGeom prst="rect">
            <a:avLst/>
          </a:prstGeom>
        </p:spPr>
      </p:pic>
      <p:pic>
        <p:nvPicPr>
          <p:cNvPr id="9" name="Picture 8"/>
          <p:cNvPicPr>
            <a:picLocks noChangeAspect="1"/>
          </p:cNvPicPr>
          <p:nvPr/>
        </p:nvPicPr>
        <p:blipFill rotWithShape="1">
          <a:blip r:embed="rId35"/>
          <a:srcRect r="23769"/>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280280"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302025"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322506" y="5883001"/>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667317" y="4050597"/>
            <a:ext cx="588929" cy="588929"/>
          </a:xfrm>
          <a:prstGeom prst="rect">
            <a:avLst/>
          </a:prstGeom>
        </p:spPr>
      </p:pic>
      <p:sp>
        <p:nvSpPr>
          <p:cNvPr id="67" name="Title 2"/>
          <p:cNvSpPr txBox="1">
            <a:spLocks/>
          </p:cNvSpPr>
          <p:nvPr/>
        </p:nvSpPr>
        <p:spPr>
          <a:xfrm>
            <a:off x="269241" y="289958"/>
            <a:ext cx="11655840" cy="899537"/>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a:lstStyle>
          <a:p>
            <a:pPr defTabSz="914293">
              <a:defRPr/>
            </a:pPr>
            <a:r>
              <a:rPr lang="en-US" sz="4705" spc="-100" dirty="0">
                <a:gradFill>
                  <a:gsLst>
                    <a:gs pos="1250">
                      <a:srgbClr val="505050"/>
                    </a:gs>
                    <a:gs pos="100000">
                      <a:srgbClr val="505050"/>
                    </a:gs>
                  </a:gsLst>
                  <a:lin ang="5400000" scaled="0"/>
                </a:gradFill>
                <a:latin typeface="Segoe UI Light"/>
              </a:rPr>
              <a:t>Azure is an open cloud</a:t>
            </a:r>
          </a:p>
        </p:txBody>
      </p:sp>
      <p:pic>
        <p:nvPicPr>
          <p:cNvPr id="3" name="Picture 2"/>
          <p:cNvPicPr>
            <a:picLocks noChangeAspect="1"/>
          </p:cNvPicPr>
          <p:nvPr/>
        </p:nvPicPr>
        <p:blipFill>
          <a:blip r:embed="rId44"/>
          <a:stretch>
            <a:fillRect/>
          </a:stretch>
        </p:blipFill>
        <p:spPr>
          <a:xfrm>
            <a:off x="3184089"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a:stretch>
            <a:fillRect/>
          </a:stretch>
        </p:blipFill>
        <p:spPr>
          <a:xfrm>
            <a:off x="2474626"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556321" y="3925040"/>
            <a:ext cx="474448" cy="720797"/>
          </a:xfrm>
          <a:prstGeom prst="rect">
            <a:avLst/>
          </a:prstGeom>
        </p:spPr>
      </p:pic>
      <p:sp>
        <p:nvSpPr>
          <p:cNvPr id="5" name="AutoShape 2" descr="Gradle"/>
          <p:cNvSpPr>
            <a:spLocks noChangeAspect="1" noChangeArrowheads="1"/>
          </p:cNvSpPr>
          <p:nvPr/>
        </p:nvSpPr>
        <p:spPr bwMode="auto">
          <a:xfrm>
            <a:off x="152517" y="-447726"/>
            <a:ext cx="2801328" cy="933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pic>
        <p:nvPicPr>
          <p:cNvPr id="7" name="Picture 6"/>
          <p:cNvPicPr>
            <a:picLocks noChangeAspect="1"/>
          </p:cNvPicPr>
          <p:nvPr/>
        </p:nvPicPr>
        <p:blipFill>
          <a:blip r:embed="rId49"/>
          <a:stretch>
            <a:fillRect/>
          </a:stretch>
        </p:blipFill>
        <p:spPr>
          <a:xfrm>
            <a:off x="5537596" y="1669678"/>
            <a:ext cx="1404361" cy="400125"/>
          </a:xfrm>
          <a:prstGeom prst="rect">
            <a:avLst/>
          </a:prstGeom>
        </p:spPr>
      </p:pic>
      <p:pic>
        <p:nvPicPr>
          <p:cNvPr id="1028" name="Picture 4" descr="http://people.redhat.com/jamisonm/Red_Hat_cmyk_logo.jp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921236" y="5917988"/>
            <a:ext cx="1187732" cy="3808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940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1.xml><?xml version="1.0" encoding="utf-8"?>
<a:theme xmlns:a="http://schemas.openxmlformats.org/drawingml/2006/main" name="1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2.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3.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4.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15.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ppt/theme/theme1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17.xml><?xml version="1.0" encoding="utf-8"?>
<a:theme xmlns:a="http://schemas.openxmlformats.org/drawingml/2006/main" name="3_Office Theme">
  <a:themeElements>
    <a:clrScheme name="Custom 5">
      <a:dk1>
        <a:srgbClr val="3F3F3F"/>
      </a:dk1>
      <a:lt1>
        <a:sysClr val="window" lastClr="FFFFFF"/>
      </a:lt1>
      <a:dk2>
        <a:srgbClr val="FFB900"/>
      </a:dk2>
      <a:lt2>
        <a:srgbClr val="FF8C00"/>
      </a:lt2>
      <a:accent1>
        <a:srgbClr val="5C005C"/>
      </a:accent1>
      <a:accent2>
        <a:srgbClr val="B4009E"/>
      </a:accent2>
      <a:accent3>
        <a:srgbClr val="FFF100"/>
      </a:accent3>
      <a:accent4>
        <a:srgbClr val="D83B01"/>
      </a:accent4>
      <a:accent5>
        <a:srgbClr val="00B050"/>
      </a:accent5>
      <a:accent6>
        <a:srgbClr val="ADD40D"/>
      </a:accent6>
      <a:hlink>
        <a:srgbClr val="B4009E"/>
      </a:hlink>
      <a:folHlink>
        <a:srgbClr val="B4009E"/>
      </a:folHlink>
    </a:clrScheme>
    <a:fontScheme name="Custom 15">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COLOR TEMPLATE">
  <a:themeElements>
    <a:clrScheme name="BT - Dark Magenta">
      <a:dk1>
        <a:srgbClr val="505050"/>
      </a:dk1>
      <a:lt1>
        <a:srgbClr val="FFFFFF"/>
      </a:lt1>
      <a:dk2>
        <a:srgbClr val="5C005C"/>
      </a:dk2>
      <a:lt2>
        <a:srgbClr val="FEECF8"/>
      </a:lt2>
      <a:accent1>
        <a:srgbClr val="B4009E"/>
      </a:accent1>
      <a:accent2>
        <a:srgbClr val="0078D7"/>
      </a:accent2>
      <a:accent3>
        <a:srgbClr val="002050"/>
      </a:accent3>
      <a:accent4>
        <a:srgbClr val="107C10"/>
      </a:accent4>
      <a:accent5>
        <a:srgbClr val="32145A"/>
      </a:accent5>
      <a:accent6>
        <a:srgbClr val="737373"/>
      </a:accent6>
      <a:hlink>
        <a:srgbClr val="FEECF8"/>
      </a:hlink>
      <a:folHlink>
        <a:srgbClr val="FEECF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 MAGENTA_2016_1.potx" id="{7B3C440C-DE3B-4C07-B1F5-362CAEB16A74}" vid="{E458753F-429E-4CFB-85E9-DDDA3E513946}"/>
    </a:ext>
  </a:extLst>
</a:theme>
</file>

<file path=ppt/theme/theme19.xml><?xml version="1.0" encoding="utf-8"?>
<a:theme xmlns:a="http://schemas.openxmlformats.org/drawingml/2006/main" name="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2.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 id="{750A99CB-C201-4AC0-83E3-D27190A82074}" vid="{ACAB9C74-80B6-439E-ADE9-F57FD616B89F}"/>
    </a:ext>
  </a:extLst>
</a:theme>
</file>

<file path=ppt/theme/theme21.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3.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24.xml><?xml version="1.0" encoding="utf-8"?>
<a:theme xmlns:a="http://schemas.openxmlformats.org/drawingml/2006/main" name="1_LIGHT GRAY TEMPLATE">
  <a:themeElements>
    <a:clrScheme name="Azure">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LightGray_SoftBlack_Apr_2018.potx" id="{852D8A69-5D35-48D9-A052-92DC42EA0413}" vid="{42B72BDC-972F-46AB-BB24-6CCB5C044373}"/>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Design-Template und Icons">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1_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6.xml><?xml version="1.0" encoding="utf-8"?>
<a:theme xmlns:a="http://schemas.openxmlformats.org/drawingml/2006/main" name="3_5-30055_Office Template 2012 - 16x9 - White Background">
  <a:themeElements>
    <a:clrScheme name="Custom 5">
      <a:dk1>
        <a:srgbClr val="000000"/>
      </a:dk1>
      <a:lt1>
        <a:srgbClr val="FFFFFF"/>
      </a:lt1>
      <a:dk2>
        <a:srgbClr val="00188F"/>
      </a:dk2>
      <a:lt2>
        <a:srgbClr val="797A7D"/>
      </a:lt2>
      <a:accent1>
        <a:srgbClr val="00188F"/>
      </a:accent1>
      <a:accent2>
        <a:srgbClr val="FF8C00"/>
      </a:accent2>
      <a:accent3>
        <a:srgbClr val="7030A0"/>
      </a:accent3>
      <a:accent4>
        <a:srgbClr val="007233"/>
      </a:accent4>
      <a:accent5>
        <a:srgbClr val="EB3C00"/>
      </a:accent5>
      <a:accent6>
        <a:srgbClr val="0070C0"/>
      </a:accent6>
      <a:hlink>
        <a:srgbClr val="FFC000"/>
      </a:hlink>
      <a:folHlink>
        <a:srgbClr val="7FCA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solidFill>
              <a:schemeClr val="bg2">
                <a:lumMod val="75000"/>
              </a:schemeClr>
            </a:solidFill>
          </a:defRPr>
        </a:defPPr>
      </a:lstStyle>
    </a:txDef>
  </a:objectDefaults>
  <a:extraClrSchemeLst/>
  <a:extLst>
    <a:ext uri="{05A4C25C-085E-4340-85A3-A5531E510DB2}">
      <thm15:themeFamily xmlns:thm15="http://schemas.microsoft.com/office/thememl/2012/main" name="Drumbeat templatepotx.potx" id="{63F56146-C5B3-4526-8FEF-94EC476F2A32}" vid="{877BF11F-196E-42D7-810E-EC9AD983A50B}"/>
    </a:ext>
  </a:extLst>
</a:theme>
</file>

<file path=ppt/theme/theme7.xml><?xml version="1.0" encoding="utf-8"?>
<a:theme xmlns:a="http://schemas.openxmlformats.org/drawingml/2006/main" name="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060616" id="{27254D53-3A71-4BF2-A605-E8EC0A68320C}" vid="{1902437A-680E-4C90-8FEF-DFCF38B97123}"/>
    </a:ext>
  </a:extLst>
</a:theme>
</file>

<file path=ppt/theme/theme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9.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Override1.xml><?xml version="1.0" encoding="utf-8"?>
<a:themeOverride xmlns:a="http://schemas.openxmlformats.org/drawingml/2006/main">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themeOverride>
</file>

<file path=ppt/theme/themeOverride2.xml><?xml version="1.0" encoding="utf-8"?>
<a:themeOverride xmlns:a="http://schemas.openxmlformats.org/drawingml/2006/main">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themeOverride>
</file>

<file path=ppt/theme/themeOverride3.xml><?xml version="1.0" encoding="utf-8"?>
<a:themeOverride xmlns:a="http://schemas.openxmlformats.org/drawingml/2006/main">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themeOverride>
</file>

<file path=docProps/app.xml><?xml version="1.0" encoding="utf-8"?>
<Properties xmlns="http://schemas.openxmlformats.org/officeDocument/2006/extended-properties" xmlns:vt="http://schemas.openxmlformats.org/officeDocument/2006/docPropsVTypes">
  <TotalTime>0</TotalTime>
  <Words>1651</Words>
  <Application>Microsoft Office PowerPoint</Application>
  <PresentationFormat>Widescreen</PresentationFormat>
  <Paragraphs>286</Paragraphs>
  <Slides>22</Slides>
  <Notes>21</Notes>
  <HiddenSlides>0</HiddenSlides>
  <MMClips>0</MMClips>
  <ScaleCrop>false</ScaleCrop>
  <HeadingPairs>
    <vt:vector size="8" baseType="variant">
      <vt:variant>
        <vt:lpstr>Fonts Used</vt:lpstr>
      </vt:variant>
      <vt:variant>
        <vt:i4>10</vt:i4>
      </vt:variant>
      <vt:variant>
        <vt:lpstr>Theme</vt:lpstr>
      </vt:variant>
      <vt:variant>
        <vt:i4>24</vt:i4>
      </vt:variant>
      <vt:variant>
        <vt:lpstr>Embedded OLE Servers</vt:lpstr>
      </vt:variant>
      <vt:variant>
        <vt:i4>1</vt:i4>
      </vt:variant>
      <vt:variant>
        <vt:lpstr>Slide Titles</vt:lpstr>
      </vt:variant>
      <vt:variant>
        <vt:i4>22</vt:i4>
      </vt:variant>
    </vt:vector>
  </HeadingPairs>
  <TitlesOfParts>
    <vt:vector size="57" baseType="lpstr">
      <vt:lpstr>Arial</vt:lpstr>
      <vt:lpstr>Calibri</vt:lpstr>
      <vt:lpstr>Consolas</vt:lpstr>
      <vt:lpstr>Segoe</vt:lpstr>
      <vt:lpstr>Segoe Light</vt:lpstr>
      <vt:lpstr>Segoe UI</vt:lpstr>
      <vt:lpstr>Segoe UI Light</vt:lpstr>
      <vt:lpstr>Segoe UI Semibold</vt:lpstr>
      <vt:lpstr>Segoe UI Semilight</vt:lpstr>
      <vt:lpstr>Wingdings</vt:lpstr>
      <vt:lpstr>Executive_Retreat_2013_16x9_Jan-15-2013</vt:lpstr>
      <vt:lpstr>MSVID_Dark_Cyan_16x9_2012-08-18</vt:lpstr>
      <vt:lpstr>Metro Design-Template und Icons</vt:lpstr>
      <vt:lpstr>1_Server and Cloud 2013</vt:lpstr>
      <vt:lpstr>1_Executive_Retreat_2013_16x9_Jan-15-2013</vt:lpstr>
      <vt:lpstr>3_5-30055_Office Template 2012 - 16x9 - White Background</vt:lpstr>
      <vt:lpstr>1_6-50001_WPC 2016 Keynote Template</vt:lpstr>
      <vt:lpstr>4_LIGHT COLOR TEMPLATE</vt:lpstr>
      <vt:lpstr>6-30537_Envision 2016 Keynote Template</vt:lpstr>
      <vt:lpstr>5-50109_Microsoft_Light_Template</vt:lpstr>
      <vt:lpstr>1_COLOR TEMPLATE</vt:lpstr>
      <vt:lpstr>2_EBC_2017</vt:lpstr>
      <vt:lpstr>EBC_2017</vt:lpstr>
      <vt:lpstr>1_5-50109_Microsoft_Light_Template</vt:lpstr>
      <vt:lpstr>LIGHT GRAY TEMPLATE</vt:lpstr>
      <vt:lpstr>1_WHITE TEMPLATE</vt:lpstr>
      <vt:lpstr>3_Office Theme</vt:lpstr>
      <vt:lpstr>COLOR TEMPLATE</vt:lpstr>
      <vt:lpstr>Azure_Tour_2015_TEMPLATE</vt:lpstr>
      <vt:lpstr>6-50001_WPC 2016 Breakout Template</vt:lpstr>
      <vt:lpstr>1_Azure_2015</vt:lpstr>
      <vt:lpstr>1_5-30610_Microsoft_Ignite_Keynote_Template</vt:lpstr>
      <vt:lpstr>5_WHITE TEMPLATE</vt:lpstr>
      <vt:lpstr>1_LIGHT GRAY TEMPLATE</vt:lpstr>
      <vt:lpstr>think-cell Slide</vt:lpstr>
      <vt:lpstr>PowerPoint Presentation</vt:lpstr>
      <vt:lpstr>PowerPoint Presentation</vt:lpstr>
      <vt:lpstr>PowerPoint Presentation</vt:lpstr>
      <vt:lpstr>PowerPoint Presentation</vt:lpstr>
      <vt:lpstr>Unique point of view: cloud is a model, not just a place</vt:lpstr>
      <vt:lpstr>Azure Cloud Computing Capabilities</vt:lpstr>
      <vt:lpstr>Azure IaaS – beyond traditional virtualization</vt:lpstr>
      <vt:lpstr>Azure PaaS – high productivity development</vt:lpstr>
      <vt:lpstr>PowerPoint Presentation</vt:lpstr>
      <vt:lpstr>PowerPoint Presentation</vt:lpstr>
      <vt:lpstr>The case for hybrid cloud platform</vt:lpstr>
      <vt:lpstr>Your World …</vt:lpstr>
      <vt:lpstr>Consistent hybrid environment</vt:lpstr>
      <vt:lpstr>PowerPoint Presentation</vt:lpstr>
      <vt:lpstr>Azure Stack is an extension of Azure Consistent hybrid environment</vt:lpstr>
      <vt:lpstr>Azure Stack</vt:lpstr>
      <vt:lpstr>PowerPoint Presentation</vt:lpstr>
      <vt:lpstr>Cloud on your Terms</vt:lpstr>
      <vt:lpstr>PowerPoint Presentation</vt:lpstr>
      <vt:lpstr>Eight Questions You Should Ask</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27T04:27:17Z</dcterms:created>
  <dcterms:modified xsi:type="dcterms:W3CDTF">2019-04-16T03:5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deming@microsoft.com</vt:lpwstr>
  </property>
  <property fmtid="{D5CDD505-2E9C-101B-9397-08002B2CF9AE}" pid="5" name="MSIP_Label_f42aa342-8706-4288-bd11-ebb85995028c_SetDate">
    <vt:lpwstr>2019-02-27T04:27:32.760155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39d92f59-6d93-4018-bb77-e48f5da2d0b1</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